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sldIdLst>
    <p:sldId id="256" r:id="rId3"/>
    <p:sldId id="302" r:id="rId4"/>
    <p:sldId id="306" r:id="rId5"/>
    <p:sldId id="263" r:id="rId6"/>
    <p:sldId id="259" r:id="rId7"/>
    <p:sldId id="307" r:id="rId8"/>
    <p:sldId id="257" r:id="rId9"/>
    <p:sldId id="303" r:id="rId10"/>
    <p:sldId id="264" r:id="rId11"/>
    <p:sldId id="261" r:id="rId12"/>
    <p:sldId id="304" r:id="rId13"/>
    <p:sldId id="26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44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5" orient="horz" pos="384" userDrawn="1">
          <p15:clr>
            <a:srgbClr val="A4A3A4"/>
          </p15:clr>
        </p15:guide>
        <p15:guide id="6" orient="horz" pos="3840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A44"/>
    <a:srgbClr val="F7AB9B"/>
    <a:srgbClr val="784F48"/>
    <a:srgbClr val="45726D"/>
    <a:srgbClr val="073732"/>
    <a:srgbClr val="FDDABC"/>
    <a:srgbClr val="052D29"/>
    <a:srgbClr val="563934"/>
    <a:srgbClr val="F0F0F0"/>
    <a:srgbClr val="8094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6DEBC0-C08A-D1CB-7E8E-F7DA219AC0B6}" v="1" dt="2022-07-15T17:29:50.356"/>
    <p1510:client id="{496C71A2-EBC2-6F3A-D663-F82EFA9411D8}" v="218" dt="2022-07-03T13:06:32.505"/>
    <p1510:client id="{C04F8B0C-A584-4476-866D-9BDE058FFB06}" v="25" dt="2022-07-03T13:24:16.975"/>
    <p1510:client id="{D938CEF9-8F03-FD29-DFEC-A3049C66BD2C}" v="6" dt="2022-07-03T13:03:00.6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7344"/>
        <p:guide pos="336"/>
        <p:guide orient="horz" pos="384"/>
        <p:guide orient="horz" pos="384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ndos Ali" userId="S::sali207@uottawa.ca::b7790435-7c4e-481d-9e62-2980a71770bc" providerId="AD" clId="Web-{196DEBC0-C08A-D1CB-7E8E-F7DA219AC0B6}"/>
    <pc:docChg chg="modSld">
      <pc:chgData name="Sondos Ali" userId="S::sali207@uottawa.ca::b7790435-7c4e-481d-9e62-2980a71770bc" providerId="AD" clId="Web-{196DEBC0-C08A-D1CB-7E8E-F7DA219AC0B6}" dt="2022-07-15T17:29:50.356" v="0"/>
      <pc:docMkLst>
        <pc:docMk/>
      </pc:docMkLst>
      <pc:sldChg chg="addSp">
        <pc:chgData name="Sondos Ali" userId="S::sali207@uottawa.ca::b7790435-7c4e-481d-9e62-2980a71770bc" providerId="AD" clId="Web-{196DEBC0-C08A-D1CB-7E8E-F7DA219AC0B6}" dt="2022-07-15T17:29:50.356" v="0"/>
        <pc:sldMkLst>
          <pc:docMk/>
          <pc:sldMk cId="3770786968" sldId="256"/>
        </pc:sldMkLst>
        <pc:spChg chg="add">
          <ac:chgData name="Sondos Ali" userId="S::sali207@uottawa.ca::b7790435-7c4e-481d-9e62-2980a71770bc" providerId="AD" clId="Web-{196DEBC0-C08A-D1CB-7E8E-F7DA219AC0B6}" dt="2022-07-15T17:29:50.356" v="0"/>
          <ac:spMkLst>
            <pc:docMk/>
            <pc:sldMk cId="3770786968" sldId="256"/>
            <ac:spMk id="2" creationId="{A6F37434-6E15-8FCD-88E0-0188F5BE89AB}"/>
          </ac:spMkLst>
        </pc:spChg>
      </pc:sldChg>
    </pc:docChg>
  </pc:docChgLst>
  <pc:docChgLst>
    <pc:chgData name="Esraa El-Kot" userId="7401c61d-6627-4825-bb42-0a7918122e7d" providerId="ADAL" clId="{C04F8B0C-A584-4476-866D-9BDE058FFB06}"/>
    <pc:docChg chg="undo custSel addSld delSld modSld sldOrd">
      <pc:chgData name="Esraa El-Kot" userId="7401c61d-6627-4825-bb42-0a7918122e7d" providerId="ADAL" clId="{C04F8B0C-A584-4476-866D-9BDE058FFB06}" dt="2022-07-03T13:24:16.975" v="1201" actId="478"/>
      <pc:docMkLst>
        <pc:docMk/>
      </pc:docMkLst>
      <pc:sldChg chg="addSp delSp modSp mod modNotesTx">
        <pc:chgData name="Esraa El-Kot" userId="7401c61d-6627-4825-bb42-0a7918122e7d" providerId="ADAL" clId="{C04F8B0C-A584-4476-866D-9BDE058FFB06}" dt="2022-07-03T13:24:16.975" v="1201" actId="478"/>
        <pc:sldMkLst>
          <pc:docMk/>
          <pc:sldMk cId="3770786968" sldId="256"/>
        </pc:sldMkLst>
        <pc:spChg chg="del">
          <ac:chgData name="Esraa El-Kot" userId="7401c61d-6627-4825-bb42-0a7918122e7d" providerId="ADAL" clId="{C04F8B0C-A584-4476-866D-9BDE058FFB06}" dt="2022-07-03T13:24:16.975" v="1201" actId="478"/>
          <ac:spMkLst>
            <pc:docMk/>
            <pc:sldMk cId="3770786968" sldId="256"/>
            <ac:spMk id="2" creationId="{2FE9D740-2BBC-BF0A-2073-E96621638A4E}"/>
          </ac:spMkLst>
        </pc:spChg>
        <pc:spChg chg="add mod">
          <ac:chgData name="Esraa El-Kot" userId="7401c61d-6627-4825-bb42-0a7918122e7d" providerId="ADAL" clId="{C04F8B0C-A584-4476-866D-9BDE058FFB06}" dt="2022-07-03T11:11:11.437" v="1168" actId="1076"/>
          <ac:spMkLst>
            <pc:docMk/>
            <pc:sldMk cId="3770786968" sldId="256"/>
            <ac:spMk id="587" creationId="{2DA96BC3-72B7-94C0-58B8-7486530BF3E5}"/>
          </ac:spMkLst>
        </pc:spChg>
        <pc:cxnChg chg="add mod">
          <ac:chgData name="Esraa El-Kot" userId="7401c61d-6627-4825-bb42-0a7918122e7d" providerId="ADAL" clId="{C04F8B0C-A584-4476-866D-9BDE058FFB06}" dt="2022-07-03T11:11:06.489" v="1167" actId="1076"/>
          <ac:cxnSpMkLst>
            <pc:docMk/>
            <pc:sldMk cId="3770786968" sldId="256"/>
            <ac:cxnSpMk id="588" creationId="{D92FE2C8-2123-AD0A-5B2F-A212429D93F4}"/>
          </ac:cxnSpMkLst>
        </pc:cxnChg>
      </pc:sldChg>
      <pc:sldChg chg="modNotesTx">
        <pc:chgData name="Esraa El-Kot" userId="7401c61d-6627-4825-bb42-0a7918122e7d" providerId="ADAL" clId="{C04F8B0C-A584-4476-866D-9BDE058FFB06}" dt="2022-07-03T09:27:43.811" v="1151" actId="20577"/>
        <pc:sldMkLst>
          <pc:docMk/>
          <pc:sldMk cId="1594473057" sldId="259"/>
        </pc:sldMkLst>
      </pc:sldChg>
      <pc:sldChg chg="addSp modSp mod modNotesTx">
        <pc:chgData name="Esraa El-Kot" userId="7401c61d-6627-4825-bb42-0a7918122e7d" providerId="ADAL" clId="{C04F8B0C-A584-4476-866D-9BDE058FFB06}" dt="2022-07-03T11:59:42.473" v="1199" actId="20577"/>
        <pc:sldMkLst>
          <pc:docMk/>
          <pc:sldMk cId="1330945469" sldId="261"/>
        </pc:sldMkLst>
        <pc:spChg chg="add mod">
          <ac:chgData name="Esraa El-Kot" userId="7401c61d-6627-4825-bb42-0a7918122e7d" providerId="ADAL" clId="{C04F8B0C-A584-4476-866D-9BDE058FFB06}" dt="2022-07-03T05:07:02.752" v="997" actId="20577"/>
          <ac:spMkLst>
            <pc:docMk/>
            <pc:sldMk cId="1330945469" sldId="261"/>
            <ac:spMk id="33" creationId="{CA74E577-AEC3-368E-E4A8-E5FBDCC9B985}"/>
          </ac:spMkLst>
        </pc:spChg>
        <pc:spChg chg="mod">
          <ac:chgData name="Esraa El-Kot" userId="7401c61d-6627-4825-bb42-0a7918122e7d" providerId="ADAL" clId="{C04F8B0C-A584-4476-866D-9BDE058FFB06}" dt="2022-07-02T21:00:09.040" v="377" actId="20577"/>
          <ac:spMkLst>
            <pc:docMk/>
            <pc:sldMk cId="1330945469" sldId="261"/>
            <ac:spMk id="897" creationId="{063F6BAC-A872-4649-9A79-22958B7405ED}"/>
          </ac:spMkLst>
        </pc:spChg>
      </pc:sldChg>
      <pc:sldChg chg="modSp mod modNotesTx">
        <pc:chgData name="Esraa El-Kot" userId="7401c61d-6627-4825-bb42-0a7918122e7d" providerId="ADAL" clId="{C04F8B0C-A584-4476-866D-9BDE058FFB06}" dt="2022-07-03T12:00:10.565" v="1200" actId="20577"/>
        <pc:sldMkLst>
          <pc:docMk/>
          <pc:sldMk cId="2266783014" sldId="263"/>
        </pc:sldMkLst>
        <pc:spChg chg="mod">
          <ac:chgData name="Esraa El-Kot" userId="7401c61d-6627-4825-bb42-0a7918122e7d" providerId="ADAL" clId="{C04F8B0C-A584-4476-866D-9BDE058FFB06}" dt="2022-07-03T11:57:43.194" v="1178" actId="113"/>
          <ac:spMkLst>
            <pc:docMk/>
            <pc:sldMk cId="2266783014" sldId="263"/>
            <ac:spMk id="264" creationId="{E70C9D4F-8050-4F71-884D-E6727B17B33F}"/>
          </ac:spMkLst>
        </pc:spChg>
        <pc:spChg chg="mod">
          <ac:chgData name="Esraa El-Kot" userId="7401c61d-6627-4825-bb42-0a7918122e7d" providerId="ADAL" clId="{C04F8B0C-A584-4476-866D-9BDE058FFB06}" dt="2022-07-03T11:57:33.804" v="1177" actId="113"/>
          <ac:spMkLst>
            <pc:docMk/>
            <pc:sldMk cId="2266783014" sldId="263"/>
            <ac:spMk id="289" creationId="{42F1A168-0DD5-4829-A178-D21EB9CE3348}"/>
          </ac:spMkLst>
        </pc:spChg>
        <pc:spChg chg="mod">
          <ac:chgData name="Esraa El-Kot" userId="7401c61d-6627-4825-bb42-0a7918122e7d" providerId="ADAL" clId="{C04F8B0C-A584-4476-866D-9BDE058FFB06}" dt="2022-07-03T12:00:10.565" v="1200" actId="20577"/>
          <ac:spMkLst>
            <pc:docMk/>
            <pc:sldMk cId="2266783014" sldId="263"/>
            <ac:spMk id="381" creationId="{EF21FA22-5894-4DFE-AC15-A76F915B6173}"/>
          </ac:spMkLst>
        </pc:spChg>
        <pc:spChg chg="mod">
          <ac:chgData name="Esraa El-Kot" userId="7401c61d-6627-4825-bb42-0a7918122e7d" providerId="ADAL" clId="{C04F8B0C-A584-4476-866D-9BDE058FFB06}" dt="2022-07-02T20:19:11.657" v="90" actId="20577"/>
          <ac:spMkLst>
            <pc:docMk/>
            <pc:sldMk cId="2266783014" sldId="263"/>
            <ac:spMk id="516" creationId="{C66FF4E5-5F1C-438A-BB41-B06C980C6E21}"/>
          </ac:spMkLst>
        </pc:spChg>
      </pc:sldChg>
      <pc:sldChg chg="addSp delSp modSp mod ord modNotesTx">
        <pc:chgData name="Esraa El-Kot" userId="7401c61d-6627-4825-bb42-0a7918122e7d" providerId="ADAL" clId="{C04F8B0C-A584-4476-866D-9BDE058FFB06}" dt="2022-07-03T09:12:59.219" v="1067"/>
        <pc:sldMkLst>
          <pc:docMk/>
          <pc:sldMk cId="4225529153" sldId="264"/>
        </pc:sldMkLst>
        <pc:spChg chg="mod">
          <ac:chgData name="Esraa El-Kot" userId="7401c61d-6627-4825-bb42-0a7918122e7d" providerId="ADAL" clId="{C04F8B0C-A584-4476-866D-9BDE058FFB06}" dt="2022-07-02T21:07:04.711" v="466" actId="1076"/>
          <ac:spMkLst>
            <pc:docMk/>
            <pc:sldMk cId="4225529153" sldId="264"/>
            <ac:spMk id="7" creationId="{741027EC-3093-4AE7-96F7-9EE54B254FEA}"/>
          </ac:spMkLst>
        </pc:spChg>
        <pc:spChg chg="mod">
          <ac:chgData name="Esraa El-Kot" userId="7401c61d-6627-4825-bb42-0a7918122e7d" providerId="ADAL" clId="{C04F8B0C-A584-4476-866D-9BDE058FFB06}" dt="2022-07-02T21:06:56.284" v="464" actId="1038"/>
          <ac:spMkLst>
            <pc:docMk/>
            <pc:sldMk cId="4225529153" sldId="264"/>
            <ac:spMk id="23" creationId="{2270232B-D40E-4937-8E66-0B98FF6489A3}"/>
          </ac:spMkLst>
        </pc:spChg>
        <pc:spChg chg="add del mod">
          <ac:chgData name="Esraa El-Kot" userId="7401c61d-6627-4825-bb42-0a7918122e7d" providerId="ADAL" clId="{C04F8B0C-A584-4476-866D-9BDE058FFB06}" dt="2022-07-02T21:09:18.920" v="631"/>
          <ac:spMkLst>
            <pc:docMk/>
            <pc:sldMk cId="4225529153" sldId="264"/>
            <ac:spMk id="51" creationId="{E651490D-18AD-2FD4-E537-B1D79E0A95A1}"/>
          </ac:spMkLst>
        </pc:spChg>
        <pc:spChg chg="add mod">
          <ac:chgData name="Esraa El-Kot" userId="7401c61d-6627-4825-bb42-0a7918122e7d" providerId="ADAL" clId="{C04F8B0C-A584-4476-866D-9BDE058FFB06}" dt="2022-07-03T05:10:09.901" v="1018" actId="14100"/>
          <ac:spMkLst>
            <pc:docMk/>
            <pc:sldMk cId="4225529153" sldId="264"/>
            <ac:spMk id="53" creationId="{2BA6285C-B96E-3A20-8270-BB9E1CDC59F4}"/>
          </ac:spMkLst>
        </pc:spChg>
        <pc:spChg chg="add mod">
          <ac:chgData name="Esraa El-Kot" userId="7401c61d-6627-4825-bb42-0a7918122e7d" providerId="ADAL" clId="{C04F8B0C-A584-4476-866D-9BDE058FFB06}" dt="2022-07-03T05:10:19.175" v="1019" actId="14100"/>
          <ac:spMkLst>
            <pc:docMk/>
            <pc:sldMk cId="4225529153" sldId="264"/>
            <ac:spMk id="54" creationId="{8943988C-60B2-666A-C348-D30FB448229D}"/>
          </ac:spMkLst>
        </pc:spChg>
        <pc:spChg chg="add del mod">
          <ac:chgData name="Esraa El-Kot" userId="7401c61d-6627-4825-bb42-0a7918122e7d" providerId="ADAL" clId="{C04F8B0C-A584-4476-866D-9BDE058FFB06}" dt="2022-07-03T05:08:24.667" v="1004"/>
          <ac:spMkLst>
            <pc:docMk/>
            <pc:sldMk cId="4225529153" sldId="264"/>
            <ac:spMk id="56" creationId="{FCED9ECF-C514-7A49-1839-71967E79CCA9}"/>
          </ac:spMkLst>
        </pc:spChg>
        <pc:spChg chg="add del mod">
          <ac:chgData name="Esraa El-Kot" userId="7401c61d-6627-4825-bb42-0a7918122e7d" providerId="ADAL" clId="{C04F8B0C-A584-4476-866D-9BDE058FFB06}" dt="2022-07-03T05:08:35.621" v="1008"/>
          <ac:spMkLst>
            <pc:docMk/>
            <pc:sldMk cId="4225529153" sldId="264"/>
            <ac:spMk id="57" creationId="{5A164AD4-3515-9331-94C0-D73EE22DDB88}"/>
          </ac:spMkLst>
        </pc:spChg>
        <pc:spChg chg="add mod">
          <ac:chgData name="Esraa El-Kot" userId="7401c61d-6627-4825-bb42-0a7918122e7d" providerId="ADAL" clId="{C04F8B0C-A584-4476-866D-9BDE058FFB06}" dt="2022-07-03T05:09:11.013" v="1011" actId="1076"/>
          <ac:spMkLst>
            <pc:docMk/>
            <pc:sldMk cId="4225529153" sldId="264"/>
            <ac:spMk id="58" creationId="{2A6FD43A-22CB-10ED-62E2-359D30E290A1}"/>
          </ac:spMkLst>
        </pc:spChg>
        <pc:spChg chg="mod">
          <ac:chgData name="Esraa El-Kot" userId="7401c61d-6627-4825-bb42-0a7918122e7d" providerId="ADAL" clId="{C04F8B0C-A584-4476-866D-9BDE058FFB06}" dt="2022-07-02T20:59:34.491" v="366" actId="20577"/>
          <ac:spMkLst>
            <pc:docMk/>
            <pc:sldMk cId="4225529153" sldId="264"/>
            <ac:spMk id="318" creationId="{2D2DC540-A0DC-4596-AA8A-0E0BD45646E1}"/>
          </ac:spMkLst>
        </pc:spChg>
        <pc:grpChg chg="mod">
          <ac:chgData name="Esraa El-Kot" userId="7401c61d-6627-4825-bb42-0a7918122e7d" providerId="ADAL" clId="{C04F8B0C-A584-4476-866D-9BDE058FFB06}" dt="2022-07-03T05:10:09.901" v="1018" actId="14100"/>
          <ac:grpSpMkLst>
            <pc:docMk/>
            <pc:sldMk cId="4225529153" sldId="264"/>
            <ac:grpSpMk id="14" creationId="{59E7EEAF-DC66-EB89-9130-100D7892E631}"/>
          </ac:grpSpMkLst>
        </pc:grpChg>
        <pc:picChg chg="mod">
          <ac:chgData name="Esraa El-Kot" userId="7401c61d-6627-4825-bb42-0a7918122e7d" providerId="ADAL" clId="{C04F8B0C-A584-4476-866D-9BDE058FFB06}" dt="2022-07-03T05:08:33.993" v="1007" actId="1076"/>
          <ac:picMkLst>
            <pc:docMk/>
            <pc:sldMk cId="4225529153" sldId="264"/>
            <ac:picMk id="9" creationId="{234F195C-F458-4E68-BADF-356A547F57F3}"/>
          </ac:picMkLst>
        </pc:picChg>
        <pc:picChg chg="mod">
          <ac:chgData name="Esraa El-Kot" userId="7401c61d-6627-4825-bb42-0a7918122e7d" providerId="ADAL" clId="{C04F8B0C-A584-4476-866D-9BDE058FFB06}" dt="2022-07-03T05:09:26.298" v="1015" actId="1076"/>
          <ac:picMkLst>
            <pc:docMk/>
            <pc:sldMk cId="4225529153" sldId="264"/>
            <ac:picMk id="28" creationId="{0D769833-9CE2-46AC-8064-1B530AA947B4}"/>
          </ac:picMkLst>
        </pc:picChg>
        <pc:picChg chg="add del mod">
          <ac:chgData name="Esraa El-Kot" userId="7401c61d-6627-4825-bb42-0a7918122e7d" providerId="ADAL" clId="{C04F8B0C-A584-4476-866D-9BDE058FFB06}" dt="2022-07-02T21:09:18.920" v="631"/>
          <ac:picMkLst>
            <pc:docMk/>
            <pc:sldMk cId="4225529153" sldId="264"/>
            <ac:picMk id="52" creationId="{CC8900EB-68C6-B8A8-D786-F635B79F6E2B}"/>
          </ac:picMkLst>
        </pc:picChg>
        <pc:picChg chg="add mod">
          <ac:chgData name="Esraa El-Kot" userId="7401c61d-6627-4825-bb42-0a7918122e7d" providerId="ADAL" clId="{C04F8B0C-A584-4476-866D-9BDE058FFB06}" dt="2022-07-02T21:09:46.014" v="634" actId="14100"/>
          <ac:picMkLst>
            <pc:docMk/>
            <pc:sldMk cId="4225529153" sldId="264"/>
            <ac:picMk id="55" creationId="{766EBFBB-3068-1B45-125F-C8CEE5A27B51}"/>
          </ac:picMkLst>
        </pc:picChg>
      </pc:sldChg>
      <pc:sldChg chg="modSp mod">
        <pc:chgData name="Esraa El-Kot" userId="7401c61d-6627-4825-bb42-0a7918122e7d" providerId="ADAL" clId="{C04F8B0C-A584-4476-866D-9BDE058FFB06}" dt="2022-07-02T20:16:04.951" v="31" actId="20577"/>
        <pc:sldMkLst>
          <pc:docMk/>
          <pc:sldMk cId="2855933007" sldId="302"/>
        </pc:sldMkLst>
        <pc:spChg chg="mod">
          <ac:chgData name="Esraa El-Kot" userId="7401c61d-6627-4825-bb42-0a7918122e7d" providerId="ADAL" clId="{C04F8B0C-A584-4476-866D-9BDE058FFB06}" dt="2022-07-02T20:16:04.951" v="31" actId="20577"/>
          <ac:spMkLst>
            <pc:docMk/>
            <pc:sldMk cId="2855933007" sldId="302"/>
            <ac:spMk id="24" creationId="{0274503B-5122-4623-AB9F-1245C2B01E9D}"/>
          </ac:spMkLst>
        </pc:spChg>
      </pc:sldChg>
      <pc:sldChg chg="modSp mod ord">
        <pc:chgData name="Esraa El-Kot" userId="7401c61d-6627-4825-bb42-0a7918122e7d" providerId="ADAL" clId="{C04F8B0C-A584-4476-866D-9BDE058FFB06}" dt="2022-07-03T11:59:31.945" v="1198" actId="20577"/>
        <pc:sldMkLst>
          <pc:docMk/>
          <pc:sldMk cId="1412608737" sldId="303"/>
        </pc:sldMkLst>
        <pc:spChg chg="mod">
          <ac:chgData name="Esraa El-Kot" userId="7401c61d-6627-4825-bb42-0a7918122e7d" providerId="ADAL" clId="{C04F8B0C-A584-4476-866D-9BDE058FFB06}" dt="2022-07-03T11:59:07.288" v="1192" actId="20577"/>
          <ac:spMkLst>
            <pc:docMk/>
            <pc:sldMk cId="1412608737" sldId="303"/>
            <ac:spMk id="27" creationId="{22E2A9F5-DEC0-45E0-BBBD-D54793A53A4D}"/>
          </ac:spMkLst>
        </pc:spChg>
        <pc:spChg chg="mod">
          <ac:chgData name="Esraa El-Kot" userId="7401c61d-6627-4825-bb42-0a7918122e7d" providerId="ADAL" clId="{C04F8B0C-A584-4476-866D-9BDE058FFB06}" dt="2022-07-03T11:59:31.945" v="1198" actId="20577"/>
          <ac:spMkLst>
            <pc:docMk/>
            <pc:sldMk cId="1412608737" sldId="303"/>
            <ac:spMk id="318" creationId="{2D2DC540-A0DC-4596-AA8A-0E0BD45646E1}"/>
          </ac:spMkLst>
        </pc:spChg>
      </pc:sldChg>
      <pc:sldChg chg="modSp mod modNotesTx">
        <pc:chgData name="Esraa El-Kot" userId="7401c61d-6627-4825-bb42-0a7918122e7d" providerId="ADAL" clId="{C04F8B0C-A584-4476-866D-9BDE058FFB06}" dt="2022-07-03T05:13:10.010" v="1031"/>
        <pc:sldMkLst>
          <pc:docMk/>
          <pc:sldMk cId="4279248047" sldId="304"/>
        </pc:sldMkLst>
        <pc:spChg chg="mod">
          <ac:chgData name="Esraa El-Kot" userId="7401c61d-6627-4825-bb42-0a7918122e7d" providerId="ADAL" clId="{C04F8B0C-A584-4476-866D-9BDE058FFB06}" dt="2022-07-03T05:13:10.010" v="1031"/>
          <ac:spMkLst>
            <pc:docMk/>
            <pc:sldMk cId="4279248047" sldId="304"/>
            <ac:spMk id="24" creationId="{0274503B-5122-4623-AB9F-1245C2B01E9D}"/>
          </ac:spMkLst>
        </pc:spChg>
      </pc:sldChg>
      <pc:sldChg chg="modSp add mod">
        <pc:chgData name="Esraa El-Kot" userId="7401c61d-6627-4825-bb42-0a7918122e7d" providerId="ADAL" clId="{C04F8B0C-A584-4476-866D-9BDE058FFB06}" dt="2022-07-02T21:13:27.497" v="677" actId="20577"/>
        <pc:sldMkLst>
          <pc:docMk/>
          <pc:sldMk cId="1272660958" sldId="305"/>
        </pc:sldMkLst>
        <pc:spChg chg="mod">
          <ac:chgData name="Esraa El-Kot" userId="7401c61d-6627-4825-bb42-0a7918122e7d" providerId="ADAL" clId="{C04F8B0C-A584-4476-866D-9BDE058FFB06}" dt="2022-07-02T20:51:43.849" v="269" actId="20577"/>
          <ac:spMkLst>
            <pc:docMk/>
            <pc:sldMk cId="1272660958" sldId="305"/>
            <ac:spMk id="4" creationId="{673714BC-1D6D-47E8-BDBC-A4EE1D7C9B24}"/>
          </ac:spMkLst>
        </pc:spChg>
        <pc:spChg chg="mod">
          <ac:chgData name="Esraa El-Kot" userId="7401c61d-6627-4825-bb42-0a7918122e7d" providerId="ADAL" clId="{C04F8B0C-A584-4476-866D-9BDE058FFB06}" dt="2022-07-02T21:13:27.497" v="677" actId="20577"/>
          <ac:spMkLst>
            <pc:docMk/>
            <pc:sldMk cId="1272660958" sldId="305"/>
            <ac:spMk id="24" creationId="{0274503B-5122-4623-AB9F-1245C2B01E9D}"/>
          </ac:spMkLst>
        </pc:spChg>
        <pc:grpChg chg="mod">
          <ac:chgData name="Esraa El-Kot" userId="7401c61d-6627-4825-bb42-0a7918122e7d" providerId="ADAL" clId="{C04F8B0C-A584-4476-866D-9BDE058FFB06}" dt="2022-07-02T20:51:41.272" v="265" actId="14100"/>
          <ac:grpSpMkLst>
            <pc:docMk/>
            <pc:sldMk cId="1272660958" sldId="305"/>
            <ac:grpSpMk id="44" creationId="{96681360-99F0-411F-872E-D08276548030}"/>
          </ac:grpSpMkLst>
        </pc:grpChg>
      </pc:sldChg>
      <pc:sldChg chg="addSp modSp mod modNotesTx">
        <pc:chgData name="Esraa El-Kot" userId="7401c61d-6627-4825-bb42-0a7918122e7d" providerId="ADAL" clId="{C04F8B0C-A584-4476-866D-9BDE058FFB06}" dt="2022-07-03T09:24:17.856" v="1104" actId="108"/>
        <pc:sldMkLst>
          <pc:docMk/>
          <pc:sldMk cId="519139049" sldId="306"/>
        </pc:sldMkLst>
        <pc:spChg chg="mod">
          <ac:chgData name="Esraa El-Kot" userId="7401c61d-6627-4825-bb42-0a7918122e7d" providerId="ADAL" clId="{C04F8B0C-A584-4476-866D-9BDE058FFB06}" dt="2022-07-03T09:19:14.865" v="1072"/>
          <ac:spMkLst>
            <pc:docMk/>
            <pc:sldMk cId="519139049" sldId="306"/>
            <ac:spMk id="5" creationId="{32C3F13E-4EC1-7914-EA2B-BC6BB5009959}"/>
          </ac:spMkLst>
        </pc:spChg>
        <pc:spChg chg="add mod">
          <ac:chgData name="Esraa El-Kot" userId="7401c61d-6627-4825-bb42-0a7918122e7d" providerId="ADAL" clId="{C04F8B0C-A584-4476-866D-9BDE058FFB06}" dt="2022-07-03T09:19:29.931" v="1075" actId="20577"/>
          <ac:spMkLst>
            <pc:docMk/>
            <pc:sldMk cId="519139049" sldId="306"/>
            <ac:spMk id="13" creationId="{5E78A964-E952-1763-1DC2-2BD358F6D56E}"/>
          </ac:spMkLst>
        </pc:spChg>
        <pc:spChg chg="add mod">
          <ac:chgData name="Esraa El-Kot" userId="7401c61d-6627-4825-bb42-0a7918122e7d" providerId="ADAL" clId="{C04F8B0C-A584-4476-866D-9BDE058FFB06}" dt="2022-07-03T09:22:22.141" v="1101" actId="20577"/>
          <ac:spMkLst>
            <pc:docMk/>
            <pc:sldMk cId="519139049" sldId="306"/>
            <ac:spMk id="15" creationId="{352C24FE-9A54-5688-0D9F-07195AA2CE23}"/>
          </ac:spMkLst>
        </pc:spChg>
        <pc:spChg chg="mod">
          <ac:chgData name="Esraa El-Kot" userId="7401c61d-6627-4825-bb42-0a7918122e7d" providerId="ADAL" clId="{C04F8B0C-A584-4476-866D-9BDE058FFB06}" dt="2022-07-03T09:24:17.856" v="1104" actId="108"/>
          <ac:spMkLst>
            <pc:docMk/>
            <pc:sldMk cId="519139049" sldId="306"/>
            <ac:spMk id="264" creationId="{E70C9D4F-8050-4F71-884D-E6727B17B33F}"/>
          </ac:spMkLst>
        </pc:spChg>
        <pc:spChg chg="mod">
          <ac:chgData name="Esraa El-Kot" userId="7401c61d-6627-4825-bb42-0a7918122e7d" providerId="ADAL" clId="{C04F8B0C-A584-4476-866D-9BDE058FFB06}" dt="2022-07-03T09:24:02.270" v="1103" actId="108"/>
          <ac:spMkLst>
            <pc:docMk/>
            <pc:sldMk cId="519139049" sldId="306"/>
            <ac:spMk id="516" creationId="{C66FF4E5-5F1C-438A-BB41-B06C980C6E21}"/>
          </ac:spMkLst>
        </pc:spChg>
        <pc:picChg chg="add mod">
          <ac:chgData name="Esraa El-Kot" userId="7401c61d-6627-4825-bb42-0a7918122e7d" providerId="ADAL" clId="{C04F8B0C-A584-4476-866D-9BDE058FFB06}" dt="2022-07-03T09:20:16.613" v="1078" actId="1076"/>
          <ac:picMkLst>
            <pc:docMk/>
            <pc:sldMk cId="519139049" sldId="306"/>
            <ac:picMk id="3" creationId="{D500AA42-8BEF-0EF0-0105-9BF0937BC983}"/>
          </ac:picMkLst>
        </pc:picChg>
        <pc:cxnChg chg="mod">
          <ac:chgData name="Esraa El-Kot" userId="7401c61d-6627-4825-bb42-0a7918122e7d" providerId="ADAL" clId="{C04F8B0C-A584-4476-866D-9BDE058FFB06}" dt="2022-07-03T09:19:57.501" v="1076" actId="1076"/>
          <ac:cxnSpMkLst>
            <pc:docMk/>
            <pc:sldMk cId="519139049" sldId="306"/>
            <ac:cxnSpMk id="795" creationId="{D55338C3-926A-4771-B71A-66C538E9ABBE}"/>
          </ac:cxnSpMkLst>
        </pc:cxnChg>
      </pc:sldChg>
      <pc:sldChg chg="modSp add del mod">
        <pc:chgData name="Esraa El-Kot" userId="7401c61d-6627-4825-bb42-0a7918122e7d" providerId="ADAL" clId="{C04F8B0C-A584-4476-866D-9BDE058FFB06}" dt="2022-07-02T20:51:37.657" v="262"/>
        <pc:sldMkLst>
          <pc:docMk/>
          <pc:sldMk cId="2852770460" sldId="306"/>
        </pc:sldMkLst>
        <pc:spChg chg="mod">
          <ac:chgData name="Esraa El-Kot" userId="7401c61d-6627-4825-bb42-0a7918122e7d" providerId="ADAL" clId="{C04F8B0C-A584-4476-866D-9BDE058FFB06}" dt="2022-07-02T20:51:36.665" v="261" actId="20577"/>
          <ac:spMkLst>
            <pc:docMk/>
            <pc:sldMk cId="2852770460" sldId="306"/>
            <ac:spMk id="4" creationId="{673714BC-1D6D-47E8-BDBC-A4EE1D7C9B24}"/>
          </ac:spMkLst>
        </pc:spChg>
      </pc:sldChg>
      <pc:sldChg chg="addSp delSp modSp add mod modNotesTx">
        <pc:chgData name="Esraa El-Kot" userId="7401c61d-6627-4825-bb42-0a7918122e7d" providerId="ADAL" clId="{C04F8B0C-A584-4476-866D-9BDE058FFB06}" dt="2022-07-03T09:27:36.953" v="1150" actId="20577"/>
        <pc:sldMkLst>
          <pc:docMk/>
          <pc:sldMk cId="48380074" sldId="307"/>
        </pc:sldMkLst>
        <pc:spChg chg="del">
          <ac:chgData name="Esraa El-Kot" userId="7401c61d-6627-4825-bb42-0a7918122e7d" providerId="ADAL" clId="{C04F8B0C-A584-4476-866D-9BDE058FFB06}" dt="2022-07-03T09:25:48.775" v="1106" actId="478"/>
          <ac:spMkLst>
            <pc:docMk/>
            <pc:sldMk cId="48380074" sldId="307"/>
            <ac:spMk id="3" creationId="{18D960EE-2147-4D1E-B86F-0DEFB1073E79}"/>
          </ac:spMkLst>
        </pc:spChg>
        <pc:spChg chg="add mod">
          <ac:chgData name="Esraa El-Kot" userId="7401c61d-6627-4825-bb42-0a7918122e7d" providerId="ADAL" clId="{C04F8B0C-A584-4476-866D-9BDE058FFB06}" dt="2022-07-03T09:27:03.396" v="1147" actId="20577"/>
          <ac:spMkLst>
            <pc:docMk/>
            <pc:sldMk cId="48380074" sldId="307"/>
            <ac:spMk id="525" creationId="{64925816-BCB7-FC43-3F2C-10346A849139}"/>
          </ac:spMkLst>
        </pc:spChg>
        <pc:spChg chg="add mod">
          <ac:chgData name="Esraa El-Kot" userId="7401c61d-6627-4825-bb42-0a7918122e7d" providerId="ADAL" clId="{C04F8B0C-A584-4476-866D-9BDE058FFB06}" dt="2022-07-03T09:27:17.356" v="1148"/>
          <ac:spMkLst>
            <pc:docMk/>
            <pc:sldMk cId="48380074" sldId="307"/>
            <ac:spMk id="526" creationId="{805EE8E5-6267-52A9-0E73-C35C058987CD}"/>
          </ac:spMkLst>
        </pc:spChg>
        <pc:spChg chg="del">
          <ac:chgData name="Esraa El-Kot" userId="7401c61d-6627-4825-bb42-0a7918122e7d" providerId="ADAL" clId="{C04F8B0C-A584-4476-866D-9BDE058FFB06}" dt="2022-07-03T09:25:53.813" v="1107" actId="478"/>
          <ac:spMkLst>
            <pc:docMk/>
            <pc:sldMk cId="48380074" sldId="307"/>
            <ac:spMk id="1415" creationId="{D432FA7A-6570-4846-8DB5-FF643E547C72}"/>
          </ac:spMkLst>
        </pc:spChg>
        <pc:grpChg chg="del">
          <ac:chgData name="Esraa El-Kot" userId="7401c61d-6627-4825-bb42-0a7918122e7d" providerId="ADAL" clId="{C04F8B0C-A584-4476-866D-9BDE058FFB06}" dt="2022-07-03T09:25:57.817" v="1108" actId="478"/>
          <ac:grpSpMkLst>
            <pc:docMk/>
            <pc:sldMk cId="48380074" sldId="307"/>
            <ac:grpSpMk id="1467" creationId="{697E1CBA-9B2A-46F5-9C90-8C2EADF655C2}"/>
          </ac:grpSpMkLst>
        </pc:grpChg>
        <pc:picChg chg="del">
          <ac:chgData name="Esraa El-Kot" userId="7401c61d-6627-4825-bb42-0a7918122e7d" providerId="ADAL" clId="{C04F8B0C-A584-4476-866D-9BDE058FFB06}" dt="2022-07-03T09:26:00.640" v="1109" actId="478"/>
          <ac:picMkLst>
            <pc:docMk/>
            <pc:sldMk cId="48380074" sldId="307"/>
            <ac:picMk id="4" creationId="{855E2E4A-BE66-41B9-9F6A-8580981CF682}"/>
          </ac:picMkLst>
        </pc:picChg>
        <pc:picChg chg="add mod modCrop">
          <ac:chgData name="Esraa El-Kot" userId="7401c61d-6627-4825-bb42-0a7918122e7d" providerId="ADAL" clId="{C04F8B0C-A584-4476-866D-9BDE058FFB06}" dt="2022-07-03T09:27:28.208" v="1149" actId="732"/>
          <ac:picMkLst>
            <pc:docMk/>
            <pc:sldMk cId="48380074" sldId="307"/>
            <ac:picMk id="5" creationId="{2DCCD3DB-F072-A70B-527D-98FC79E530B2}"/>
          </ac:picMkLst>
        </pc:picChg>
      </pc:sldChg>
    </pc:docChg>
  </pc:docChgLst>
  <pc:docChgLst>
    <pc:chgData name="Salma Sultan" userId="S::ssult103@uottawa.ca::383b03f0-d697-4f5f-a8ba-7f6d1491dc8e" providerId="AD" clId="Web-{496C71A2-EBC2-6F3A-D663-F82EFA9411D8}"/>
    <pc:docChg chg="addSld delSld modSld sldOrd">
      <pc:chgData name="Salma Sultan" userId="S::ssult103@uottawa.ca::383b03f0-d697-4f5f-a8ba-7f6d1491dc8e" providerId="AD" clId="Web-{496C71A2-EBC2-6F3A-D663-F82EFA9411D8}" dt="2022-07-03T13:06:32.505" v="197" actId="1076"/>
      <pc:docMkLst>
        <pc:docMk/>
      </pc:docMkLst>
      <pc:sldChg chg="modSp">
        <pc:chgData name="Salma Sultan" userId="S::ssult103@uottawa.ca::383b03f0-d697-4f5f-a8ba-7f6d1491dc8e" providerId="AD" clId="Web-{496C71A2-EBC2-6F3A-D663-F82EFA9411D8}" dt="2022-07-02T22:52:43.366" v="192" actId="1076"/>
        <pc:sldMkLst>
          <pc:docMk/>
          <pc:sldMk cId="3058024227" sldId="257"/>
        </pc:sldMkLst>
        <pc:spChg chg="mod">
          <ac:chgData name="Salma Sultan" userId="S::ssult103@uottawa.ca::383b03f0-d697-4f5f-a8ba-7f6d1491dc8e" providerId="AD" clId="Web-{496C71A2-EBC2-6F3A-D663-F82EFA9411D8}" dt="2022-07-02T21:46:07.429" v="21" actId="20577"/>
          <ac:spMkLst>
            <pc:docMk/>
            <pc:sldMk cId="3058024227" sldId="257"/>
            <ac:spMk id="272" creationId="{CDB919D4-12EF-4E56-B50B-56E6C6C1B3FE}"/>
          </ac:spMkLst>
        </pc:spChg>
        <pc:spChg chg="mod">
          <ac:chgData name="Salma Sultan" userId="S::ssult103@uottawa.ca::383b03f0-d697-4f5f-a8ba-7f6d1491dc8e" providerId="AD" clId="Web-{496C71A2-EBC2-6F3A-D663-F82EFA9411D8}" dt="2022-07-02T22:52:43.366" v="192" actId="1076"/>
          <ac:spMkLst>
            <pc:docMk/>
            <pc:sldMk cId="3058024227" sldId="257"/>
            <ac:spMk id="280" creationId="{31C11F0F-0B2B-4A1E-84AB-E89DEE0FADAF}"/>
          </ac:spMkLst>
        </pc:spChg>
        <pc:spChg chg="mod">
          <ac:chgData name="Salma Sultan" userId="S::ssult103@uottawa.ca::383b03f0-d697-4f5f-a8ba-7f6d1491dc8e" providerId="AD" clId="Web-{496C71A2-EBC2-6F3A-D663-F82EFA9411D8}" dt="2022-07-02T22:52:23.490" v="188" actId="1076"/>
          <ac:spMkLst>
            <pc:docMk/>
            <pc:sldMk cId="3058024227" sldId="257"/>
            <ac:spMk id="281" creationId="{4CF2A589-0509-4D8E-8177-727FCE439923}"/>
          </ac:spMkLst>
        </pc:spChg>
        <pc:grpChg chg="mod">
          <ac:chgData name="Salma Sultan" userId="S::ssult103@uottawa.ca::383b03f0-d697-4f5f-a8ba-7f6d1491dc8e" providerId="AD" clId="Web-{496C71A2-EBC2-6F3A-D663-F82EFA9411D8}" dt="2022-07-02T22:52:14.490" v="187" actId="1076"/>
          <ac:grpSpMkLst>
            <pc:docMk/>
            <pc:sldMk cId="3058024227" sldId="257"/>
            <ac:grpSpMk id="276" creationId="{AF5390B0-B0B8-4DCB-9D43-2AD6BD6209FD}"/>
          </ac:grpSpMkLst>
        </pc:grpChg>
        <pc:grpChg chg="mod">
          <ac:chgData name="Salma Sultan" userId="S::ssult103@uottawa.ca::383b03f0-d697-4f5f-a8ba-7f6d1491dc8e" providerId="AD" clId="Web-{496C71A2-EBC2-6F3A-D663-F82EFA9411D8}" dt="2022-07-02T22:52:39.834" v="191" actId="1076"/>
          <ac:grpSpMkLst>
            <pc:docMk/>
            <pc:sldMk cId="3058024227" sldId="257"/>
            <ac:grpSpMk id="277" creationId="{48C75098-3909-4515-A6A0-45888DBE8A7C}"/>
          </ac:grpSpMkLst>
        </pc:grpChg>
      </pc:sldChg>
      <pc:sldChg chg="modSp">
        <pc:chgData name="Salma Sultan" userId="S::ssult103@uottawa.ca::383b03f0-d697-4f5f-a8ba-7f6d1491dc8e" providerId="AD" clId="Web-{496C71A2-EBC2-6F3A-D663-F82EFA9411D8}" dt="2022-07-03T12:57:10.623" v="196" actId="20577"/>
        <pc:sldMkLst>
          <pc:docMk/>
          <pc:sldMk cId="1330945469" sldId="261"/>
        </pc:sldMkLst>
        <pc:spChg chg="mod">
          <ac:chgData name="Salma Sultan" userId="S::ssult103@uottawa.ca::383b03f0-d697-4f5f-a8ba-7f6d1491dc8e" providerId="AD" clId="Web-{496C71A2-EBC2-6F3A-D663-F82EFA9411D8}" dt="2022-07-03T12:57:10.623" v="196" actId="20577"/>
          <ac:spMkLst>
            <pc:docMk/>
            <pc:sldMk cId="1330945469" sldId="261"/>
            <ac:spMk id="33" creationId="{CA74E577-AEC3-368E-E4A8-E5FBDCC9B985}"/>
          </ac:spMkLst>
        </pc:spChg>
      </pc:sldChg>
      <pc:sldChg chg="addSp delSp modSp">
        <pc:chgData name="Salma Sultan" userId="S::ssult103@uottawa.ca::383b03f0-d697-4f5f-a8ba-7f6d1491dc8e" providerId="AD" clId="Web-{496C71A2-EBC2-6F3A-D663-F82EFA9411D8}" dt="2022-07-03T13:06:32.505" v="197" actId="1076"/>
        <pc:sldMkLst>
          <pc:docMk/>
          <pc:sldMk cId="4225529153" sldId="264"/>
        </pc:sldMkLst>
        <pc:spChg chg="mod">
          <ac:chgData name="Salma Sultan" userId="S::ssult103@uottawa.ca::383b03f0-d697-4f5f-a8ba-7f6d1491dc8e" providerId="AD" clId="Web-{496C71A2-EBC2-6F3A-D663-F82EFA9411D8}" dt="2022-07-02T21:45:35.147" v="17" actId="1076"/>
          <ac:spMkLst>
            <pc:docMk/>
            <pc:sldMk cId="4225529153" sldId="264"/>
            <ac:spMk id="10" creationId="{6DFD470C-F9C3-3831-F029-A85B3F15F034}"/>
          </ac:spMkLst>
        </pc:spChg>
        <pc:spChg chg="mod">
          <ac:chgData name="Salma Sultan" userId="S::ssult103@uottawa.ca::383b03f0-d697-4f5f-a8ba-7f6d1491dc8e" providerId="AD" clId="Web-{496C71A2-EBC2-6F3A-D663-F82EFA9411D8}" dt="2022-07-03T12:53:50.702" v="193" actId="1076"/>
          <ac:spMkLst>
            <pc:docMk/>
            <pc:sldMk cId="4225529153" sldId="264"/>
            <ac:spMk id="27" creationId="{22E2A9F5-DEC0-45E0-BBBD-D54793A53A4D}"/>
          </ac:spMkLst>
        </pc:spChg>
        <pc:spChg chg="mod">
          <ac:chgData name="Salma Sultan" userId="S::ssult103@uottawa.ca::383b03f0-d697-4f5f-a8ba-7f6d1491dc8e" providerId="AD" clId="Web-{496C71A2-EBC2-6F3A-D663-F82EFA9411D8}" dt="2022-07-02T21:45:31.866" v="15" actId="1076"/>
          <ac:spMkLst>
            <pc:docMk/>
            <pc:sldMk cId="4225529153" sldId="264"/>
            <ac:spMk id="53" creationId="{2BA6285C-B96E-3A20-8270-BB9E1CDC59F4}"/>
          </ac:spMkLst>
        </pc:spChg>
        <pc:grpChg chg="add mod">
          <ac:chgData name="Salma Sultan" userId="S::ssult103@uottawa.ca::383b03f0-d697-4f5f-a8ba-7f6d1491dc8e" providerId="AD" clId="Web-{496C71A2-EBC2-6F3A-D663-F82EFA9411D8}" dt="2022-07-02T21:45:39.319" v="18" actId="1076"/>
          <ac:grpSpMkLst>
            <pc:docMk/>
            <pc:sldMk cId="4225529153" sldId="264"/>
            <ac:grpSpMk id="14" creationId="{59E7EEAF-DC66-EB89-9130-100D7892E631}"/>
          </ac:grpSpMkLst>
        </pc:grpChg>
        <pc:picChg chg="add del mod">
          <ac:chgData name="Salma Sultan" userId="S::ssult103@uottawa.ca::383b03f0-d697-4f5f-a8ba-7f6d1491dc8e" providerId="AD" clId="Web-{496C71A2-EBC2-6F3A-D663-F82EFA9411D8}" dt="2022-07-02T21:44:49.897" v="5"/>
          <ac:picMkLst>
            <pc:docMk/>
            <pc:sldMk cId="4225529153" sldId="264"/>
            <ac:picMk id="5" creationId="{56150816-0926-2392-2D63-39B3323A559C}"/>
          </ac:picMkLst>
        </pc:picChg>
        <pc:picChg chg="mod">
          <ac:chgData name="Salma Sultan" userId="S::ssult103@uottawa.ca::383b03f0-d697-4f5f-a8ba-7f6d1491dc8e" providerId="AD" clId="Web-{496C71A2-EBC2-6F3A-D663-F82EFA9411D8}" dt="2022-07-03T13:06:32.505" v="197" actId="1076"/>
          <ac:picMkLst>
            <pc:docMk/>
            <pc:sldMk cId="4225529153" sldId="264"/>
            <ac:picMk id="28" creationId="{0D769833-9CE2-46AC-8064-1B530AA947B4}"/>
          </ac:picMkLst>
        </pc:picChg>
        <pc:picChg chg="add del">
          <ac:chgData name="Salma Sultan" userId="S::ssult103@uottawa.ca::383b03f0-d697-4f5f-a8ba-7f6d1491dc8e" providerId="AD" clId="Web-{496C71A2-EBC2-6F3A-D663-F82EFA9411D8}" dt="2022-07-02T21:45:23.210" v="13"/>
          <ac:picMkLst>
            <pc:docMk/>
            <pc:sldMk cId="4225529153" sldId="264"/>
            <ac:picMk id="55" creationId="{766EBFBB-3068-1B45-125F-C8CEE5A27B51}"/>
          </ac:picMkLst>
        </pc:picChg>
      </pc:sldChg>
      <pc:sldChg chg="addSp delSp modSp">
        <pc:chgData name="Salma Sultan" userId="S::ssult103@uottawa.ca::383b03f0-d697-4f5f-a8ba-7f6d1491dc8e" providerId="AD" clId="Web-{496C71A2-EBC2-6F3A-D663-F82EFA9411D8}" dt="2022-07-02T22:08:12.955" v="182"/>
        <pc:sldMkLst>
          <pc:docMk/>
          <pc:sldMk cId="2855933007" sldId="302"/>
        </pc:sldMkLst>
        <pc:spChg chg="mod">
          <ac:chgData name="Salma Sultan" userId="S::ssult103@uottawa.ca::383b03f0-d697-4f5f-a8ba-7f6d1491dc8e" providerId="AD" clId="Web-{496C71A2-EBC2-6F3A-D663-F82EFA9411D8}" dt="2022-07-02T22:05:46.735" v="174" actId="1076"/>
          <ac:spMkLst>
            <pc:docMk/>
            <pc:sldMk cId="2855933007" sldId="302"/>
            <ac:spMk id="24" creationId="{0274503B-5122-4623-AB9F-1245C2B01E9D}"/>
          </ac:spMkLst>
        </pc:spChg>
        <pc:grpChg chg="mod">
          <ac:chgData name="Salma Sultan" userId="S::ssult103@uottawa.ca::383b03f0-d697-4f5f-a8ba-7f6d1491dc8e" providerId="AD" clId="Web-{496C71A2-EBC2-6F3A-D663-F82EFA9411D8}" dt="2022-07-02T22:05:49.813" v="175" actId="1076"/>
          <ac:grpSpMkLst>
            <pc:docMk/>
            <pc:sldMk cId="2855933007" sldId="302"/>
            <ac:grpSpMk id="44" creationId="{96681360-99F0-411F-872E-D08276548030}"/>
          </ac:grpSpMkLst>
        </pc:grpChg>
        <pc:grpChg chg="add del">
          <ac:chgData name="Salma Sultan" userId="S::ssult103@uottawa.ca::383b03f0-d697-4f5f-a8ba-7f6d1491dc8e" providerId="AD" clId="Web-{496C71A2-EBC2-6F3A-D663-F82EFA9411D8}" dt="2022-07-02T22:08:12.955" v="182"/>
          <ac:grpSpMkLst>
            <pc:docMk/>
            <pc:sldMk cId="2855933007" sldId="302"/>
            <ac:grpSpMk id="187" creationId="{33E9FC51-B1FA-EABB-30A1-EF824AE84E5F}"/>
          </ac:grpSpMkLst>
        </pc:grpChg>
        <pc:picChg chg="add del mod">
          <ac:chgData name="Salma Sultan" userId="S::ssult103@uottawa.ca::383b03f0-d697-4f5f-a8ba-7f6d1491dc8e" providerId="AD" clId="Web-{496C71A2-EBC2-6F3A-D663-F82EFA9411D8}" dt="2022-07-02T22:04:50.875" v="165"/>
          <ac:picMkLst>
            <pc:docMk/>
            <pc:sldMk cId="2855933007" sldId="302"/>
            <ac:picMk id="2" creationId="{44608D6D-E071-7FCB-98F6-22543DBDB2B2}"/>
          </ac:picMkLst>
        </pc:picChg>
        <pc:picChg chg="add mod">
          <ac:chgData name="Salma Sultan" userId="S::ssult103@uottawa.ca::383b03f0-d697-4f5f-a8ba-7f6d1491dc8e" providerId="AD" clId="Web-{496C71A2-EBC2-6F3A-D663-F82EFA9411D8}" dt="2022-07-02T22:06:27.970" v="180" actId="1076"/>
          <ac:picMkLst>
            <pc:docMk/>
            <pc:sldMk cId="2855933007" sldId="302"/>
            <ac:picMk id="3" creationId="{0497C7C2-7330-7834-D7DA-92ECDE8A7DA2}"/>
          </ac:picMkLst>
        </pc:picChg>
      </pc:sldChg>
      <pc:sldChg chg="del">
        <pc:chgData name="Salma Sultan" userId="S::ssult103@uottawa.ca::383b03f0-d697-4f5f-a8ba-7f6d1491dc8e" providerId="AD" clId="Web-{496C71A2-EBC2-6F3A-D663-F82EFA9411D8}" dt="2022-07-02T22:03:35.336" v="163"/>
        <pc:sldMkLst>
          <pc:docMk/>
          <pc:sldMk cId="1272660958" sldId="305"/>
        </pc:sldMkLst>
      </pc:sldChg>
      <pc:sldChg chg="addSp delSp modSp add ord replId">
        <pc:chgData name="Salma Sultan" userId="S::ssult103@uottawa.ca::383b03f0-d697-4f5f-a8ba-7f6d1491dc8e" providerId="AD" clId="Web-{496C71A2-EBC2-6F3A-D663-F82EFA9411D8}" dt="2022-07-02T22:11:06.676" v="184" actId="1076"/>
        <pc:sldMkLst>
          <pc:docMk/>
          <pc:sldMk cId="519139049" sldId="306"/>
        </pc:sldMkLst>
        <pc:spChg chg="add del">
          <ac:chgData name="Salma Sultan" userId="S::ssult103@uottawa.ca::383b03f0-d697-4f5f-a8ba-7f6d1491dc8e" providerId="AD" clId="Web-{496C71A2-EBC2-6F3A-D663-F82EFA9411D8}" dt="2022-07-02T21:50:22.385" v="47"/>
          <ac:spMkLst>
            <pc:docMk/>
            <pc:sldMk cId="519139049" sldId="306"/>
            <ac:spMk id="3" creationId="{E16B5EFA-4338-5A78-468B-ADD881920026}"/>
          </ac:spMkLst>
        </pc:spChg>
        <pc:spChg chg="add mod">
          <ac:chgData name="Salma Sultan" userId="S::ssult103@uottawa.ca::383b03f0-d697-4f5f-a8ba-7f6d1491dc8e" providerId="AD" clId="Web-{496C71A2-EBC2-6F3A-D663-F82EFA9411D8}" dt="2022-07-02T22:02:07.382" v="143" actId="1076"/>
          <ac:spMkLst>
            <pc:docMk/>
            <pc:sldMk cId="519139049" sldId="306"/>
            <ac:spMk id="4" creationId="{2DA3684B-CF07-1206-2ED5-101B1A02AEA1}"/>
          </ac:spMkLst>
        </pc:spChg>
        <pc:spChg chg="add mod">
          <ac:chgData name="Salma Sultan" userId="S::ssult103@uottawa.ca::383b03f0-d697-4f5f-a8ba-7f6d1491dc8e" providerId="AD" clId="Web-{496C71A2-EBC2-6F3A-D663-F82EFA9411D8}" dt="2022-07-02T22:01:12.100" v="130" actId="1076"/>
          <ac:spMkLst>
            <pc:docMk/>
            <pc:sldMk cId="519139049" sldId="306"/>
            <ac:spMk id="5" creationId="{32C3F13E-4EC1-7914-EA2B-BC6BB5009959}"/>
          </ac:spMkLst>
        </pc:spChg>
        <pc:spChg chg="mod">
          <ac:chgData name="Salma Sultan" userId="S::ssult103@uottawa.ca::383b03f0-d697-4f5f-a8ba-7f6d1491dc8e" providerId="AD" clId="Web-{496C71A2-EBC2-6F3A-D663-F82EFA9411D8}" dt="2022-07-02T21:48:53.446" v="34" actId="20577"/>
          <ac:spMkLst>
            <pc:docMk/>
            <pc:sldMk cId="519139049" sldId="306"/>
            <ac:spMk id="7" creationId="{C3832F0A-ABD6-48FE-B131-19BEA5E83CB6}"/>
          </ac:spMkLst>
        </pc:spChg>
        <pc:spChg chg="del mod">
          <ac:chgData name="Salma Sultan" userId="S::ssult103@uottawa.ca::383b03f0-d697-4f5f-a8ba-7f6d1491dc8e" providerId="AD" clId="Web-{496C71A2-EBC2-6F3A-D663-F82EFA9411D8}" dt="2022-07-02T22:03:05.992" v="158"/>
          <ac:spMkLst>
            <pc:docMk/>
            <pc:sldMk cId="519139049" sldId="306"/>
            <ac:spMk id="13" creationId="{DDAB8B54-EAF5-4F75-B986-765C4FA4E04A}"/>
          </ac:spMkLst>
        </pc:spChg>
        <pc:spChg chg="del">
          <ac:chgData name="Salma Sultan" userId="S::ssult103@uottawa.ca::383b03f0-d697-4f5f-a8ba-7f6d1491dc8e" providerId="AD" clId="Web-{496C71A2-EBC2-6F3A-D663-F82EFA9411D8}" dt="2022-07-02T22:02:58.789" v="156"/>
          <ac:spMkLst>
            <pc:docMk/>
            <pc:sldMk cId="519139049" sldId="306"/>
            <ac:spMk id="221" creationId="{3DC491F9-6751-4F5A-B95F-A13D9B4982F6}"/>
          </ac:spMkLst>
        </pc:spChg>
        <pc:spChg chg="del">
          <ac:chgData name="Salma Sultan" userId="S::ssult103@uottawa.ca::383b03f0-d697-4f5f-a8ba-7f6d1491dc8e" providerId="AD" clId="Web-{496C71A2-EBC2-6F3A-D663-F82EFA9411D8}" dt="2022-07-02T22:03:01.195" v="157"/>
          <ac:spMkLst>
            <pc:docMk/>
            <pc:sldMk cId="519139049" sldId="306"/>
            <ac:spMk id="224" creationId="{EDB9C2E7-384B-4851-9FB9-C66D27196D08}"/>
          </ac:spMkLst>
        </pc:spChg>
        <pc:spChg chg="del">
          <ac:chgData name="Salma Sultan" userId="S::ssult103@uottawa.ca::383b03f0-d697-4f5f-a8ba-7f6d1491dc8e" providerId="AD" clId="Web-{496C71A2-EBC2-6F3A-D663-F82EFA9411D8}" dt="2022-07-02T22:02:54.664" v="155"/>
          <ac:spMkLst>
            <pc:docMk/>
            <pc:sldMk cId="519139049" sldId="306"/>
            <ac:spMk id="230" creationId="{0FF6EEDA-E850-4D68-81F9-E8B98BB21AC0}"/>
          </ac:spMkLst>
        </pc:spChg>
        <pc:spChg chg="mod">
          <ac:chgData name="Salma Sultan" userId="S::ssult103@uottawa.ca::383b03f0-d697-4f5f-a8ba-7f6d1491dc8e" providerId="AD" clId="Web-{496C71A2-EBC2-6F3A-D663-F82EFA9411D8}" dt="2022-07-02T22:11:06.676" v="184" actId="1076"/>
          <ac:spMkLst>
            <pc:docMk/>
            <pc:sldMk cId="519139049" sldId="306"/>
            <ac:spMk id="264" creationId="{E70C9D4F-8050-4F71-884D-E6727B17B33F}"/>
          </ac:spMkLst>
        </pc:spChg>
        <pc:spChg chg="del mod">
          <ac:chgData name="Salma Sultan" userId="S::ssult103@uottawa.ca::383b03f0-d697-4f5f-a8ba-7f6d1491dc8e" providerId="AD" clId="Web-{496C71A2-EBC2-6F3A-D663-F82EFA9411D8}" dt="2022-07-02T21:49:09.197" v="36"/>
          <ac:spMkLst>
            <pc:docMk/>
            <pc:sldMk cId="519139049" sldId="306"/>
            <ac:spMk id="289" creationId="{42F1A168-0DD5-4829-A178-D21EB9CE3348}"/>
          </ac:spMkLst>
        </pc:spChg>
        <pc:spChg chg="del">
          <ac:chgData name="Salma Sultan" userId="S::ssult103@uottawa.ca::383b03f0-d697-4f5f-a8ba-7f6d1491dc8e" providerId="AD" clId="Web-{496C71A2-EBC2-6F3A-D663-F82EFA9411D8}" dt="2022-07-02T21:49:15.431" v="37"/>
          <ac:spMkLst>
            <pc:docMk/>
            <pc:sldMk cId="519139049" sldId="306"/>
            <ac:spMk id="381" creationId="{EF21FA22-5894-4DFE-AC15-A76F915B6173}"/>
          </ac:spMkLst>
        </pc:spChg>
        <pc:spChg chg="mod">
          <ac:chgData name="Salma Sultan" userId="S::ssult103@uottawa.ca::383b03f0-d697-4f5f-a8ba-7f6d1491dc8e" providerId="AD" clId="Web-{496C71A2-EBC2-6F3A-D663-F82EFA9411D8}" dt="2022-07-02T22:11:03.645" v="183" actId="1076"/>
          <ac:spMkLst>
            <pc:docMk/>
            <pc:sldMk cId="519139049" sldId="306"/>
            <ac:spMk id="516" creationId="{C66FF4E5-5F1C-438A-BB41-B06C980C6E21}"/>
          </ac:spMkLst>
        </pc:spChg>
        <pc:grpChg chg="del">
          <ac:chgData name="Salma Sultan" userId="S::ssult103@uottawa.ca::383b03f0-d697-4f5f-a8ba-7f6d1491dc8e" providerId="AD" clId="Web-{496C71A2-EBC2-6F3A-D663-F82EFA9411D8}" dt="2022-07-02T22:03:21.414" v="161"/>
          <ac:grpSpMkLst>
            <pc:docMk/>
            <pc:sldMk cId="519139049" sldId="306"/>
            <ac:grpSpMk id="233" creationId="{47FD5FC0-05E6-4164-B0E5-8D2A9A88D7FC}"/>
          </ac:grpSpMkLst>
        </pc:grpChg>
        <pc:graphicFrameChg chg="del mod">
          <ac:chgData name="Salma Sultan" userId="S::ssult103@uottawa.ca::383b03f0-d697-4f5f-a8ba-7f6d1491dc8e" providerId="AD" clId="Web-{496C71A2-EBC2-6F3A-D663-F82EFA9411D8}" dt="2022-07-02T22:01:01.835" v="128"/>
          <ac:graphicFrameMkLst>
            <pc:docMk/>
            <pc:sldMk cId="519139049" sldId="306"/>
            <ac:graphicFrameMk id="6" creationId="{B7D8496A-1BE1-4815-8D59-8CA04E0ECD52}"/>
          </ac:graphicFrameMkLst>
        </pc:graphicFrameChg>
        <pc:picChg chg="add del mod">
          <ac:chgData name="Salma Sultan" userId="S::ssult103@uottawa.ca::383b03f0-d697-4f5f-a8ba-7f6d1491dc8e" providerId="AD" clId="Web-{496C71A2-EBC2-6F3A-D663-F82EFA9411D8}" dt="2022-07-02T22:03:25.227" v="162" actId="1076"/>
          <ac:picMkLst>
            <pc:docMk/>
            <pc:sldMk cId="519139049" sldId="306"/>
            <ac:picMk id="8" creationId="{7E823262-A4EB-608C-58C0-74C9E91ECA2E}"/>
          </ac:picMkLst>
        </pc:picChg>
        <pc:cxnChg chg="del">
          <ac:chgData name="Salma Sultan" userId="S::ssult103@uottawa.ca::383b03f0-d697-4f5f-a8ba-7f6d1491dc8e" providerId="AD" clId="Web-{496C71A2-EBC2-6F3A-D663-F82EFA9411D8}" dt="2022-07-02T22:01:05.225" v="129"/>
          <ac:cxnSpMkLst>
            <pc:docMk/>
            <pc:sldMk cId="519139049" sldId="306"/>
            <ac:cxnSpMk id="797" creationId="{CD096C55-0292-4895-984F-116404E84E73}"/>
          </ac:cxnSpMkLst>
        </pc:cxnChg>
      </pc:sldChg>
      <pc:sldChg chg="addSp delSp modSp add del ord replId">
        <pc:chgData name="Salma Sultan" userId="S::ssult103@uottawa.ca::383b03f0-d697-4f5f-a8ba-7f6d1491dc8e" providerId="AD" clId="Web-{496C71A2-EBC2-6F3A-D663-F82EFA9411D8}" dt="2022-07-02T21:48:18.165" v="30"/>
        <pc:sldMkLst>
          <pc:docMk/>
          <pc:sldMk cId="647063129" sldId="306"/>
        </pc:sldMkLst>
        <pc:spChg chg="mod">
          <ac:chgData name="Salma Sultan" userId="S::ssult103@uottawa.ca::383b03f0-d697-4f5f-a8ba-7f6d1491dc8e" providerId="AD" clId="Web-{496C71A2-EBC2-6F3A-D663-F82EFA9411D8}" dt="2022-07-02T21:46:20.741" v="23" actId="20577"/>
          <ac:spMkLst>
            <pc:docMk/>
            <pc:sldMk cId="647063129" sldId="306"/>
            <ac:spMk id="70" creationId="{5B5230DF-80E3-4A80-8F71-3A1E31FDD42F}"/>
          </ac:spMkLst>
        </pc:spChg>
        <pc:spChg chg="add del mod">
          <ac:chgData name="Salma Sultan" userId="S::ssult103@uottawa.ca::383b03f0-d697-4f5f-a8ba-7f6d1491dc8e" providerId="AD" clId="Web-{496C71A2-EBC2-6F3A-D663-F82EFA9411D8}" dt="2022-07-02T21:47:53.618" v="29"/>
          <ac:spMkLst>
            <pc:docMk/>
            <pc:sldMk cId="647063129" sldId="306"/>
            <ac:spMk id="280" creationId="{31C11F0F-0B2B-4A1E-84AB-E89DEE0FADAF}"/>
          </ac:spMkLst>
        </pc:spChg>
      </pc:sldChg>
    </pc:docChg>
  </pc:docChgLst>
  <pc:docChgLst>
    <pc:chgData name="Guest User" userId="S::urn:spo:anon#3b8c5595a8edaa58482bf1adc23ccd03ee541458c20360dd83ae88df3b771610::" providerId="AD" clId="Web-{D938CEF9-8F03-FD29-DFEC-A3049C66BD2C}"/>
    <pc:docChg chg="modSld">
      <pc:chgData name="Guest User" userId="S::urn:spo:anon#3b8c5595a8edaa58482bf1adc23ccd03ee541458c20360dd83ae88df3b771610::" providerId="AD" clId="Web-{D938CEF9-8F03-FD29-DFEC-A3049C66BD2C}" dt="2022-07-03T13:03:00.691" v="5"/>
      <pc:docMkLst>
        <pc:docMk/>
      </pc:docMkLst>
      <pc:sldChg chg="addSp">
        <pc:chgData name="Guest User" userId="S::urn:spo:anon#3b8c5595a8edaa58482bf1adc23ccd03ee541458c20360dd83ae88df3b771610::" providerId="AD" clId="Web-{D938CEF9-8F03-FD29-DFEC-A3049C66BD2C}" dt="2022-07-03T13:03:00.691" v="5"/>
        <pc:sldMkLst>
          <pc:docMk/>
          <pc:sldMk cId="3770786968" sldId="256"/>
        </pc:sldMkLst>
        <pc:spChg chg="add">
          <ac:chgData name="Guest User" userId="S::urn:spo:anon#3b8c5595a8edaa58482bf1adc23ccd03ee541458c20360dd83ae88df3b771610::" providerId="AD" clId="Web-{D938CEF9-8F03-FD29-DFEC-A3049C66BD2C}" dt="2022-07-03T13:03:00.691" v="5"/>
          <ac:spMkLst>
            <pc:docMk/>
            <pc:sldMk cId="3770786968" sldId="256"/>
            <ac:spMk id="2" creationId="{2FE9D740-2BBC-BF0A-2073-E96621638A4E}"/>
          </ac:spMkLst>
        </pc:spChg>
      </pc:sldChg>
      <pc:sldChg chg="modSp">
        <pc:chgData name="Guest User" userId="S::urn:spo:anon#3b8c5595a8edaa58482bf1adc23ccd03ee541458c20360dd83ae88df3b771610::" providerId="AD" clId="Web-{D938CEF9-8F03-FD29-DFEC-A3049C66BD2C}" dt="2022-07-03T12:18:58.186" v="4" actId="1076"/>
        <pc:sldMkLst>
          <pc:docMk/>
          <pc:sldMk cId="519139049" sldId="306"/>
        </pc:sldMkLst>
        <pc:spChg chg="mod">
          <ac:chgData name="Guest User" userId="S::urn:spo:anon#3b8c5595a8edaa58482bf1adc23ccd03ee541458c20360dd83ae88df3b771610::" providerId="AD" clId="Web-{D938CEF9-8F03-FD29-DFEC-A3049C66BD2C}" dt="2022-07-03T12:18:58.186" v="4" actId="1076"/>
          <ac:spMkLst>
            <pc:docMk/>
            <pc:sldMk cId="519139049" sldId="306"/>
            <ac:spMk id="4" creationId="{2DA3684B-CF07-1206-2ED5-101B1A02AEA1}"/>
          </ac:spMkLst>
        </pc:spChg>
        <pc:spChg chg="mod">
          <ac:chgData name="Guest User" userId="S::urn:spo:anon#3b8c5595a8edaa58482bf1adc23ccd03ee541458c20360dd83ae88df3b771610::" providerId="AD" clId="Web-{D938CEF9-8F03-FD29-DFEC-A3049C66BD2C}" dt="2022-07-03T12:12:54.411" v="0" actId="1076"/>
          <ac:spMkLst>
            <pc:docMk/>
            <pc:sldMk cId="519139049" sldId="306"/>
            <ac:spMk id="5" creationId="{32C3F13E-4EC1-7914-EA2B-BC6BB5009959}"/>
          </ac:spMkLst>
        </pc:spChg>
        <pc:spChg chg="mod">
          <ac:chgData name="Guest User" userId="S::urn:spo:anon#3b8c5595a8edaa58482bf1adc23ccd03ee541458c20360dd83ae88df3b771610::" providerId="AD" clId="Web-{D938CEF9-8F03-FD29-DFEC-A3049C66BD2C}" dt="2022-07-03T12:12:57.958" v="1" actId="1076"/>
          <ac:spMkLst>
            <pc:docMk/>
            <pc:sldMk cId="519139049" sldId="306"/>
            <ac:spMk id="13" creationId="{5E78A964-E952-1763-1DC2-2BD358F6D56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7_871C5D26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50800"/>
          </c:spPr>
          <c:dPt>
            <c:idx val="0"/>
            <c:bubble3D val="0"/>
            <c:spPr>
              <a:solidFill>
                <a:srgbClr val="F7AB9B"/>
              </a:solidFill>
              <a:ln w="508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E23-4A60-825E-8B60900E46D6}"/>
              </c:ext>
            </c:extLst>
          </c:dPt>
          <c:dPt>
            <c:idx val="1"/>
            <c:bubble3D val="0"/>
            <c:spPr>
              <a:solidFill>
                <a:srgbClr val="094A44"/>
              </a:solidFill>
              <a:ln w="508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E23-4A60-825E-8B60900E46D6}"/>
              </c:ext>
            </c:extLst>
          </c:dPt>
          <c:dPt>
            <c:idx val="2"/>
            <c:bubble3D val="0"/>
            <c:spPr>
              <a:solidFill>
                <a:srgbClr val="45726D"/>
              </a:solidFill>
              <a:ln w="508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E23-4A60-825E-8B60900E46D6}"/>
              </c:ext>
            </c:extLst>
          </c:dPt>
          <c:dPt>
            <c:idx val="3"/>
            <c:bubble3D val="0"/>
            <c:spPr>
              <a:solidFill>
                <a:srgbClr val="FF725E"/>
              </a:solidFill>
              <a:ln w="508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E23-4A60-825E-8B60900E46D6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23-4A60-825E-8B60900E46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EAE50B-78F2-40D2-BCA5-5A9AD787A0AD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F1A93A-355D-4CDE-8294-B36B06ECC3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611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freepik.com/free-vector/creative-team-concept-illustration_10769819.htm#&amp;position=12&amp;from_view=detail#&amp;position=12&amp;from_view=detail</a:t>
            </a:r>
          </a:p>
          <a:p>
            <a:r>
              <a:rPr lang="en-US"/>
              <a:t>Team 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F1A93A-355D-4CDE-8294-B36B06ECC3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1046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storyset.com/illustration/deadline/pa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F1A93A-355D-4CDE-8294-B36B06ECC3D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5368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aper’s lin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51059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storyset.com/illustration/back-to-back/pa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F1A93A-355D-4CDE-8294-B36B06ECC3D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97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freepik.com/free-vector/remote-meeting-concept-illustration_11906661.htm#query=team&amp;position=16&amp;from_view=search</a:t>
            </a:r>
          </a:p>
          <a:p>
            <a:endParaRPr lang="en-US"/>
          </a:p>
          <a:p>
            <a:r>
              <a:rPr lang="en-US"/>
              <a:t>https://www.freepik.com/free-vector/avatars-set-with-people-face-social-media-profile-app-vector-flat-collection-men-women-heads-circle-frame-female-male-characters-portraits-with-different-hairstyle_22445017.htm#&amp;position=0&amp;from_view=detail#&amp;position=0&amp;from_view=detail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/>
              <a:t>K-15 scale??</a:t>
            </a: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F1A93A-355D-4CDE-8294-B36B06ECC3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961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freepik.com/free-vector/remote-meeting-concept-illustration_11906661.htm#query=team&amp;position=16&amp;from_view=search</a:t>
            </a:r>
          </a:p>
          <a:p>
            <a:endParaRPr lang="en-US"/>
          </a:p>
          <a:p>
            <a:r>
              <a:rPr lang="en-US"/>
              <a:t>https://www.freepik.com/free-vector/avatars-set-with-people-face-social-media-profile-app-vector-flat-collection-men-women-heads-circle-frame-female-male-characters-portraits-with-different-hairstyle_22445017.htm#&amp;position=0&amp;from_view=detail#&amp;position=0&amp;from_view=detail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F1A93A-355D-4CDE-8294-B36B06ECC3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7908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F1A93A-355D-4CDE-8294-B36B06ECC3D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4164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F1A93A-355D-4CDE-8294-B36B06ECC3D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8224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freepik.com/free-vector/multi-device-targeting-concept-illustration_18407463.htm#&amp;position=15&amp;from_view=autho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F1A93A-355D-4CDE-8294-B36B06ECC3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303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freepik.com/free-vector/team-goals-concept-illustration_12704338.htm#&amp;position=44&amp;from_view=authorhttps://www.freepik.com/free-vector/team-goals-concept-illustration_12704338.htm#&amp;position=44&amp;from_view=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F1A93A-355D-4CDE-8294-B36B06ECC3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9936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ttps://www.freepik.com/free-vector/team-goals-concept-illustration_12704338.htm#&amp;position=44&amp;from_view=authorhttps://www.freepik.com/free-vector/team-goals-concept-illustration_12704338.htm#&amp;position=44&amp;from_view=author</a:t>
            </a:r>
          </a:p>
          <a:p>
            <a:r>
              <a:rPr lang="en-US"/>
              <a:t>Other emotion </a:t>
            </a:r>
            <a:r>
              <a:rPr lang="en-US" err="1"/>
              <a:t>calssifiers</a:t>
            </a:r>
            <a:r>
              <a:rPr lang="en-US"/>
              <a:t> results can be found in the following link that had higher accuracy</a:t>
            </a:r>
          </a:p>
          <a:p>
            <a:r>
              <a:rPr lang="en-US"/>
              <a:t>https://iopscience.iop.org/article/10.1088/1757-899X/769/1/012022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F1A93A-355D-4CDE-8294-B36B06ECC3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83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E3A35E-481E-47EC-BB10-A7EA0E6624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06B78B-E273-4DFF-AA2B-5B36EFF1B0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709AE9-0A65-4EDE-98C9-1BCA73A77A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5C111B-8BBE-4D2C-A7A0-E9A8C840C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C59B17-70F3-4FF6-BE05-453361182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707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4099E-EA51-42D6-9F64-07BF26CA1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497CE9-C397-4DD9-97FC-E13E352AF5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EA187-5EA6-4DCD-B816-08C7A1F911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B5A5FF-5037-4B23-95FB-7E92E9FCF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135D6-96F2-4C34-BC26-898D1874C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926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ED85FE6-E37B-46E3-9452-75F7A3890D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B08ABC-B9AF-4DCB-A58C-9312CC0553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B35661-F11E-4199-AEB0-1DEFB83AFE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FAB3BA-8E9A-44CD-9D64-882D6839F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EFD53-6FCD-4014-AF92-ED7A29F78B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5210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221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3478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777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344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898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920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431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498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05CF2-480D-4B53-B267-CEBB7BC83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A46179-1429-4F43-9922-5A5660EAF2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661C69-4524-44B1-9328-1F753C229B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8C67E-33F5-4D18-BD4C-097D7596F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30E73A-F075-441B-986B-9B117E4F2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7604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94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3722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995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C87F-EE55-4954-AB21-1456DEA1C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575F05-DEE7-4DAE-AD34-BA9480A702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30FCDB-57BA-432C-86C7-53832B0B3C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D5FECB-83BE-4175-943B-0D93D6E00B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B58287-10B7-4CA1-9284-B7843E392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952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A007D1-5D44-47C3-B610-4D2BE1291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EB8A7-017B-4D3C-9A31-6BD97D3F8A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9978D7-B527-4736-A521-F938F78FE1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94212C-4BB7-4492-BBFA-FD628C6FFC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2C485-64A3-42C6-BD82-696256DD1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6ECBA9-A673-4285-801C-7D0CB6C41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78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15D68-62E6-473D-974D-F6A98F634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B6224B-5094-4574-B012-07E78A1E4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0142-D04D-4941-8D97-9996A570A6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525819-247E-4AEA-8C6F-E25DC64BD9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EA5831-A642-4725-A5FB-DAAA7A462B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E74449-87C5-446D-8E57-C2351B233C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5C03A9-43F9-4359-894C-45228FD45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FEFA9F-1B37-49AF-A807-3E50BCB93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32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ADFAC-59C0-42E3-BB5C-A75C08760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A6E179-8558-4E30-A6E3-6031DFB7CF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51C8A5-8DB0-4295-8084-678DF74D4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845A80-2E2A-47D3-8645-F0712FC43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374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1843CB35-6B9B-488F-827F-B5A20F1325FE}"/>
              </a:ext>
            </a:extLst>
          </p:cNvPr>
          <p:cNvGrpSpPr/>
          <p:nvPr userDrawn="1"/>
        </p:nvGrpSpPr>
        <p:grpSpPr>
          <a:xfrm>
            <a:off x="0" y="6273600"/>
            <a:ext cx="12197058" cy="421314"/>
            <a:chOff x="0" y="6273600"/>
            <a:chExt cx="12197058" cy="421314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7C084F8-6635-419B-959E-EFA094D45C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37286" y="6273600"/>
              <a:ext cx="421314" cy="421314"/>
            </a:xfrm>
            <a:prstGeom prst="rect">
              <a:avLst/>
            </a:prstGeom>
          </p:spPr>
        </p:pic>
        <p:grpSp>
          <p:nvGrpSpPr>
            <p:cNvPr id="21" name="Graphic 28">
              <a:extLst>
                <a:ext uri="{FF2B5EF4-FFF2-40B4-BE49-F238E27FC236}">
                  <a16:creationId xmlns:a16="http://schemas.microsoft.com/office/drawing/2014/main" id="{7758F1BE-8C3A-443E-A9C7-BE64C8D3B494}"/>
                </a:ext>
              </a:extLst>
            </p:cNvPr>
            <p:cNvGrpSpPr/>
            <p:nvPr userDrawn="1"/>
          </p:nvGrpSpPr>
          <p:grpSpPr>
            <a:xfrm rot="10800000">
              <a:off x="11740833" y="6389487"/>
              <a:ext cx="456225" cy="189540"/>
              <a:chOff x="11487879" y="-379413"/>
              <a:chExt cx="522731" cy="217169"/>
            </a:xfrm>
            <a:solidFill>
              <a:srgbClr val="45726D"/>
            </a:solidFill>
          </p:grpSpPr>
          <p:grpSp>
            <p:nvGrpSpPr>
              <p:cNvPr id="23" name="Graphic 28">
                <a:extLst>
                  <a:ext uri="{FF2B5EF4-FFF2-40B4-BE49-F238E27FC236}">
                    <a16:creationId xmlns:a16="http://schemas.microsoft.com/office/drawing/2014/main" id="{94F51EF6-6F48-4408-8795-6943A62B0308}"/>
                  </a:ext>
                </a:extLst>
              </p:cNvPr>
              <p:cNvGrpSpPr/>
              <p:nvPr/>
            </p:nvGrpSpPr>
            <p:grpSpPr>
              <a:xfrm>
                <a:off x="11797442" y="-379413"/>
                <a:ext cx="213169" cy="217169"/>
                <a:chOff x="11797442" y="-379413"/>
                <a:chExt cx="213169" cy="217169"/>
              </a:xfrm>
              <a:grpFill/>
            </p:grpSpPr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CED42D47-35F8-4C1D-9B3D-7F2BD0009CBB}"/>
                    </a:ext>
                  </a:extLst>
                </p:cNvPr>
                <p:cNvSpPr/>
                <p:nvPr/>
              </p:nvSpPr>
              <p:spPr>
                <a:xfrm>
                  <a:off x="11797537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C243C8BF-9DD2-4466-A863-119D006747CE}"/>
                    </a:ext>
                  </a:extLst>
                </p:cNvPr>
                <p:cNvSpPr/>
                <p:nvPr/>
              </p:nvSpPr>
              <p:spPr>
                <a:xfrm>
                  <a:off x="1179744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030F2A72-832F-4E7B-962E-95E8D89463BE}"/>
                    </a:ext>
                  </a:extLst>
                </p:cNvPr>
                <p:cNvSpPr/>
                <p:nvPr/>
              </p:nvSpPr>
              <p:spPr>
                <a:xfrm>
                  <a:off x="11950413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673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0"/>
                        <a:pt x="60198" y="13430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3628978B-D21B-4E97-91E3-3DFB624AE4FA}"/>
                    </a:ext>
                  </a:extLst>
                </p:cNvPr>
                <p:cNvSpPr/>
                <p:nvPr/>
              </p:nvSpPr>
              <p:spPr>
                <a:xfrm>
                  <a:off x="1195041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4" name="Graphic 28">
                <a:extLst>
                  <a:ext uri="{FF2B5EF4-FFF2-40B4-BE49-F238E27FC236}">
                    <a16:creationId xmlns:a16="http://schemas.microsoft.com/office/drawing/2014/main" id="{F27B6767-2C8C-4879-96A9-2694757C8200}"/>
                  </a:ext>
                </a:extLst>
              </p:cNvPr>
              <p:cNvGrpSpPr/>
              <p:nvPr/>
            </p:nvGrpSpPr>
            <p:grpSpPr>
              <a:xfrm>
                <a:off x="11487879" y="-379413"/>
                <a:ext cx="213169" cy="217169"/>
                <a:chOff x="11487879" y="-379413"/>
                <a:chExt cx="213169" cy="217169"/>
              </a:xfrm>
              <a:grpFill/>
            </p:grpSpPr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3EFBA611-4F9A-49E7-B467-893FFAE79F9D}"/>
                    </a:ext>
                  </a:extLst>
                </p:cNvPr>
                <p:cNvSpPr/>
                <p:nvPr/>
              </p:nvSpPr>
              <p:spPr>
                <a:xfrm>
                  <a:off x="11487879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9992FC3C-B88E-48FE-9C26-16514F8A0AD5}"/>
                    </a:ext>
                  </a:extLst>
                </p:cNvPr>
                <p:cNvSpPr/>
                <p:nvPr/>
              </p:nvSpPr>
              <p:spPr>
                <a:xfrm>
                  <a:off x="11487879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37F85C2D-C6B1-4B2D-BA80-A9C7507BD50D}"/>
                    </a:ext>
                  </a:extLst>
                </p:cNvPr>
                <p:cNvSpPr/>
                <p:nvPr/>
              </p:nvSpPr>
              <p:spPr>
                <a:xfrm>
                  <a:off x="11640851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0A2A3DE0-500D-408A-9DB7-11CCE7E5926F}"/>
                    </a:ext>
                  </a:extLst>
                </p:cNvPr>
                <p:cNvSpPr/>
                <p:nvPr/>
              </p:nvSpPr>
              <p:spPr>
                <a:xfrm>
                  <a:off x="11640851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EDEF5D5-D363-46A2-9BB9-E2C93747B90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6484257"/>
              <a:ext cx="11117580" cy="0"/>
            </a:xfrm>
            <a:prstGeom prst="line">
              <a:avLst/>
            </a:prstGeom>
            <a:ln>
              <a:solidFill>
                <a:srgbClr val="094A44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C46E37-24BE-4FA8-813A-EAA4A72E0A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E1E02D-4441-494A-876A-B2AE21559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7FCB82-45BF-4E7E-BD63-864EA9A73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303156"/>
            <a:ext cx="395914" cy="362202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rgbClr val="094A44"/>
                </a:solidFill>
                <a:latin typeface="Georgia" panose="02040502050405020303" pitchFamily="18" charset="0"/>
              </a:defRPr>
            </a:lvl1pPr>
          </a:lstStyle>
          <a:p>
            <a:fld id="{366E39CD-16F1-4381-8EB5-8BA4094A64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432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2204C-6097-4A22-8DA4-420766302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8090B-E6B4-4B90-88BF-BA60314BBE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E19805-515E-43D9-AB7B-A41C9C729D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D2EB2B-CA12-494A-940C-640FFC27BE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3B1836-94FB-4A60-8475-7BDDC1C0B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6CA163-DCD8-4814-9411-F139D4639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88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65D8-414D-48F4-B24F-F703E3F0C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69AE58-2D64-49C3-A8D3-75B0EA9E9D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4FFA4A-B1EB-4EF6-A323-159362B1A0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FEB915-8134-46B7-B29A-7CF45775C4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389F6C-AD36-4390-8B98-76EBEF38B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AFBC04-A928-48AD-8C15-27DA77B6A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7453" y="6383175"/>
            <a:ext cx="220980" cy="202164"/>
          </a:xfrm>
          <a:prstGeom prst="rect">
            <a:avLst/>
          </a:prstGeom>
        </p:spPr>
        <p:txBody>
          <a:bodyPr/>
          <a:lstStyle/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634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89A55FC-CAAC-4626-A905-6C2CF49A7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BFAD49-6278-4C35-A991-71A0A3A3CA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BFF7A4-FA4C-4656-AD74-0F71F2BA23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0B79B-5874-4058-B416-B2B904A79501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932EB2-2B92-41E6-8CB4-7E8835A829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37C8B-E41A-406B-AF64-81E301598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95080" y="62990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6E39CD-16F1-4381-8EB5-8BA4094A6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318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225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opscience.iop.org/article/10.1088/1742-6596/2161/1/012039/meta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towardsdatascience.com/building-a-chatbot-in-python-the-beginners-guide-2743ad2b4851" TargetMode="External"/><Relationship Id="rId5" Type="http://schemas.openxmlformats.org/officeDocument/2006/relationships/hyperlink" Target="https://www.freshworks.com/live-chat-software/chatbots/three-types-of-chatbots/" TargetMode="External"/><Relationship Id="rId4" Type="http://schemas.openxmlformats.org/officeDocument/2006/relationships/hyperlink" Target="https://monkeylearn.com/sentiment-analysis/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1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1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4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roup 615">
            <a:extLst>
              <a:ext uri="{FF2B5EF4-FFF2-40B4-BE49-F238E27FC236}">
                <a16:creationId xmlns:a16="http://schemas.microsoft.com/office/drawing/2014/main" id="{6F1FC40A-2469-40F7-8E19-90851350B8D2}"/>
              </a:ext>
            </a:extLst>
          </p:cNvPr>
          <p:cNvGrpSpPr/>
          <p:nvPr/>
        </p:nvGrpSpPr>
        <p:grpSpPr>
          <a:xfrm>
            <a:off x="9672145" y="0"/>
            <a:ext cx="2099168" cy="1193800"/>
            <a:chOff x="10519189" y="0"/>
            <a:chExt cx="1493423" cy="849312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287DEB0-13C8-4F88-8716-B3910EAA5166}"/>
                </a:ext>
              </a:extLst>
            </p:cNvPr>
            <p:cNvSpPr/>
            <p:nvPr/>
          </p:nvSpPr>
          <p:spPr>
            <a:xfrm rot="10800000">
              <a:off x="10922941" y="0"/>
              <a:ext cx="770214" cy="358870"/>
            </a:xfrm>
            <a:custGeom>
              <a:avLst/>
              <a:gdLst>
                <a:gd name="connsiteX0" fmla="*/ 770214 w 770214"/>
                <a:gd name="connsiteY0" fmla="*/ 358870 h 358870"/>
                <a:gd name="connsiteX1" fmla="*/ 0 w 770214"/>
                <a:gd name="connsiteY1" fmla="*/ 358870 h 358870"/>
                <a:gd name="connsiteX2" fmla="*/ 4943 w 770214"/>
                <a:gd name="connsiteY2" fmla="*/ 309843 h 358870"/>
                <a:gd name="connsiteX3" fmla="*/ 385108 w 770214"/>
                <a:gd name="connsiteY3" fmla="*/ 0 h 358870"/>
                <a:gd name="connsiteX4" fmla="*/ 765272 w 770214"/>
                <a:gd name="connsiteY4" fmla="*/ 309843 h 358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214" h="358870">
                  <a:moveTo>
                    <a:pt x="770214" y="358870"/>
                  </a:moveTo>
                  <a:lnTo>
                    <a:pt x="0" y="358870"/>
                  </a:lnTo>
                  <a:lnTo>
                    <a:pt x="4943" y="309843"/>
                  </a:lnTo>
                  <a:cubicBezTo>
                    <a:pt x="41127" y="133016"/>
                    <a:pt x="197583" y="0"/>
                    <a:pt x="385108" y="0"/>
                  </a:cubicBezTo>
                  <a:cubicBezTo>
                    <a:pt x="572632" y="0"/>
                    <a:pt x="729088" y="133016"/>
                    <a:pt x="765272" y="309843"/>
                  </a:cubicBezTo>
                  <a:close/>
                </a:path>
              </a:pathLst>
            </a:custGeom>
            <a:solidFill>
              <a:srgbClr val="F7AB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2" name="Graphic 28">
              <a:extLst>
                <a:ext uri="{FF2B5EF4-FFF2-40B4-BE49-F238E27FC236}">
                  <a16:creationId xmlns:a16="http://schemas.microsoft.com/office/drawing/2014/main" id="{4D2AFE3E-EC3D-4573-90E2-9D8273073EB7}"/>
                </a:ext>
              </a:extLst>
            </p:cNvPr>
            <p:cNvGrpSpPr/>
            <p:nvPr/>
          </p:nvGrpSpPr>
          <p:grpSpPr>
            <a:xfrm rot="10800000">
              <a:off x="11797633" y="631856"/>
              <a:ext cx="214979" cy="215074"/>
              <a:chOff x="10517187" y="-377031"/>
              <a:chExt cx="214979" cy="215074"/>
            </a:xfrm>
            <a:solidFill>
              <a:srgbClr val="FDDABC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A777547-BB73-4ED6-BE60-E9C53E8CCA03}"/>
                  </a:ext>
                </a:extLst>
              </p:cNvPr>
              <p:cNvSpPr/>
              <p:nvPr/>
            </p:nvSpPr>
            <p:spPr>
              <a:xfrm>
                <a:off x="10517187" y="-377031"/>
                <a:ext cx="214979" cy="214979"/>
              </a:xfrm>
              <a:custGeom>
                <a:avLst/>
                <a:gdLst>
                  <a:gd name="connsiteX0" fmla="*/ 12573 w 214979"/>
                  <a:gd name="connsiteY0" fmla="*/ 12573 h 214979"/>
                  <a:gd name="connsiteX1" fmla="*/ 12573 w 214979"/>
                  <a:gd name="connsiteY1" fmla="*/ 12573 h 214979"/>
                  <a:gd name="connsiteX2" fmla="*/ 73247 w 214979"/>
                  <a:gd name="connsiteY2" fmla="*/ 12573 h 214979"/>
                  <a:gd name="connsiteX3" fmla="*/ 202406 w 214979"/>
                  <a:gd name="connsiteY3" fmla="*/ 141732 h 214979"/>
                  <a:gd name="connsiteX4" fmla="*/ 202406 w 214979"/>
                  <a:gd name="connsiteY4" fmla="*/ 202406 h 214979"/>
                  <a:gd name="connsiteX5" fmla="*/ 202406 w 214979"/>
                  <a:gd name="connsiteY5" fmla="*/ 202406 h 214979"/>
                  <a:gd name="connsiteX6" fmla="*/ 141732 w 214979"/>
                  <a:gd name="connsiteY6" fmla="*/ 202406 h 214979"/>
                  <a:gd name="connsiteX7" fmla="*/ 12573 w 214979"/>
                  <a:gd name="connsiteY7" fmla="*/ 73247 h 214979"/>
                  <a:gd name="connsiteX8" fmla="*/ 12573 w 214979"/>
                  <a:gd name="connsiteY8" fmla="*/ 12573 h 214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79" h="214979">
                    <a:moveTo>
                      <a:pt x="12573" y="12573"/>
                    </a:moveTo>
                    <a:lnTo>
                      <a:pt x="12573" y="12573"/>
                    </a:lnTo>
                    <a:cubicBezTo>
                      <a:pt x="29337" y="-4191"/>
                      <a:pt x="56483" y="-4191"/>
                      <a:pt x="73247" y="12573"/>
                    </a:cubicBezTo>
                    <a:lnTo>
                      <a:pt x="202406" y="141732"/>
                    </a:lnTo>
                    <a:cubicBezTo>
                      <a:pt x="219170" y="158496"/>
                      <a:pt x="219170" y="185642"/>
                      <a:pt x="202406" y="202406"/>
                    </a:cubicBezTo>
                    <a:lnTo>
                      <a:pt x="202406" y="202406"/>
                    </a:lnTo>
                    <a:cubicBezTo>
                      <a:pt x="185642" y="219170"/>
                      <a:pt x="158496" y="219170"/>
                      <a:pt x="141732" y="202406"/>
                    </a:cubicBezTo>
                    <a:lnTo>
                      <a:pt x="12573" y="73247"/>
                    </a:lnTo>
                    <a:cubicBezTo>
                      <a:pt x="-4191" y="56483"/>
                      <a:pt x="-4191" y="29337"/>
                      <a:pt x="12573" y="125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893D6169-5A8B-41D9-80D2-2330CA35A3FD}"/>
                  </a:ext>
                </a:extLst>
              </p:cNvPr>
              <p:cNvSpPr/>
              <p:nvPr/>
            </p:nvSpPr>
            <p:spPr>
              <a:xfrm>
                <a:off x="10517187" y="-377031"/>
                <a:ext cx="214979" cy="215074"/>
              </a:xfrm>
              <a:custGeom>
                <a:avLst/>
                <a:gdLst>
                  <a:gd name="connsiteX0" fmla="*/ 202406 w 214979"/>
                  <a:gd name="connsiteY0" fmla="*/ 12573 h 215074"/>
                  <a:gd name="connsiteX1" fmla="*/ 202406 w 214979"/>
                  <a:gd name="connsiteY1" fmla="*/ 12573 h 215074"/>
                  <a:gd name="connsiteX2" fmla="*/ 202406 w 214979"/>
                  <a:gd name="connsiteY2" fmla="*/ 73247 h 215074"/>
                  <a:gd name="connsiteX3" fmla="*/ 73247 w 214979"/>
                  <a:gd name="connsiteY3" fmla="*/ 202502 h 215074"/>
                  <a:gd name="connsiteX4" fmla="*/ 12573 w 214979"/>
                  <a:gd name="connsiteY4" fmla="*/ 202502 h 215074"/>
                  <a:gd name="connsiteX5" fmla="*/ 12573 w 214979"/>
                  <a:gd name="connsiteY5" fmla="*/ 202502 h 215074"/>
                  <a:gd name="connsiteX6" fmla="*/ 12573 w 214979"/>
                  <a:gd name="connsiteY6" fmla="*/ 141827 h 215074"/>
                  <a:gd name="connsiteX7" fmla="*/ 141732 w 214979"/>
                  <a:gd name="connsiteY7" fmla="*/ 12573 h 215074"/>
                  <a:gd name="connsiteX8" fmla="*/ 202406 w 214979"/>
                  <a:gd name="connsiteY8" fmla="*/ 12573 h 21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79" h="215074">
                    <a:moveTo>
                      <a:pt x="202406" y="12573"/>
                    </a:moveTo>
                    <a:lnTo>
                      <a:pt x="202406" y="12573"/>
                    </a:lnTo>
                    <a:cubicBezTo>
                      <a:pt x="219170" y="29337"/>
                      <a:pt x="219170" y="56483"/>
                      <a:pt x="202406" y="73247"/>
                    </a:cubicBezTo>
                    <a:lnTo>
                      <a:pt x="73247" y="202502"/>
                    </a:lnTo>
                    <a:cubicBezTo>
                      <a:pt x="56483" y="219266"/>
                      <a:pt x="29337" y="219266"/>
                      <a:pt x="12573" y="202502"/>
                    </a:cubicBezTo>
                    <a:lnTo>
                      <a:pt x="12573" y="202502"/>
                    </a:lnTo>
                    <a:cubicBezTo>
                      <a:pt x="-4191" y="185738"/>
                      <a:pt x="-4191" y="158591"/>
                      <a:pt x="12573" y="141827"/>
                    </a:cubicBezTo>
                    <a:lnTo>
                      <a:pt x="141732" y="12573"/>
                    </a:lnTo>
                    <a:cubicBezTo>
                      <a:pt x="158496" y="-4191"/>
                      <a:pt x="185738" y="-4191"/>
                      <a:pt x="202406" y="125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aphic 28">
              <a:extLst>
                <a:ext uri="{FF2B5EF4-FFF2-40B4-BE49-F238E27FC236}">
                  <a16:creationId xmlns:a16="http://schemas.microsoft.com/office/drawing/2014/main" id="{465396C8-AABA-4E42-B963-3320F36D49A5}"/>
                </a:ext>
              </a:extLst>
            </p:cNvPr>
            <p:cNvGrpSpPr/>
            <p:nvPr/>
          </p:nvGrpSpPr>
          <p:grpSpPr>
            <a:xfrm rot="10800000">
              <a:off x="10519189" y="632143"/>
              <a:ext cx="1141380" cy="217169"/>
              <a:chOff x="10869230" y="-379413"/>
              <a:chExt cx="1141380" cy="217169"/>
            </a:xfrm>
            <a:solidFill>
              <a:srgbClr val="809493"/>
            </a:solidFill>
          </p:grpSpPr>
          <p:grpSp>
            <p:nvGrpSpPr>
              <p:cNvPr id="36" name="Graphic 28">
                <a:extLst>
                  <a:ext uri="{FF2B5EF4-FFF2-40B4-BE49-F238E27FC236}">
                    <a16:creationId xmlns:a16="http://schemas.microsoft.com/office/drawing/2014/main" id="{8A2F75C2-9889-4931-9040-D1F68FFD0F60}"/>
                  </a:ext>
                </a:extLst>
              </p:cNvPr>
              <p:cNvGrpSpPr/>
              <p:nvPr/>
            </p:nvGrpSpPr>
            <p:grpSpPr>
              <a:xfrm>
                <a:off x="10869230" y="-379413"/>
                <a:ext cx="522827" cy="217169"/>
                <a:chOff x="10869230" y="-379413"/>
                <a:chExt cx="522827" cy="217169"/>
              </a:xfrm>
              <a:grpFill/>
            </p:grpSpPr>
            <p:grpSp>
              <p:nvGrpSpPr>
                <p:cNvPr id="37" name="Graphic 28">
                  <a:extLst>
                    <a:ext uri="{FF2B5EF4-FFF2-40B4-BE49-F238E27FC236}">
                      <a16:creationId xmlns:a16="http://schemas.microsoft.com/office/drawing/2014/main" id="{BE6BE8A0-7341-4A7D-BFD2-E312FB58A28F}"/>
                    </a:ext>
                  </a:extLst>
                </p:cNvPr>
                <p:cNvGrpSpPr/>
                <p:nvPr/>
              </p:nvGrpSpPr>
              <p:grpSpPr>
                <a:xfrm>
                  <a:off x="11178793" y="-379413"/>
                  <a:ext cx="213264" cy="217169"/>
                  <a:chOff x="11178793" y="-379413"/>
                  <a:chExt cx="213264" cy="217169"/>
                </a:xfrm>
                <a:grpFill/>
              </p:grpSpPr>
              <p:sp>
                <p:nvSpPr>
                  <p:cNvPr id="38" name="Freeform: Shape 37">
                    <a:extLst>
                      <a:ext uri="{FF2B5EF4-FFF2-40B4-BE49-F238E27FC236}">
                        <a16:creationId xmlns:a16="http://schemas.microsoft.com/office/drawing/2014/main" id="{A5E39DB3-4DED-4119-A0AB-759ED1FEC709}"/>
                      </a:ext>
                    </a:extLst>
                  </p:cNvPr>
                  <p:cNvSpPr/>
                  <p:nvPr/>
                </p:nvSpPr>
                <p:spPr>
                  <a:xfrm>
                    <a:off x="11178888" y="-379413"/>
                    <a:ext cx="60197" cy="60198"/>
                  </a:xfrm>
                  <a:custGeom>
                    <a:avLst/>
                    <a:gdLst>
                      <a:gd name="connsiteX0" fmla="*/ 60198 w 60197"/>
                      <a:gd name="connsiteY0" fmla="*/ 30099 h 60198"/>
                      <a:gd name="connsiteX1" fmla="*/ 30099 w 60197"/>
                      <a:gd name="connsiteY1" fmla="*/ 60198 h 60198"/>
                      <a:gd name="connsiteX2" fmla="*/ 0 w 60197"/>
                      <a:gd name="connsiteY2" fmla="*/ 30099 h 60198"/>
                      <a:gd name="connsiteX3" fmla="*/ 30099 w 60197"/>
                      <a:gd name="connsiteY3" fmla="*/ 0 h 60198"/>
                      <a:gd name="connsiteX4" fmla="*/ 60198 w 60197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: Shape 38">
                    <a:extLst>
                      <a:ext uri="{FF2B5EF4-FFF2-40B4-BE49-F238E27FC236}">
                        <a16:creationId xmlns:a16="http://schemas.microsoft.com/office/drawing/2014/main" id="{4C911715-D42E-4DD8-962C-4B4788859554}"/>
                      </a:ext>
                    </a:extLst>
                  </p:cNvPr>
                  <p:cNvSpPr/>
                  <p:nvPr/>
                </p:nvSpPr>
                <p:spPr>
                  <a:xfrm>
                    <a:off x="11178793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768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: Shape 39">
                    <a:extLst>
                      <a:ext uri="{FF2B5EF4-FFF2-40B4-BE49-F238E27FC236}">
                        <a16:creationId xmlns:a16="http://schemas.microsoft.com/office/drawing/2014/main" id="{243A3227-CF72-406A-9B7A-4E237F04AF78}"/>
                      </a:ext>
                    </a:extLst>
                  </p:cNvPr>
                  <p:cNvSpPr/>
                  <p:nvPr/>
                </p:nvSpPr>
                <p:spPr>
                  <a:xfrm>
                    <a:off x="11331860" y="-379413"/>
                    <a:ext cx="60197" cy="60198"/>
                  </a:xfrm>
                  <a:custGeom>
                    <a:avLst/>
                    <a:gdLst>
                      <a:gd name="connsiteX0" fmla="*/ 60198 w 60197"/>
                      <a:gd name="connsiteY0" fmla="*/ 30099 h 60198"/>
                      <a:gd name="connsiteX1" fmla="*/ 30099 w 60197"/>
                      <a:gd name="connsiteY1" fmla="*/ 60198 h 60198"/>
                      <a:gd name="connsiteX2" fmla="*/ 0 w 60197"/>
                      <a:gd name="connsiteY2" fmla="*/ 30099 h 60198"/>
                      <a:gd name="connsiteX3" fmla="*/ 30099 w 60197"/>
                      <a:gd name="connsiteY3" fmla="*/ 0 h 60198"/>
                      <a:gd name="connsiteX4" fmla="*/ 60198 w 60197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: Shape 40">
                    <a:extLst>
                      <a:ext uri="{FF2B5EF4-FFF2-40B4-BE49-F238E27FC236}">
                        <a16:creationId xmlns:a16="http://schemas.microsoft.com/office/drawing/2014/main" id="{B526822D-AEC9-4DF6-B15F-2D6FE2AD9418}"/>
                      </a:ext>
                    </a:extLst>
                  </p:cNvPr>
                  <p:cNvSpPr/>
                  <p:nvPr/>
                </p:nvSpPr>
                <p:spPr>
                  <a:xfrm>
                    <a:off x="11331764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6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768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2" name="Graphic 28">
                  <a:extLst>
                    <a:ext uri="{FF2B5EF4-FFF2-40B4-BE49-F238E27FC236}">
                      <a16:creationId xmlns:a16="http://schemas.microsoft.com/office/drawing/2014/main" id="{0BD69A3A-7233-43A8-88F9-EF3B1805F84C}"/>
                    </a:ext>
                  </a:extLst>
                </p:cNvPr>
                <p:cNvGrpSpPr/>
                <p:nvPr/>
              </p:nvGrpSpPr>
              <p:grpSpPr>
                <a:xfrm>
                  <a:off x="10869230" y="-379413"/>
                  <a:ext cx="213169" cy="217169"/>
                  <a:chOff x="10869230" y="-379413"/>
                  <a:chExt cx="213169" cy="217169"/>
                </a:xfrm>
                <a:grpFill/>
              </p:grpSpPr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14A40C1C-6EFB-441A-976B-AE9456839518}"/>
                      </a:ext>
                    </a:extLst>
                  </p:cNvPr>
                  <p:cNvSpPr/>
                  <p:nvPr/>
                </p:nvSpPr>
                <p:spPr>
                  <a:xfrm>
                    <a:off x="10869231" y="-379413"/>
                    <a:ext cx="60198" cy="60198"/>
                  </a:xfrm>
                  <a:custGeom>
                    <a:avLst/>
                    <a:gdLst>
                      <a:gd name="connsiteX0" fmla="*/ 60198 w 60198"/>
                      <a:gd name="connsiteY0" fmla="*/ 30099 h 60198"/>
                      <a:gd name="connsiteX1" fmla="*/ 30099 w 60198"/>
                      <a:gd name="connsiteY1" fmla="*/ 60198 h 60198"/>
                      <a:gd name="connsiteX2" fmla="*/ 0 w 60198"/>
                      <a:gd name="connsiteY2" fmla="*/ 30099 h 60198"/>
                      <a:gd name="connsiteX3" fmla="*/ 30099 w 60198"/>
                      <a:gd name="connsiteY3" fmla="*/ 0 h 60198"/>
                      <a:gd name="connsiteX4" fmla="*/ 60198 w 60198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8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6152B9D2-D534-4281-8A26-AD447095A1A6}"/>
                      </a:ext>
                    </a:extLst>
                  </p:cNvPr>
                  <p:cNvSpPr/>
                  <p:nvPr/>
                </p:nvSpPr>
                <p:spPr>
                  <a:xfrm>
                    <a:off x="10869230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6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673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: Shape 44">
                    <a:extLst>
                      <a:ext uri="{FF2B5EF4-FFF2-40B4-BE49-F238E27FC236}">
                        <a16:creationId xmlns:a16="http://schemas.microsoft.com/office/drawing/2014/main" id="{809DDAF5-42ED-43C0-B5C7-6EF531DCD69F}"/>
                      </a:ext>
                    </a:extLst>
                  </p:cNvPr>
                  <p:cNvSpPr/>
                  <p:nvPr/>
                </p:nvSpPr>
                <p:spPr>
                  <a:xfrm>
                    <a:off x="11022202" y="-379413"/>
                    <a:ext cx="60198" cy="60198"/>
                  </a:xfrm>
                  <a:custGeom>
                    <a:avLst/>
                    <a:gdLst>
                      <a:gd name="connsiteX0" fmla="*/ 60198 w 60198"/>
                      <a:gd name="connsiteY0" fmla="*/ 30099 h 60198"/>
                      <a:gd name="connsiteX1" fmla="*/ 30099 w 60198"/>
                      <a:gd name="connsiteY1" fmla="*/ 60198 h 60198"/>
                      <a:gd name="connsiteX2" fmla="*/ 0 w 60198"/>
                      <a:gd name="connsiteY2" fmla="*/ 30099 h 60198"/>
                      <a:gd name="connsiteX3" fmla="*/ 30099 w 60198"/>
                      <a:gd name="connsiteY3" fmla="*/ 0 h 60198"/>
                      <a:gd name="connsiteX4" fmla="*/ 60198 w 60198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8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50EB4F49-8725-46B4-A00B-93B1F686CD0A}"/>
                      </a:ext>
                    </a:extLst>
                  </p:cNvPr>
                  <p:cNvSpPr/>
                  <p:nvPr/>
                </p:nvSpPr>
                <p:spPr>
                  <a:xfrm>
                    <a:off x="11022202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672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7" name="Graphic 28">
                <a:extLst>
                  <a:ext uri="{FF2B5EF4-FFF2-40B4-BE49-F238E27FC236}">
                    <a16:creationId xmlns:a16="http://schemas.microsoft.com/office/drawing/2014/main" id="{221DD78C-55E9-4BC3-BDEA-32D8CDDF0C92}"/>
                  </a:ext>
                </a:extLst>
              </p:cNvPr>
              <p:cNvGrpSpPr/>
              <p:nvPr/>
            </p:nvGrpSpPr>
            <p:grpSpPr>
              <a:xfrm>
                <a:off x="11487879" y="-379413"/>
                <a:ext cx="522731" cy="217169"/>
                <a:chOff x="11487879" y="-379413"/>
                <a:chExt cx="522731" cy="217169"/>
              </a:xfrm>
              <a:grpFill/>
            </p:grpSpPr>
            <p:grpSp>
              <p:nvGrpSpPr>
                <p:cNvPr id="48" name="Graphic 28">
                  <a:extLst>
                    <a:ext uri="{FF2B5EF4-FFF2-40B4-BE49-F238E27FC236}">
                      <a16:creationId xmlns:a16="http://schemas.microsoft.com/office/drawing/2014/main" id="{68AABF37-2183-4C54-B135-B3A79AFB8009}"/>
                    </a:ext>
                  </a:extLst>
                </p:cNvPr>
                <p:cNvGrpSpPr/>
                <p:nvPr/>
              </p:nvGrpSpPr>
              <p:grpSpPr>
                <a:xfrm>
                  <a:off x="11797442" y="-379413"/>
                  <a:ext cx="213169" cy="217169"/>
                  <a:chOff x="11797442" y="-379413"/>
                  <a:chExt cx="213169" cy="217169"/>
                </a:xfrm>
                <a:grpFill/>
              </p:grpSpPr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122337FF-1D45-4F15-84D2-04D38A16321B}"/>
                      </a:ext>
                    </a:extLst>
                  </p:cNvPr>
                  <p:cNvSpPr/>
                  <p:nvPr/>
                </p:nvSpPr>
                <p:spPr>
                  <a:xfrm>
                    <a:off x="11797537" y="-379413"/>
                    <a:ext cx="60197" cy="60198"/>
                  </a:xfrm>
                  <a:custGeom>
                    <a:avLst/>
                    <a:gdLst>
                      <a:gd name="connsiteX0" fmla="*/ 60198 w 60197"/>
                      <a:gd name="connsiteY0" fmla="*/ 30099 h 60198"/>
                      <a:gd name="connsiteX1" fmla="*/ 30099 w 60197"/>
                      <a:gd name="connsiteY1" fmla="*/ 60198 h 60198"/>
                      <a:gd name="connsiteX2" fmla="*/ 0 w 60197"/>
                      <a:gd name="connsiteY2" fmla="*/ 30099 h 60198"/>
                      <a:gd name="connsiteX3" fmla="*/ 30099 w 60197"/>
                      <a:gd name="connsiteY3" fmla="*/ 0 h 60198"/>
                      <a:gd name="connsiteX4" fmla="*/ 60198 w 60197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25DFB2F1-DDD6-4645-9DB2-0DF1CB9FE2EB}"/>
                      </a:ext>
                    </a:extLst>
                  </p:cNvPr>
                  <p:cNvSpPr/>
                  <p:nvPr/>
                </p:nvSpPr>
                <p:spPr>
                  <a:xfrm>
                    <a:off x="11797442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768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1846411F-E7F8-4454-A50D-D9FFACE0888E}"/>
                      </a:ext>
                    </a:extLst>
                  </p:cNvPr>
                  <p:cNvSpPr/>
                  <p:nvPr/>
                </p:nvSpPr>
                <p:spPr>
                  <a:xfrm>
                    <a:off x="11950413" y="-379413"/>
                    <a:ext cx="60197" cy="60198"/>
                  </a:xfrm>
                  <a:custGeom>
                    <a:avLst/>
                    <a:gdLst>
                      <a:gd name="connsiteX0" fmla="*/ 60198 w 60197"/>
                      <a:gd name="connsiteY0" fmla="*/ 30099 h 60198"/>
                      <a:gd name="connsiteX1" fmla="*/ 30099 w 60197"/>
                      <a:gd name="connsiteY1" fmla="*/ 60198 h 60198"/>
                      <a:gd name="connsiteX2" fmla="*/ 0 w 60197"/>
                      <a:gd name="connsiteY2" fmla="*/ 30099 h 60198"/>
                      <a:gd name="connsiteX3" fmla="*/ 30099 w 60197"/>
                      <a:gd name="connsiteY3" fmla="*/ 0 h 60198"/>
                      <a:gd name="connsiteX4" fmla="*/ 60198 w 60197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8">
                        <a:moveTo>
                          <a:pt x="60198" y="30099"/>
                        </a:moveTo>
                        <a:cubicBezTo>
                          <a:pt x="60198" y="46673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768" y="0"/>
                          <a:pt x="60198" y="13430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5054BDC3-7622-497E-9AB4-BA319AD8DE83}"/>
                      </a:ext>
                    </a:extLst>
                  </p:cNvPr>
                  <p:cNvSpPr/>
                  <p:nvPr/>
                </p:nvSpPr>
                <p:spPr>
                  <a:xfrm>
                    <a:off x="11950413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768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3" name="Graphic 28">
                  <a:extLst>
                    <a:ext uri="{FF2B5EF4-FFF2-40B4-BE49-F238E27FC236}">
                      <a16:creationId xmlns:a16="http://schemas.microsoft.com/office/drawing/2014/main" id="{F20AE516-AC41-43DE-866F-8F3D79F3ADE9}"/>
                    </a:ext>
                  </a:extLst>
                </p:cNvPr>
                <p:cNvGrpSpPr/>
                <p:nvPr/>
              </p:nvGrpSpPr>
              <p:grpSpPr>
                <a:xfrm>
                  <a:off x="11487879" y="-379413"/>
                  <a:ext cx="213169" cy="217169"/>
                  <a:chOff x="11487879" y="-379413"/>
                  <a:chExt cx="213169" cy="217169"/>
                </a:xfrm>
                <a:grpFill/>
              </p:grpSpPr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0158D0AC-D726-463E-A668-6E755BFF5F75}"/>
                      </a:ext>
                    </a:extLst>
                  </p:cNvPr>
                  <p:cNvSpPr/>
                  <p:nvPr/>
                </p:nvSpPr>
                <p:spPr>
                  <a:xfrm>
                    <a:off x="11487879" y="-379413"/>
                    <a:ext cx="60197" cy="60198"/>
                  </a:xfrm>
                  <a:custGeom>
                    <a:avLst/>
                    <a:gdLst>
                      <a:gd name="connsiteX0" fmla="*/ 60198 w 60197"/>
                      <a:gd name="connsiteY0" fmla="*/ 30099 h 60198"/>
                      <a:gd name="connsiteX1" fmla="*/ 30099 w 60197"/>
                      <a:gd name="connsiteY1" fmla="*/ 60198 h 60198"/>
                      <a:gd name="connsiteX2" fmla="*/ 0 w 60197"/>
                      <a:gd name="connsiteY2" fmla="*/ 30099 h 60198"/>
                      <a:gd name="connsiteX3" fmla="*/ 30099 w 60197"/>
                      <a:gd name="connsiteY3" fmla="*/ 0 h 60198"/>
                      <a:gd name="connsiteX4" fmla="*/ 60198 w 60197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D9460355-7422-45CF-975F-04AFAD56C436}"/>
                      </a:ext>
                    </a:extLst>
                  </p:cNvPr>
                  <p:cNvSpPr/>
                  <p:nvPr/>
                </p:nvSpPr>
                <p:spPr>
                  <a:xfrm>
                    <a:off x="11487879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768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: Shape 55">
                    <a:extLst>
                      <a:ext uri="{FF2B5EF4-FFF2-40B4-BE49-F238E27FC236}">
                        <a16:creationId xmlns:a16="http://schemas.microsoft.com/office/drawing/2014/main" id="{C8BFC0BE-C99E-46AF-982B-0C4A31DFED17}"/>
                      </a:ext>
                    </a:extLst>
                  </p:cNvPr>
                  <p:cNvSpPr/>
                  <p:nvPr/>
                </p:nvSpPr>
                <p:spPr>
                  <a:xfrm>
                    <a:off x="11640851" y="-379413"/>
                    <a:ext cx="60197" cy="60198"/>
                  </a:xfrm>
                  <a:custGeom>
                    <a:avLst/>
                    <a:gdLst>
                      <a:gd name="connsiteX0" fmla="*/ 60198 w 60197"/>
                      <a:gd name="connsiteY0" fmla="*/ 30099 h 60198"/>
                      <a:gd name="connsiteX1" fmla="*/ 30099 w 60197"/>
                      <a:gd name="connsiteY1" fmla="*/ 60198 h 60198"/>
                      <a:gd name="connsiteX2" fmla="*/ 0 w 60197"/>
                      <a:gd name="connsiteY2" fmla="*/ 30099 h 60198"/>
                      <a:gd name="connsiteX3" fmla="*/ 30099 w 60197"/>
                      <a:gd name="connsiteY3" fmla="*/ 0 h 60198"/>
                      <a:gd name="connsiteX4" fmla="*/ 60198 w 60197"/>
                      <a:gd name="connsiteY4" fmla="*/ 30099 h 6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8">
                        <a:moveTo>
                          <a:pt x="60198" y="30099"/>
                        </a:moveTo>
                        <a:cubicBezTo>
                          <a:pt x="60198" y="46722"/>
                          <a:pt x="46722" y="60198"/>
                          <a:pt x="30099" y="60198"/>
                        </a:cubicBezTo>
                        <a:cubicBezTo>
                          <a:pt x="13476" y="60198"/>
                          <a:pt x="0" y="46722"/>
                          <a:pt x="0" y="30099"/>
                        </a:cubicBezTo>
                        <a:cubicBezTo>
                          <a:pt x="0" y="13476"/>
                          <a:pt x="13476" y="0"/>
                          <a:pt x="30099" y="0"/>
                        </a:cubicBezTo>
                        <a:cubicBezTo>
                          <a:pt x="46722" y="0"/>
                          <a:pt x="60198" y="1347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10F913AA-07FC-4A87-B5CA-43AE446C739E}"/>
                      </a:ext>
                    </a:extLst>
                  </p:cNvPr>
                  <p:cNvSpPr/>
                  <p:nvPr/>
                </p:nvSpPr>
                <p:spPr>
                  <a:xfrm>
                    <a:off x="11640851" y="-222441"/>
                    <a:ext cx="60197" cy="60197"/>
                  </a:xfrm>
                  <a:custGeom>
                    <a:avLst/>
                    <a:gdLst>
                      <a:gd name="connsiteX0" fmla="*/ 60198 w 60197"/>
                      <a:gd name="connsiteY0" fmla="*/ 30099 h 60197"/>
                      <a:gd name="connsiteX1" fmla="*/ 30099 w 60197"/>
                      <a:gd name="connsiteY1" fmla="*/ 60198 h 60197"/>
                      <a:gd name="connsiteX2" fmla="*/ 0 w 60197"/>
                      <a:gd name="connsiteY2" fmla="*/ 30099 h 60197"/>
                      <a:gd name="connsiteX3" fmla="*/ 30099 w 60197"/>
                      <a:gd name="connsiteY3" fmla="*/ 0 h 60197"/>
                      <a:gd name="connsiteX4" fmla="*/ 60198 w 60197"/>
                      <a:gd name="connsiteY4" fmla="*/ 30099 h 60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0197" h="60197">
                        <a:moveTo>
                          <a:pt x="60198" y="30099"/>
                        </a:moveTo>
                        <a:cubicBezTo>
                          <a:pt x="60198" y="46672"/>
                          <a:pt x="46768" y="60198"/>
                          <a:pt x="30099" y="60198"/>
                        </a:cubicBezTo>
                        <a:cubicBezTo>
                          <a:pt x="13525" y="60198"/>
                          <a:pt x="0" y="46768"/>
                          <a:pt x="0" y="30099"/>
                        </a:cubicBezTo>
                        <a:cubicBezTo>
                          <a:pt x="0" y="13526"/>
                          <a:pt x="13430" y="0"/>
                          <a:pt x="30099" y="0"/>
                        </a:cubicBezTo>
                        <a:cubicBezTo>
                          <a:pt x="46673" y="95"/>
                          <a:pt x="60198" y="13526"/>
                          <a:pt x="60198" y="3009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pic>
        <p:nvPicPr>
          <p:cNvPr id="618" name="Graphic 617">
            <a:extLst>
              <a:ext uri="{FF2B5EF4-FFF2-40B4-BE49-F238E27FC236}">
                <a16:creationId xmlns:a16="http://schemas.microsoft.com/office/drawing/2014/main" id="{9F077DAA-4AED-47A5-8EE3-2715C67748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2103" y="679815"/>
            <a:ext cx="1333500" cy="1333500"/>
          </a:xfrm>
          <a:prstGeom prst="rect">
            <a:avLst/>
          </a:prstGeom>
        </p:spPr>
      </p:pic>
      <p:cxnSp>
        <p:nvCxnSpPr>
          <p:cNvPr id="620" name="Straight Connector 619">
            <a:extLst>
              <a:ext uri="{FF2B5EF4-FFF2-40B4-BE49-F238E27FC236}">
                <a16:creationId xmlns:a16="http://schemas.microsoft.com/office/drawing/2014/main" id="{837D1EA1-CB1B-4A55-A299-3D59B2C71E19}"/>
              </a:ext>
            </a:extLst>
          </p:cNvPr>
          <p:cNvCxnSpPr/>
          <p:nvPr/>
        </p:nvCxnSpPr>
        <p:spPr>
          <a:xfrm>
            <a:off x="0" y="0"/>
            <a:ext cx="1383970" cy="1383970"/>
          </a:xfrm>
          <a:prstGeom prst="line">
            <a:avLst/>
          </a:prstGeom>
          <a:ln w="38100">
            <a:solidFill>
              <a:srgbClr val="FDDA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Freeform: Shape 595">
            <a:extLst>
              <a:ext uri="{FF2B5EF4-FFF2-40B4-BE49-F238E27FC236}">
                <a16:creationId xmlns:a16="http://schemas.microsoft.com/office/drawing/2014/main" id="{BAB62AEA-0069-4A13-89D0-F2E687603748}"/>
              </a:ext>
            </a:extLst>
          </p:cNvPr>
          <p:cNvSpPr/>
          <p:nvPr/>
        </p:nvSpPr>
        <p:spPr>
          <a:xfrm>
            <a:off x="1" y="2164827"/>
            <a:ext cx="7219694" cy="4702537"/>
          </a:xfrm>
          <a:custGeom>
            <a:avLst/>
            <a:gdLst>
              <a:gd name="connsiteX0" fmla="*/ 3466306 w 7171141"/>
              <a:gd name="connsiteY0" fmla="*/ 232 h 4670912"/>
              <a:gd name="connsiteX1" fmla="*/ 4216400 w 7171141"/>
              <a:gd name="connsiteY1" fmla="*/ 185969 h 4670912"/>
              <a:gd name="connsiteX2" fmla="*/ 5638800 w 7171141"/>
              <a:gd name="connsiteY2" fmla="*/ 1798869 h 4670912"/>
              <a:gd name="connsiteX3" fmla="*/ 6972300 w 7171141"/>
              <a:gd name="connsiteY3" fmla="*/ 3246669 h 4670912"/>
              <a:gd name="connsiteX4" fmla="*/ 6972300 w 7171141"/>
              <a:gd name="connsiteY4" fmla="*/ 4669069 h 4670912"/>
              <a:gd name="connsiteX5" fmla="*/ 6970874 w 7171141"/>
              <a:gd name="connsiteY5" fmla="*/ 4670912 h 4670912"/>
              <a:gd name="connsiteX6" fmla="*/ 0 w 7171141"/>
              <a:gd name="connsiteY6" fmla="*/ 4670912 h 4670912"/>
              <a:gd name="connsiteX7" fmla="*/ 0 w 7171141"/>
              <a:gd name="connsiteY7" fmla="*/ 1223590 h 4670912"/>
              <a:gd name="connsiteX8" fmla="*/ 88367 w 7171141"/>
              <a:gd name="connsiteY8" fmla="*/ 1223810 h 4670912"/>
              <a:gd name="connsiteX9" fmla="*/ 1079500 w 7171141"/>
              <a:gd name="connsiteY9" fmla="*/ 1316269 h 4670912"/>
              <a:gd name="connsiteX10" fmla="*/ 2692400 w 7171141"/>
              <a:gd name="connsiteY10" fmla="*/ 160569 h 4670912"/>
              <a:gd name="connsiteX11" fmla="*/ 3466306 w 7171141"/>
              <a:gd name="connsiteY11" fmla="*/ 232 h 4670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171141" h="4670912">
                <a:moveTo>
                  <a:pt x="3466306" y="232"/>
                </a:moveTo>
                <a:cubicBezTo>
                  <a:pt x="3720571" y="-4002"/>
                  <a:pt x="3970867" y="49444"/>
                  <a:pt x="4216400" y="185969"/>
                </a:cubicBezTo>
                <a:cubicBezTo>
                  <a:pt x="4707467" y="459019"/>
                  <a:pt x="5179483" y="1288752"/>
                  <a:pt x="5638800" y="1798869"/>
                </a:cubicBezTo>
                <a:cubicBezTo>
                  <a:pt x="6098117" y="2308986"/>
                  <a:pt x="6750050" y="2768302"/>
                  <a:pt x="6972300" y="3246669"/>
                </a:cubicBezTo>
                <a:cubicBezTo>
                  <a:pt x="7194550" y="3725036"/>
                  <a:pt x="7277100" y="4283836"/>
                  <a:pt x="6972300" y="4669069"/>
                </a:cubicBezTo>
                <a:lnTo>
                  <a:pt x="6970874" y="4670912"/>
                </a:lnTo>
                <a:lnTo>
                  <a:pt x="0" y="4670912"/>
                </a:lnTo>
                <a:lnTo>
                  <a:pt x="0" y="1223590"/>
                </a:lnTo>
                <a:lnTo>
                  <a:pt x="88367" y="1223810"/>
                </a:lnTo>
                <a:cubicBezTo>
                  <a:pt x="395387" y="1245328"/>
                  <a:pt x="759355" y="1456499"/>
                  <a:pt x="1079500" y="1316269"/>
                </a:cubicBezTo>
                <a:cubicBezTo>
                  <a:pt x="1591733" y="1091902"/>
                  <a:pt x="2169583" y="348952"/>
                  <a:pt x="2692400" y="160569"/>
                </a:cubicBezTo>
                <a:cubicBezTo>
                  <a:pt x="2953809" y="66378"/>
                  <a:pt x="3212042" y="4465"/>
                  <a:pt x="3466306" y="232"/>
                </a:cubicBezTo>
                <a:close/>
              </a:path>
            </a:pathLst>
          </a:custGeom>
          <a:solidFill>
            <a:srgbClr val="FDD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1" name="Group 630">
            <a:extLst>
              <a:ext uri="{FF2B5EF4-FFF2-40B4-BE49-F238E27FC236}">
                <a16:creationId xmlns:a16="http://schemas.microsoft.com/office/drawing/2014/main" id="{56EC240C-0E88-4721-8E85-47A6284E1C88}"/>
              </a:ext>
            </a:extLst>
          </p:cNvPr>
          <p:cNvGrpSpPr/>
          <p:nvPr/>
        </p:nvGrpSpPr>
        <p:grpSpPr>
          <a:xfrm>
            <a:off x="320000" y="2814118"/>
            <a:ext cx="6226731" cy="3950428"/>
            <a:chOff x="8756" y="2679700"/>
            <a:chExt cx="6923985" cy="4392787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A29A5B6-C7F5-4578-A132-BF547063B53A}"/>
                </a:ext>
              </a:extLst>
            </p:cNvPr>
            <p:cNvSpPr/>
            <p:nvPr/>
          </p:nvSpPr>
          <p:spPr>
            <a:xfrm flipH="1">
              <a:off x="6510937" y="5751410"/>
              <a:ext cx="421804" cy="696382"/>
            </a:xfrm>
            <a:custGeom>
              <a:avLst/>
              <a:gdLst>
                <a:gd name="connsiteX0" fmla="*/ 307492 w 382693"/>
                <a:gd name="connsiteY0" fmla="*/ 631813 h 631812"/>
                <a:gd name="connsiteX1" fmla="*/ 45747 w 382693"/>
                <a:gd name="connsiteY1" fmla="*/ 194452 h 631812"/>
                <a:gd name="connsiteX2" fmla="*/ 8092 w 382693"/>
                <a:gd name="connsiteY2" fmla="*/ 875 h 631812"/>
                <a:gd name="connsiteX3" fmla="*/ 178405 w 382693"/>
                <a:gd name="connsiteY3" fmla="*/ 315857 h 631812"/>
                <a:gd name="connsiteX4" fmla="*/ 382694 w 382693"/>
                <a:gd name="connsiteY4" fmla="*/ 569055 h 631812"/>
                <a:gd name="connsiteX5" fmla="*/ 307492 w 382693"/>
                <a:gd name="connsiteY5" fmla="*/ 631813 h 63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2693" h="631812">
                  <a:moveTo>
                    <a:pt x="307492" y="631813"/>
                  </a:moveTo>
                  <a:cubicBezTo>
                    <a:pt x="307492" y="631813"/>
                    <a:pt x="117486" y="413133"/>
                    <a:pt x="45747" y="194452"/>
                  </a:cubicBezTo>
                  <a:cubicBezTo>
                    <a:pt x="-25993" y="-24228"/>
                    <a:pt x="8092" y="875"/>
                    <a:pt x="8092" y="875"/>
                  </a:cubicBezTo>
                  <a:cubicBezTo>
                    <a:pt x="8092" y="875"/>
                    <a:pt x="104934" y="213280"/>
                    <a:pt x="178405" y="315857"/>
                  </a:cubicBezTo>
                  <a:cubicBezTo>
                    <a:pt x="251875" y="418435"/>
                    <a:pt x="382694" y="569055"/>
                    <a:pt x="382694" y="569055"/>
                  </a:cubicBezTo>
                  <a:lnTo>
                    <a:pt x="307492" y="631813"/>
                  </a:ln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C689FD1A-1B2C-401C-9781-1934B4F25778}"/>
                </a:ext>
              </a:extLst>
            </p:cNvPr>
            <p:cNvSpPr/>
            <p:nvPr/>
          </p:nvSpPr>
          <p:spPr>
            <a:xfrm flipH="1">
              <a:off x="6448325" y="5783682"/>
              <a:ext cx="126576" cy="658266"/>
            </a:xfrm>
            <a:custGeom>
              <a:avLst/>
              <a:gdLst>
                <a:gd name="connsiteX0" fmla="*/ 20703 w 114840"/>
                <a:gd name="connsiteY0" fmla="*/ 5679 h 597230"/>
                <a:gd name="connsiteX1" fmla="*/ 144 w 114840"/>
                <a:gd name="connsiteY1" fmla="*/ 12712 h 597230"/>
                <a:gd name="connsiteX2" fmla="*/ 35744 w 114840"/>
                <a:gd name="connsiteY2" fmla="*/ 386665 h 597230"/>
                <a:gd name="connsiteX3" fmla="*/ 35744 w 114840"/>
                <a:gd name="connsiteY3" fmla="*/ 597230 h 597230"/>
                <a:gd name="connsiteX4" fmla="*/ 114841 w 114840"/>
                <a:gd name="connsiteY4" fmla="*/ 597230 h 597230"/>
                <a:gd name="connsiteX5" fmla="*/ 82920 w 114840"/>
                <a:gd name="connsiteY5" fmla="*/ 187570 h 597230"/>
                <a:gd name="connsiteX6" fmla="*/ 20703 w 114840"/>
                <a:gd name="connsiteY6" fmla="*/ 5679 h 59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840" h="597230">
                  <a:moveTo>
                    <a:pt x="20703" y="5679"/>
                  </a:moveTo>
                  <a:cubicBezTo>
                    <a:pt x="14536" y="-5033"/>
                    <a:pt x="-1695" y="594"/>
                    <a:pt x="144" y="12712"/>
                  </a:cubicBezTo>
                  <a:cubicBezTo>
                    <a:pt x="11722" y="89537"/>
                    <a:pt x="36717" y="269805"/>
                    <a:pt x="35744" y="386665"/>
                  </a:cubicBezTo>
                  <a:cubicBezTo>
                    <a:pt x="34445" y="538584"/>
                    <a:pt x="35744" y="597230"/>
                    <a:pt x="35744" y="597230"/>
                  </a:cubicBezTo>
                  <a:lnTo>
                    <a:pt x="114841" y="597230"/>
                  </a:lnTo>
                  <a:cubicBezTo>
                    <a:pt x="114841" y="597230"/>
                    <a:pt x="100774" y="283222"/>
                    <a:pt x="82920" y="187570"/>
                  </a:cubicBezTo>
                  <a:cubicBezTo>
                    <a:pt x="70477" y="120375"/>
                    <a:pt x="43859" y="45931"/>
                    <a:pt x="20703" y="5679"/>
                  </a:cubicBez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C0F5A65-E751-4491-95AA-B55517588D46}"/>
                </a:ext>
              </a:extLst>
            </p:cNvPr>
            <p:cNvSpPr/>
            <p:nvPr/>
          </p:nvSpPr>
          <p:spPr>
            <a:xfrm flipH="1">
              <a:off x="6347615" y="5753710"/>
              <a:ext cx="157000" cy="667010"/>
            </a:xfrm>
            <a:custGeom>
              <a:avLst/>
              <a:gdLst>
                <a:gd name="connsiteX0" fmla="*/ 0 w 142443"/>
                <a:gd name="connsiteY0" fmla="*/ 598888 h 605163"/>
                <a:gd name="connsiteX1" fmla="*/ 65139 w 142443"/>
                <a:gd name="connsiteY1" fmla="*/ 362787 h 605163"/>
                <a:gd name="connsiteX2" fmla="*/ 42741 w 142443"/>
                <a:gd name="connsiteY2" fmla="*/ 130473 h 605163"/>
                <a:gd name="connsiteX3" fmla="*/ 32786 w 142443"/>
                <a:gd name="connsiteY3" fmla="*/ 18698 h 605163"/>
                <a:gd name="connsiteX4" fmla="*/ 68169 w 142443"/>
                <a:gd name="connsiteY4" fmla="*/ 9825 h 605163"/>
                <a:gd name="connsiteX5" fmla="*/ 112316 w 142443"/>
                <a:gd name="connsiteY5" fmla="*/ 121492 h 605163"/>
                <a:gd name="connsiteX6" fmla="*/ 136553 w 142443"/>
                <a:gd name="connsiteY6" fmla="*/ 365275 h 605163"/>
                <a:gd name="connsiteX7" fmla="*/ 58755 w 142443"/>
                <a:gd name="connsiteY7" fmla="*/ 605164 h 605163"/>
                <a:gd name="connsiteX8" fmla="*/ 0 w 142443"/>
                <a:gd name="connsiteY8" fmla="*/ 598888 h 60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443" h="605163">
                  <a:moveTo>
                    <a:pt x="0" y="598888"/>
                  </a:moveTo>
                  <a:cubicBezTo>
                    <a:pt x="0" y="598888"/>
                    <a:pt x="49774" y="494254"/>
                    <a:pt x="65139" y="362787"/>
                  </a:cubicBezTo>
                  <a:cubicBezTo>
                    <a:pt x="71631" y="306845"/>
                    <a:pt x="60053" y="231319"/>
                    <a:pt x="42741" y="130473"/>
                  </a:cubicBezTo>
                  <a:cubicBezTo>
                    <a:pt x="34409" y="81672"/>
                    <a:pt x="32461" y="44450"/>
                    <a:pt x="32786" y="18698"/>
                  </a:cubicBezTo>
                  <a:cubicBezTo>
                    <a:pt x="33002" y="-779"/>
                    <a:pt x="58647" y="-7163"/>
                    <a:pt x="68169" y="9825"/>
                  </a:cubicBezTo>
                  <a:cubicBezTo>
                    <a:pt x="77690" y="26813"/>
                    <a:pt x="105283" y="85027"/>
                    <a:pt x="112316" y="121492"/>
                  </a:cubicBezTo>
                  <a:cubicBezTo>
                    <a:pt x="131468" y="221039"/>
                    <a:pt x="153109" y="270813"/>
                    <a:pt x="136553" y="365275"/>
                  </a:cubicBezTo>
                  <a:cubicBezTo>
                    <a:pt x="119998" y="459737"/>
                    <a:pt x="58755" y="605164"/>
                    <a:pt x="58755" y="605164"/>
                  </a:cubicBezTo>
                  <a:lnTo>
                    <a:pt x="0" y="598888"/>
                  </a:ln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0F6B075-6435-46A0-87BB-457EED7AEBCF}"/>
                </a:ext>
              </a:extLst>
            </p:cNvPr>
            <p:cNvSpPr/>
            <p:nvPr/>
          </p:nvSpPr>
          <p:spPr>
            <a:xfrm flipH="1">
              <a:off x="6097954" y="5620321"/>
              <a:ext cx="328068" cy="815545"/>
            </a:xfrm>
            <a:custGeom>
              <a:avLst/>
              <a:gdLst>
                <a:gd name="connsiteX0" fmla="*/ 0 w 297649"/>
                <a:gd name="connsiteY0" fmla="*/ 726293 h 739926"/>
                <a:gd name="connsiteX1" fmla="*/ 223117 w 297649"/>
                <a:gd name="connsiteY1" fmla="*/ 211458 h 739926"/>
                <a:gd name="connsiteX2" fmla="*/ 292475 w 297649"/>
                <a:gd name="connsiteY2" fmla="*/ 352 h 739926"/>
                <a:gd name="connsiteX3" fmla="*/ 269320 w 297649"/>
                <a:gd name="connsiteY3" fmla="*/ 182568 h 739926"/>
                <a:gd name="connsiteX4" fmla="*/ 71198 w 297649"/>
                <a:gd name="connsiteY4" fmla="*/ 739926 h 739926"/>
                <a:gd name="connsiteX5" fmla="*/ 0 w 297649"/>
                <a:gd name="connsiteY5" fmla="*/ 739926 h 739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649" h="739926">
                  <a:moveTo>
                    <a:pt x="0" y="726293"/>
                  </a:moveTo>
                  <a:cubicBezTo>
                    <a:pt x="0" y="726293"/>
                    <a:pt x="208617" y="278004"/>
                    <a:pt x="223117" y="211458"/>
                  </a:cubicBezTo>
                  <a:cubicBezTo>
                    <a:pt x="237616" y="144913"/>
                    <a:pt x="286741" y="-8304"/>
                    <a:pt x="292475" y="352"/>
                  </a:cubicBezTo>
                  <a:cubicBezTo>
                    <a:pt x="298210" y="9008"/>
                    <a:pt x="306975" y="89945"/>
                    <a:pt x="269320" y="182568"/>
                  </a:cubicBezTo>
                  <a:cubicBezTo>
                    <a:pt x="231773" y="275082"/>
                    <a:pt x="71198" y="739926"/>
                    <a:pt x="71198" y="739926"/>
                  </a:cubicBezTo>
                  <a:lnTo>
                    <a:pt x="0" y="739926"/>
                  </a:lnTo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A99379F-757B-48C5-9FB3-CF8059746D43}"/>
                </a:ext>
              </a:extLst>
            </p:cNvPr>
            <p:cNvSpPr/>
            <p:nvPr/>
          </p:nvSpPr>
          <p:spPr>
            <a:xfrm flipH="1">
              <a:off x="6529775" y="5757979"/>
              <a:ext cx="400144" cy="640803"/>
            </a:xfrm>
            <a:custGeom>
              <a:avLst/>
              <a:gdLst>
                <a:gd name="connsiteX0" fmla="*/ 363038 w 363042"/>
                <a:gd name="connsiteY0" fmla="*/ 581380 h 581386"/>
                <a:gd name="connsiteX1" fmla="*/ 357195 w 363042"/>
                <a:gd name="connsiteY1" fmla="*/ 577377 h 581386"/>
                <a:gd name="connsiteX2" fmla="*/ 341073 w 363042"/>
                <a:gd name="connsiteY2" fmla="*/ 565041 h 581386"/>
                <a:gd name="connsiteX3" fmla="*/ 285023 w 363042"/>
                <a:gd name="connsiteY3" fmla="*/ 515592 h 581386"/>
                <a:gd name="connsiteX4" fmla="*/ 133645 w 363042"/>
                <a:gd name="connsiteY4" fmla="*/ 321366 h 581386"/>
                <a:gd name="connsiteX5" fmla="*/ 30311 w 363042"/>
                <a:gd name="connsiteY5" fmla="*/ 97600 h 581386"/>
                <a:gd name="connsiteX6" fmla="*/ 7155 w 363042"/>
                <a:gd name="connsiteY6" fmla="*/ 26510 h 581386"/>
                <a:gd name="connsiteX7" fmla="*/ 1637 w 363042"/>
                <a:gd name="connsiteY7" fmla="*/ 6925 h 581386"/>
                <a:gd name="connsiteX8" fmla="*/ 14 w 363042"/>
                <a:gd name="connsiteY8" fmla="*/ 0 h 581386"/>
                <a:gd name="connsiteX9" fmla="*/ 2502 w 363042"/>
                <a:gd name="connsiteY9" fmla="*/ 6601 h 581386"/>
                <a:gd name="connsiteX10" fmla="*/ 8886 w 363042"/>
                <a:gd name="connsiteY10" fmla="*/ 25861 h 581386"/>
                <a:gd name="connsiteX11" fmla="*/ 33340 w 363042"/>
                <a:gd name="connsiteY11" fmla="*/ 96410 h 581386"/>
                <a:gd name="connsiteX12" fmla="*/ 137541 w 363042"/>
                <a:gd name="connsiteY12" fmla="*/ 318986 h 581386"/>
                <a:gd name="connsiteX13" fmla="*/ 287295 w 363042"/>
                <a:gd name="connsiteY13" fmla="*/ 513212 h 581386"/>
                <a:gd name="connsiteX14" fmla="*/ 342263 w 363042"/>
                <a:gd name="connsiteY14" fmla="*/ 563635 h 581386"/>
                <a:gd name="connsiteX15" fmla="*/ 357844 w 363042"/>
                <a:gd name="connsiteY15" fmla="*/ 576619 h 581386"/>
                <a:gd name="connsiteX16" fmla="*/ 363038 w 363042"/>
                <a:gd name="connsiteY16" fmla="*/ 581380 h 58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3042" h="581386">
                  <a:moveTo>
                    <a:pt x="363038" y="581380"/>
                  </a:moveTo>
                  <a:cubicBezTo>
                    <a:pt x="362930" y="581489"/>
                    <a:pt x="360982" y="580082"/>
                    <a:pt x="357195" y="577377"/>
                  </a:cubicBezTo>
                  <a:cubicBezTo>
                    <a:pt x="353516" y="574563"/>
                    <a:pt x="347889" y="570668"/>
                    <a:pt x="341073" y="565041"/>
                  </a:cubicBezTo>
                  <a:cubicBezTo>
                    <a:pt x="327222" y="554113"/>
                    <a:pt x="307746" y="537558"/>
                    <a:pt x="285023" y="515592"/>
                  </a:cubicBezTo>
                  <a:cubicBezTo>
                    <a:pt x="239469" y="471878"/>
                    <a:pt x="182770" y="404467"/>
                    <a:pt x="133645" y="321366"/>
                  </a:cubicBezTo>
                  <a:cubicBezTo>
                    <a:pt x="84413" y="238265"/>
                    <a:pt x="51302" y="157004"/>
                    <a:pt x="30311" y="97600"/>
                  </a:cubicBezTo>
                  <a:cubicBezTo>
                    <a:pt x="19815" y="67844"/>
                    <a:pt x="12132" y="43498"/>
                    <a:pt x="7155" y="26510"/>
                  </a:cubicBezTo>
                  <a:cubicBezTo>
                    <a:pt x="4558" y="18070"/>
                    <a:pt x="2827" y="11470"/>
                    <a:pt x="1637" y="6925"/>
                  </a:cubicBezTo>
                  <a:cubicBezTo>
                    <a:pt x="446" y="2489"/>
                    <a:pt x="-95" y="108"/>
                    <a:pt x="14" y="0"/>
                  </a:cubicBezTo>
                  <a:cubicBezTo>
                    <a:pt x="122" y="0"/>
                    <a:pt x="987" y="2273"/>
                    <a:pt x="2502" y="6601"/>
                  </a:cubicBezTo>
                  <a:cubicBezTo>
                    <a:pt x="4125" y="11362"/>
                    <a:pt x="6181" y="17854"/>
                    <a:pt x="8886" y="25861"/>
                  </a:cubicBezTo>
                  <a:cubicBezTo>
                    <a:pt x="14405" y="42632"/>
                    <a:pt x="22412" y="66762"/>
                    <a:pt x="33340" y="96410"/>
                  </a:cubicBezTo>
                  <a:cubicBezTo>
                    <a:pt x="54981" y="155489"/>
                    <a:pt x="88524" y="236210"/>
                    <a:pt x="137541" y="318986"/>
                  </a:cubicBezTo>
                  <a:cubicBezTo>
                    <a:pt x="186449" y="401762"/>
                    <a:pt x="242499" y="469065"/>
                    <a:pt x="287295" y="513212"/>
                  </a:cubicBezTo>
                  <a:cubicBezTo>
                    <a:pt x="309585" y="535394"/>
                    <a:pt x="328737" y="552273"/>
                    <a:pt x="342263" y="563635"/>
                  </a:cubicBezTo>
                  <a:cubicBezTo>
                    <a:pt x="348863" y="569370"/>
                    <a:pt x="354382" y="573590"/>
                    <a:pt x="357844" y="576619"/>
                  </a:cubicBezTo>
                  <a:cubicBezTo>
                    <a:pt x="361307" y="579541"/>
                    <a:pt x="363146" y="581164"/>
                    <a:pt x="363038" y="581380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E774632-DBAC-4C26-B0D7-28EF3D7FC590}"/>
                </a:ext>
              </a:extLst>
            </p:cNvPr>
            <p:cNvSpPr/>
            <p:nvPr/>
          </p:nvSpPr>
          <p:spPr>
            <a:xfrm flipH="1">
              <a:off x="6504361" y="5795068"/>
              <a:ext cx="59210" cy="366613"/>
            </a:xfrm>
            <a:custGeom>
              <a:avLst/>
              <a:gdLst>
                <a:gd name="connsiteX0" fmla="*/ 53489 w 53720"/>
                <a:gd name="connsiteY0" fmla="*/ 332621 h 332620"/>
                <a:gd name="connsiteX1" fmla="*/ 51649 w 53720"/>
                <a:gd name="connsiteY1" fmla="*/ 319420 h 332620"/>
                <a:gd name="connsiteX2" fmla="*/ 47754 w 53720"/>
                <a:gd name="connsiteY2" fmla="*/ 283496 h 332620"/>
                <a:gd name="connsiteX3" fmla="*/ 31956 w 53720"/>
                <a:gd name="connsiteY3" fmla="*/ 165446 h 332620"/>
                <a:gd name="connsiteX4" fmla="*/ 9991 w 53720"/>
                <a:gd name="connsiteY4" fmla="*/ 48369 h 332620"/>
                <a:gd name="connsiteX5" fmla="*/ 2416 w 53720"/>
                <a:gd name="connsiteY5" fmla="*/ 13094 h 332620"/>
                <a:gd name="connsiteX6" fmla="*/ 36 w 53720"/>
                <a:gd name="connsiteY6" fmla="*/ 2 h 332620"/>
                <a:gd name="connsiteX7" fmla="*/ 4039 w 53720"/>
                <a:gd name="connsiteY7" fmla="*/ 12662 h 332620"/>
                <a:gd name="connsiteX8" fmla="*/ 13020 w 53720"/>
                <a:gd name="connsiteY8" fmla="*/ 47720 h 332620"/>
                <a:gd name="connsiteX9" fmla="*/ 36284 w 53720"/>
                <a:gd name="connsiteY9" fmla="*/ 164796 h 332620"/>
                <a:gd name="connsiteX10" fmla="*/ 50892 w 53720"/>
                <a:gd name="connsiteY10" fmla="*/ 283280 h 332620"/>
                <a:gd name="connsiteX11" fmla="*/ 53381 w 53720"/>
                <a:gd name="connsiteY11" fmla="*/ 319420 h 332620"/>
                <a:gd name="connsiteX12" fmla="*/ 53489 w 53720"/>
                <a:gd name="connsiteY12" fmla="*/ 332621 h 33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720" h="332620">
                  <a:moveTo>
                    <a:pt x="53489" y="332621"/>
                  </a:moveTo>
                  <a:cubicBezTo>
                    <a:pt x="53164" y="332621"/>
                    <a:pt x="52515" y="327968"/>
                    <a:pt x="51649" y="319420"/>
                  </a:cubicBezTo>
                  <a:cubicBezTo>
                    <a:pt x="50675" y="310115"/>
                    <a:pt x="49377" y="297996"/>
                    <a:pt x="47754" y="283496"/>
                  </a:cubicBezTo>
                  <a:cubicBezTo>
                    <a:pt x="44400" y="253199"/>
                    <a:pt x="39314" y="211324"/>
                    <a:pt x="31956" y="165446"/>
                  </a:cubicBezTo>
                  <a:cubicBezTo>
                    <a:pt x="24598" y="119459"/>
                    <a:pt x="16375" y="78125"/>
                    <a:pt x="9991" y="48369"/>
                  </a:cubicBezTo>
                  <a:cubicBezTo>
                    <a:pt x="6853" y="34086"/>
                    <a:pt x="4364" y="22184"/>
                    <a:pt x="2416" y="13094"/>
                  </a:cubicBezTo>
                  <a:cubicBezTo>
                    <a:pt x="577" y="4763"/>
                    <a:pt x="-180" y="110"/>
                    <a:pt x="36" y="2"/>
                  </a:cubicBezTo>
                  <a:cubicBezTo>
                    <a:pt x="361" y="-106"/>
                    <a:pt x="1767" y="4438"/>
                    <a:pt x="4039" y="12662"/>
                  </a:cubicBezTo>
                  <a:cubicBezTo>
                    <a:pt x="6420" y="20885"/>
                    <a:pt x="9450" y="32896"/>
                    <a:pt x="13020" y="47720"/>
                  </a:cubicBezTo>
                  <a:cubicBezTo>
                    <a:pt x="20162" y="77476"/>
                    <a:pt x="28926" y="118810"/>
                    <a:pt x="36284" y="164796"/>
                  </a:cubicBezTo>
                  <a:cubicBezTo>
                    <a:pt x="43642" y="210891"/>
                    <a:pt x="48295" y="252875"/>
                    <a:pt x="50892" y="283280"/>
                  </a:cubicBezTo>
                  <a:cubicBezTo>
                    <a:pt x="52190" y="298537"/>
                    <a:pt x="52948" y="310872"/>
                    <a:pt x="53381" y="319420"/>
                  </a:cubicBezTo>
                  <a:cubicBezTo>
                    <a:pt x="53813" y="327860"/>
                    <a:pt x="53813" y="332621"/>
                    <a:pt x="53489" y="332621"/>
                  </a:cubicBez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ECB18815-0C3A-4600-8D60-726DA22F42F0}"/>
                </a:ext>
              </a:extLst>
            </p:cNvPr>
            <p:cNvSpPr/>
            <p:nvPr/>
          </p:nvSpPr>
          <p:spPr>
            <a:xfrm flipH="1">
              <a:off x="6394480" y="5760718"/>
              <a:ext cx="79736" cy="654873"/>
            </a:xfrm>
            <a:custGeom>
              <a:avLst/>
              <a:gdLst>
                <a:gd name="connsiteX0" fmla="*/ 21328 w 72343"/>
                <a:gd name="connsiteY0" fmla="*/ 4 h 594152"/>
                <a:gd name="connsiteX1" fmla="*/ 23816 w 72343"/>
                <a:gd name="connsiteY1" fmla="*/ 5739 h 594152"/>
                <a:gd name="connsiteX2" fmla="*/ 30092 w 72343"/>
                <a:gd name="connsiteY2" fmla="*/ 22402 h 594152"/>
                <a:gd name="connsiteX3" fmla="*/ 39073 w 72343"/>
                <a:gd name="connsiteY3" fmla="*/ 49129 h 594152"/>
                <a:gd name="connsiteX4" fmla="*/ 49244 w 72343"/>
                <a:gd name="connsiteY4" fmla="*/ 85052 h 594152"/>
                <a:gd name="connsiteX5" fmla="*/ 54438 w 72343"/>
                <a:gd name="connsiteY5" fmla="*/ 106152 h 594152"/>
                <a:gd name="connsiteX6" fmla="*/ 58983 w 72343"/>
                <a:gd name="connsiteY6" fmla="*/ 129200 h 594152"/>
                <a:gd name="connsiteX7" fmla="*/ 66990 w 72343"/>
                <a:gd name="connsiteY7" fmla="*/ 180488 h 594152"/>
                <a:gd name="connsiteX8" fmla="*/ 71967 w 72343"/>
                <a:gd name="connsiteY8" fmla="*/ 299296 h 594152"/>
                <a:gd name="connsiteX9" fmla="*/ 58442 w 72343"/>
                <a:gd name="connsiteY9" fmla="*/ 417455 h 594152"/>
                <a:gd name="connsiteX10" fmla="*/ 46756 w 72343"/>
                <a:gd name="connsiteY10" fmla="*/ 468095 h 594152"/>
                <a:gd name="connsiteX11" fmla="*/ 40480 w 72343"/>
                <a:gd name="connsiteY11" fmla="*/ 490817 h 594152"/>
                <a:gd name="connsiteX12" fmla="*/ 33771 w 72343"/>
                <a:gd name="connsiteY12" fmla="*/ 511484 h 594152"/>
                <a:gd name="connsiteX13" fmla="*/ 21111 w 72343"/>
                <a:gd name="connsiteY13" fmla="*/ 546543 h 594152"/>
                <a:gd name="connsiteX14" fmla="*/ 10291 w 72343"/>
                <a:gd name="connsiteY14" fmla="*/ 572512 h 594152"/>
                <a:gd name="connsiteX15" fmla="*/ 2825 w 72343"/>
                <a:gd name="connsiteY15" fmla="*/ 588634 h 594152"/>
                <a:gd name="connsiteX16" fmla="*/ 12 w 72343"/>
                <a:gd name="connsiteY16" fmla="*/ 594152 h 594152"/>
                <a:gd name="connsiteX17" fmla="*/ 2067 w 72343"/>
                <a:gd name="connsiteY17" fmla="*/ 588309 h 594152"/>
                <a:gd name="connsiteX18" fmla="*/ 8668 w 72343"/>
                <a:gd name="connsiteY18" fmla="*/ 571862 h 594152"/>
                <a:gd name="connsiteX19" fmla="*/ 18731 w 72343"/>
                <a:gd name="connsiteY19" fmla="*/ 545677 h 594152"/>
                <a:gd name="connsiteX20" fmla="*/ 30741 w 72343"/>
                <a:gd name="connsiteY20" fmla="*/ 510511 h 594152"/>
                <a:gd name="connsiteX21" fmla="*/ 37126 w 72343"/>
                <a:gd name="connsiteY21" fmla="*/ 489844 h 594152"/>
                <a:gd name="connsiteX22" fmla="*/ 43077 w 72343"/>
                <a:gd name="connsiteY22" fmla="*/ 467229 h 594152"/>
                <a:gd name="connsiteX23" fmla="*/ 54330 w 72343"/>
                <a:gd name="connsiteY23" fmla="*/ 416806 h 594152"/>
                <a:gd name="connsiteX24" fmla="*/ 67423 w 72343"/>
                <a:gd name="connsiteY24" fmla="*/ 299188 h 594152"/>
                <a:gd name="connsiteX25" fmla="*/ 62770 w 72343"/>
                <a:gd name="connsiteY25" fmla="*/ 181030 h 594152"/>
                <a:gd name="connsiteX26" fmla="*/ 55196 w 72343"/>
                <a:gd name="connsiteY26" fmla="*/ 129957 h 594152"/>
                <a:gd name="connsiteX27" fmla="*/ 50867 w 72343"/>
                <a:gd name="connsiteY27" fmla="*/ 106910 h 594152"/>
                <a:gd name="connsiteX28" fmla="*/ 45998 w 72343"/>
                <a:gd name="connsiteY28" fmla="*/ 85810 h 594152"/>
                <a:gd name="connsiteX29" fmla="*/ 36476 w 72343"/>
                <a:gd name="connsiteY29" fmla="*/ 49886 h 594152"/>
                <a:gd name="connsiteX30" fmla="*/ 28253 w 72343"/>
                <a:gd name="connsiteY30" fmla="*/ 23052 h 594152"/>
                <a:gd name="connsiteX31" fmla="*/ 22843 w 72343"/>
                <a:gd name="connsiteY31" fmla="*/ 6172 h 594152"/>
                <a:gd name="connsiteX32" fmla="*/ 21328 w 72343"/>
                <a:gd name="connsiteY32" fmla="*/ 4 h 59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2343" h="594152">
                  <a:moveTo>
                    <a:pt x="21328" y="4"/>
                  </a:moveTo>
                  <a:cubicBezTo>
                    <a:pt x="21436" y="-104"/>
                    <a:pt x="22302" y="1952"/>
                    <a:pt x="23816" y="5739"/>
                  </a:cubicBezTo>
                  <a:cubicBezTo>
                    <a:pt x="25440" y="9959"/>
                    <a:pt x="27495" y="15477"/>
                    <a:pt x="30092" y="22402"/>
                  </a:cubicBezTo>
                  <a:cubicBezTo>
                    <a:pt x="32906" y="29652"/>
                    <a:pt x="36044" y="38525"/>
                    <a:pt x="39073" y="49129"/>
                  </a:cubicBezTo>
                  <a:cubicBezTo>
                    <a:pt x="42211" y="59625"/>
                    <a:pt x="46215" y="71527"/>
                    <a:pt x="49244" y="85052"/>
                  </a:cubicBezTo>
                  <a:cubicBezTo>
                    <a:pt x="50867" y="91761"/>
                    <a:pt x="52599" y="98794"/>
                    <a:pt x="54438" y="106152"/>
                  </a:cubicBezTo>
                  <a:cubicBezTo>
                    <a:pt x="56169" y="113510"/>
                    <a:pt x="57468" y="121301"/>
                    <a:pt x="58983" y="129200"/>
                  </a:cubicBezTo>
                  <a:cubicBezTo>
                    <a:pt x="62337" y="145106"/>
                    <a:pt x="64501" y="162418"/>
                    <a:pt x="66990" y="180488"/>
                  </a:cubicBezTo>
                  <a:cubicBezTo>
                    <a:pt x="71102" y="216845"/>
                    <a:pt x="73266" y="257097"/>
                    <a:pt x="71967" y="299296"/>
                  </a:cubicBezTo>
                  <a:cubicBezTo>
                    <a:pt x="70236" y="341496"/>
                    <a:pt x="65150" y="381532"/>
                    <a:pt x="58442" y="417455"/>
                  </a:cubicBezTo>
                  <a:cubicBezTo>
                    <a:pt x="54655" y="435309"/>
                    <a:pt x="51300" y="452405"/>
                    <a:pt x="46756" y="468095"/>
                  </a:cubicBezTo>
                  <a:cubicBezTo>
                    <a:pt x="44592" y="475885"/>
                    <a:pt x="42752" y="483568"/>
                    <a:pt x="40480" y="490817"/>
                  </a:cubicBezTo>
                  <a:cubicBezTo>
                    <a:pt x="38208" y="497959"/>
                    <a:pt x="35935" y="504884"/>
                    <a:pt x="33771" y="511484"/>
                  </a:cubicBezTo>
                  <a:cubicBezTo>
                    <a:pt x="29768" y="524685"/>
                    <a:pt x="24899" y="536263"/>
                    <a:pt x="21111" y="546543"/>
                  </a:cubicBezTo>
                  <a:cubicBezTo>
                    <a:pt x="17324" y="556822"/>
                    <a:pt x="13537" y="565478"/>
                    <a:pt x="10291" y="572512"/>
                  </a:cubicBezTo>
                  <a:cubicBezTo>
                    <a:pt x="7261" y="579220"/>
                    <a:pt x="4773" y="584630"/>
                    <a:pt x="2825" y="588634"/>
                  </a:cubicBezTo>
                  <a:cubicBezTo>
                    <a:pt x="1094" y="592313"/>
                    <a:pt x="120" y="594152"/>
                    <a:pt x="12" y="594152"/>
                  </a:cubicBezTo>
                  <a:cubicBezTo>
                    <a:pt x="-97" y="594044"/>
                    <a:pt x="553" y="592097"/>
                    <a:pt x="2067" y="588309"/>
                  </a:cubicBezTo>
                  <a:cubicBezTo>
                    <a:pt x="3799" y="584090"/>
                    <a:pt x="5963" y="578679"/>
                    <a:pt x="8668" y="571862"/>
                  </a:cubicBezTo>
                  <a:cubicBezTo>
                    <a:pt x="11698" y="564721"/>
                    <a:pt x="15268" y="556065"/>
                    <a:pt x="18731" y="545677"/>
                  </a:cubicBezTo>
                  <a:cubicBezTo>
                    <a:pt x="22302" y="535398"/>
                    <a:pt x="26954" y="523820"/>
                    <a:pt x="30741" y="510511"/>
                  </a:cubicBezTo>
                  <a:cubicBezTo>
                    <a:pt x="32797" y="503910"/>
                    <a:pt x="34853" y="496985"/>
                    <a:pt x="37126" y="489844"/>
                  </a:cubicBezTo>
                  <a:cubicBezTo>
                    <a:pt x="39290" y="482702"/>
                    <a:pt x="41021" y="475020"/>
                    <a:pt x="43077" y="467229"/>
                  </a:cubicBezTo>
                  <a:cubicBezTo>
                    <a:pt x="47405" y="451648"/>
                    <a:pt x="50651" y="434660"/>
                    <a:pt x="54330" y="416806"/>
                  </a:cubicBezTo>
                  <a:cubicBezTo>
                    <a:pt x="60714" y="380990"/>
                    <a:pt x="65691" y="341171"/>
                    <a:pt x="67423" y="299188"/>
                  </a:cubicBezTo>
                  <a:cubicBezTo>
                    <a:pt x="68721" y="257205"/>
                    <a:pt x="66665" y="217170"/>
                    <a:pt x="62770" y="181030"/>
                  </a:cubicBezTo>
                  <a:cubicBezTo>
                    <a:pt x="60389" y="162959"/>
                    <a:pt x="58442" y="145755"/>
                    <a:pt x="55196" y="129957"/>
                  </a:cubicBezTo>
                  <a:cubicBezTo>
                    <a:pt x="53681" y="122058"/>
                    <a:pt x="52491" y="114267"/>
                    <a:pt x="50867" y="106910"/>
                  </a:cubicBezTo>
                  <a:cubicBezTo>
                    <a:pt x="49136" y="99552"/>
                    <a:pt x="47513" y="92627"/>
                    <a:pt x="45998" y="85810"/>
                  </a:cubicBezTo>
                  <a:cubicBezTo>
                    <a:pt x="43185" y="72284"/>
                    <a:pt x="39398" y="60490"/>
                    <a:pt x="36476" y="49886"/>
                  </a:cubicBezTo>
                  <a:cubicBezTo>
                    <a:pt x="33663" y="39282"/>
                    <a:pt x="30741" y="30301"/>
                    <a:pt x="28253" y="23052"/>
                  </a:cubicBezTo>
                  <a:cubicBezTo>
                    <a:pt x="25981" y="16018"/>
                    <a:pt x="24141" y="10392"/>
                    <a:pt x="22843" y="6172"/>
                  </a:cubicBezTo>
                  <a:cubicBezTo>
                    <a:pt x="21761" y="2168"/>
                    <a:pt x="21220" y="112"/>
                    <a:pt x="21328" y="4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DCF760D-5B02-4C1B-AB5D-DECE059A98FF}"/>
                </a:ext>
              </a:extLst>
            </p:cNvPr>
            <p:cNvSpPr/>
            <p:nvPr/>
          </p:nvSpPr>
          <p:spPr>
            <a:xfrm flipH="1">
              <a:off x="6106233" y="5630714"/>
              <a:ext cx="282124" cy="808148"/>
            </a:xfrm>
            <a:custGeom>
              <a:avLst/>
              <a:gdLst>
                <a:gd name="connsiteX0" fmla="*/ 255923 w 255965"/>
                <a:gd name="connsiteY0" fmla="*/ 12 h 733215"/>
                <a:gd name="connsiteX1" fmla="*/ 255707 w 255965"/>
                <a:gd name="connsiteY1" fmla="*/ 2068 h 733215"/>
                <a:gd name="connsiteX2" fmla="*/ 254733 w 255965"/>
                <a:gd name="connsiteY2" fmla="*/ 7910 h 733215"/>
                <a:gd name="connsiteX3" fmla="*/ 250621 w 255965"/>
                <a:gd name="connsiteY3" fmla="*/ 30201 h 733215"/>
                <a:gd name="connsiteX4" fmla="*/ 229413 w 255965"/>
                <a:gd name="connsiteY4" fmla="*/ 110921 h 733215"/>
                <a:gd name="connsiteX5" fmla="*/ 187863 w 255965"/>
                <a:gd name="connsiteY5" fmla="*/ 227456 h 733215"/>
                <a:gd name="connsiteX6" fmla="*/ 133003 w 255965"/>
                <a:gd name="connsiteY6" fmla="*/ 368446 h 733215"/>
                <a:gd name="connsiteX7" fmla="*/ 86151 w 255965"/>
                <a:gd name="connsiteY7" fmla="*/ 512249 h 733215"/>
                <a:gd name="connsiteX8" fmla="*/ 47522 w 255965"/>
                <a:gd name="connsiteY8" fmla="*/ 629759 h 733215"/>
                <a:gd name="connsiteX9" fmla="*/ 14628 w 255965"/>
                <a:gd name="connsiteY9" fmla="*/ 706476 h 733215"/>
                <a:gd name="connsiteX10" fmla="*/ 4024 w 255965"/>
                <a:gd name="connsiteY10" fmla="*/ 726493 h 733215"/>
                <a:gd name="connsiteX11" fmla="*/ 1103 w 255965"/>
                <a:gd name="connsiteY11" fmla="*/ 731579 h 733215"/>
                <a:gd name="connsiteX12" fmla="*/ 21 w 255965"/>
                <a:gd name="connsiteY12" fmla="*/ 733202 h 733215"/>
                <a:gd name="connsiteX13" fmla="*/ 778 w 255965"/>
                <a:gd name="connsiteY13" fmla="*/ 731363 h 733215"/>
                <a:gd name="connsiteX14" fmla="*/ 3267 w 255965"/>
                <a:gd name="connsiteY14" fmla="*/ 726061 h 733215"/>
                <a:gd name="connsiteX15" fmla="*/ 13113 w 255965"/>
                <a:gd name="connsiteY15" fmla="*/ 705610 h 733215"/>
                <a:gd name="connsiteX16" fmla="*/ 44601 w 255965"/>
                <a:gd name="connsiteY16" fmla="*/ 628569 h 733215"/>
                <a:gd name="connsiteX17" fmla="*/ 82256 w 255965"/>
                <a:gd name="connsiteY17" fmla="*/ 510951 h 733215"/>
                <a:gd name="connsiteX18" fmla="*/ 128892 w 255965"/>
                <a:gd name="connsiteY18" fmla="*/ 366823 h 733215"/>
                <a:gd name="connsiteX19" fmla="*/ 184184 w 255965"/>
                <a:gd name="connsiteY19" fmla="*/ 225833 h 733215"/>
                <a:gd name="connsiteX20" fmla="*/ 226492 w 255965"/>
                <a:gd name="connsiteY20" fmla="*/ 109839 h 733215"/>
                <a:gd name="connsiteX21" fmla="*/ 248998 w 255965"/>
                <a:gd name="connsiteY21" fmla="*/ 29659 h 733215"/>
                <a:gd name="connsiteX22" fmla="*/ 253976 w 255965"/>
                <a:gd name="connsiteY22" fmla="*/ 7586 h 733215"/>
                <a:gd name="connsiteX23" fmla="*/ 255382 w 255965"/>
                <a:gd name="connsiteY23" fmla="*/ 1851 h 733215"/>
                <a:gd name="connsiteX24" fmla="*/ 255923 w 255965"/>
                <a:gd name="connsiteY24" fmla="*/ 12 h 733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5965" h="733215">
                  <a:moveTo>
                    <a:pt x="255923" y="12"/>
                  </a:moveTo>
                  <a:cubicBezTo>
                    <a:pt x="256031" y="12"/>
                    <a:pt x="255923" y="661"/>
                    <a:pt x="255707" y="2068"/>
                  </a:cubicBezTo>
                  <a:cubicBezTo>
                    <a:pt x="255490" y="3691"/>
                    <a:pt x="255166" y="5530"/>
                    <a:pt x="254733" y="7910"/>
                  </a:cubicBezTo>
                  <a:cubicBezTo>
                    <a:pt x="253867" y="12996"/>
                    <a:pt x="252677" y="20570"/>
                    <a:pt x="250621" y="30201"/>
                  </a:cubicBezTo>
                  <a:cubicBezTo>
                    <a:pt x="246618" y="49461"/>
                    <a:pt x="239909" y="77269"/>
                    <a:pt x="229413" y="110921"/>
                  </a:cubicBezTo>
                  <a:cubicBezTo>
                    <a:pt x="219026" y="144572"/>
                    <a:pt x="204743" y="184066"/>
                    <a:pt x="187863" y="227456"/>
                  </a:cubicBezTo>
                  <a:cubicBezTo>
                    <a:pt x="170983" y="270846"/>
                    <a:pt x="151506" y="318131"/>
                    <a:pt x="133003" y="368446"/>
                  </a:cubicBezTo>
                  <a:cubicBezTo>
                    <a:pt x="114176" y="418653"/>
                    <a:pt x="99677" y="467777"/>
                    <a:pt x="86151" y="512249"/>
                  </a:cubicBezTo>
                  <a:cubicBezTo>
                    <a:pt x="72626" y="556829"/>
                    <a:pt x="59858" y="596757"/>
                    <a:pt x="47522" y="629759"/>
                  </a:cubicBezTo>
                  <a:cubicBezTo>
                    <a:pt x="35295" y="662761"/>
                    <a:pt x="23501" y="688839"/>
                    <a:pt x="14628" y="706476"/>
                  </a:cubicBezTo>
                  <a:cubicBezTo>
                    <a:pt x="10408" y="715348"/>
                    <a:pt x="6513" y="721949"/>
                    <a:pt x="4024" y="726493"/>
                  </a:cubicBezTo>
                  <a:cubicBezTo>
                    <a:pt x="2834" y="728549"/>
                    <a:pt x="1860" y="730281"/>
                    <a:pt x="1103" y="731579"/>
                  </a:cubicBezTo>
                  <a:cubicBezTo>
                    <a:pt x="454" y="732769"/>
                    <a:pt x="21" y="733310"/>
                    <a:pt x="21" y="733202"/>
                  </a:cubicBezTo>
                  <a:cubicBezTo>
                    <a:pt x="-87" y="733202"/>
                    <a:pt x="237" y="732553"/>
                    <a:pt x="778" y="731363"/>
                  </a:cubicBezTo>
                  <a:cubicBezTo>
                    <a:pt x="1427" y="729956"/>
                    <a:pt x="2293" y="728225"/>
                    <a:pt x="3267" y="726061"/>
                  </a:cubicBezTo>
                  <a:cubicBezTo>
                    <a:pt x="5431" y="721408"/>
                    <a:pt x="9110" y="714591"/>
                    <a:pt x="13113" y="705610"/>
                  </a:cubicBezTo>
                  <a:cubicBezTo>
                    <a:pt x="21553" y="687865"/>
                    <a:pt x="32807" y="661679"/>
                    <a:pt x="44601" y="628569"/>
                  </a:cubicBezTo>
                  <a:cubicBezTo>
                    <a:pt x="56611" y="595567"/>
                    <a:pt x="69055" y="555531"/>
                    <a:pt x="82256" y="510951"/>
                  </a:cubicBezTo>
                  <a:cubicBezTo>
                    <a:pt x="95673" y="466371"/>
                    <a:pt x="110064" y="417138"/>
                    <a:pt x="128892" y="366823"/>
                  </a:cubicBezTo>
                  <a:cubicBezTo>
                    <a:pt x="147503" y="316400"/>
                    <a:pt x="167088" y="269115"/>
                    <a:pt x="184184" y="225833"/>
                  </a:cubicBezTo>
                  <a:cubicBezTo>
                    <a:pt x="201280" y="182552"/>
                    <a:pt x="215780" y="143274"/>
                    <a:pt x="226492" y="109839"/>
                  </a:cubicBezTo>
                  <a:cubicBezTo>
                    <a:pt x="237312" y="76404"/>
                    <a:pt x="244454" y="48811"/>
                    <a:pt x="248998" y="29659"/>
                  </a:cubicBezTo>
                  <a:cubicBezTo>
                    <a:pt x="251270" y="20137"/>
                    <a:pt x="252677" y="12563"/>
                    <a:pt x="253976" y="7586"/>
                  </a:cubicBezTo>
                  <a:cubicBezTo>
                    <a:pt x="254517" y="5314"/>
                    <a:pt x="254949" y="3366"/>
                    <a:pt x="255382" y="1851"/>
                  </a:cubicBezTo>
                  <a:cubicBezTo>
                    <a:pt x="255599" y="553"/>
                    <a:pt x="255815" y="-97"/>
                    <a:pt x="255923" y="12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DA5086E-A60B-4920-858F-B8E3865BD7FE}"/>
                </a:ext>
              </a:extLst>
            </p:cNvPr>
            <p:cNvSpPr/>
            <p:nvPr/>
          </p:nvSpPr>
          <p:spPr>
            <a:xfrm flipH="1">
              <a:off x="6453571" y="5515761"/>
              <a:ext cx="395242" cy="920104"/>
            </a:xfrm>
            <a:custGeom>
              <a:avLst/>
              <a:gdLst>
                <a:gd name="connsiteX0" fmla="*/ 30412 w 358594"/>
                <a:gd name="connsiteY0" fmla="*/ 5191 h 834790"/>
                <a:gd name="connsiteX1" fmla="*/ 872 w 358594"/>
                <a:gd name="connsiteY1" fmla="*/ 23477 h 834790"/>
                <a:gd name="connsiteX2" fmla="*/ 27057 w 358594"/>
                <a:gd name="connsiteY2" fmla="*/ 90888 h 834790"/>
                <a:gd name="connsiteX3" fmla="*/ 179409 w 358594"/>
                <a:gd name="connsiteY3" fmla="*/ 490594 h 834790"/>
                <a:gd name="connsiteX4" fmla="*/ 274412 w 358594"/>
                <a:gd name="connsiteY4" fmla="*/ 834791 h 834790"/>
                <a:gd name="connsiteX5" fmla="*/ 358595 w 358594"/>
                <a:gd name="connsiteY5" fmla="*/ 821157 h 834790"/>
                <a:gd name="connsiteX6" fmla="*/ 206243 w 358594"/>
                <a:gd name="connsiteY6" fmla="*/ 320389 h 834790"/>
                <a:gd name="connsiteX7" fmla="*/ 30412 w 358594"/>
                <a:gd name="connsiteY7" fmla="*/ 5191 h 834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8594" h="834790">
                  <a:moveTo>
                    <a:pt x="30412" y="5191"/>
                  </a:moveTo>
                  <a:cubicBezTo>
                    <a:pt x="17319" y="-7902"/>
                    <a:pt x="-4646" y="5840"/>
                    <a:pt x="872" y="23477"/>
                  </a:cubicBezTo>
                  <a:cubicBezTo>
                    <a:pt x="6390" y="41439"/>
                    <a:pt x="14722" y="64703"/>
                    <a:pt x="27057" y="90888"/>
                  </a:cubicBezTo>
                  <a:cubicBezTo>
                    <a:pt x="55731" y="151807"/>
                    <a:pt x="140022" y="370487"/>
                    <a:pt x="179409" y="490594"/>
                  </a:cubicBezTo>
                  <a:cubicBezTo>
                    <a:pt x="218795" y="610700"/>
                    <a:pt x="274412" y="834791"/>
                    <a:pt x="274412" y="834791"/>
                  </a:cubicBezTo>
                  <a:lnTo>
                    <a:pt x="358595" y="821157"/>
                  </a:lnTo>
                  <a:cubicBezTo>
                    <a:pt x="358595" y="821157"/>
                    <a:pt x="281553" y="453047"/>
                    <a:pt x="206243" y="320389"/>
                  </a:cubicBezTo>
                  <a:cubicBezTo>
                    <a:pt x="145757" y="213808"/>
                    <a:pt x="85271" y="59833"/>
                    <a:pt x="30412" y="5191"/>
                  </a:cubicBez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D7A0B79-ED78-4D6C-B000-E56251870395}"/>
                </a:ext>
              </a:extLst>
            </p:cNvPr>
            <p:cNvSpPr/>
            <p:nvPr/>
          </p:nvSpPr>
          <p:spPr>
            <a:xfrm flipH="1">
              <a:off x="6546147" y="6139378"/>
              <a:ext cx="79586" cy="296490"/>
            </a:xfrm>
            <a:custGeom>
              <a:avLst/>
              <a:gdLst>
                <a:gd name="connsiteX0" fmla="*/ 61 w 72207"/>
                <a:gd name="connsiteY0" fmla="*/ 2 h 268999"/>
                <a:gd name="connsiteX1" fmla="*/ 4389 w 72207"/>
                <a:gd name="connsiteY1" fmla="*/ 10065 h 268999"/>
                <a:gd name="connsiteX2" fmla="*/ 14128 w 72207"/>
                <a:gd name="connsiteY2" fmla="*/ 38307 h 268999"/>
                <a:gd name="connsiteX3" fmla="*/ 40962 w 72207"/>
                <a:gd name="connsiteY3" fmla="*/ 133202 h 268999"/>
                <a:gd name="connsiteX4" fmla="*/ 64010 w 72207"/>
                <a:gd name="connsiteY4" fmla="*/ 228962 h 268999"/>
                <a:gd name="connsiteX5" fmla="*/ 70394 w 72207"/>
                <a:gd name="connsiteY5" fmla="*/ 258177 h 268999"/>
                <a:gd name="connsiteX6" fmla="*/ 72125 w 72207"/>
                <a:gd name="connsiteY6" fmla="*/ 268997 h 268999"/>
                <a:gd name="connsiteX7" fmla="*/ 68662 w 72207"/>
                <a:gd name="connsiteY7" fmla="*/ 258610 h 268999"/>
                <a:gd name="connsiteX8" fmla="*/ 60980 w 72207"/>
                <a:gd name="connsiteY8" fmla="*/ 229720 h 268999"/>
                <a:gd name="connsiteX9" fmla="*/ 36742 w 72207"/>
                <a:gd name="connsiteY9" fmla="*/ 134284 h 268999"/>
                <a:gd name="connsiteX10" fmla="*/ 11206 w 72207"/>
                <a:gd name="connsiteY10" fmla="*/ 39281 h 268999"/>
                <a:gd name="connsiteX11" fmla="*/ 2874 w 72207"/>
                <a:gd name="connsiteY11" fmla="*/ 10607 h 268999"/>
                <a:gd name="connsiteX12" fmla="*/ 61 w 72207"/>
                <a:gd name="connsiteY12" fmla="*/ 2 h 26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207" h="268999">
                  <a:moveTo>
                    <a:pt x="61" y="2"/>
                  </a:moveTo>
                  <a:cubicBezTo>
                    <a:pt x="386" y="-106"/>
                    <a:pt x="1901" y="3465"/>
                    <a:pt x="4389" y="10065"/>
                  </a:cubicBezTo>
                  <a:cubicBezTo>
                    <a:pt x="6878" y="16666"/>
                    <a:pt x="10232" y="26296"/>
                    <a:pt x="14128" y="38307"/>
                  </a:cubicBezTo>
                  <a:cubicBezTo>
                    <a:pt x="21918" y="62328"/>
                    <a:pt x="31332" y="95871"/>
                    <a:pt x="40962" y="133202"/>
                  </a:cubicBezTo>
                  <a:cubicBezTo>
                    <a:pt x="50484" y="170532"/>
                    <a:pt x="58491" y="204400"/>
                    <a:pt x="64010" y="228962"/>
                  </a:cubicBezTo>
                  <a:cubicBezTo>
                    <a:pt x="66498" y="240648"/>
                    <a:pt x="68662" y="250387"/>
                    <a:pt x="70394" y="258177"/>
                  </a:cubicBezTo>
                  <a:cubicBezTo>
                    <a:pt x="71800" y="265102"/>
                    <a:pt x="72450" y="268997"/>
                    <a:pt x="72125" y="268997"/>
                  </a:cubicBezTo>
                  <a:cubicBezTo>
                    <a:pt x="71800" y="269106"/>
                    <a:pt x="70610" y="265319"/>
                    <a:pt x="68662" y="258610"/>
                  </a:cubicBezTo>
                  <a:cubicBezTo>
                    <a:pt x="66607" y="250928"/>
                    <a:pt x="64010" y="241297"/>
                    <a:pt x="60980" y="229720"/>
                  </a:cubicBezTo>
                  <a:cubicBezTo>
                    <a:pt x="54488" y="204400"/>
                    <a:pt x="46048" y="171073"/>
                    <a:pt x="36742" y="134284"/>
                  </a:cubicBezTo>
                  <a:cubicBezTo>
                    <a:pt x="27220" y="97061"/>
                    <a:pt x="18239" y="63410"/>
                    <a:pt x="11206" y="39281"/>
                  </a:cubicBezTo>
                  <a:cubicBezTo>
                    <a:pt x="7852" y="27811"/>
                    <a:pt x="5038" y="18289"/>
                    <a:pt x="2874" y="10607"/>
                  </a:cubicBezTo>
                  <a:cubicBezTo>
                    <a:pt x="710" y="3898"/>
                    <a:pt x="-264" y="111"/>
                    <a:pt x="61" y="2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8CF98C7-3312-4B17-A629-5AF22DB1B701}"/>
                </a:ext>
              </a:extLst>
            </p:cNvPr>
            <p:cNvSpPr/>
            <p:nvPr/>
          </p:nvSpPr>
          <p:spPr>
            <a:xfrm flipH="1">
              <a:off x="6499726" y="5520052"/>
              <a:ext cx="338496" cy="908301"/>
            </a:xfrm>
            <a:custGeom>
              <a:avLst/>
              <a:gdLst>
                <a:gd name="connsiteX0" fmla="*/ 307110 w 307110"/>
                <a:gd name="connsiteY0" fmla="*/ 824082 h 824081"/>
                <a:gd name="connsiteX1" fmla="*/ 306677 w 307110"/>
                <a:gd name="connsiteY1" fmla="*/ 821809 h 824081"/>
                <a:gd name="connsiteX2" fmla="*/ 305703 w 307110"/>
                <a:gd name="connsiteY2" fmla="*/ 815209 h 824081"/>
                <a:gd name="connsiteX3" fmla="*/ 302241 w 307110"/>
                <a:gd name="connsiteY3" fmla="*/ 789673 h 824081"/>
                <a:gd name="connsiteX4" fmla="*/ 284604 w 307110"/>
                <a:gd name="connsiteY4" fmla="*/ 696834 h 824081"/>
                <a:gd name="connsiteX5" fmla="*/ 245217 w 307110"/>
                <a:gd name="connsiteY5" fmla="*/ 562336 h 824081"/>
                <a:gd name="connsiteX6" fmla="*/ 181702 w 307110"/>
                <a:gd name="connsiteY6" fmla="*/ 402735 h 824081"/>
                <a:gd name="connsiteX7" fmla="*/ 50126 w 307110"/>
                <a:gd name="connsiteY7" fmla="*/ 119349 h 824081"/>
                <a:gd name="connsiteX8" fmla="*/ 12579 w 307110"/>
                <a:gd name="connsiteY8" fmla="*/ 32353 h 824081"/>
                <a:gd name="connsiteX9" fmla="*/ 3057 w 307110"/>
                <a:gd name="connsiteY9" fmla="*/ 8440 h 824081"/>
                <a:gd name="connsiteX10" fmla="*/ 676 w 307110"/>
                <a:gd name="connsiteY10" fmla="*/ 2164 h 824081"/>
                <a:gd name="connsiteX11" fmla="*/ 27 w 307110"/>
                <a:gd name="connsiteY11" fmla="*/ 0 h 824081"/>
                <a:gd name="connsiteX12" fmla="*/ 1109 w 307110"/>
                <a:gd name="connsiteY12" fmla="*/ 2056 h 824081"/>
                <a:gd name="connsiteX13" fmla="*/ 3814 w 307110"/>
                <a:gd name="connsiteY13" fmla="*/ 8115 h 824081"/>
                <a:gd name="connsiteX14" fmla="*/ 14094 w 307110"/>
                <a:gd name="connsiteY14" fmla="*/ 31704 h 824081"/>
                <a:gd name="connsiteX15" fmla="*/ 52939 w 307110"/>
                <a:gd name="connsiteY15" fmla="*/ 118051 h 824081"/>
                <a:gd name="connsiteX16" fmla="*/ 185705 w 307110"/>
                <a:gd name="connsiteY16" fmla="*/ 400896 h 824081"/>
                <a:gd name="connsiteX17" fmla="*/ 249005 w 307110"/>
                <a:gd name="connsiteY17" fmla="*/ 560930 h 824081"/>
                <a:gd name="connsiteX18" fmla="*/ 287633 w 307110"/>
                <a:gd name="connsiteY18" fmla="*/ 696076 h 824081"/>
                <a:gd name="connsiteX19" fmla="*/ 303972 w 307110"/>
                <a:gd name="connsiteY19" fmla="*/ 789456 h 824081"/>
                <a:gd name="connsiteX20" fmla="*/ 306569 w 307110"/>
                <a:gd name="connsiteY20" fmla="*/ 815101 h 824081"/>
                <a:gd name="connsiteX21" fmla="*/ 307110 w 307110"/>
                <a:gd name="connsiteY21" fmla="*/ 821809 h 824081"/>
                <a:gd name="connsiteX22" fmla="*/ 307110 w 307110"/>
                <a:gd name="connsiteY22" fmla="*/ 824082 h 824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7110" h="824081">
                  <a:moveTo>
                    <a:pt x="307110" y="824082"/>
                  </a:moveTo>
                  <a:cubicBezTo>
                    <a:pt x="307002" y="824082"/>
                    <a:pt x="306894" y="823324"/>
                    <a:pt x="306677" y="821809"/>
                  </a:cubicBezTo>
                  <a:cubicBezTo>
                    <a:pt x="306461" y="820078"/>
                    <a:pt x="306136" y="817914"/>
                    <a:pt x="305703" y="815209"/>
                  </a:cubicBezTo>
                  <a:cubicBezTo>
                    <a:pt x="304838" y="809366"/>
                    <a:pt x="304080" y="800710"/>
                    <a:pt x="302241" y="789673"/>
                  </a:cubicBezTo>
                  <a:cubicBezTo>
                    <a:pt x="299103" y="767599"/>
                    <a:pt x="293585" y="735679"/>
                    <a:pt x="284604" y="696834"/>
                  </a:cubicBezTo>
                  <a:cubicBezTo>
                    <a:pt x="275623" y="657880"/>
                    <a:pt x="262530" y="612218"/>
                    <a:pt x="245217" y="562336"/>
                  </a:cubicBezTo>
                  <a:cubicBezTo>
                    <a:pt x="227905" y="512454"/>
                    <a:pt x="206264" y="458569"/>
                    <a:pt x="181702" y="402735"/>
                  </a:cubicBezTo>
                  <a:cubicBezTo>
                    <a:pt x="132144" y="291285"/>
                    <a:pt x="82695" y="192495"/>
                    <a:pt x="50126" y="119349"/>
                  </a:cubicBezTo>
                  <a:cubicBezTo>
                    <a:pt x="33678" y="82884"/>
                    <a:pt x="20910" y="53128"/>
                    <a:pt x="12579" y="32353"/>
                  </a:cubicBezTo>
                  <a:cubicBezTo>
                    <a:pt x="8359" y="22073"/>
                    <a:pt x="5221" y="13850"/>
                    <a:pt x="3057" y="8440"/>
                  </a:cubicBezTo>
                  <a:cubicBezTo>
                    <a:pt x="2083" y="5843"/>
                    <a:pt x="1325" y="3787"/>
                    <a:pt x="676" y="2164"/>
                  </a:cubicBezTo>
                  <a:cubicBezTo>
                    <a:pt x="135" y="758"/>
                    <a:pt x="-81" y="0"/>
                    <a:pt x="27" y="0"/>
                  </a:cubicBezTo>
                  <a:cubicBezTo>
                    <a:pt x="135" y="0"/>
                    <a:pt x="460" y="649"/>
                    <a:pt x="1109" y="2056"/>
                  </a:cubicBezTo>
                  <a:cubicBezTo>
                    <a:pt x="1867" y="3679"/>
                    <a:pt x="2732" y="5626"/>
                    <a:pt x="3814" y="8115"/>
                  </a:cubicBezTo>
                  <a:cubicBezTo>
                    <a:pt x="6303" y="13850"/>
                    <a:pt x="9765" y="21749"/>
                    <a:pt x="14094" y="31704"/>
                  </a:cubicBezTo>
                  <a:cubicBezTo>
                    <a:pt x="22966" y="52262"/>
                    <a:pt x="36059" y="81802"/>
                    <a:pt x="52939" y="118051"/>
                  </a:cubicBezTo>
                  <a:cubicBezTo>
                    <a:pt x="86157" y="190764"/>
                    <a:pt x="136040" y="289337"/>
                    <a:pt x="185705" y="400896"/>
                  </a:cubicBezTo>
                  <a:cubicBezTo>
                    <a:pt x="210267" y="456729"/>
                    <a:pt x="231908" y="510831"/>
                    <a:pt x="249005" y="560930"/>
                  </a:cubicBezTo>
                  <a:cubicBezTo>
                    <a:pt x="266101" y="611028"/>
                    <a:pt x="278977" y="657015"/>
                    <a:pt x="287633" y="696076"/>
                  </a:cubicBezTo>
                  <a:cubicBezTo>
                    <a:pt x="296290" y="735138"/>
                    <a:pt x="301375" y="767166"/>
                    <a:pt x="303972" y="789456"/>
                  </a:cubicBezTo>
                  <a:cubicBezTo>
                    <a:pt x="305487" y="800493"/>
                    <a:pt x="306028" y="809258"/>
                    <a:pt x="306569" y="815101"/>
                  </a:cubicBezTo>
                  <a:cubicBezTo>
                    <a:pt x="306785" y="817806"/>
                    <a:pt x="306894" y="819970"/>
                    <a:pt x="307110" y="821809"/>
                  </a:cubicBezTo>
                  <a:cubicBezTo>
                    <a:pt x="307110" y="823324"/>
                    <a:pt x="307110" y="824082"/>
                    <a:pt x="307110" y="824082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E98225C-8B5C-4984-A6DD-CEAA8E81F497}"/>
                </a:ext>
              </a:extLst>
            </p:cNvPr>
            <p:cNvSpPr/>
            <p:nvPr/>
          </p:nvSpPr>
          <p:spPr>
            <a:xfrm flipH="1">
              <a:off x="6453456" y="6030730"/>
              <a:ext cx="101773" cy="390109"/>
            </a:xfrm>
            <a:custGeom>
              <a:avLst/>
              <a:gdLst>
                <a:gd name="connsiteX0" fmla="*/ 92231 w 92336"/>
                <a:gd name="connsiteY0" fmla="*/ 353937 h 353937"/>
                <a:gd name="connsiteX1" fmla="*/ 89417 w 92336"/>
                <a:gd name="connsiteY1" fmla="*/ 339762 h 353937"/>
                <a:gd name="connsiteX2" fmla="*/ 82817 w 92336"/>
                <a:gd name="connsiteY2" fmla="*/ 301025 h 353937"/>
                <a:gd name="connsiteX3" fmla="*/ 55441 w 92336"/>
                <a:gd name="connsiteY3" fmla="*/ 174535 h 353937"/>
                <a:gd name="connsiteX4" fmla="*/ 17678 w 92336"/>
                <a:gd name="connsiteY4" fmla="*/ 50749 h 353937"/>
                <a:gd name="connsiteX5" fmla="*/ 4477 w 92336"/>
                <a:gd name="connsiteY5" fmla="*/ 13744 h 353937"/>
                <a:gd name="connsiteX6" fmla="*/ 41 w 92336"/>
                <a:gd name="connsiteY6" fmla="*/ 2 h 353937"/>
                <a:gd name="connsiteX7" fmla="*/ 6100 w 92336"/>
                <a:gd name="connsiteY7" fmla="*/ 13094 h 353937"/>
                <a:gd name="connsiteX8" fmla="*/ 20600 w 92336"/>
                <a:gd name="connsiteY8" fmla="*/ 49667 h 353937"/>
                <a:gd name="connsiteX9" fmla="*/ 59661 w 92336"/>
                <a:gd name="connsiteY9" fmla="*/ 173453 h 353937"/>
                <a:gd name="connsiteX10" fmla="*/ 85847 w 92336"/>
                <a:gd name="connsiteY10" fmla="*/ 300484 h 353937"/>
                <a:gd name="connsiteX11" fmla="*/ 91040 w 92336"/>
                <a:gd name="connsiteY11" fmla="*/ 339438 h 353937"/>
                <a:gd name="connsiteX12" fmla="*/ 92231 w 92336"/>
                <a:gd name="connsiteY12" fmla="*/ 353937 h 353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2336" h="353937">
                  <a:moveTo>
                    <a:pt x="92231" y="353937"/>
                  </a:moveTo>
                  <a:cubicBezTo>
                    <a:pt x="91906" y="353937"/>
                    <a:pt x="90932" y="348960"/>
                    <a:pt x="89417" y="339762"/>
                  </a:cubicBezTo>
                  <a:cubicBezTo>
                    <a:pt x="87794" y="329916"/>
                    <a:pt x="85522" y="316823"/>
                    <a:pt x="82817" y="301025"/>
                  </a:cubicBezTo>
                  <a:cubicBezTo>
                    <a:pt x="76974" y="268348"/>
                    <a:pt x="68101" y="223443"/>
                    <a:pt x="55441" y="174535"/>
                  </a:cubicBezTo>
                  <a:cubicBezTo>
                    <a:pt x="42781" y="125518"/>
                    <a:pt x="28607" y="82020"/>
                    <a:pt x="17678" y="50749"/>
                  </a:cubicBezTo>
                  <a:cubicBezTo>
                    <a:pt x="12268" y="35709"/>
                    <a:pt x="7832" y="23157"/>
                    <a:pt x="4477" y="13744"/>
                  </a:cubicBezTo>
                  <a:cubicBezTo>
                    <a:pt x="1339" y="4979"/>
                    <a:pt x="-284" y="110"/>
                    <a:pt x="41" y="2"/>
                  </a:cubicBezTo>
                  <a:cubicBezTo>
                    <a:pt x="365" y="-106"/>
                    <a:pt x="2530" y="4546"/>
                    <a:pt x="6100" y="13094"/>
                  </a:cubicBezTo>
                  <a:cubicBezTo>
                    <a:pt x="9779" y="21643"/>
                    <a:pt x="14757" y="34086"/>
                    <a:pt x="20600" y="49667"/>
                  </a:cubicBezTo>
                  <a:cubicBezTo>
                    <a:pt x="32286" y="80722"/>
                    <a:pt x="47001" y="124328"/>
                    <a:pt x="59661" y="173453"/>
                  </a:cubicBezTo>
                  <a:cubicBezTo>
                    <a:pt x="72429" y="222577"/>
                    <a:pt x="80869" y="267699"/>
                    <a:pt x="85847" y="300484"/>
                  </a:cubicBezTo>
                  <a:cubicBezTo>
                    <a:pt x="88227" y="316931"/>
                    <a:pt x="90067" y="330240"/>
                    <a:pt x="91040" y="339438"/>
                  </a:cubicBezTo>
                  <a:cubicBezTo>
                    <a:pt x="92122" y="348743"/>
                    <a:pt x="92555" y="353937"/>
                    <a:pt x="92231" y="353937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6C9EB27-6C4D-4247-8FCD-BFA91545B501}"/>
                </a:ext>
              </a:extLst>
            </p:cNvPr>
            <p:cNvSpPr/>
            <p:nvPr/>
          </p:nvSpPr>
          <p:spPr>
            <a:xfrm flipH="1">
              <a:off x="6262991" y="6407482"/>
              <a:ext cx="362318" cy="441390"/>
            </a:xfrm>
            <a:custGeom>
              <a:avLst/>
              <a:gdLst>
                <a:gd name="connsiteX0" fmla="*/ 0 w 328723"/>
                <a:gd name="connsiteY0" fmla="*/ 0 h 400463"/>
                <a:gd name="connsiteX1" fmla="*/ 328724 w 328723"/>
                <a:gd name="connsiteY1" fmla="*/ 0 h 400463"/>
                <a:gd name="connsiteX2" fmla="*/ 328724 w 328723"/>
                <a:gd name="connsiteY2" fmla="*/ 400463 h 400463"/>
                <a:gd name="connsiteX3" fmla="*/ 0 w 328723"/>
                <a:gd name="connsiteY3" fmla="*/ 400463 h 400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723" h="400463">
                  <a:moveTo>
                    <a:pt x="0" y="0"/>
                  </a:moveTo>
                  <a:lnTo>
                    <a:pt x="328724" y="0"/>
                  </a:lnTo>
                  <a:lnTo>
                    <a:pt x="328724" y="400463"/>
                  </a:lnTo>
                  <a:lnTo>
                    <a:pt x="0" y="400463"/>
                  </a:ln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333EB25-DF76-4146-8B17-7FDE6FF3F749}"/>
                </a:ext>
              </a:extLst>
            </p:cNvPr>
            <p:cNvSpPr/>
            <p:nvPr/>
          </p:nvSpPr>
          <p:spPr>
            <a:xfrm flipH="1">
              <a:off x="6378676" y="6407482"/>
              <a:ext cx="321411" cy="441390"/>
            </a:xfrm>
            <a:custGeom>
              <a:avLst/>
              <a:gdLst>
                <a:gd name="connsiteX0" fmla="*/ 0 w 291609"/>
                <a:gd name="connsiteY0" fmla="*/ 0 h 400463"/>
                <a:gd name="connsiteX1" fmla="*/ 291610 w 291609"/>
                <a:gd name="connsiteY1" fmla="*/ 0 h 400463"/>
                <a:gd name="connsiteX2" fmla="*/ 291610 w 291609"/>
                <a:gd name="connsiteY2" fmla="*/ 400463 h 400463"/>
                <a:gd name="connsiteX3" fmla="*/ 0 w 291609"/>
                <a:gd name="connsiteY3" fmla="*/ 400463 h 400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1609" h="400463">
                  <a:moveTo>
                    <a:pt x="0" y="0"/>
                  </a:moveTo>
                  <a:lnTo>
                    <a:pt x="291610" y="0"/>
                  </a:lnTo>
                  <a:lnTo>
                    <a:pt x="291610" y="400463"/>
                  </a:lnTo>
                  <a:lnTo>
                    <a:pt x="0" y="400463"/>
                  </a:lnTo>
                  <a:close/>
                </a:path>
              </a:pathLst>
            </a:custGeom>
            <a:solidFill>
              <a:srgbClr val="EBEBE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CD1C531E-9C29-4434-B43D-B253799A0F7C}"/>
                </a:ext>
              </a:extLst>
            </p:cNvPr>
            <p:cNvSpPr/>
            <p:nvPr/>
          </p:nvSpPr>
          <p:spPr>
            <a:xfrm flipH="1">
              <a:off x="8756" y="3774886"/>
              <a:ext cx="1244740" cy="953978"/>
            </a:xfrm>
            <a:custGeom>
              <a:avLst/>
              <a:gdLst>
                <a:gd name="connsiteX0" fmla="*/ 1129325 w 1129325"/>
                <a:gd name="connsiteY0" fmla="*/ 0 h 865523"/>
                <a:gd name="connsiteX1" fmla="*/ 770737 w 1129325"/>
                <a:gd name="connsiteY1" fmla="*/ 79097 h 865523"/>
                <a:gd name="connsiteX2" fmla="*/ 0 w 1129325"/>
                <a:gd name="connsiteY2" fmla="*/ 635158 h 865523"/>
                <a:gd name="connsiteX3" fmla="*/ 182107 w 1129325"/>
                <a:gd name="connsiteY3" fmla="*/ 865524 h 865523"/>
                <a:gd name="connsiteX4" fmla="*/ 934883 w 1129325"/>
                <a:gd name="connsiteY4" fmla="*/ 318553 h 865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325" h="865523">
                  <a:moveTo>
                    <a:pt x="1129325" y="0"/>
                  </a:moveTo>
                  <a:lnTo>
                    <a:pt x="770737" y="79097"/>
                  </a:lnTo>
                  <a:lnTo>
                    <a:pt x="0" y="635158"/>
                  </a:lnTo>
                  <a:lnTo>
                    <a:pt x="182107" y="865524"/>
                  </a:lnTo>
                  <a:lnTo>
                    <a:pt x="934883" y="318553"/>
                  </a:lnTo>
                  <a:close/>
                </a:path>
              </a:pathLst>
            </a:custGeom>
            <a:solidFill>
              <a:srgbClr val="45726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E608377F-9C19-4FED-BD15-C610F12925EA}"/>
                </a:ext>
              </a:extLst>
            </p:cNvPr>
            <p:cNvSpPr/>
            <p:nvPr/>
          </p:nvSpPr>
          <p:spPr>
            <a:xfrm flipH="1">
              <a:off x="327068" y="3861589"/>
              <a:ext cx="926429" cy="732032"/>
            </a:xfrm>
            <a:custGeom>
              <a:avLst/>
              <a:gdLst>
                <a:gd name="connsiteX0" fmla="*/ 840529 w 840528"/>
                <a:gd name="connsiteY0" fmla="*/ 114372 h 664156"/>
                <a:gd name="connsiteX1" fmla="*/ 90458 w 840528"/>
                <a:gd name="connsiteY1" fmla="*/ 664156 h 664156"/>
                <a:gd name="connsiteX2" fmla="*/ 0 w 840528"/>
                <a:gd name="connsiteY2" fmla="*/ 556493 h 664156"/>
                <a:gd name="connsiteX3" fmla="*/ 770737 w 840528"/>
                <a:gd name="connsiteY3" fmla="*/ 541 h 664156"/>
                <a:gd name="connsiteX4" fmla="*/ 773442 w 840528"/>
                <a:gd name="connsiteY4" fmla="*/ 0 h 664156"/>
                <a:gd name="connsiteX5" fmla="*/ 763488 w 840528"/>
                <a:gd name="connsiteY5" fmla="*/ 32028 h 664156"/>
                <a:gd name="connsiteX6" fmla="*/ 772577 w 840528"/>
                <a:gd name="connsiteY6" fmla="*/ 74877 h 664156"/>
                <a:gd name="connsiteX7" fmla="*/ 812504 w 840528"/>
                <a:gd name="connsiteY7" fmla="*/ 109611 h 664156"/>
                <a:gd name="connsiteX8" fmla="*/ 840529 w 840528"/>
                <a:gd name="connsiteY8" fmla="*/ 114372 h 664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0528" h="664156">
                  <a:moveTo>
                    <a:pt x="840529" y="114372"/>
                  </a:moveTo>
                  <a:lnTo>
                    <a:pt x="90458" y="664156"/>
                  </a:lnTo>
                  <a:lnTo>
                    <a:pt x="0" y="556493"/>
                  </a:lnTo>
                  <a:lnTo>
                    <a:pt x="770737" y="541"/>
                  </a:lnTo>
                  <a:lnTo>
                    <a:pt x="773442" y="0"/>
                  </a:lnTo>
                  <a:cubicBezTo>
                    <a:pt x="773442" y="0"/>
                    <a:pt x="764786" y="13201"/>
                    <a:pt x="763488" y="32028"/>
                  </a:cubicBezTo>
                  <a:cubicBezTo>
                    <a:pt x="762622" y="44580"/>
                    <a:pt x="764678" y="60378"/>
                    <a:pt x="772577" y="74877"/>
                  </a:cubicBezTo>
                  <a:cubicBezTo>
                    <a:pt x="782748" y="93597"/>
                    <a:pt x="798437" y="104417"/>
                    <a:pt x="812504" y="109611"/>
                  </a:cubicBezTo>
                  <a:cubicBezTo>
                    <a:pt x="827436" y="115129"/>
                    <a:pt x="840529" y="114372"/>
                    <a:pt x="840529" y="114372"/>
                  </a:cubicBez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FBB64281-7240-450A-8497-8CED8E9D8D52}"/>
                </a:ext>
              </a:extLst>
            </p:cNvPr>
            <p:cNvSpPr/>
            <p:nvPr/>
          </p:nvSpPr>
          <p:spPr>
            <a:xfrm flipH="1">
              <a:off x="223071" y="4091170"/>
              <a:ext cx="855468" cy="637694"/>
            </a:xfrm>
            <a:custGeom>
              <a:avLst/>
              <a:gdLst>
                <a:gd name="connsiteX0" fmla="*/ 762514 w 776147"/>
                <a:gd name="connsiteY0" fmla="*/ 0 h 578566"/>
                <a:gd name="connsiteX1" fmla="*/ 0 w 776147"/>
                <a:gd name="connsiteY1" fmla="*/ 549027 h 578566"/>
                <a:gd name="connsiteX2" fmla="*/ 23372 w 776147"/>
                <a:gd name="connsiteY2" fmla="*/ 578567 h 578566"/>
                <a:gd name="connsiteX3" fmla="*/ 776148 w 776147"/>
                <a:gd name="connsiteY3" fmla="*/ 31704 h 578566"/>
                <a:gd name="connsiteX4" fmla="*/ 760242 w 776147"/>
                <a:gd name="connsiteY4" fmla="*/ 4977 h 578566"/>
                <a:gd name="connsiteX5" fmla="*/ 762514 w 776147"/>
                <a:gd name="connsiteY5" fmla="*/ 0 h 578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6147" h="578566">
                  <a:moveTo>
                    <a:pt x="762514" y="0"/>
                  </a:moveTo>
                  <a:lnTo>
                    <a:pt x="0" y="549027"/>
                  </a:lnTo>
                  <a:lnTo>
                    <a:pt x="23372" y="578567"/>
                  </a:lnTo>
                  <a:lnTo>
                    <a:pt x="776148" y="31704"/>
                  </a:lnTo>
                  <a:cubicBezTo>
                    <a:pt x="776148" y="31704"/>
                    <a:pt x="755913" y="25320"/>
                    <a:pt x="760242" y="4977"/>
                  </a:cubicBezTo>
                  <a:cubicBezTo>
                    <a:pt x="760566" y="3246"/>
                    <a:pt x="761648" y="1731"/>
                    <a:pt x="762514" y="0"/>
                  </a:cubicBezTo>
                  <a:close/>
                </a:path>
              </a:pathLst>
            </a:custGeom>
            <a:solidFill>
              <a:srgbClr val="809493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855FC39F-9E36-451E-95F8-48AE89E3EA53}"/>
                </a:ext>
              </a:extLst>
            </p:cNvPr>
            <p:cNvSpPr/>
            <p:nvPr/>
          </p:nvSpPr>
          <p:spPr>
            <a:xfrm flipH="1">
              <a:off x="2347363" y="5919103"/>
              <a:ext cx="265963" cy="271190"/>
            </a:xfrm>
            <a:custGeom>
              <a:avLst/>
              <a:gdLst>
                <a:gd name="connsiteX0" fmla="*/ 85697 w 241302"/>
                <a:gd name="connsiteY0" fmla="*/ 227120 h 246045"/>
                <a:gd name="connsiteX1" fmla="*/ 0 w 241302"/>
                <a:gd name="connsiteY1" fmla="*/ 55509 h 246045"/>
                <a:gd name="connsiteX2" fmla="*/ 129628 w 241302"/>
                <a:gd name="connsiteY2" fmla="*/ 14391 h 246045"/>
                <a:gd name="connsiteX3" fmla="*/ 154299 w 241302"/>
                <a:gd name="connsiteY3" fmla="*/ 43173 h 246045"/>
                <a:gd name="connsiteX4" fmla="*/ 154299 w 241302"/>
                <a:gd name="connsiteY4" fmla="*/ 0 h 246045"/>
                <a:gd name="connsiteX5" fmla="*/ 236642 w 241302"/>
                <a:gd name="connsiteY5" fmla="*/ 0 h 246045"/>
                <a:gd name="connsiteX6" fmla="*/ 241295 w 241302"/>
                <a:gd name="connsiteY6" fmla="*/ 192928 h 246045"/>
                <a:gd name="connsiteX7" fmla="*/ 216083 w 241302"/>
                <a:gd name="connsiteY7" fmla="*/ 224956 h 246045"/>
                <a:gd name="connsiteX8" fmla="*/ 121405 w 241302"/>
                <a:gd name="connsiteY8" fmla="*/ 245299 h 246045"/>
                <a:gd name="connsiteX9" fmla="*/ 85697 w 241302"/>
                <a:gd name="connsiteY9" fmla="*/ 227120 h 24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302" h="246045">
                  <a:moveTo>
                    <a:pt x="85697" y="227120"/>
                  </a:moveTo>
                  <a:cubicBezTo>
                    <a:pt x="62109" y="174317"/>
                    <a:pt x="0" y="55509"/>
                    <a:pt x="0" y="55509"/>
                  </a:cubicBezTo>
                  <a:lnTo>
                    <a:pt x="129628" y="14391"/>
                  </a:lnTo>
                  <a:lnTo>
                    <a:pt x="154299" y="43173"/>
                  </a:lnTo>
                  <a:lnTo>
                    <a:pt x="154299" y="0"/>
                  </a:lnTo>
                  <a:lnTo>
                    <a:pt x="236642" y="0"/>
                  </a:lnTo>
                  <a:lnTo>
                    <a:pt x="241295" y="192928"/>
                  </a:lnTo>
                  <a:cubicBezTo>
                    <a:pt x="241619" y="208293"/>
                    <a:pt x="231124" y="221710"/>
                    <a:pt x="216083" y="224956"/>
                  </a:cubicBezTo>
                  <a:lnTo>
                    <a:pt x="121405" y="245299"/>
                  </a:lnTo>
                  <a:cubicBezTo>
                    <a:pt x="106797" y="248545"/>
                    <a:pt x="91865" y="240970"/>
                    <a:pt x="85697" y="227120"/>
                  </a:cubicBezTo>
                  <a:close/>
                </a:path>
              </a:pathLst>
            </a:custGeom>
            <a:solidFill>
              <a:srgbClr val="45726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3AF748CD-423F-4004-BE38-917EC8B992B6}"/>
                </a:ext>
              </a:extLst>
            </p:cNvPr>
            <p:cNvSpPr/>
            <p:nvPr/>
          </p:nvSpPr>
          <p:spPr>
            <a:xfrm flipH="1">
              <a:off x="2355362" y="6134610"/>
              <a:ext cx="83960" cy="288137"/>
            </a:xfrm>
            <a:custGeom>
              <a:avLst/>
              <a:gdLst>
                <a:gd name="connsiteX0" fmla="*/ 0 w 76175"/>
                <a:gd name="connsiteY0" fmla="*/ 0 h 261420"/>
                <a:gd name="connsiteX1" fmla="*/ 40144 w 76175"/>
                <a:gd name="connsiteY1" fmla="*/ 261421 h 261420"/>
                <a:gd name="connsiteX2" fmla="*/ 76175 w 76175"/>
                <a:gd name="connsiteY2" fmla="*/ 261421 h 261420"/>
                <a:gd name="connsiteX3" fmla="*/ 24671 w 76175"/>
                <a:gd name="connsiteY3" fmla="*/ 0 h 261420"/>
                <a:gd name="connsiteX4" fmla="*/ 0 w 76175"/>
                <a:gd name="connsiteY4" fmla="*/ 0 h 26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75" h="261420">
                  <a:moveTo>
                    <a:pt x="0" y="0"/>
                  </a:moveTo>
                  <a:cubicBezTo>
                    <a:pt x="0" y="10279"/>
                    <a:pt x="40144" y="261421"/>
                    <a:pt x="40144" y="261421"/>
                  </a:cubicBezTo>
                  <a:lnTo>
                    <a:pt x="76175" y="261421"/>
                  </a:lnTo>
                  <a:lnTo>
                    <a:pt x="246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726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8BCF66F5-A8B8-499D-AB61-2B3B943FBE5F}"/>
                </a:ext>
              </a:extLst>
            </p:cNvPr>
            <p:cNvSpPr/>
            <p:nvPr/>
          </p:nvSpPr>
          <p:spPr>
            <a:xfrm flipH="1">
              <a:off x="2269808" y="6084759"/>
              <a:ext cx="82571" cy="337989"/>
            </a:xfrm>
            <a:custGeom>
              <a:avLst/>
              <a:gdLst>
                <a:gd name="connsiteX0" fmla="*/ 37006 w 74915"/>
                <a:gd name="connsiteY0" fmla="*/ 16663 h 306650"/>
                <a:gd name="connsiteX1" fmla="*/ 0 w 74915"/>
                <a:gd name="connsiteY1" fmla="*/ 306650 h 306650"/>
                <a:gd name="connsiteX2" fmla="*/ 39062 w 74915"/>
                <a:gd name="connsiteY2" fmla="*/ 306650 h 306650"/>
                <a:gd name="connsiteX3" fmla="*/ 74769 w 74915"/>
                <a:gd name="connsiteY3" fmla="*/ 21424 h 306650"/>
                <a:gd name="connsiteX4" fmla="*/ 55833 w 74915"/>
                <a:gd name="connsiteY4" fmla="*/ 0 h 306650"/>
                <a:gd name="connsiteX5" fmla="*/ 55833 w 74915"/>
                <a:gd name="connsiteY5" fmla="*/ 0 h 306650"/>
                <a:gd name="connsiteX6" fmla="*/ 37006 w 74915"/>
                <a:gd name="connsiteY6" fmla="*/ 16663 h 30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915" h="306650">
                  <a:moveTo>
                    <a:pt x="37006" y="16663"/>
                  </a:moveTo>
                  <a:lnTo>
                    <a:pt x="0" y="306650"/>
                  </a:lnTo>
                  <a:lnTo>
                    <a:pt x="39062" y="306650"/>
                  </a:lnTo>
                  <a:lnTo>
                    <a:pt x="74769" y="21424"/>
                  </a:lnTo>
                  <a:cubicBezTo>
                    <a:pt x="76176" y="10063"/>
                    <a:pt x="67303" y="0"/>
                    <a:pt x="55833" y="0"/>
                  </a:cubicBezTo>
                  <a:lnTo>
                    <a:pt x="55833" y="0"/>
                  </a:lnTo>
                  <a:cubicBezTo>
                    <a:pt x="46311" y="0"/>
                    <a:pt x="38196" y="7141"/>
                    <a:pt x="37006" y="16663"/>
                  </a:cubicBezTo>
                  <a:close/>
                </a:path>
              </a:pathLst>
            </a:custGeom>
            <a:solidFill>
              <a:srgbClr val="45726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4A28DCF5-6748-489E-997C-3FCC148BFA8A}"/>
                </a:ext>
              </a:extLst>
            </p:cNvPr>
            <p:cNvSpPr/>
            <p:nvPr/>
          </p:nvSpPr>
          <p:spPr>
            <a:xfrm flipH="1">
              <a:off x="2624178" y="6513029"/>
              <a:ext cx="192728" cy="332145"/>
            </a:xfrm>
            <a:custGeom>
              <a:avLst/>
              <a:gdLst>
                <a:gd name="connsiteX0" fmla="*/ 152135 w 174858"/>
                <a:gd name="connsiteY0" fmla="*/ 301348 h 301348"/>
                <a:gd name="connsiteX1" fmla="*/ 22723 w 174858"/>
                <a:gd name="connsiteY1" fmla="*/ 301348 h 301348"/>
                <a:gd name="connsiteX2" fmla="*/ 0 w 174858"/>
                <a:gd name="connsiteY2" fmla="*/ 278625 h 301348"/>
                <a:gd name="connsiteX3" fmla="*/ 0 w 174858"/>
                <a:gd name="connsiteY3" fmla="*/ 22723 h 301348"/>
                <a:gd name="connsiteX4" fmla="*/ 22723 w 174858"/>
                <a:gd name="connsiteY4" fmla="*/ 0 h 301348"/>
                <a:gd name="connsiteX5" fmla="*/ 152135 w 174858"/>
                <a:gd name="connsiteY5" fmla="*/ 0 h 301348"/>
                <a:gd name="connsiteX6" fmla="*/ 174858 w 174858"/>
                <a:gd name="connsiteY6" fmla="*/ 22723 h 301348"/>
                <a:gd name="connsiteX7" fmla="*/ 174858 w 174858"/>
                <a:gd name="connsiteY7" fmla="*/ 278625 h 301348"/>
                <a:gd name="connsiteX8" fmla="*/ 152135 w 174858"/>
                <a:gd name="connsiteY8" fmla="*/ 301348 h 301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858" h="301348">
                  <a:moveTo>
                    <a:pt x="152135" y="301348"/>
                  </a:moveTo>
                  <a:lnTo>
                    <a:pt x="22723" y="301348"/>
                  </a:lnTo>
                  <a:cubicBezTo>
                    <a:pt x="10171" y="301348"/>
                    <a:pt x="0" y="291177"/>
                    <a:pt x="0" y="278625"/>
                  </a:cubicBezTo>
                  <a:lnTo>
                    <a:pt x="0" y="22723"/>
                  </a:lnTo>
                  <a:cubicBezTo>
                    <a:pt x="0" y="10171"/>
                    <a:pt x="10171" y="0"/>
                    <a:pt x="22723" y="0"/>
                  </a:cubicBezTo>
                  <a:lnTo>
                    <a:pt x="152135" y="0"/>
                  </a:lnTo>
                  <a:cubicBezTo>
                    <a:pt x="164687" y="0"/>
                    <a:pt x="174858" y="10171"/>
                    <a:pt x="174858" y="22723"/>
                  </a:cubicBezTo>
                  <a:lnTo>
                    <a:pt x="174858" y="278625"/>
                  </a:lnTo>
                  <a:cubicBezTo>
                    <a:pt x="174966" y="291177"/>
                    <a:pt x="164687" y="301348"/>
                    <a:pt x="152135" y="301348"/>
                  </a:cubicBez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B0EE23CD-5E99-4B4F-9CB7-A25B5FC2947F}"/>
                </a:ext>
              </a:extLst>
            </p:cNvPr>
            <p:cNvSpPr/>
            <p:nvPr/>
          </p:nvSpPr>
          <p:spPr>
            <a:xfrm flipH="1">
              <a:off x="2660792" y="6454471"/>
              <a:ext cx="123436" cy="58556"/>
            </a:xfrm>
            <a:custGeom>
              <a:avLst/>
              <a:gdLst>
                <a:gd name="connsiteX0" fmla="*/ 111883 w 111991"/>
                <a:gd name="connsiteY0" fmla="*/ 53128 h 53127"/>
                <a:gd name="connsiteX1" fmla="*/ 0 w 111991"/>
                <a:gd name="connsiteY1" fmla="*/ 53128 h 53127"/>
                <a:gd name="connsiteX2" fmla="*/ 0 w 111991"/>
                <a:gd name="connsiteY2" fmla="*/ 42091 h 53127"/>
                <a:gd name="connsiteX3" fmla="*/ 42092 w 111991"/>
                <a:gd name="connsiteY3" fmla="*/ 0 h 53127"/>
                <a:gd name="connsiteX4" fmla="*/ 69900 w 111991"/>
                <a:gd name="connsiteY4" fmla="*/ 0 h 53127"/>
                <a:gd name="connsiteX5" fmla="*/ 111991 w 111991"/>
                <a:gd name="connsiteY5" fmla="*/ 42091 h 53127"/>
                <a:gd name="connsiteX6" fmla="*/ 111991 w 111991"/>
                <a:gd name="connsiteY6" fmla="*/ 53128 h 53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991" h="53127">
                  <a:moveTo>
                    <a:pt x="111883" y="53128"/>
                  </a:moveTo>
                  <a:lnTo>
                    <a:pt x="0" y="53128"/>
                  </a:lnTo>
                  <a:lnTo>
                    <a:pt x="0" y="42091"/>
                  </a:lnTo>
                  <a:cubicBezTo>
                    <a:pt x="0" y="18827"/>
                    <a:pt x="18827" y="0"/>
                    <a:pt x="42092" y="0"/>
                  </a:cubicBezTo>
                  <a:lnTo>
                    <a:pt x="69900" y="0"/>
                  </a:lnTo>
                  <a:cubicBezTo>
                    <a:pt x="93164" y="0"/>
                    <a:pt x="111991" y="18827"/>
                    <a:pt x="111991" y="42091"/>
                  </a:cubicBezTo>
                  <a:lnTo>
                    <a:pt x="111991" y="53128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6534649B-C8AD-4B92-8A02-99D593F9F5E4}"/>
                </a:ext>
              </a:extLst>
            </p:cNvPr>
            <p:cNvSpPr/>
            <p:nvPr/>
          </p:nvSpPr>
          <p:spPr>
            <a:xfrm flipH="1">
              <a:off x="2707663" y="6617741"/>
              <a:ext cx="109243" cy="135124"/>
            </a:xfrm>
            <a:custGeom>
              <a:avLst/>
              <a:gdLst>
                <a:gd name="connsiteX0" fmla="*/ 0 w 99114"/>
                <a:gd name="connsiteY0" fmla="*/ 0 h 122595"/>
                <a:gd name="connsiteX1" fmla="*/ 99115 w 99114"/>
                <a:gd name="connsiteY1" fmla="*/ 0 h 122595"/>
                <a:gd name="connsiteX2" fmla="*/ 99115 w 99114"/>
                <a:gd name="connsiteY2" fmla="*/ 122595 h 122595"/>
                <a:gd name="connsiteX3" fmla="*/ 0 w 99114"/>
                <a:gd name="connsiteY3" fmla="*/ 122595 h 122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114" h="122595">
                  <a:moveTo>
                    <a:pt x="0" y="0"/>
                  </a:moveTo>
                  <a:lnTo>
                    <a:pt x="99115" y="0"/>
                  </a:lnTo>
                  <a:lnTo>
                    <a:pt x="99115" y="122595"/>
                  </a:lnTo>
                  <a:lnTo>
                    <a:pt x="0" y="122595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DB07AC62-19D4-49DB-B6FC-F5C549CA599B}"/>
                </a:ext>
              </a:extLst>
            </p:cNvPr>
            <p:cNvSpPr/>
            <p:nvPr/>
          </p:nvSpPr>
          <p:spPr>
            <a:xfrm flipH="1">
              <a:off x="2133772" y="6288816"/>
              <a:ext cx="457370" cy="556954"/>
            </a:xfrm>
            <a:custGeom>
              <a:avLst/>
              <a:gdLst>
                <a:gd name="connsiteX0" fmla="*/ 0 w 414962"/>
                <a:gd name="connsiteY0" fmla="*/ 0 h 505312"/>
                <a:gd name="connsiteX1" fmla="*/ 414962 w 414962"/>
                <a:gd name="connsiteY1" fmla="*/ 0 h 505312"/>
                <a:gd name="connsiteX2" fmla="*/ 414962 w 414962"/>
                <a:gd name="connsiteY2" fmla="*/ 505313 h 505312"/>
                <a:gd name="connsiteX3" fmla="*/ 0 w 414962"/>
                <a:gd name="connsiteY3" fmla="*/ 505313 h 505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962" h="505312">
                  <a:moveTo>
                    <a:pt x="0" y="0"/>
                  </a:moveTo>
                  <a:lnTo>
                    <a:pt x="414962" y="0"/>
                  </a:lnTo>
                  <a:lnTo>
                    <a:pt x="414962" y="505313"/>
                  </a:lnTo>
                  <a:lnTo>
                    <a:pt x="0" y="505313"/>
                  </a:lnTo>
                  <a:close/>
                </a:path>
              </a:pathLst>
            </a:custGeom>
            <a:solidFill>
              <a:srgbClr val="F5F5F5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B9109FDB-77D0-42A5-BA96-7EECCC826DD6}"/>
                </a:ext>
              </a:extLst>
            </p:cNvPr>
            <p:cNvSpPr/>
            <p:nvPr/>
          </p:nvSpPr>
          <p:spPr>
            <a:xfrm flipH="1">
              <a:off x="2131268" y="6285542"/>
              <a:ext cx="463769" cy="562733"/>
            </a:xfrm>
            <a:custGeom>
              <a:avLst/>
              <a:gdLst>
                <a:gd name="connsiteX0" fmla="*/ 418387 w 420767"/>
                <a:gd name="connsiteY0" fmla="*/ 508283 h 510555"/>
                <a:gd name="connsiteX1" fmla="*/ 418279 w 420767"/>
                <a:gd name="connsiteY1" fmla="*/ 505795 h 510555"/>
                <a:gd name="connsiteX2" fmla="*/ 418171 w 420767"/>
                <a:gd name="connsiteY2" fmla="*/ 498653 h 510555"/>
                <a:gd name="connsiteX3" fmla="*/ 417846 w 420767"/>
                <a:gd name="connsiteY3" fmla="*/ 471169 h 510555"/>
                <a:gd name="connsiteX4" fmla="*/ 417197 w 420767"/>
                <a:gd name="connsiteY4" fmla="*/ 367618 h 510555"/>
                <a:gd name="connsiteX5" fmla="*/ 415899 w 420767"/>
                <a:gd name="connsiteY5" fmla="*/ 2970 h 510555"/>
                <a:gd name="connsiteX6" fmla="*/ 418387 w 420767"/>
                <a:gd name="connsiteY6" fmla="*/ 5459 h 510555"/>
                <a:gd name="connsiteX7" fmla="*/ 3533 w 420767"/>
                <a:gd name="connsiteY7" fmla="*/ 5784 h 510555"/>
                <a:gd name="connsiteX8" fmla="*/ 6347 w 420767"/>
                <a:gd name="connsiteY8" fmla="*/ 3079 h 510555"/>
                <a:gd name="connsiteX9" fmla="*/ 6347 w 420767"/>
                <a:gd name="connsiteY9" fmla="*/ 3187 h 510555"/>
                <a:gd name="connsiteX10" fmla="*/ 6347 w 420767"/>
                <a:gd name="connsiteY10" fmla="*/ 3511 h 510555"/>
                <a:gd name="connsiteX11" fmla="*/ 6347 w 420767"/>
                <a:gd name="connsiteY11" fmla="*/ 4053 h 510555"/>
                <a:gd name="connsiteX12" fmla="*/ 6347 w 420767"/>
                <a:gd name="connsiteY12" fmla="*/ 5135 h 510555"/>
                <a:gd name="connsiteX13" fmla="*/ 6347 w 420767"/>
                <a:gd name="connsiteY13" fmla="*/ 7298 h 510555"/>
                <a:gd name="connsiteX14" fmla="*/ 6347 w 420767"/>
                <a:gd name="connsiteY14" fmla="*/ 11627 h 510555"/>
                <a:gd name="connsiteX15" fmla="*/ 6347 w 420767"/>
                <a:gd name="connsiteY15" fmla="*/ 20391 h 510555"/>
                <a:gd name="connsiteX16" fmla="*/ 6347 w 420767"/>
                <a:gd name="connsiteY16" fmla="*/ 37812 h 510555"/>
                <a:gd name="connsiteX17" fmla="*/ 6347 w 420767"/>
                <a:gd name="connsiteY17" fmla="*/ 72329 h 510555"/>
                <a:gd name="connsiteX18" fmla="*/ 6347 w 420767"/>
                <a:gd name="connsiteY18" fmla="*/ 140390 h 510555"/>
                <a:gd name="connsiteX19" fmla="*/ 6238 w 420767"/>
                <a:gd name="connsiteY19" fmla="*/ 271425 h 510555"/>
                <a:gd name="connsiteX20" fmla="*/ 5914 w 420767"/>
                <a:gd name="connsiteY20" fmla="*/ 508283 h 510555"/>
                <a:gd name="connsiteX21" fmla="*/ 3533 w 420767"/>
                <a:gd name="connsiteY21" fmla="*/ 505903 h 510555"/>
                <a:gd name="connsiteX22" fmla="*/ 304016 w 420767"/>
                <a:gd name="connsiteY22" fmla="*/ 507093 h 510555"/>
                <a:gd name="connsiteX23" fmla="*/ 388307 w 420767"/>
                <a:gd name="connsiteY23" fmla="*/ 507742 h 510555"/>
                <a:gd name="connsiteX24" fmla="*/ 410597 w 420767"/>
                <a:gd name="connsiteY24" fmla="*/ 507959 h 510555"/>
                <a:gd name="connsiteX25" fmla="*/ 418387 w 420767"/>
                <a:gd name="connsiteY25" fmla="*/ 508283 h 510555"/>
                <a:gd name="connsiteX26" fmla="*/ 411030 w 420767"/>
                <a:gd name="connsiteY26" fmla="*/ 508500 h 510555"/>
                <a:gd name="connsiteX27" fmla="*/ 389172 w 420767"/>
                <a:gd name="connsiteY27" fmla="*/ 508716 h 510555"/>
                <a:gd name="connsiteX28" fmla="*/ 305422 w 420767"/>
                <a:gd name="connsiteY28" fmla="*/ 509365 h 510555"/>
                <a:gd name="connsiteX29" fmla="*/ 3425 w 420767"/>
                <a:gd name="connsiteY29" fmla="*/ 510556 h 510555"/>
                <a:gd name="connsiteX30" fmla="*/ 1044 w 420767"/>
                <a:gd name="connsiteY30" fmla="*/ 510556 h 510555"/>
                <a:gd name="connsiteX31" fmla="*/ 1044 w 420767"/>
                <a:gd name="connsiteY31" fmla="*/ 508175 h 510555"/>
                <a:gd name="connsiteX32" fmla="*/ 720 w 420767"/>
                <a:gd name="connsiteY32" fmla="*/ 271316 h 510555"/>
                <a:gd name="connsiteX33" fmla="*/ 612 w 420767"/>
                <a:gd name="connsiteY33" fmla="*/ 140281 h 510555"/>
                <a:gd name="connsiteX34" fmla="*/ 612 w 420767"/>
                <a:gd name="connsiteY34" fmla="*/ 72221 h 510555"/>
                <a:gd name="connsiteX35" fmla="*/ 612 w 420767"/>
                <a:gd name="connsiteY35" fmla="*/ 37704 h 510555"/>
                <a:gd name="connsiteX36" fmla="*/ 612 w 420767"/>
                <a:gd name="connsiteY36" fmla="*/ 20283 h 510555"/>
                <a:gd name="connsiteX37" fmla="*/ 612 w 420767"/>
                <a:gd name="connsiteY37" fmla="*/ 11519 h 510555"/>
                <a:gd name="connsiteX38" fmla="*/ 612 w 420767"/>
                <a:gd name="connsiteY38" fmla="*/ 7191 h 510555"/>
                <a:gd name="connsiteX39" fmla="*/ 612 w 420767"/>
                <a:gd name="connsiteY39" fmla="*/ 5026 h 510555"/>
                <a:gd name="connsiteX40" fmla="*/ 612 w 420767"/>
                <a:gd name="connsiteY40" fmla="*/ 3944 h 510555"/>
                <a:gd name="connsiteX41" fmla="*/ 612 w 420767"/>
                <a:gd name="connsiteY41" fmla="*/ 3403 h 510555"/>
                <a:gd name="connsiteX42" fmla="*/ 612 w 420767"/>
                <a:gd name="connsiteY42" fmla="*/ 3079 h 510555"/>
                <a:gd name="connsiteX43" fmla="*/ 612 w 420767"/>
                <a:gd name="connsiteY43" fmla="*/ 2970 h 510555"/>
                <a:gd name="connsiteX44" fmla="*/ 3425 w 420767"/>
                <a:gd name="connsiteY44" fmla="*/ 49 h 510555"/>
                <a:gd name="connsiteX45" fmla="*/ 418279 w 420767"/>
                <a:gd name="connsiteY45" fmla="*/ 374 h 510555"/>
                <a:gd name="connsiteX46" fmla="*/ 420768 w 420767"/>
                <a:gd name="connsiteY46" fmla="*/ 374 h 510555"/>
                <a:gd name="connsiteX47" fmla="*/ 420768 w 420767"/>
                <a:gd name="connsiteY47" fmla="*/ 2862 h 510555"/>
                <a:gd name="connsiteX48" fmla="*/ 419469 w 420767"/>
                <a:gd name="connsiteY48" fmla="*/ 369133 h 510555"/>
                <a:gd name="connsiteX49" fmla="*/ 418820 w 420767"/>
                <a:gd name="connsiteY49" fmla="*/ 472035 h 510555"/>
                <a:gd name="connsiteX50" fmla="*/ 418496 w 420767"/>
                <a:gd name="connsiteY50" fmla="*/ 499086 h 510555"/>
                <a:gd name="connsiteX51" fmla="*/ 418387 w 420767"/>
                <a:gd name="connsiteY51" fmla="*/ 505903 h 510555"/>
                <a:gd name="connsiteX52" fmla="*/ 418387 w 420767"/>
                <a:gd name="connsiteY52" fmla="*/ 508283 h 510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0767" h="510555">
                  <a:moveTo>
                    <a:pt x="418387" y="508283"/>
                  </a:moveTo>
                  <a:cubicBezTo>
                    <a:pt x="418387" y="508283"/>
                    <a:pt x="418279" y="507418"/>
                    <a:pt x="418279" y="505795"/>
                  </a:cubicBezTo>
                  <a:cubicBezTo>
                    <a:pt x="418279" y="503955"/>
                    <a:pt x="418171" y="501574"/>
                    <a:pt x="418171" y="498653"/>
                  </a:cubicBezTo>
                  <a:cubicBezTo>
                    <a:pt x="418063" y="492161"/>
                    <a:pt x="417954" y="482964"/>
                    <a:pt x="417846" y="471169"/>
                  </a:cubicBezTo>
                  <a:cubicBezTo>
                    <a:pt x="417738" y="446932"/>
                    <a:pt x="417414" y="411981"/>
                    <a:pt x="417197" y="367618"/>
                  </a:cubicBezTo>
                  <a:cubicBezTo>
                    <a:pt x="416873" y="278782"/>
                    <a:pt x="416440" y="152833"/>
                    <a:pt x="415899" y="2970"/>
                  </a:cubicBezTo>
                  <a:lnTo>
                    <a:pt x="418387" y="5459"/>
                  </a:lnTo>
                  <a:cubicBezTo>
                    <a:pt x="295251" y="5567"/>
                    <a:pt x="153612" y="5675"/>
                    <a:pt x="3533" y="5784"/>
                  </a:cubicBezTo>
                  <a:cubicBezTo>
                    <a:pt x="2884" y="6325"/>
                    <a:pt x="8835" y="482"/>
                    <a:pt x="6347" y="3079"/>
                  </a:cubicBezTo>
                  <a:lnTo>
                    <a:pt x="6347" y="3187"/>
                  </a:lnTo>
                  <a:lnTo>
                    <a:pt x="6347" y="3511"/>
                  </a:lnTo>
                  <a:lnTo>
                    <a:pt x="6347" y="4053"/>
                  </a:lnTo>
                  <a:lnTo>
                    <a:pt x="6347" y="5135"/>
                  </a:lnTo>
                  <a:lnTo>
                    <a:pt x="6347" y="7298"/>
                  </a:lnTo>
                  <a:lnTo>
                    <a:pt x="6347" y="11627"/>
                  </a:lnTo>
                  <a:lnTo>
                    <a:pt x="6347" y="20391"/>
                  </a:lnTo>
                  <a:lnTo>
                    <a:pt x="6347" y="37812"/>
                  </a:lnTo>
                  <a:cubicBezTo>
                    <a:pt x="6347" y="49390"/>
                    <a:pt x="6347" y="60860"/>
                    <a:pt x="6347" y="72329"/>
                  </a:cubicBezTo>
                  <a:cubicBezTo>
                    <a:pt x="6347" y="95268"/>
                    <a:pt x="6347" y="117883"/>
                    <a:pt x="6347" y="140390"/>
                  </a:cubicBezTo>
                  <a:cubicBezTo>
                    <a:pt x="6347" y="185186"/>
                    <a:pt x="6238" y="229009"/>
                    <a:pt x="6238" y="271425"/>
                  </a:cubicBezTo>
                  <a:cubicBezTo>
                    <a:pt x="6130" y="356256"/>
                    <a:pt x="6022" y="435895"/>
                    <a:pt x="5914" y="508283"/>
                  </a:cubicBezTo>
                  <a:lnTo>
                    <a:pt x="3533" y="505903"/>
                  </a:lnTo>
                  <a:cubicBezTo>
                    <a:pt x="128076" y="506444"/>
                    <a:pt x="231519" y="506877"/>
                    <a:pt x="304016" y="507093"/>
                  </a:cubicBezTo>
                  <a:cubicBezTo>
                    <a:pt x="340156" y="507310"/>
                    <a:pt x="368613" y="507526"/>
                    <a:pt x="388307" y="507742"/>
                  </a:cubicBezTo>
                  <a:cubicBezTo>
                    <a:pt x="397829" y="507850"/>
                    <a:pt x="405295" y="507959"/>
                    <a:pt x="410597" y="507959"/>
                  </a:cubicBezTo>
                  <a:cubicBezTo>
                    <a:pt x="415682" y="508067"/>
                    <a:pt x="418387" y="508283"/>
                    <a:pt x="418387" y="508283"/>
                  </a:cubicBezTo>
                  <a:cubicBezTo>
                    <a:pt x="418387" y="508283"/>
                    <a:pt x="416007" y="508500"/>
                    <a:pt x="411030" y="508500"/>
                  </a:cubicBezTo>
                  <a:cubicBezTo>
                    <a:pt x="405836" y="508608"/>
                    <a:pt x="398586" y="508608"/>
                    <a:pt x="389172" y="508716"/>
                  </a:cubicBezTo>
                  <a:cubicBezTo>
                    <a:pt x="369587" y="508824"/>
                    <a:pt x="341346" y="509041"/>
                    <a:pt x="305422" y="509365"/>
                  </a:cubicBezTo>
                  <a:cubicBezTo>
                    <a:pt x="232493" y="509690"/>
                    <a:pt x="128617" y="510123"/>
                    <a:pt x="3425" y="510556"/>
                  </a:cubicBezTo>
                  <a:lnTo>
                    <a:pt x="1044" y="510556"/>
                  </a:lnTo>
                  <a:lnTo>
                    <a:pt x="1044" y="508175"/>
                  </a:lnTo>
                  <a:cubicBezTo>
                    <a:pt x="936" y="435787"/>
                    <a:pt x="828" y="356256"/>
                    <a:pt x="720" y="271316"/>
                  </a:cubicBezTo>
                  <a:cubicBezTo>
                    <a:pt x="720" y="228900"/>
                    <a:pt x="612" y="185078"/>
                    <a:pt x="612" y="140281"/>
                  </a:cubicBezTo>
                  <a:cubicBezTo>
                    <a:pt x="612" y="117883"/>
                    <a:pt x="612" y="95160"/>
                    <a:pt x="612" y="72221"/>
                  </a:cubicBezTo>
                  <a:cubicBezTo>
                    <a:pt x="612" y="60751"/>
                    <a:pt x="612" y="49282"/>
                    <a:pt x="612" y="37704"/>
                  </a:cubicBezTo>
                  <a:lnTo>
                    <a:pt x="612" y="20283"/>
                  </a:lnTo>
                  <a:lnTo>
                    <a:pt x="612" y="11519"/>
                  </a:lnTo>
                  <a:lnTo>
                    <a:pt x="612" y="7191"/>
                  </a:lnTo>
                  <a:lnTo>
                    <a:pt x="612" y="5026"/>
                  </a:lnTo>
                  <a:lnTo>
                    <a:pt x="612" y="3944"/>
                  </a:lnTo>
                  <a:lnTo>
                    <a:pt x="612" y="3403"/>
                  </a:lnTo>
                  <a:lnTo>
                    <a:pt x="612" y="3079"/>
                  </a:lnTo>
                  <a:lnTo>
                    <a:pt x="612" y="2970"/>
                  </a:lnTo>
                  <a:cubicBezTo>
                    <a:pt x="-1877" y="5459"/>
                    <a:pt x="4074" y="-600"/>
                    <a:pt x="3425" y="49"/>
                  </a:cubicBezTo>
                  <a:cubicBezTo>
                    <a:pt x="153504" y="157"/>
                    <a:pt x="295143" y="265"/>
                    <a:pt x="418279" y="374"/>
                  </a:cubicBezTo>
                  <a:lnTo>
                    <a:pt x="420768" y="374"/>
                  </a:lnTo>
                  <a:lnTo>
                    <a:pt x="420768" y="2862"/>
                  </a:lnTo>
                  <a:cubicBezTo>
                    <a:pt x="420227" y="153374"/>
                    <a:pt x="419794" y="279864"/>
                    <a:pt x="419469" y="369133"/>
                  </a:cubicBezTo>
                  <a:cubicBezTo>
                    <a:pt x="419145" y="413172"/>
                    <a:pt x="418929" y="448014"/>
                    <a:pt x="418820" y="472035"/>
                  </a:cubicBezTo>
                  <a:cubicBezTo>
                    <a:pt x="418712" y="483613"/>
                    <a:pt x="418604" y="492702"/>
                    <a:pt x="418496" y="499086"/>
                  </a:cubicBezTo>
                  <a:cubicBezTo>
                    <a:pt x="418387" y="501899"/>
                    <a:pt x="418387" y="504172"/>
                    <a:pt x="418387" y="505903"/>
                  </a:cubicBezTo>
                  <a:cubicBezTo>
                    <a:pt x="418496" y="507634"/>
                    <a:pt x="418496" y="508283"/>
                    <a:pt x="418387" y="50828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BE7BD958-A152-425E-BA7E-27FD95023440}"/>
                </a:ext>
              </a:extLst>
            </p:cNvPr>
            <p:cNvSpPr/>
            <p:nvPr/>
          </p:nvSpPr>
          <p:spPr>
            <a:xfrm flipH="1">
              <a:off x="2133056" y="6316366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190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EE5ECA79-493D-46F5-9535-E7FAB7E76ED4}"/>
                </a:ext>
              </a:extLst>
            </p:cNvPr>
            <p:cNvSpPr/>
            <p:nvPr/>
          </p:nvSpPr>
          <p:spPr>
            <a:xfrm flipH="1">
              <a:off x="2133056" y="6351190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190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CAFC8465-7C8A-4C87-9C8C-F86523516265}"/>
                </a:ext>
              </a:extLst>
            </p:cNvPr>
            <p:cNvSpPr/>
            <p:nvPr/>
          </p:nvSpPr>
          <p:spPr>
            <a:xfrm flipH="1">
              <a:off x="2133056" y="6385896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4DACD08F-BDB8-4173-9397-6F33E8A1D8B3}"/>
                </a:ext>
              </a:extLst>
            </p:cNvPr>
            <p:cNvSpPr/>
            <p:nvPr/>
          </p:nvSpPr>
          <p:spPr>
            <a:xfrm flipH="1">
              <a:off x="2133056" y="6420720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375D1BD1-0F03-43FC-813B-91278662AB31}"/>
                </a:ext>
              </a:extLst>
            </p:cNvPr>
            <p:cNvSpPr/>
            <p:nvPr/>
          </p:nvSpPr>
          <p:spPr>
            <a:xfrm flipH="1">
              <a:off x="2133056" y="6455545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02204FB8-DA34-427E-8A17-C44ED84FEBC2}"/>
                </a:ext>
              </a:extLst>
            </p:cNvPr>
            <p:cNvSpPr/>
            <p:nvPr/>
          </p:nvSpPr>
          <p:spPr>
            <a:xfrm flipH="1">
              <a:off x="2133056" y="6490369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7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7"/>
                    <a:pt x="206129" y="5627"/>
                  </a:cubicBezTo>
                  <a:cubicBezTo>
                    <a:pt x="92298" y="5627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F9A939DB-C5C5-40E6-B696-958FBB0B5DC4}"/>
                </a:ext>
              </a:extLst>
            </p:cNvPr>
            <p:cNvSpPr/>
            <p:nvPr/>
          </p:nvSpPr>
          <p:spPr>
            <a:xfrm flipH="1">
              <a:off x="2133056" y="6525194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ECF2BD2F-D69F-48AF-9275-F756CC817BE5}"/>
                </a:ext>
              </a:extLst>
            </p:cNvPr>
            <p:cNvSpPr/>
            <p:nvPr/>
          </p:nvSpPr>
          <p:spPr>
            <a:xfrm flipH="1">
              <a:off x="2133056" y="6560018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7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7"/>
                    <a:pt x="206129" y="5627"/>
                  </a:cubicBezTo>
                  <a:cubicBezTo>
                    <a:pt x="92298" y="5627"/>
                    <a:pt x="0" y="4328"/>
                    <a:pt x="0" y="2813"/>
                  </a:cubicBezTo>
                  <a:cubicBezTo>
                    <a:pt x="0" y="1299"/>
                    <a:pt x="92298" y="0"/>
                    <a:pt x="206129" y="0"/>
                  </a:cubicBezTo>
                  <a:cubicBezTo>
                    <a:pt x="319959" y="0"/>
                    <a:pt x="412257" y="1299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132A76D6-1468-44E5-93B7-459C3CCB27D4}"/>
                </a:ext>
              </a:extLst>
            </p:cNvPr>
            <p:cNvSpPr/>
            <p:nvPr/>
          </p:nvSpPr>
          <p:spPr>
            <a:xfrm flipH="1">
              <a:off x="2133056" y="6594843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190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0696AC23-0741-47C5-AA64-745A88B970BF}"/>
                </a:ext>
              </a:extLst>
            </p:cNvPr>
            <p:cNvSpPr/>
            <p:nvPr/>
          </p:nvSpPr>
          <p:spPr>
            <a:xfrm flipH="1">
              <a:off x="2133056" y="6629667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7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7"/>
                    <a:pt x="206129" y="5627"/>
                  </a:cubicBezTo>
                  <a:cubicBezTo>
                    <a:pt x="92298" y="5627"/>
                    <a:pt x="0" y="4328"/>
                    <a:pt x="0" y="2813"/>
                  </a:cubicBezTo>
                  <a:cubicBezTo>
                    <a:pt x="0" y="1299"/>
                    <a:pt x="92298" y="0"/>
                    <a:pt x="206129" y="0"/>
                  </a:cubicBezTo>
                  <a:cubicBezTo>
                    <a:pt x="319959" y="0"/>
                    <a:pt x="412257" y="1190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A12EA0E6-58F7-43FA-B5EB-6A423EB11CD9}"/>
                </a:ext>
              </a:extLst>
            </p:cNvPr>
            <p:cNvSpPr/>
            <p:nvPr/>
          </p:nvSpPr>
          <p:spPr>
            <a:xfrm flipH="1">
              <a:off x="2133056" y="6664492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190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CED5F834-8E96-4786-B61C-9BAD593C907D}"/>
                </a:ext>
              </a:extLst>
            </p:cNvPr>
            <p:cNvSpPr/>
            <p:nvPr/>
          </p:nvSpPr>
          <p:spPr>
            <a:xfrm flipH="1">
              <a:off x="2133056" y="6699317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190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EC3F7330-F26C-48B7-884C-EA24F3102C12}"/>
                </a:ext>
              </a:extLst>
            </p:cNvPr>
            <p:cNvSpPr/>
            <p:nvPr/>
          </p:nvSpPr>
          <p:spPr>
            <a:xfrm flipH="1">
              <a:off x="2133056" y="6734022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7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7"/>
                    <a:pt x="206129" y="5627"/>
                  </a:cubicBezTo>
                  <a:cubicBezTo>
                    <a:pt x="92298" y="5627"/>
                    <a:pt x="0" y="4328"/>
                    <a:pt x="0" y="2813"/>
                  </a:cubicBezTo>
                  <a:cubicBezTo>
                    <a:pt x="0" y="1299"/>
                    <a:pt x="92298" y="0"/>
                    <a:pt x="206129" y="0"/>
                  </a:cubicBezTo>
                  <a:cubicBezTo>
                    <a:pt x="319959" y="0"/>
                    <a:pt x="412257" y="1299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F80A2A97-41F5-4715-9208-E257EE3A8257}"/>
                </a:ext>
              </a:extLst>
            </p:cNvPr>
            <p:cNvSpPr/>
            <p:nvPr/>
          </p:nvSpPr>
          <p:spPr>
            <a:xfrm flipH="1">
              <a:off x="2133056" y="6768847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6F3479C9-88FE-4D52-B1A7-B7A7164F77A9}"/>
                </a:ext>
              </a:extLst>
            </p:cNvPr>
            <p:cNvSpPr/>
            <p:nvPr/>
          </p:nvSpPr>
          <p:spPr>
            <a:xfrm flipH="1">
              <a:off x="2133056" y="6803671"/>
              <a:ext cx="454389" cy="6201"/>
            </a:xfrm>
            <a:custGeom>
              <a:avLst/>
              <a:gdLst>
                <a:gd name="connsiteX0" fmla="*/ 412257 w 412257"/>
                <a:gd name="connsiteY0" fmla="*/ 2813 h 5626"/>
                <a:gd name="connsiteX1" fmla="*/ 206129 w 412257"/>
                <a:gd name="connsiteY1" fmla="*/ 5626 h 5626"/>
                <a:gd name="connsiteX2" fmla="*/ 0 w 412257"/>
                <a:gd name="connsiteY2" fmla="*/ 2813 h 5626"/>
                <a:gd name="connsiteX3" fmla="*/ 206129 w 412257"/>
                <a:gd name="connsiteY3" fmla="*/ 0 h 5626"/>
                <a:gd name="connsiteX4" fmla="*/ 412257 w 412257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7" h="5626">
                  <a:moveTo>
                    <a:pt x="412257" y="2813"/>
                  </a:moveTo>
                  <a:cubicBezTo>
                    <a:pt x="412257" y="4328"/>
                    <a:pt x="319959" y="5626"/>
                    <a:pt x="206129" y="5626"/>
                  </a:cubicBezTo>
                  <a:cubicBezTo>
                    <a:pt x="92298" y="5626"/>
                    <a:pt x="0" y="4328"/>
                    <a:pt x="0" y="2813"/>
                  </a:cubicBezTo>
                  <a:cubicBezTo>
                    <a:pt x="0" y="1298"/>
                    <a:pt x="92298" y="0"/>
                    <a:pt x="206129" y="0"/>
                  </a:cubicBezTo>
                  <a:cubicBezTo>
                    <a:pt x="319959" y="0"/>
                    <a:pt x="412257" y="1298"/>
                    <a:pt x="412257" y="2813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171B67B2-0841-45E0-9EE8-F887E2E9E30B}"/>
                </a:ext>
              </a:extLst>
            </p:cNvPr>
            <p:cNvSpPr/>
            <p:nvPr/>
          </p:nvSpPr>
          <p:spPr>
            <a:xfrm flipH="1">
              <a:off x="2203302" y="6493350"/>
              <a:ext cx="318310" cy="139417"/>
            </a:xfrm>
            <a:custGeom>
              <a:avLst/>
              <a:gdLst>
                <a:gd name="connsiteX0" fmla="*/ 0 w 288796"/>
                <a:gd name="connsiteY0" fmla="*/ 0 h 126490"/>
                <a:gd name="connsiteX1" fmla="*/ 288796 w 288796"/>
                <a:gd name="connsiteY1" fmla="*/ 0 h 126490"/>
                <a:gd name="connsiteX2" fmla="*/ 288796 w 288796"/>
                <a:gd name="connsiteY2" fmla="*/ 126490 h 126490"/>
                <a:gd name="connsiteX3" fmla="*/ 0 w 288796"/>
                <a:gd name="connsiteY3" fmla="*/ 126490 h 12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796" h="126490">
                  <a:moveTo>
                    <a:pt x="0" y="0"/>
                  </a:moveTo>
                  <a:lnTo>
                    <a:pt x="288796" y="0"/>
                  </a:lnTo>
                  <a:lnTo>
                    <a:pt x="288796" y="126490"/>
                  </a:lnTo>
                  <a:lnTo>
                    <a:pt x="0" y="126490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B76AA1EB-D01F-4EA4-B156-B153BD7BC4A2}"/>
                </a:ext>
              </a:extLst>
            </p:cNvPr>
            <p:cNvSpPr/>
            <p:nvPr/>
          </p:nvSpPr>
          <p:spPr>
            <a:xfrm flipH="1">
              <a:off x="2201036" y="6489695"/>
              <a:ext cx="323732" cy="146174"/>
            </a:xfrm>
            <a:custGeom>
              <a:avLst/>
              <a:gdLst>
                <a:gd name="connsiteX0" fmla="*/ 291659 w 293715"/>
                <a:gd name="connsiteY0" fmla="*/ 129916 h 132620"/>
                <a:gd name="connsiteX1" fmla="*/ 291227 w 293715"/>
                <a:gd name="connsiteY1" fmla="*/ 120718 h 132620"/>
                <a:gd name="connsiteX2" fmla="*/ 290686 w 293715"/>
                <a:gd name="connsiteY2" fmla="*/ 95290 h 132620"/>
                <a:gd name="connsiteX3" fmla="*/ 289604 w 293715"/>
                <a:gd name="connsiteY3" fmla="*/ 3317 h 132620"/>
                <a:gd name="connsiteX4" fmla="*/ 291659 w 293715"/>
                <a:gd name="connsiteY4" fmla="*/ 5373 h 132620"/>
                <a:gd name="connsiteX5" fmla="*/ 2863 w 293715"/>
                <a:gd name="connsiteY5" fmla="*/ 6130 h 132620"/>
                <a:gd name="connsiteX6" fmla="*/ 5676 w 293715"/>
                <a:gd name="connsiteY6" fmla="*/ 3317 h 132620"/>
                <a:gd name="connsiteX7" fmla="*/ 5676 w 293715"/>
                <a:gd name="connsiteY7" fmla="*/ 3317 h 132620"/>
                <a:gd name="connsiteX8" fmla="*/ 5676 w 293715"/>
                <a:gd name="connsiteY8" fmla="*/ 3425 h 132620"/>
                <a:gd name="connsiteX9" fmla="*/ 5676 w 293715"/>
                <a:gd name="connsiteY9" fmla="*/ 3533 h 132620"/>
                <a:gd name="connsiteX10" fmla="*/ 5676 w 293715"/>
                <a:gd name="connsiteY10" fmla="*/ 3750 h 132620"/>
                <a:gd name="connsiteX11" fmla="*/ 5676 w 293715"/>
                <a:gd name="connsiteY11" fmla="*/ 4291 h 132620"/>
                <a:gd name="connsiteX12" fmla="*/ 5676 w 293715"/>
                <a:gd name="connsiteY12" fmla="*/ 5373 h 132620"/>
                <a:gd name="connsiteX13" fmla="*/ 5676 w 293715"/>
                <a:gd name="connsiteY13" fmla="*/ 7429 h 132620"/>
                <a:gd name="connsiteX14" fmla="*/ 5676 w 293715"/>
                <a:gd name="connsiteY14" fmla="*/ 11540 h 132620"/>
                <a:gd name="connsiteX15" fmla="*/ 5676 w 293715"/>
                <a:gd name="connsiteY15" fmla="*/ 19764 h 132620"/>
                <a:gd name="connsiteX16" fmla="*/ 5676 w 293715"/>
                <a:gd name="connsiteY16" fmla="*/ 36211 h 132620"/>
                <a:gd name="connsiteX17" fmla="*/ 5676 w 293715"/>
                <a:gd name="connsiteY17" fmla="*/ 68456 h 132620"/>
                <a:gd name="connsiteX18" fmla="*/ 5568 w 293715"/>
                <a:gd name="connsiteY18" fmla="*/ 129807 h 132620"/>
                <a:gd name="connsiteX19" fmla="*/ 2863 w 293715"/>
                <a:gd name="connsiteY19" fmla="*/ 127102 h 132620"/>
                <a:gd name="connsiteX20" fmla="*/ 209316 w 293715"/>
                <a:gd name="connsiteY20" fmla="*/ 128401 h 132620"/>
                <a:gd name="connsiteX21" fmla="*/ 269586 w 293715"/>
                <a:gd name="connsiteY21" fmla="*/ 129158 h 132620"/>
                <a:gd name="connsiteX22" fmla="*/ 285817 w 293715"/>
                <a:gd name="connsiteY22" fmla="*/ 129483 h 132620"/>
                <a:gd name="connsiteX23" fmla="*/ 291659 w 293715"/>
                <a:gd name="connsiteY23" fmla="*/ 129916 h 132620"/>
                <a:gd name="connsiteX24" fmla="*/ 286466 w 293715"/>
                <a:gd name="connsiteY24" fmla="*/ 130240 h 132620"/>
                <a:gd name="connsiteX25" fmla="*/ 270776 w 293715"/>
                <a:gd name="connsiteY25" fmla="*/ 130565 h 132620"/>
                <a:gd name="connsiteX26" fmla="*/ 211156 w 293715"/>
                <a:gd name="connsiteY26" fmla="*/ 131322 h 132620"/>
                <a:gd name="connsiteX27" fmla="*/ 2863 w 293715"/>
                <a:gd name="connsiteY27" fmla="*/ 132621 h 132620"/>
                <a:gd name="connsiteX28" fmla="*/ 158 w 293715"/>
                <a:gd name="connsiteY28" fmla="*/ 132621 h 132620"/>
                <a:gd name="connsiteX29" fmla="*/ 158 w 293715"/>
                <a:gd name="connsiteY29" fmla="*/ 129916 h 132620"/>
                <a:gd name="connsiteX30" fmla="*/ 50 w 293715"/>
                <a:gd name="connsiteY30" fmla="*/ 68564 h 132620"/>
                <a:gd name="connsiteX31" fmla="*/ 50 w 293715"/>
                <a:gd name="connsiteY31" fmla="*/ 36319 h 132620"/>
                <a:gd name="connsiteX32" fmla="*/ 50 w 293715"/>
                <a:gd name="connsiteY32" fmla="*/ 19872 h 132620"/>
                <a:gd name="connsiteX33" fmla="*/ 50 w 293715"/>
                <a:gd name="connsiteY33" fmla="*/ 11649 h 132620"/>
                <a:gd name="connsiteX34" fmla="*/ 50 w 293715"/>
                <a:gd name="connsiteY34" fmla="*/ 7537 h 132620"/>
                <a:gd name="connsiteX35" fmla="*/ 50 w 293715"/>
                <a:gd name="connsiteY35" fmla="*/ 5481 h 132620"/>
                <a:gd name="connsiteX36" fmla="*/ 50 w 293715"/>
                <a:gd name="connsiteY36" fmla="*/ 4399 h 132620"/>
                <a:gd name="connsiteX37" fmla="*/ 50 w 293715"/>
                <a:gd name="connsiteY37" fmla="*/ 3858 h 132620"/>
                <a:gd name="connsiteX38" fmla="*/ 50 w 293715"/>
                <a:gd name="connsiteY38" fmla="*/ 3641 h 132620"/>
                <a:gd name="connsiteX39" fmla="*/ 50 w 293715"/>
                <a:gd name="connsiteY39" fmla="*/ 3533 h 132620"/>
                <a:gd name="connsiteX40" fmla="*/ 50 w 293715"/>
                <a:gd name="connsiteY40" fmla="*/ 3425 h 132620"/>
                <a:gd name="connsiteX41" fmla="*/ 50 w 293715"/>
                <a:gd name="connsiteY41" fmla="*/ 3425 h 132620"/>
                <a:gd name="connsiteX42" fmla="*/ 2863 w 293715"/>
                <a:gd name="connsiteY42" fmla="*/ 612 h 132620"/>
                <a:gd name="connsiteX43" fmla="*/ 291659 w 293715"/>
                <a:gd name="connsiteY43" fmla="*/ 1369 h 132620"/>
                <a:gd name="connsiteX44" fmla="*/ 293715 w 293715"/>
                <a:gd name="connsiteY44" fmla="*/ 1369 h 132620"/>
                <a:gd name="connsiteX45" fmla="*/ 293715 w 293715"/>
                <a:gd name="connsiteY45" fmla="*/ 3425 h 132620"/>
                <a:gd name="connsiteX46" fmla="*/ 292634 w 293715"/>
                <a:gd name="connsiteY46" fmla="*/ 96589 h 132620"/>
                <a:gd name="connsiteX47" fmla="*/ 292092 w 293715"/>
                <a:gd name="connsiteY47" fmla="*/ 121584 h 132620"/>
                <a:gd name="connsiteX48" fmla="*/ 291659 w 293715"/>
                <a:gd name="connsiteY48" fmla="*/ 129916 h 13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3715" h="132620">
                  <a:moveTo>
                    <a:pt x="291659" y="129916"/>
                  </a:moveTo>
                  <a:cubicBezTo>
                    <a:pt x="291552" y="129807"/>
                    <a:pt x="291335" y="126669"/>
                    <a:pt x="291227" y="120718"/>
                  </a:cubicBezTo>
                  <a:cubicBezTo>
                    <a:pt x="291119" y="114334"/>
                    <a:pt x="290902" y="105894"/>
                    <a:pt x="290686" y="95290"/>
                  </a:cubicBezTo>
                  <a:cubicBezTo>
                    <a:pt x="290469" y="73000"/>
                    <a:pt x="290036" y="41729"/>
                    <a:pt x="289604" y="3317"/>
                  </a:cubicBezTo>
                  <a:lnTo>
                    <a:pt x="291659" y="5373"/>
                  </a:lnTo>
                  <a:cubicBezTo>
                    <a:pt x="216782" y="5589"/>
                    <a:pt x="115071" y="5914"/>
                    <a:pt x="2863" y="6130"/>
                  </a:cubicBezTo>
                  <a:cubicBezTo>
                    <a:pt x="374" y="8619"/>
                    <a:pt x="6218" y="2668"/>
                    <a:pt x="5676" y="3317"/>
                  </a:cubicBezTo>
                  <a:lnTo>
                    <a:pt x="5676" y="3317"/>
                  </a:lnTo>
                  <a:lnTo>
                    <a:pt x="5676" y="3425"/>
                  </a:lnTo>
                  <a:lnTo>
                    <a:pt x="5676" y="3533"/>
                  </a:lnTo>
                  <a:lnTo>
                    <a:pt x="5676" y="3750"/>
                  </a:lnTo>
                  <a:lnTo>
                    <a:pt x="5676" y="4291"/>
                  </a:lnTo>
                  <a:lnTo>
                    <a:pt x="5676" y="5373"/>
                  </a:lnTo>
                  <a:lnTo>
                    <a:pt x="5676" y="7429"/>
                  </a:lnTo>
                  <a:lnTo>
                    <a:pt x="5676" y="11540"/>
                  </a:lnTo>
                  <a:lnTo>
                    <a:pt x="5676" y="19764"/>
                  </a:lnTo>
                  <a:cubicBezTo>
                    <a:pt x="5676" y="25282"/>
                    <a:pt x="5676" y="30692"/>
                    <a:pt x="5676" y="36211"/>
                  </a:cubicBezTo>
                  <a:cubicBezTo>
                    <a:pt x="5676" y="47031"/>
                    <a:pt x="5676" y="57852"/>
                    <a:pt x="5676" y="68456"/>
                  </a:cubicBezTo>
                  <a:cubicBezTo>
                    <a:pt x="5676" y="89664"/>
                    <a:pt x="5568" y="110114"/>
                    <a:pt x="5568" y="129807"/>
                  </a:cubicBezTo>
                  <a:lnTo>
                    <a:pt x="2863" y="127102"/>
                  </a:lnTo>
                  <a:cubicBezTo>
                    <a:pt x="86072" y="127643"/>
                    <a:pt x="157811" y="128076"/>
                    <a:pt x="209316" y="128401"/>
                  </a:cubicBezTo>
                  <a:cubicBezTo>
                    <a:pt x="234636" y="128725"/>
                    <a:pt x="254870" y="128942"/>
                    <a:pt x="269586" y="129158"/>
                  </a:cubicBezTo>
                  <a:cubicBezTo>
                    <a:pt x="276295" y="129266"/>
                    <a:pt x="281705" y="129374"/>
                    <a:pt x="285817" y="129483"/>
                  </a:cubicBezTo>
                  <a:cubicBezTo>
                    <a:pt x="289496" y="129699"/>
                    <a:pt x="291552" y="129807"/>
                    <a:pt x="291659" y="129916"/>
                  </a:cubicBezTo>
                  <a:cubicBezTo>
                    <a:pt x="291768" y="130024"/>
                    <a:pt x="290036" y="130132"/>
                    <a:pt x="286466" y="130240"/>
                  </a:cubicBezTo>
                  <a:cubicBezTo>
                    <a:pt x="282462" y="130349"/>
                    <a:pt x="277269" y="130457"/>
                    <a:pt x="270776" y="130565"/>
                  </a:cubicBezTo>
                  <a:cubicBezTo>
                    <a:pt x="256277" y="130781"/>
                    <a:pt x="236151" y="130998"/>
                    <a:pt x="211156" y="131322"/>
                  </a:cubicBezTo>
                  <a:cubicBezTo>
                    <a:pt x="159110" y="131647"/>
                    <a:pt x="86829" y="132080"/>
                    <a:pt x="2863" y="132621"/>
                  </a:cubicBezTo>
                  <a:lnTo>
                    <a:pt x="158" y="132621"/>
                  </a:lnTo>
                  <a:lnTo>
                    <a:pt x="158" y="129916"/>
                  </a:lnTo>
                  <a:cubicBezTo>
                    <a:pt x="158" y="110222"/>
                    <a:pt x="50" y="89772"/>
                    <a:pt x="50" y="68564"/>
                  </a:cubicBezTo>
                  <a:cubicBezTo>
                    <a:pt x="50" y="57960"/>
                    <a:pt x="50" y="47248"/>
                    <a:pt x="50" y="36319"/>
                  </a:cubicBezTo>
                  <a:cubicBezTo>
                    <a:pt x="50" y="30909"/>
                    <a:pt x="50" y="25390"/>
                    <a:pt x="50" y="19872"/>
                  </a:cubicBezTo>
                  <a:lnTo>
                    <a:pt x="50" y="11649"/>
                  </a:lnTo>
                  <a:lnTo>
                    <a:pt x="50" y="7537"/>
                  </a:lnTo>
                  <a:lnTo>
                    <a:pt x="50" y="5481"/>
                  </a:lnTo>
                  <a:lnTo>
                    <a:pt x="50" y="4399"/>
                  </a:lnTo>
                  <a:lnTo>
                    <a:pt x="50" y="3858"/>
                  </a:lnTo>
                  <a:lnTo>
                    <a:pt x="50" y="3641"/>
                  </a:lnTo>
                  <a:lnTo>
                    <a:pt x="50" y="3533"/>
                  </a:lnTo>
                  <a:lnTo>
                    <a:pt x="50" y="3425"/>
                  </a:lnTo>
                  <a:lnTo>
                    <a:pt x="50" y="3425"/>
                  </a:lnTo>
                  <a:cubicBezTo>
                    <a:pt x="-599" y="4074"/>
                    <a:pt x="5352" y="-1877"/>
                    <a:pt x="2863" y="612"/>
                  </a:cubicBezTo>
                  <a:cubicBezTo>
                    <a:pt x="114962" y="936"/>
                    <a:pt x="216782" y="1153"/>
                    <a:pt x="291659" y="1369"/>
                  </a:cubicBezTo>
                  <a:lnTo>
                    <a:pt x="293715" y="1369"/>
                  </a:lnTo>
                  <a:lnTo>
                    <a:pt x="293715" y="3425"/>
                  </a:lnTo>
                  <a:cubicBezTo>
                    <a:pt x="293283" y="42379"/>
                    <a:pt x="292850" y="73974"/>
                    <a:pt x="292634" y="96589"/>
                  </a:cubicBezTo>
                  <a:cubicBezTo>
                    <a:pt x="292417" y="106976"/>
                    <a:pt x="292309" y="115308"/>
                    <a:pt x="292092" y="121584"/>
                  </a:cubicBezTo>
                  <a:cubicBezTo>
                    <a:pt x="291876" y="127102"/>
                    <a:pt x="291768" y="130024"/>
                    <a:pt x="291659" y="12991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54C96AAD-5534-4281-A98C-36410BBBB8BF}"/>
                </a:ext>
              </a:extLst>
            </p:cNvPr>
            <p:cNvSpPr/>
            <p:nvPr/>
          </p:nvSpPr>
          <p:spPr>
            <a:xfrm flipH="1">
              <a:off x="2268896" y="6547973"/>
              <a:ext cx="195590" cy="6201"/>
            </a:xfrm>
            <a:custGeom>
              <a:avLst/>
              <a:gdLst>
                <a:gd name="connsiteX0" fmla="*/ 177455 w 177454"/>
                <a:gd name="connsiteY0" fmla="*/ 2813 h 5626"/>
                <a:gd name="connsiteX1" fmla="*/ 88727 w 177454"/>
                <a:gd name="connsiteY1" fmla="*/ 5626 h 5626"/>
                <a:gd name="connsiteX2" fmla="*/ 0 w 177454"/>
                <a:gd name="connsiteY2" fmla="*/ 2813 h 5626"/>
                <a:gd name="connsiteX3" fmla="*/ 88727 w 177454"/>
                <a:gd name="connsiteY3" fmla="*/ 0 h 5626"/>
                <a:gd name="connsiteX4" fmla="*/ 177455 w 177454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454" h="5626">
                  <a:moveTo>
                    <a:pt x="177455" y="2813"/>
                  </a:moveTo>
                  <a:cubicBezTo>
                    <a:pt x="177455" y="4328"/>
                    <a:pt x="137744" y="5626"/>
                    <a:pt x="88727" y="5626"/>
                  </a:cubicBezTo>
                  <a:cubicBezTo>
                    <a:pt x="39711" y="5626"/>
                    <a:pt x="0" y="4328"/>
                    <a:pt x="0" y="2813"/>
                  </a:cubicBezTo>
                  <a:cubicBezTo>
                    <a:pt x="0" y="1298"/>
                    <a:pt x="39711" y="0"/>
                    <a:pt x="88727" y="0"/>
                  </a:cubicBezTo>
                  <a:cubicBezTo>
                    <a:pt x="137636" y="0"/>
                    <a:pt x="177455" y="1298"/>
                    <a:pt x="177455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0D39FE2B-95FA-4C7D-87D4-8DF09B0F809A}"/>
                </a:ext>
              </a:extLst>
            </p:cNvPr>
            <p:cNvSpPr/>
            <p:nvPr/>
          </p:nvSpPr>
          <p:spPr>
            <a:xfrm flipH="1">
              <a:off x="2268896" y="6576596"/>
              <a:ext cx="195590" cy="6201"/>
            </a:xfrm>
            <a:custGeom>
              <a:avLst/>
              <a:gdLst>
                <a:gd name="connsiteX0" fmla="*/ 177455 w 177454"/>
                <a:gd name="connsiteY0" fmla="*/ 2813 h 5626"/>
                <a:gd name="connsiteX1" fmla="*/ 88727 w 177454"/>
                <a:gd name="connsiteY1" fmla="*/ 5626 h 5626"/>
                <a:gd name="connsiteX2" fmla="*/ 0 w 177454"/>
                <a:gd name="connsiteY2" fmla="*/ 2813 h 5626"/>
                <a:gd name="connsiteX3" fmla="*/ 88727 w 177454"/>
                <a:gd name="connsiteY3" fmla="*/ 0 h 5626"/>
                <a:gd name="connsiteX4" fmla="*/ 177455 w 177454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454" h="5626">
                  <a:moveTo>
                    <a:pt x="177455" y="2813"/>
                  </a:moveTo>
                  <a:cubicBezTo>
                    <a:pt x="177455" y="4328"/>
                    <a:pt x="137744" y="5626"/>
                    <a:pt x="88727" y="5626"/>
                  </a:cubicBezTo>
                  <a:cubicBezTo>
                    <a:pt x="39711" y="5626"/>
                    <a:pt x="0" y="4328"/>
                    <a:pt x="0" y="2813"/>
                  </a:cubicBezTo>
                  <a:cubicBezTo>
                    <a:pt x="0" y="1298"/>
                    <a:pt x="39711" y="0"/>
                    <a:pt x="88727" y="0"/>
                  </a:cubicBezTo>
                  <a:cubicBezTo>
                    <a:pt x="137636" y="0"/>
                    <a:pt x="177455" y="1190"/>
                    <a:pt x="177455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CA5B1145-70D7-44F5-AB1F-0A779E1C5B79}"/>
                </a:ext>
              </a:extLst>
            </p:cNvPr>
            <p:cNvSpPr/>
            <p:nvPr/>
          </p:nvSpPr>
          <p:spPr>
            <a:xfrm flipH="1">
              <a:off x="2133771" y="6287146"/>
              <a:ext cx="452332" cy="113931"/>
            </a:xfrm>
            <a:custGeom>
              <a:avLst/>
              <a:gdLst>
                <a:gd name="connsiteX0" fmla="*/ 514 w 410391"/>
                <a:gd name="connsiteY0" fmla="*/ 4003 h 103367"/>
                <a:gd name="connsiteX1" fmla="*/ 24536 w 410391"/>
                <a:gd name="connsiteY1" fmla="*/ 32136 h 103367"/>
                <a:gd name="connsiteX2" fmla="*/ 65653 w 410391"/>
                <a:gd name="connsiteY2" fmla="*/ 26401 h 103367"/>
                <a:gd name="connsiteX3" fmla="*/ 105039 w 410391"/>
                <a:gd name="connsiteY3" fmla="*/ 33651 h 103367"/>
                <a:gd name="connsiteX4" fmla="*/ 116942 w 410391"/>
                <a:gd name="connsiteY4" fmla="*/ 74336 h 103367"/>
                <a:gd name="connsiteX5" fmla="*/ 143127 w 410391"/>
                <a:gd name="connsiteY5" fmla="*/ 103226 h 103367"/>
                <a:gd name="connsiteX6" fmla="*/ 162496 w 410391"/>
                <a:gd name="connsiteY6" fmla="*/ 80828 h 103367"/>
                <a:gd name="connsiteX7" fmla="*/ 167690 w 410391"/>
                <a:gd name="connsiteY7" fmla="*/ 49774 h 103367"/>
                <a:gd name="connsiteX8" fmla="*/ 191494 w 410391"/>
                <a:gd name="connsiteY8" fmla="*/ 33760 h 103367"/>
                <a:gd name="connsiteX9" fmla="*/ 224821 w 410391"/>
                <a:gd name="connsiteY9" fmla="*/ 61460 h 103367"/>
                <a:gd name="connsiteX10" fmla="*/ 250249 w 410391"/>
                <a:gd name="connsiteY10" fmla="*/ 31162 h 103367"/>
                <a:gd name="connsiteX11" fmla="*/ 276435 w 410391"/>
                <a:gd name="connsiteY11" fmla="*/ 23913 h 103367"/>
                <a:gd name="connsiteX12" fmla="*/ 303702 w 410391"/>
                <a:gd name="connsiteY12" fmla="*/ 31055 h 103367"/>
                <a:gd name="connsiteX13" fmla="*/ 410391 w 410391"/>
                <a:gd name="connsiteY13" fmla="*/ 0 h 10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0391" h="103367">
                  <a:moveTo>
                    <a:pt x="514" y="4003"/>
                  </a:moveTo>
                  <a:cubicBezTo>
                    <a:pt x="-2840" y="17529"/>
                    <a:pt x="10794" y="30189"/>
                    <a:pt x="24536" y="32136"/>
                  </a:cubicBezTo>
                  <a:cubicBezTo>
                    <a:pt x="38277" y="34084"/>
                    <a:pt x="52020" y="29107"/>
                    <a:pt x="65653" y="26401"/>
                  </a:cubicBezTo>
                  <a:cubicBezTo>
                    <a:pt x="79287" y="23696"/>
                    <a:pt x="95193" y="23805"/>
                    <a:pt x="105039" y="33651"/>
                  </a:cubicBezTo>
                  <a:cubicBezTo>
                    <a:pt x="115211" y="43931"/>
                    <a:pt x="114778" y="60053"/>
                    <a:pt x="116942" y="74336"/>
                  </a:cubicBezTo>
                  <a:cubicBezTo>
                    <a:pt x="119106" y="88619"/>
                    <a:pt x="128736" y="105066"/>
                    <a:pt x="143127" y="103226"/>
                  </a:cubicBezTo>
                  <a:cubicBezTo>
                    <a:pt x="153623" y="101928"/>
                    <a:pt x="160224" y="91108"/>
                    <a:pt x="162496" y="80828"/>
                  </a:cubicBezTo>
                  <a:cubicBezTo>
                    <a:pt x="164768" y="70549"/>
                    <a:pt x="164119" y="59620"/>
                    <a:pt x="167690" y="49774"/>
                  </a:cubicBezTo>
                  <a:cubicBezTo>
                    <a:pt x="171260" y="39819"/>
                    <a:pt x="181323" y="30946"/>
                    <a:pt x="191494" y="33760"/>
                  </a:cubicBezTo>
                  <a:cubicBezTo>
                    <a:pt x="205886" y="37871"/>
                    <a:pt x="209889" y="62109"/>
                    <a:pt x="224821" y="61460"/>
                  </a:cubicBezTo>
                  <a:cubicBezTo>
                    <a:pt x="238563" y="60919"/>
                    <a:pt x="240619" y="41009"/>
                    <a:pt x="250249" y="31162"/>
                  </a:cubicBezTo>
                  <a:cubicBezTo>
                    <a:pt x="256850" y="24454"/>
                    <a:pt x="267129" y="22723"/>
                    <a:pt x="276435" y="23913"/>
                  </a:cubicBezTo>
                  <a:cubicBezTo>
                    <a:pt x="285740" y="25103"/>
                    <a:pt x="294613" y="28674"/>
                    <a:pt x="303702" y="31055"/>
                  </a:cubicBezTo>
                  <a:cubicBezTo>
                    <a:pt x="341357" y="41009"/>
                    <a:pt x="383989" y="28566"/>
                    <a:pt x="410391" y="0"/>
                  </a:cubicBezTo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F9E404C-9C52-4A40-A527-291790C5A293}"/>
                </a:ext>
              </a:extLst>
            </p:cNvPr>
            <p:cNvSpPr/>
            <p:nvPr/>
          </p:nvSpPr>
          <p:spPr>
            <a:xfrm flipH="1">
              <a:off x="2647436" y="6204021"/>
              <a:ext cx="1052727" cy="136794"/>
            </a:xfrm>
            <a:custGeom>
              <a:avLst/>
              <a:gdLst>
                <a:gd name="connsiteX0" fmla="*/ 895388 w 955116"/>
                <a:gd name="connsiteY0" fmla="*/ 124110 h 124110"/>
                <a:gd name="connsiteX1" fmla="*/ 59728 w 955116"/>
                <a:gd name="connsiteY1" fmla="*/ 124110 h 124110"/>
                <a:gd name="connsiteX2" fmla="*/ 0 w 955116"/>
                <a:gd name="connsiteY2" fmla="*/ 64381 h 124110"/>
                <a:gd name="connsiteX3" fmla="*/ 0 w 955116"/>
                <a:gd name="connsiteY3" fmla="*/ 59729 h 124110"/>
                <a:gd name="connsiteX4" fmla="*/ 59728 w 955116"/>
                <a:gd name="connsiteY4" fmla="*/ 0 h 124110"/>
                <a:gd name="connsiteX5" fmla="*/ 895388 w 955116"/>
                <a:gd name="connsiteY5" fmla="*/ 0 h 124110"/>
                <a:gd name="connsiteX6" fmla="*/ 955117 w 955116"/>
                <a:gd name="connsiteY6" fmla="*/ 59729 h 124110"/>
                <a:gd name="connsiteX7" fmla="*/ 955117 w 955116"/>
                <a:gd name="connsiteY7" fmla="*/ 64381 h 124110"/>
                <a:gd name="connsiteX8" fmla="*/ 895388 w 955116"/>
                <a:gd name="connsiteY8" fmla="*/ 124110 h 124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5116" h="124110">
                  <a:moveTo>
                    <a:pt x="895388" y="124110"/>
                  </a:moveTo>
                  <a:lnTo>
                    <a:pt x="59728" y="124110"/>
                  </a:lnTo>
                  <a:cubicBezTo>
                    <a:pt x="26726" y="124110"/>
                    <a:pt x="0" y="97384"/>
                    <a:pt x="0" y="64381"/>
                  </a:cubicBezTo>
                  <a:lnTo>
                    <a:pt x="0" y="59729"/>
                  </a:lnTo>
                  <a:cubicBezTo>
                    <a:pt x="0" y="26726"/>
                    <a:pt x="26726" y="0"/>
                    <a:pt x="59728" y="0"/>
                  </a:cubicBezTo>
                  <a:lnTo>
                    <a:pt x="895388" y="0"/>
                  </a:lnTo>
                  <a:cubicBezTo>
                    <a:pt x="928390" y="0"/>
                    <a:pt x="955117" y="26726"/>
                    <a:pt x="955117" y="59729"/>
                  </a:cubicBezTo>
                  <a:lnTo>
                    <a:pt x="955117" y="64381"/>
                  </a:lnTo>
                  <a:cubicBezTo>
                    <a:pt x="955117" y="97384"/>
                    <a:pt x="928390" y="124110"/>
                    <a:pt x="895388" y="12411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6906588F-7AA8-49D8-BCCD-F56D75FFBD3B}"/>
                </a:ext>
              </a:extLst>
            </p:cNvPr>
            <p:cNvSpPr/>
            <p:nvPr/>
          </p:nvSpPr>
          <p:spPr>
            <a:xfrm flipH="1">
              <a:off x="2880354" y="6422748"/>
              <a:ext cx="567449" cy="150867"/>
            </a:xfrm>
            <a:custGeom>
              <a:avLst/>
              <a:gdLst>
                <a:gd name="connsiteX0" fmla="*/ 0 w 514834"/>
                <a:gd name="connsiteY0" fmla="*/ 0 h 136878"/>
                <a:gd name="connsiteX1" fmla="*/ 514835 w 514834"/>
                <a:gd name="connsiteY1" fmla="*/ 0 h 136878"/>
                <a:gd name="connsiteX2" fmla="*/ 246813 w 514834"/>
                <a:gd name="connsiteY2" fmla="*/ 136878 h 136878"/>
                <a:gd name="connsiteX3" fmla="*/ 0 w 514834"/>
                <a:gd name="connsiteY3" fmla="*/ 0 h 136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834" h="136878">
                  <a:moveTo>
                    <a:pt x="0" y="0"/>
                  </a:moveTo>
                  <a:lnTo>
                    <a:pt x="514835" y="0"/>
                  </a:lnTo>
                  <a:cubicBezTo>
                    <a:pt x="514835" y="0"/>
                    <a:pt x="446342" y="136878"/>
                    <a:pt x="246813" y="136878"/>
                  </a:cubicBezTo>
                  <a:cubicBezTo>
                    <a:pt x="38737" y="13687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CF879B4B-852C-4029-A1EC-FD0D5776CDBF}"/>
                </a:ext>
              </a:extLst>
            </p:cNvPr>
            <p:cNvSpPr/>
            <p:nvPr/>
          </p:nvSpPr>
          <p:spPr>
            <a:xfrm flipH="1">
              <a:off x="615982" y="2954735"/>
              <a:ext cx="304392" cy="436130"/>
            </a:xfrm>
            <a:custGeom>
              <a:avLst/>
              <a:gdLst>
                <a:gd name="connsiteX0" fmla="*/ 9718 w 276168"/>
                <a:gd name="connsiteY0" fmla="*/ 274716 h 395691"/>
                <a:gd name="connsiteX1" fmla="*/ 47914 w 276168"/>
                <a:gd name="connsiteY1" fmla="*/ 65233 h 395691"/>
                <a:gd name="connsiteX2" fmla="*/ 64902 w 276168"/>
                <a:gd name="connsiteY2" fmla="*/ 25090 h 395691"/>
                <a:gd name="connsiteX3" fmla="*/ 166722 w 276168"/>
                <a:gd name="connsiteY3" fmla="*/ 9616 h 395691"/>
                <a:gd name="connsiteX4" fmla="*/ 231428 w 276168"/>
                <a:gd name="connsiteY4" fmla="*/ 95422 h 395691"/>
                <a:gd name="connsiteX5" fmla="*/ 235431 w 276168"/>
                <a:gd name="connsiteY5" fmla="*/ 205357 h 395691"/>
                <a:gd name="connsiteX6" fmla="*/ 248524 w 276168"/>
                <a:gd name="connsiteY6" fmla="*/ 273201 h 395691"/>
                <a:gd name="connsiteX7" fmla="*/ 269083 w 276168"/>
                <a:gd name="connsiteY7" fmla="*/ 288133 h 395691"/>
                <a:gd name="connsiteX8" fmla="*/ 266703 w 276168"/>
                <a:gd name="connsiteY8" fmla="*/ 330874 h 395691"/>
                <a:gd name="connsiteX9" fmla="*/ 222663 w 276168"/>
                <a:gd name="connsiteY9" fmla="*/ 339855 h 395691"/>
                <a:gd name="connsiteX10" fmla="*/ 190202 w 276168"/>
                <a:gd name="connsiteY10" fmla="*/ 394498 h 395691"/>
                <a:gd name="connsiteX11" fmla="*/ 135775 w 276168"/>
                <a:gd name="connsiteY11" fmla="*/ 361820 h 395691"/>
                <a:gd name="connsiteX12" fmla="*/ 96714 w 276168"/>
                <a:gd name="connsiteY12" fmla="*/ 391793 h 395691"/>
                <a:gd name="connsiteX13" fmla="*/ 46615 w 276168"/>
                <a:gd name="connsiteY13" fmla="*/ 381081 h 395691"/>
                <a:gd name="connsiteX14" fmla="*/ 1170 w 276168"/>
                <a:gd name="connsiteY14" fmla="*/ 331307 h 395691"/>
                <a:gd name="connsiteX15" fmla="*/ 9718 w 276168"/>
                <a:gd name="connsiteY15" fmla="*/ 274716 h 39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6168" h="395691">
                  <a:moveTo>
                    <a:pt x="9718" y="274716"/>
                  </a:moveTo>
                  <a:cubicBezTo>
                    <a:pt x="31467" y="206980"/>
                    <a:pt x="44343" y="136323"/>
                    <a:pt x="47914" y="65233"/>
                  </a:cubicBezTo>
                  <a:lnTo>
                    <a:pt x="64902" y="25090"/>
                  </a:lnTo>
                  <a:cubicBezTo>
                    <a:pt x="89464" y="-2503"/>
                    <a:pt x="133719" y="-6831"/>
                    <a:pt x="166722" y="9616"/>
                  </a:cubicBezTo>
                  <a:cubicBezTo>
                    <a:pt x="199724" y="26063"/>
                    <a:pt x="221798" y="59715"/>
                    <a:pt x="231428" y="95422"/>
                  </a:cubicBezTo>
                  <a:cubicBezTo>
                    <a:pt x="241058" y="131021"/>
                    <a:pt x="239652" y="168676"/>
                    <a:pt x="235431" y="205357"/>
                  </a:cubicBezTo>
                  <a:cubicBezTo>
                    <a:pt x="232726" y="229271"/>
                    <a:pt x="230345" y="257512"/>
                    <a:pt x="248524" y="273201"/>
                  </a:cubicBezTo>
                  <a:cubicBezTo>
                    <a:pt x="255016" y="278720"/>
                    <a:pt x="263348" y="281966"/>
                    <a:pt x="269083" y="288133"/>
                  </a:cubicBezTo>
                  <a:cubicBezTo>
                    <a:pt x="279795" y="299711"/>
                    <a:pt x="277847" y="319729"/>
                    <a:pt x="266703" y="330874"/>
                  </a:cubicBezTo>
                  <a:cubicBezTo>
                    <a:pt x="255557" y="342019"/>
                    <a:pt x="237704" y="344724"/>
                    <a:pt x="222663" y="339855"/>
                  </a:cubicBezTo>
                  <a:cubicBezTo>
                    <a:pt x="228506" y="362686"/>
                    <a:pt x="213033" y="388655"/>
                    <a:pt x="190202" y="394498"/>
                  </a:cubicBezTo>
                  <a:cubicBezTo>
                    <a:pt x="167371" y="400233"/>
                    <a:pt x="141402" y="384651"/>
                    <a:pt x="135775" y="361820"/>
                  </a:cubicBezTo>
                  <a:cubicBezTo>
                    <a:pt x="130690" y="378376"/>
                    <a:pt x="113919" y="389521"/>
                    <a:pt x="96714" y="391793"/>
                  </a:cubicBezTo>
                  <a:cubicBezTo>
                    <a:pt x="79509" y="394065"/>
                    <a:pt x="62088" y="388763"/>
                    <a:pt x="46615" y="381081"/>
                  </a:cubicBezTo>
                  <a:cubicBezTo>
                    <a:pt x="25840" y="370693"/>
                    <a:pt x="6147" y="354030"/>
                    <a:pt x="1170" y="331307"/>
                  </a:cubicBezTo>
                  <a:cubicBezTo>
                    <a:pt x="-2726" y="312371"/>
                    <a:pt x="3875" y="293111"/>
                    <a:pt x="9718" y="27471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D51CAA05-E8FE-49F4-BE42-9F579A0E497A}"/>
                </a:ext>
              </a:extLst>
            </p:cNvPr>
            <p:cNvSpPr/>
            <p:nvPr/>
          </p:nvSpPr>
          <p:spPr>
            <a:xfrm flipH="1">
              <a:off x="702439" y="3001987"/>
              <a:ext cx="100008" cy="386726"/>
            </a:xfrm>
            <a:custGeom>
              <a:avLst/>
              <a:gdLst>
                <a:gd name="connsiteX0" fmla="*/ 62542 w 90735"/>
                <a:gd name="connsiteY0" fmla="*/ 350220 h 350868"/>
                <a:gd name="connsiteX1" fmla="*/ 66870 w 90735"/>
                <a:gd name="connsiteY1" fmla="*/ 350869 h 350868"/>
                <a:gd name="connsiteX2" fmla="*/ 78665 w 90735"/>
                <a:gd name="connsiteY2" fmla="*/ 346757 h 350868"/>
                <a:gd name="connsiteX3" fmla="*/ 89701 w 90735"/>
                <a:gd name="connsiteY3" fmla="*/ 330310 h 350868"/>
                <a:gd name="connsiteX4" fmla="*/ 87645 w 90735"/>
                <a:gd name="connsiteY4" fmla="*/ 304233 h 350868"/>
                <a:gd name="connsiteX5" fmla="*/ 74444 w 90735"/>
                <a:gd name="connsiteY5" fmla="*/ 275775 h 350868"/>
                <a:gd name="connsiteX6" fmla="*/ 65139 w 90735"/>
                <a:gd name="connsiteY6" fmla="*/ 242124 h 350868"/>
                <a:gd name="connsiteX7" fmla="*/ 73795 w 90735"/>
                <a:gd name="connsiteY7" fmla="*/ 161837 h 350868"/>
                <a:gd name="connsiteX8" fmla="*/ 83750 w 90735"/>
                <a:gd name="connsiteY8" fmla="*/ 80142 h 350868"/>
                <a:gd name="connsiteX9" fmla="*/ 57456 w 90735"/>
                <a:gd name="connsiteY9" fmla="*/ 18791 h 350868"/>
                <a:gd name="connsiteX10" fmla="*/ 16447 w 90735"/>
                <a:gd name="connsiteY10" fmla="*/ 72 h 350868"/>
                <a:gd name="connsiteX11" fmla="*/ 0 w 90735"/>
                <a:gd name="connsiteY11" fmla="*/ 2236 h 350868"/>
                <a:gd name="connsiteX12" fmla="*/ 16339 w 90735"/>
                <a:gd name="connsiteY12" fmla="*/ 1911 h 350868"/>
                <a:gd name="connsiteX13" fmla="*/ 55184 w 90735"/>
                <a:gd name="connsiteY13" fmla="*/ 21171 h 350868"/>
                <a:gd name="connsiteX14" fmla="*/ 79530 w 90735"/>
                <a:gd name="connsiteY14" fmla="*/ 80467 h 350868"/>
                <a:gd name="connsiteX15" fmla="*/ 69250 w 90735"/>
                <a:gd name="connsiteY15" fmla="*/ 160755 h 350868"/>
                <a:gd name="connsiteX16" fmla="*/ 60811 w 90735"/>
                <a:gd name="connsiteY16" fmla="*/ 242557 h 350868"/>
                <a:gd name="connsiteX17" fmla="*/ 70874 w 90735"/>
                <a:gd name="connsiteY17" fmla="*/ 277398 h 350868"/>
                <a:gd name="connsiteX18" fmla="*/ 84399 w 90735"/>
                <a:gd name="connsiteY18" fmla="*/ 305207 h 350868"/>
                <a:gd name="connsiteX19" fmla="*/ 86996 w 90735"/>
                <a:gd name="connsiteY19" fmla="*/ 329661 h 350868"/>
                <a:gd name="connsiteX20" fmla="*/ 77474 w 90735"/>
                <a:gd name="connsiteY20" fmla="*/ 345134 h 350868"/>
                <a:gd name="connsiteX21" fmla="*/ 62542 w 90735"/>
                <a:gd name="connsiteY21" fmla="*/ 350220 h 3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0735" h="350868">
                  <a:moveTo>
                    <a:pt x="62542" y="350220"/>
                  </a:moveTo>
                  <a:cubicBezTo>
                    <a:pt x="62542" y="350328"/>
                    <a:pt x="63948" y="350869"/>
                    <a:pt x="66870" y="350869"/>
                  </a:cubicBezTo>
                  <a:cubicBezTo>
                    <a:pt x="69683" y="350869"/>
                    <a:pt x="74119" y="350003"/>
                    <a:pt x="78665" y="346757"/>
                  </a:cubicBezTo>
                  <a:cubicBezTo>
                    <a:pt x="83101" y="343619"/>
                    <a:pt x="87862" y="338101"/>
                    <a:pt x="89701" y="330310"/>
                  </a:cubicBezTo>
                  <a:cubicBezTo>
                    <a:pt x="91648" y="322628"/>
                    <a:pt x="90783" y="313430"/>
                    <a:pt x="87645" y="304233"/>
                  </a:cubicBezTo>
                  <a:cubicBezTo>
                    <a:pt x="84616" y="294928"/>
                    <a:pt x="79205" y="285838"/>
                    <a:pt x="74444" y="275775"/>
                  </a:cubicBezTo>
                  <a:cubicBezTo>
                    <a:pt x="69792" y="265821"/>
                    <a:pt x="66437" y="254459"/>
                    <a:pt x="65139" y="242124"/>
                  </a:cubicBezTo>
                  <a:cubicBezTo>
                    <a:pt x="62326" y="217345"/>
                    <a:pt x="67303" y="189970"/>
                    <a:pt x="73795" y="161837"/>
                  </a:cubicBezTo>
                  <a:cubicBezTo>
                    <a:pt x="80287" y="133595"/>
                    <a:pt x="86022" y="105787"/>
                    <a:pt x="83750" y="80142"/>
                  </a:cubicBezTo>
                  <a:cubicBezTo>
                    <a:pt x="82019" y="54606"/>
                    <a:pt x="71955" y="31992"/>
                    <a:pt x="57456" y="18791"/>
                  </a:cubicBezTo>
                  <a:cubicBezTo>
                    <a:pt x="43173" y="5374"/>
                    <a:pt x="27159" y="504"/>
                    <a:pt x="16447" y="72"/>
                  </a:cubicBezTo>
                  <a:cubicBezTo>
                    <a:pt x="5519" y="-470"/>
                    <a:pt x="0" y="2236"/>
                    <a:pt x="0" y="2236"/>
                  </a:cubicBezTo>
                  <a:cubicBezTo>
                    <a:pt x="108" y="2777"/>
                    <a:pt x="5843" y="829"/>
                    <a:pt x="16339" y="1911"/>
                  </a:cubicBezTo>
                  <a:cubicBezTo>
                    <a:pt x="26618" y="2885"/>
                    <a:pt x="41875" y="8079"/>
                    <a:pt x="55184" y="21171"/>
                  </a:cubicBezTo>
                  <a:cubicBezTo>
                    <a:pt x="68709" y="34048"/>
                    <a:pt x="78015" y="55688"/>
                    <a:pt x="79530" y="80467"/>
                  </a:cubicBezTo>
                  <a:cubicBezTo>
                    <a:pt x="81477" y="105354"/>
                    <a:pt x="75743" y="132513"/>
                    <a:pt x="69250" y="160755"/>
                  </a:cubicBezTo>
                  <a:cubicBezTo>
                    <a:pt x="62758" y="188996"/>
                    <a:pt x="57673" y="217021"/>
                    <a:pt x="60811" y="242557"/>
                  </a:cubicBezTo>
                  <a:cubicBezTo>
                    <a:pt x="62217" y="255325"/>
                    <a:pt x="65896" y="267227"/>
                    <a:pt x="70874" y="277398"/>
                  </a:cubicBezTo>
                  <a:cubicBezTo>
                    <a:pt x="75851" y="287570"/>
                    <a:pt x="81261" y="296442"/>
                    <a:pt x="84399" y="305207"/>
                  </a:cubicBezTo>
                  <a:cubicBezTo>
                    <a:pt x="87537" y="313971"/>
                    <a:pt x="88619" y="322520"/>
                    <a:pt x="86996" y="329661"/>
                  </a:cubicBezTo>
                  <a:cubicBezTo>
                    <a:pt x="85589" y="336802"/>
                    <a:pt x="81477" y="341996"/>
                    <a:pt x="77474" y="345134"/>
                  </a:cubicBezTo>
                  <a:cubicBezTo>
                    <a:pt x="69034" y="351735"/>
                    <a:pt x="62326" y="349571"/>
                    <a:pt x="62542" y="350220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FB087438-C3C6-4360-9108-ACE4F597D66B}"/>
                </a:ext>
              </a:extLst>
            </p:cNvPr>
            <p:cNvSpPr/>
            <p:nvPr/>
          </p:nvSpPr>
          <p:spPr>
            <a:xfrm flipH="1">
              <a:off x="788090" y="2971826"/>
              <a:ext cx="113451" cy="184845"/>
            </a:xfrm>
            <a:custGeom>
              <a:avLst/>
              <a:gdLst>
                <a:gd name="connsiteX0" fmla="*/ 99211 w 102932"/>
                <a:gd name="connsiteY0" fmla="*/ 63577 h 167706"/>
                <a:gd name="connsiteX1" fmla="*/ 85686 w 102932"/>
                <a:gd name="connsiteY1" fmla="*/ 23542 h 167706"/>
                <a:gd name="connsiteX2" fmla="*/ 51926 w 102932"/>
                <a:gd name="connsiteY2" fmla="*/ 170 h 167706"/>
                <a:gd name="connsiteX3" fmla="*/ 19141 w 102932"/>
                <a:gd name="connsiteY3" fmla="*/ 21161 h 167706"/>
                <a:gd name="connsiteX4" fmla="*/ 27256 w 102932"/>
                <a:gd name="connsiteY4" fmla="*/ 14777 h 167706"/>
                <a:gd name="connsiteX5" fmla="*/ 1287 w 102932"/>
                <a:gd name="connsiteY5" fmla="*/ 112702 h 167706"/>
                <a:gd name="connsiteX6" fmla="*/ 40348 w 102932"/>
                <a:gd name="connsiteY6" fmla="*/ 166587 h 167706"/>
                <a:gd name="connsiteX7" fmla="*/ 96506 w 102932"/>
                <a:gd name="connsiteY7" fmla="*/ 133477 h 167706"/>
                <a:gd name="connsiteX8" fmla="*/ 99211 w 102932"/>
                <a:gd name="connsiteY8" fmla="*/ 63577 h 167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2932" h="167706">
                  <a:moveTo>
                    <a:pt x="99211" y="63577"/>
                  </a:moveTo>
                  <a:cubicBezTo>
                    <a:pt x="96615" y="49619"/>
                    <a:pt x="93152" y="35552"/>
                    <a:pt x="85686" y="23542"/>
                  </a:cubicBezTo>
                  <a:cubicBezTo>
                    <a:pt x="78220" y="11531"/>
                    <a:pt x="65993" y="1684"/>
                    <a:pt x="51926" y="170"/>
                  </a:cubicBezTo>
                  <a:cubicBezTo>
                    <a:pt x="37860" y="-1345"/>
                    <a:pt x="22387" y="7419"/>
                    <a:pt x="19141" y="21161"/>
                  </a:cubicBezTo>
                  <a:lnTo>
                    <a:pt x="27256" y="14777"/>
                  </a:lnTo>
                  <a:cubicBezTo>
                    <a:pt x="5940" y="42153"/>
                    <a:pt x="-3691" y="78293"/>
                    <a:pt x="1287" y="112702"/>
                  </a:cubicBezTo>
                  <a:cubicBezTo>
                    <a:pt x="4641" y="135966"/>
                    <a:pt x="17518" y="160853"/>
                    <a:pt x="40348" y="166587"/>
                  </a:cubicBezTo>
                  <a:cubicBezTo>
                    <a:pt x="63288" y="172322"/>
                    <a:pt x="87201" y="155226"/>
                    <a:pt x="96506" y="133477"/>
                  </a:cubicBezTo>
                  <a:cubicBezTo>
                    <a:pt x="105703" y="111728"/>
                    <a:pt x="103540" y="86841"/>
                    <a:pt x="99211" y="63577"/>
                  </a:cubicBezTo>
                  <a:close/>
                </a:path>
              </a:pathLst>
            </a:custGeom>
            <a:solidFill>
              <a:srgbClr val="FF725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70CD495E-8470-4504-B0A0-D4E42B677B6A}"/>
                </a:ext>
              </a:extLst>
            </p:cNvPr>
            <p:cNvSpPr/>
            <p:nvPr/>
          </p:nvSpPr>
          <p:spPr>
            <a:xfrm flipH="1">
              <a:off x="789670" y="3100560"/>
              <a:ext cx="46901" cy="9169"/>
            </a:xfrm>
            <a:custGeom>
              <a:avLst/>
              <a:gdLst>
                <a:gd name="connsiteX0" fmla="*/ 14 w 42552"/>
                <a:gd name="connsiteY0" fmla="*/ 3478 h 8319"/>
                <a:gd name="connsiteX1" fmla="*/ 21979 w 42552"/>
                <a:gd name="connsiteY1" fmla="*/ 8239 h 8319"/>
                <a:gd name="connsiteX2" fmla="*/ 37669 w 42552"/>
                <a:gd name="connsiteY2" fmla="*/ 4777 h 8319"/>
                <a:gd name="connsiteX3" fmla="*/ 42430 w 42552"/>
                <a:gd name="connsiteY3" fmla="*/ 16 h 8319"/>
                <a:gd name="connsiteX4" fmla="*/ 36912 w 42552"/>
                <a:gd name="connsiteY4" fmla="*/ 2829 h 8319"/>
                <a:gd name="connsiteX5" fmla="*/ 21763 w 42552"/>
                <a:gd name="connsiteY5" fmla="*/ 5318 h 8319"/>
                <a:gd name="connsiteX6" fmla="*/ 14 w 42552"/>
                <a:gd name="connsiteY6" fmla="*/ 3478 h 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52" h="8319">
                  <a:moveTo>
                    <a:pt x="14" y="3478"/>
                  </a:moveTo>
                  <a:cubicBezTo>
                    <a:pt x="-419" y="4128"/>
                    <a:pt x="9211" y="8997"/>
                    <a:pt x="21979" y="8239"/>
                  </a:cubicBezTo>
                  <a:cubicBezTo>
                    <a:pt x="28255" y="7915"/>
                    <a:pt x="33882" y="6400"/>
                    <a:pt x="37669" y="4777"/>
                  </a:cubicBezTo>
                  <a:cubicBezTo>
                    <a:pt x="41781" y="3154"/>
                    <a:pt x="42971" y="124"/>
                    <a:pt x="42430" y="16"/>
                  </a:cubicBezTo>
                  <a:cubicBezTo>
                    <a:pt x="42105" y="-201"/>
                    <a:pt x="40699" y="1855"/>
                    <a:pt x="36912" y="2829"/>
                  </a:cubicBezTo>
                  <a:cubicBezTo>
                    <a:pt x="33125" y="3911"/>
                    <a:pt x="27822" y="4993"/>
                    <a:pt x="21763" y="5318"/>
                  </a:cubicBezTo>
                  <a:cubicBezTo>
                    <a:pt x="9752" y="6075"/>
                    <a:pt x="339" y="2613"/>
                    <a:pt x="14" y="347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E56FC150-3B85-4969-A855-AA1C31979778}"/>
                </a:ext>
              </a:extLst>
            </p:cNvPr>
            <p:cNvSpPr/>
            <p:nvPr/>
          </p:nvSpPr>
          <p:spPr>
            <a:xfrm flipH="1">
              <a:off x="790402" y="3056355"/>
              <a:ext cx="58558" cy="3647"/>
            </a:xfrm>
            <a:custGeom>
              <a:avLst/>
              <a:gdLst>
                <a:gd name="connsiteX0" fmla="*/ 0 w 53128"/>
                <a:gd name="connsiteY0" fmla="*/ 2466 h 3309"/>
                <a:gd name="connsiteX1" fmla="*/ 26618 w 53128"/>
                <a:gd name="connsiteY1" fmla="*/ 3115 h 3309"/>
                <a:gd name="connsiteX2" fmla="*/ 53129 w 53128"/>
                <a:gd name="connsiteY2" fmla="*/ 843 h 3309"/>
                <a:gd name="connsiteX3" fmla="*/ 26510 w 53128"/>
                <a:gd name="connsiteY3" fmla="*/ 194 h 3309"/>
                <a:gd name="connsiteX4" fmla="*/ 0 w 53128"/>
                <a:gd name="connsiteY4" fmla="*/ 2466 h 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128" h="3309">
                  <a:moveTo>
                    <a:pt x="0" y="2466"/>
                  </a:moveTo>
                  <a:cubicBezTo>
                    <a:pt x="0" y="3224"/>
                    <a:pt x="11903" y="3548"/>
                    <a:pt x="26618" y="3115"/>
                  </a:cubicBezTo>
                  <a:cubicBezTo>
                    <a:pt x="41334" y="2683"/>
                    <a:pt x="53129" y="1600"/>
                    <a:pt x="53129" y="843"/>
                  </a:cubicBezTo>
                  <a:cubicBezTo>
                    <a:pt x="53129" y="86"/>
                    <a:pt x="41226" y="-239"/>
                    <a:pt x="26510" y="194"/>
                  </a:cubicBezTo>
                  <a:cubicBezTo>
                    <a:pt x="11903" y="627"/>
                    <a:pt x="0" y="1709"/>
                    <a:pt x="0" y="246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8D7A7246-3420-424A-A343-603F671D0D20}"/>
                </a:ext>
              </a:extLst>
            </p:cNvPr>
            <p:cNvSpPr/>
            <p:nvPr/>
          </p:nvSpPr>
          <p:spPr>
            <a:xfrm flipH="1">
              <a:off x="800399" y="3006149"/>
              <a:ext cx="38782" cy="5305"/>
            </a:xfrm>
            <a:custGeom>
              <a:avLst/>
              <a:gdLst>
                <a:gd name="connsiteX0" fmla="*/ 1 w 35186"/>
                <a:gd name="connsiteY0" fmla="*/ 4086 h 4813"/>
                <a:gd name="connsiteX1" fmla="*/ 17855 w 35186"/>
                <a:gd name="connsiteY1" fmla="*/ 3004 h 4813"/>
                <a:gd name="connsiteX2" fmla="*/ 30082 w 35186"/>
                <a:gd name="connsiteY2" fmla="*/ 3653 h 4813"/>
                <a:gd name="connsiteX3" fmla="*/ 35167 w 35186"/>
                <a:gd name="connsiteY3" fmla="*/ 4735 h 4813"/>
                <a:gd name="connsiteX4" fmla="*/ 30623 w 35186"/>
                <a:gd name="connsiteY4" fmla="*/ 1706 h 4813"/>
                <a:gd name="connsiteX5" fmla="*/ 17638 w 35186"/>
                <a:gd name="connsiteY5" fmla="*/ 83 h 4813"/>
                <a:gd name="connsiteX6" fmla="*/ 1 w 35186"/>
                <a:gd name="connsiteY6" fmla="*/ 4086 h 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186" h="4813">
                  <a:moveTo>
                    <a:pt x="1" y="4086"/>
                  </a:moveTo>
                  <a:cubicBezTo>
                    <a:pt x="109" y="5060"/>
                    <a:pt x="8225" y="3870"/>
                    <a:pt x="17855" y="3004"/>
                  </a:cubicBezTo>
                  <a:cubicBezTo>
                    <a:pt x="22724" y="2680"/>
                    <a:pt x="26944" y="3004"/>
                    <a:pt x="30082" y="3653"/>
                  </a:cubicBezTo>
                  <a:cubicBezTo>
                    <a:pt x="33112" y="4303"/>
                    <a:pt x="34951" y="5060"/>
                    <a:pt x="35167" y="4735"/>
                  </a:cubicBezTo>
                  <a:cubicBezTo>
                    <a:pt x="35384" y="4411"/>
                    <a:pt x="33761" y="3004"/>
                    <a:pt x="30623" y="1706"/>
                  </a:cubicBezTo>
                  <a:cubicBezTo>
                    <a:pt x="27485" y="407"/>
                    <a:pt x="22724" y="-242"/>
                    <a:pt x="17638" y="83"/>
                  </a:cubicBezTo>
                  <a:cubicBezTo>
                    <a:pt x="7576" y="948"/>
                    <a:pt x="-107" y="3437"/>
                    <a:pt x="1" y="408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9E4E744F-28CD-4506-837A-4EAA5D483AD3}"/>
                </a:ext>
              </a:extLst>
            </p:cNvPr>
            <p:cNvSpPr/>
            <p:nvPr/>
          </p:nvSpPr>
          <p:spPr>
            <a:xfrm flipH="1">
              <a:off x="892610" y="2710900"/>
              <a:ext cx="443516" cy="363498"/>
            </a:xfrm>
            <a:custGeom>
              <a:avLst/>
              <a:gdLst>
                <a:gd name="connsiteX0" fmla="*/ 394494 w 402392"/>
                <a:gd name="connsiteY0" fmla="*/ 160725 h 329794"/>
                <a:gd name="connsiteX1" fmla="*/ 352077 w 402392"/>
                <a:gd name="connsiteY1" fmla="*/ 111060 h 329794"/>
                <a:gd name="connsiteX2" fmla="*/ 287155 w 402392"/>
                <a:gd name="connsiteY2" fmla="*/ 86389 h 329794"/>
                <a:gd name="connsiteX3" fmla="*/ 244198 w 402392"/>
                <a:gd name="connsiteY3" fmla="*/ 42350 h 329794"/>
                <a:gd name="connsiteX4" fmla="*/ 104723 w 402392"/>
                <a:gd name="connsiteY4" fmla="*/ 4804 h 329794"/>
                <a:gd name="connsiteX5" fmla="*/ 3552 w 402392"/>
                <a:gd name="connsiteY5" fmla="*/ 108030 h 329794"/>
                <a:gd name="connsiteX6" fmla="*/ 27033 w 402392"/>
                <a:gd name="connsiteY6" fmla="*/ 202276 h 329794"/>
                <a:gd name="connsiteX7" fmla="*/ 140972 w 402392"/>
                <a:gd name="connsiteY7" fmla="*/ 214178 h 329794"/>
                <a:gd name="connsiteX8" fmla="*/ 256101 w 402392"/>
                <a:gd name="connsiteY8" fmla="*/ 221212 h 329794"/>
                <a:gd name="connsiteX9" fmla="*/ 298733 w 402392"/>
                <a:gd name="connsiteY9" fmla="*/ 278019 h 329794"/>
                <a:gd name="connsiteX10" fmla="*/ 348291 w 402392"/>
                <a:gd name="connsiteY10" fmla="*/ 327576 h 329794"/>
                <a:gd name="connsiteX11" fmla="*/ 402393 w 402392"/>
                <a:gd name="connsiteY11" fmla="*/ 298036 h 329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2392" h="329794">
                  <a:moveTo>
                    <a:pt x="394494" y="160725"/>
                  </a:moveTo>
                  <a:cubicBezTo>
                    <a:pt x="395143" y="137462"/>
                    <a:pt x="373718" y="119500"/>
                    <a:pt x="352077" y="111060"/>
                  </a:cubicBezTo>
                  <a:cubicBezTo>
                    <a:pt x="330437" y="102512"/>
                    <a:pt x="306415" y="99374"/>
                    <a:pt x="287155" y="86389"/>
                  </a:cubicBezTo>
                  <a:cubicBezTo>
                    <a:pt x="270059" y="74920"/>
                    <a:pt x="258589" y="56958"/>
                    <a:pt x="244198" y="42350"/>
                  </a:cubicBezTo>
                  <a:cubicBezTo>
                    <a:pt x="208707" y="6427"/>
                    <a:pt x="153415" y="-8506"/>
                    <a:pt x="104723" y="4804"/>
                  </a:cubicBezTo>
                  <a:cubicBezTo>
                    <a:pt x="56031" y="18113"/>
                    <a:pt x="15888" y="59014"/>
                    <a:pt x="3552" y="108030"/>
                  </a:cubicBezTo>
                  <a:cubicBezTo>
                    <a:pt x="-4779" y="141141"/>
                    <a:pt x="956" y="180202"/>
                    <a:pt x="27033" y="202276"/>
                  </a:cubicBezTo>
                  <a:cubicBezTo>
                    <a:pt x="57330" y="227812"/>
                    <a:pt x="102234" y="222077"/>
                    <a:pt x="140972" y="214178"/>
                  </a:cubicBezTo>
                  <a:cubicBezTo>
                    <a:pt x="179817" y="206279"/>
                    <a:pt x="223639" y="198381"/>
                    <a:pt x="256101" y="221212"/>
                  </a:cubicBezTo>
                  <a:cubicBezTo>
                    <a:pt x="275685" y="234953"/>
                    <a:pt x="286830" y="257244"/>
                    <a:pt x="298733" y="278019"/>
                  </a:cubicBezTo>
                  <a:cubicBezTo>
                    <a:pt x="310635" y="298686"/>
                    <a:pt x="325676" y="319785"/>
                    <a:pt x="348291" y="327576"/>
                  </a:cubicBezTo>
                  <a:cubicBezTo>
                    <a:pt x="370905" y="335367"/>
                    <a:pt x="401527" y="321949"/>
                    <a:pt x="402393" y="298036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1472F0CD-F527-49C0-B507-593DFFE0B5F5}"/>
                </a:ext>
              </a:extLst>
            </p:cNvPr>
            <p:cNvSpPr/>
            <p:nvPr/>
          </p:nvSpPr>
          <p:spPr>
            <a:xfrm flipH="1">
              <a:off x="817223" y="2787732"/>
              <a:ext cx="599932" cy="604791"/>
            </a:xfrm>
            <a:custGeom>
              <a:avLst/>
              <a:gdLst>
                <a:gd name="connsiteX0" fmla="*/ 466495 w 544305"/>
                <a:gd name="connsiteY0" fmla="*/ 103677 h 548713"/>
                <a:gd name="connsiteX1" fmla="*/ 492031 w 544305"/>
                <a:gd name="connsiteY1" fmla="*/ 154317 h 548713"/>
                <a:gd name="connsiteX2" fmla="*/ 524384 w 544305"/>
                <a:gd name="connsiteY2" fmla="*/ 202143 h 548713"/>
                <a:gd name="connsiteX3" fmla="*/ 515511 w 544305"/>
                <a:gd name="connsiteY3" fmla="*/ 269771 h 548713"/>
                <a:gd name="connsiteX4" fmla="*/ 536394 w 544305"/>
                <a:gd name="connsiteY4" fmla="*/ 307858 h 548713"/>
                <a:gd name="connsiteX5" fmla="*/ 540506 w 544305"/>
                <a:gd name="connsiteY5" fmla="*/ 367587 h 548713"/>
                <a:gd name="connsiteX6" fmla="*/ 511832 w 544305"/>
                <a:gd name="connsiteY6" fmla="*/ 446251 h 548713"/>
                <a:gd name="connsiteX7" fmla="*/ 358940 w 544305"/>
                <a:gd name="connsiteY7" fmla="*/ 537467 h 548713"/>
                <a:gd name="connsiteX8" fmla="*/ 190142 w 544305"/>
                <a:gd name="connsiteY8" fmla="*/ 546773 h 548713"/>
                <a:gd name="connsiteX9" fmla="*/ 52290 w 544305"/>
                <a:gd name="connsiteY9" fmla="*/ 482500 h 548713"/>
                <a:gd name="connsiteX10" fmla="*/ 11821 w 544305"/>
                <a:gd name="connsiteY10" fmla="*/ 368777 h 548713"/>
                <a:gd name="connsiteX11" fmla="*/ 4247 w 544305"/>
                <a:gd name="connsiteY11" fmla="*/ 271069 h 548713"/>
                <a:gd name="connsiteX12" fmla="*/ 26321 w 544305"/>
                <a:gd name="connsiteY12" fmla="*/ 217616 h 548713"/>
                <a:gd name="connsiteX13" fmla="*/ 33354 w 544305"/>
                <a:gd name="connsiteY13" fmla="*/ 145769 h 548713"/>
                <a:gd name="connsiteX14" fmla="*/ 117104 w 544305"/>
                <a:gd name="connsiteY14" fmla="*/ 20360 h 548713"/>
                <a:gd name="connsiteX15" fmla="*/ 267832 w 544305"/>
                <a:gd name="connsiteY15" fmla="*/ 15599 h 54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4305" h="548713">
                  <a:moveTo>
                    <a:pt x="466495" y="103677"/>
                  </a:moveTo>
                  <a:cubicBezTo>
                    <a:pt x="463898" y="123154"/>
                    <a:pt x="478072" y="140575"/>
                    <a:pt x="492031" y="154317"/>
                  </a:cubicBezTo>
                  <a:cubicBezTo>
                    <a:pt x="506097" y="168059"/>
                    <a:pt x="521895" y="182666"/>
                    <a:pt x="524384" y="202143"/>
                  </a:cubicBezTo>
                  <a:cubicBezTo>
                    <a:pt x="527306" y="224866"/>
                    <a:pt x="510642" y="247372"/>
                    <a:pt x="515511" y="269771"/>
                  </a:cubicBezTo>
                  <a:cubicBezTo>
                    <a:pt x="518541" y="284054"/>
                    <a:pt x="529686" y="294982"/>
                    <a:pt x="536394" y="307858"/>
                  </a:cubicBezTo>
                  <a:cubicBezTo>
                    <a:pt x="545808" y="326037"/>
                    <a:pt x="546350" y="348002"/>
                    <a:pt x="540506" y="367587"/>
                  </a:cubicBezTo>
                  <a:cubicBezTo>
                    <a:pt x="534772" y="387172"/>
                    <a:pt x="525466" y="430995"/>
                    <a:pt x="511832" y="446251"/>
                  </a:cubicBezTo>
                  <a:cubicBezTo>
                    <a:pt x="474177" y="488451"/>
                    <a:pt x="414124" y="524807"/>
                    <a:pt x="358940" y="537467"/>
                  </a:cubicBezTo>
                  <a:cubicBezTo>
                    <a:pt x="303864" y="550127"/>
                    <a:pt x="246624" y="550235"/>
                    <a:pt x="190142" y="546773"/>
                  </a:cubicBezTo>
                  <a:cubicBezTo>
                    <a:pt x="143938" y="543960"/>
                    <a:pt x="90810" y="546015"/>
                    <a:pt x="52290" y="482500"/>
                  </a:cubicBezTo>
                  <a:cubicBezTo>
                    <a:pt x="32380" y="449606"/>
                    <a:pt x="22426" y="405783"/>
                    <a:pt x="11821" y="368777"/>
                  </a:cubicBezTo>
                  <a:cubicBezTo>
                    <a:pt x="2732" y="336965"/>
                    <a:pt x="-5167" y="302773"/>
                    <a:pt x="4247" y="271069"/>
                  </a:cubicBezTo>
                  <a:cubicBezTo>
                    <a:pt x="9766" y="252566"/>
                    <a:pt x="20911" y="236119"/>
                    <a:pt x="26321" y="217616"/>
                  </a:cubicBezTo>
                  <a:cubicBezTo>
                    <a:pt x="33138" y="194461"/>
                    <a:pt x="30649" y="169682"/>
                    <a:pt x="33354" y="145769"/>
                  </a:cubicBezTo>
                  <a:cubicBezTo>
                    <a:pt x="39305" y="93831"/>
                    <a:pt x="71442" y="45680"/>
                    <a:pt x="117104" y="20360"/>
                  </a:cubicBezTo>
                  <a:cubicBezTo>
                    <a:pt x="162766" y="-4959"/>
                    <a:pt x="220763" y="-6799"/>
                    <a:pt x="267832" y="15599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9F36BD62-82AF-4EA4-AD1F-E1243DCCBDCB}"/>
                </a:ext>
              </a:extLst>
            </p:cNvPr>
            <p:cNvSpPr/>
            <p:nvPr/>
          </p:nvSpPr>
          <p:spPr>
            <a:xfrm flipH="1">
              <a:off x="964038" y="2834734"/>
              <a:ext cx="396908" cy="766992"/>
            </a:xfrm>
            <a:custGeom>
              <a:avLst/>
              <a:gdLst>
                <a:gd name="connsiteX0" fmla="*/ 4648 w 360106"/>
                <a:gd name="connsiteY0" fmla="*/ 140889 h 695875"/>
                <a:gd name="connsiteX1" fmla="*/ 119128 w 360106"/>
                <a:gd name="connsiteY1" fmla="*/ 440 h 695875"/>
                <a:gd name="connsiteX2" fmla="*/ 325364 w 360106"/>
                <a:gd name="connsiteY2" fmla="*/ 53027 h 695875"/>
                <a:gd name="connsiteX3" fmla="*/ 360098 w 360106"/>
                <a:gd name="connsiteY3" fmla="*/ 92521 h 695875"/>
                <a:gd name="connsiteX4" fmla="*/ 337375 w 360106"/>
                <a:gd name="connsiteY4" fmla="*/ 579007 h 695875"/>
                <a:gd name="connsiteX5" fmla="*/ 331640 w 360106"/>
                <a:gd name="connsiteY5" fmla="*/ 602920 h 695875"/>
                <a:gd name="connsiteX6" fmla="*/ 154943 w 360106"/>
                <a:gd name="connsiteY6" fmla="*/ 687752 h 695875"/>
                <a:gd name="connsiteX7" fmla="*/ 110147 w 360106"/>
                <a:gd name="connsiteY7" fmla="*/ 619259 h 695875"/>
                <a:gd name="connsiteX8" fmla="*/ 108632 w 360106"/>
                <a:gd name="connsiteY8" fmla="*/ 608979 h 695875"/>
                <a:gd name="connsiteX9" fmla="*/ 107766 w 360106"/>
                <a:gd name="connsiteY9" fmla="*/ 540703 h 695875"/>
                <a:gd name="connsiteX10" fmla="*/ 107441 w 360106"/>
                <a:gd name="connsiteY10" fmla="*/ 484436 h 695875"/>
                <a:gd name="connsiteX11" fmla="*/ 5405 w 360106"/>
                <a:gd name="connsiteY11" fmla="*/ 359569 h 695875"/>
                <a:gd name="connsiteX12" fmla="*/ 4648 w 360106"/>
                <a:gd name="connsiteY12" fmla="*/ 140889 h 69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0106" h="695875">
                  <a:moveTo>
                    <a:pt x="4648" y="140889"/>
                  </a:moveTo>
                  <a:cubicBezTo>
                    <a:pt x="8976" y="74560"/>
                    <a:pt x="53123" y="-6702"/>
                    <a:pt x="119128" y="440"/>
                  </a:cubicBezTo>
                  <a:lnTo>
                    <a:pt x="325364" y="53027"/>
                  </a:lnTo>
                  <a:cubicBezTo>
                    <a:pt x="345382" y="55191"/>
                    <a:pt x="360531" y="72395"/>
                    <a:pt x="360098" y="92521"/>
                  </a:cubicBezTo>
                  <a:lnTo>
                    <a:pt x="337375" y="579007"/>
                  </a:lnTo>
                  <a:cubicBezTo>
                    <a:pt x="336942" y="587338"/>
                    <a:pt x="335103" y="595454"/>
                    <a:pt x="331640" y="602920"/>
                  </a:cubicBezTo>
                  <a:cubicBezTo>
                    <a:pt x="316275" y="636679"/>
                    <a:pt x="265419" y="722485"/>
                    <a:pt x="154943" y="687752"/>
                  </a:cubicBezTo>
                  <a:cubicBezTo>
                    <a:pt x="127892" y="679204"/>
                    <a:pt x="115557" y="649664"/>
                    <a:pt x="110147" y="619259"/>
                  </a:cubicBezTo>
                  <a:cubicBezTo>
                    <a:pt x="110147" y="615688"/>
                    <a:pt x="108632" y="612442"/>
                    <a:pt x="108632" y="608979"/>
                  </a:cubicBezTo>
                  <a:cubicBezTo>
                    <a:pt x="104087" y="573921"/>
                    <a:pt x="107766" y="540703"/>
                    <a:pt x="107766" y="540703"/>
                  </a:cubicBezTo>
                  <a:cubicBezTo>
                    <a:pt x="107333" y="500559"/>
                    <a:pt x="107441" y="484004"/>
                    <a:pt x="107441" y="484436"/>
                  </a:cubicBezTo>
                  <a:cubicBezTo>
                    <a:pt x="107441" y="484436"/>
                    <a:pt x="22718" y="470153"/>
                    <a:pt x="5405" y="359569"/>
                  </a:cubicBezTo>
                  <a:cubicBezTo>
                    <a:pt x="-3143" y="304709"/>
                    <a:pt x="-113" y="214576"/>
                    <a:pt x="4648" y="140889"/>
                  </a:cubicBez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2F2F246-B71B-4E00-B1F0-7A8822EDD666}"/>
                </a:ext>
              </a:extLst>
            </p:cNvPr>
            <p:cNvSpPr/>
            <p:nvPr/>
          </p:nvSpPr>
          <p:spPr>
            <a:xfrm flipH="1">
              <a:off x="1292244" y="3064188"/>
              <a:ext cx="31154" cy="29974"/>
            </a:xfrm>
            <a:custGeom>
              <a:avLst/>
              <a:gdLst>
                <a:gd name="connsiteX0" fmla="*/ 12 w 28265"/>
                <a:gd name="connsiteY0" fmla="*/ 12889 h 27195"/>
                <a:gd name="connsiteX1" fmla="*/ 13646 w 28265"/>
                <a:gd name="connsiteY1" fmla="*/ 27172 h 27195"/>
                <a:gd name="connsiteX2" fmla="*/ 28254 w 28265"/>
                <a:gd name="connsiteY2" fmla="*/ 14404 h 27195"/>
                <a:gd name="connsiteX3" fmla="*/ 14620 w 28265"/>
                <a:gd name="connsiteY3" fmla="*/ 13 h 27195"/>
                <a:gd name="connsiteX4" fmla="*/ 12 w 28265"/>
                <a:gd name="connsiteY4" fmla="*/ 12889 h 2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65" h="27195">
                  <a:moveTo>
                    <a:pt x="12" y="12889"/>
                  </a:moveTo>
                  <a:cubicBezTo>
                    <a:pt x="-312" y="20355"/>
                    <a:pt x="5855" y="26740"/>
                    <a:pt x="13646" y="27172"/>
                  </a:cubicBezTo>
                  <a:cubicBezTo>
                    <a:pt x="21437" y="27605"/>
                    <a:pt x="28037" y="21870"/>
                    <a:pt x="28254" y="14404"/>
                  </a:cubicBezTo>
                  <a:cubicBezTo>
                    <a:pt x="28578" y="6938"/>
                    <a:pt x="22411" y="554"/>
                    <a:pt x="14620" y="13"/>
                  </a:cubicBezTo>
                  <a:cubicBezTo>
                    <a:pt x="6829" y="-311"/>
                    <a:pt x="229" y="5423"/>
                    <a:pt x="12" y="1288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025A903A-B24D-47F9-B6BA-F55A87D338AC}"/>
                </a:ext>
              </a:extLst>
            </p:cNvPr>
            <p:cNvSpPr/>
            <p:nvPr/>
          </p:nvSpPr>
          <p:spPr>
            <a:xfrm flipH="1">
              <a:off x="1131359" y="3064188"/>
              <a:ext cx="31154" cy="29974"/>
            </a:xfrm>
            <a:custGeom>
              <a:avLst/>
              <a:gdLst>
                <a:gd name="connsiteX0" fmla="*/ 12 w 28265"/>
                <a:gd name="connsiteY0" fmla="*/ 12889 h 27195"/>
                <a:gd name="connsiteX1" fmla="*/ 13646 w 28265"/>
                <a:gd name="connsiteY1" fmla="*/ 27172 h 27195"/>
                <a:gd name="connsiteX2" fmla="*/ 28253 w 28265"/>
                <a:gd name="connsiteY2" fmla="*/ 14404 h 27195"/>
                <a:gd name="connsiteX3" fmla="*/ 14620 w 28265"/>
                <a:gd name="connsiteY3" fmla="*/ 13 h 27195"/>
                <a:gd name="connsiteX4" fmla="*/ 12 w 28265"/>
                <a:gd name="connsiteY4" fmla="*/ 12889 h 2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65" h="27195">
                  <a:moveTo>
                    <a:pt x="12" y="12889"/>
                  </a:moveTo>
                  <a:cubicBezTo>
                    <a:pt x="-312" y="20355"/>
                    <a:pt x="5855" y="26740"/>
                    <a:pt x="13646" y="27172"/>
                  </a:cubicBezTo>
                  <a:cubicBezTo>
                    <a:pt x="21436" y="27605"/>
                    <a:pt x="28037" y="21870"/>
                    <a:pt x="28253" y="14404"/>
                  </a:cubicBezTo>
                  <a:cubicBezTo>
                    <a:pt x="28578" y="6938"/>
                    <a:pt x="22411" y="446"/>
                    <a:pt x="14620" y="13"/>
                  </a:cubicBezTo>
                  <a:cubicBezTo>
                    <a:pt x="6937" y="-311"/>
                    <a:pt x="337" y="5423"/>
                    <a:pt x="12" y="1288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E233D2B8-E691-4ED3-9404-DA350AE89DE3}"/>
                </a:ext>
              </a:extLst>
            </p:cNvPr>
            <p:cNvSpPr/>
            <p:nvPr/>
          </p:nvSpPr>
          <p:spPr>
            <a:xfrm flipH="1">
              <a:off x="1096402" y="3028700"/>
              <a:ext cx="70069" cy="18999"/>
            </a:xfrm>
            <a:custGeom>
              <a:avLst/>
              <a:gdLst>
                <a:gd name="connsiteX0" fmla="*/ 357 w 63572"/>
                <a:gd name="connsiteY0" fmla="*/ 17170 h 17237"/>
                <a:gd name="connsiteX1" fmla="*/ 30762 w 63572"/>
                <a:gd name="connsiteY1" fmla="*/ 7324 h 17237"/>
                <a:gd name="connsiteX2" fmla="*/ 63440 w 63572"/>
                <a:gd name="connsiteY2" fmla="*/ 5484 h 17237"/>
                <a:gd name="connsiteX3" fmla="*/ 55649 w 63572"/>
                <a:gd name="connsiteY3" fmla="*/ 1372 h 17237"/>
                <a:gd name="connsiteX4" fmla="*/ 29139 w 63572"/>
                <a:gd name="connsiteY4" fmla="*/ 1264 h 17237"/>
                <a:gd name="connsiteX5" fmla="*/ 5335 w 63572"/>
                <a:gd name="connsiteY5" fmla="*/ 10678 h 17237"/>
                <a:gd name="connsiteX6" fmla="*/ 357 w 63572"/>
                <a:gd name="connsiteY6" fmla="*/ 17170 h 1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572" h="17237">
                  <a:moveTo>
                    <a:pt x="357" y="17170"/>
                  </a:moveTo>
                  <a:cubicBezTo>
                    <a:pt x="2629" y="18036"/>
                    <a:pt x="13558" y="10353"/>
                    <a:pt x="30762" y="7324"/>
                  </a:cubicBezTo>
                  <a:cubicBezTo>
                    <a:pt x="47967" y="4077"/>
                    <a:pt x="61817" y="7107"/>
                    <a:pt x="63440" y="5484"/>
                  </a:cubicBezTo>
                  <a:cubicBezTo>
                    <a:pt x="64198" y="4727"/>
                    <a:pt x="61709" y="2779"/>
                    <a:pt x="55649" y="1372"/>
                  </a:cubicBezTo>
                  <a:cubicBezTo>
                    <a:pt x="49698" y="-34"/>
                    <a:pt x="39852" y="-792"/>
                    <a:pt x="29139" y="1264"/>
                  </a:cubicBezTo>
                  <a:cubicBezTo>
                    <a:pt x="18427" y="3212"/>
                    <a:pt x="9987" y="7324"/>
                    <a:pt x="5335" y="10678"/>
                  </a:cubicBezTo>
                  <a:cubicBezTo>
                    <a:pt x="574" y="14140"/>
                    <a:pt x="-725" y="16846"/>
                    <a:pt x="357" y="1717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C243E256-0A9E-4A79-8A2D-4441C1641C92}"/>
                </a:ext>
              </a:extLst>
            </p:cNvPr>
            <p:cNvSpPr/>
            <p:nvPr/>
          </p:nvSpPr>
          <p:spPr>
            <a:xfrm flipH="1">
              <a:off x="1261213" y="3028975"/>
              <a:ext cx="70538" cy="17219"/>
            </a:xfrm>
            <a:custGeom>
              <a:avLst/>
              <a:gdLst>
                <a:gd name="connsiteX0" fmla="*/ 233 w 63998"/>
                <a:gd name="connsiteY0" fmla="*/ 6750 h 15622"/>
                <a:gd name="connsiteX1" fmla="*/ 32153 w 63998"/>
                <a:gd name="connsiteY1" fmla="*/ 6966 h 15622"/>
                <a:gd name="connsiteX2" fmla="*/ 63749 w 63998"/>
                <a:gd name="connsiteY2" fmla="*/ 15515 h 15622"/>
                <a:gd name="connsiteX3" fmla="*/ 57581 w 63998"/>
                <a:gd name="connsiteY3" fmla="*/ 9131 h 15622"/>
                <a:gd name="connsiteX4" fmla="*/ 32478 w 63998"/>
                <a:gd name="connsiteY4" fmla="*/ 691 h 15622"/>
                <a:gd name="connsiteX5" fmla="*/ 6834 w 63998"/>
                <a:gd name="connsiteY5" fmla="*/ 2205 h 15622"/>
                <a:gd name="connsiteX6" fmla="*/ 233 w 63998"/>
                <a:gd name="connsiteY6" fmla="*/ 6750 h 1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998" h="15622">
                  <a:moveTo>
                    <a:pt x="233" y="6750"/>
                  </a:moveTo>
                  <a:cubicBezTo>
                    <a:pt x="2073" y="8373"/>
                    <a:pt x="14841" y="4478"/>
                    <a:pt x="32153" y="6966"/>
                  </a:cubicBezTo>
                  <a:cubicBezTo>
                    <a:pt x="49466" y="9239"/>
                    <a:pt x="61693" y="16597"/>
                    <a:pt x="63749" y="15515"/>
                  </a:cubicBezTo>
                  <a:cubicBezTo>
                    <a:pt x="64722" y="15082"/>
                    <a:pt x="62883" y="12485"/>
                    <a:pt x="57581" y="9131"/>
                  </a:cubicBezTo>
                  <a:cubicBezTo>
                    <a:pt x="52387" y="5884"/>
                    <a:pt x="43298" y="2205"/>
                    <a:pt x="32478" y="691"/>
                  </a:cubicBezTo>
                  <a:cubicBezTo>
                    <a:pt x="21657" y="-824"/>
                    <a:pt x="12352" y="366"/>
                    <a:pt x="6834" y="2205"/>
                  </a:cubicBezTo>
                  <a:cubicBezTo>
                    <a:pt x="1315" y="3937"/>
                    <a:pt x="-741" y="6101"/>
                    <a:pt x="233" y="675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B957BA6-D76E-4BEE-9E94-5D5F02083BC8}"/>
                </a:ext>
              </a:extLst>
            </p:cNvPr>
            <p:cNvSpPr/>
            <p:nvPr/>
          </p:nvSpPr>
          <p:spPr>
            <a:xfrm flipH="1">
              <a:off x="1222203" y="3029606"/>
              <a:ext cx="51044" cy="140920"/>
            </a:xfrm>
            <a:custGeom>
              <a:avLst/>
              <a:gdLst>
                <a:gd name="connsiteX0" fmla="*/ 38911 w 46311"/>
                <a:gd name="connsiteY0" fmla="*/ 127257 h 127854"/>
                <a:gd name="connsiteX1" fmla="*/ 14132 w 46311"/>
                <a:gd name="connsiteY1" fmla="*/ 122713 h 127854"/>
                <a:gd name="connsiteX2" fmla="*/ 5908 w 46311"/>
                <a:gd name="connsiteY2" fmla="*/ 118817 h 127854"/>
                <a:gd name="connsiteX3" fmla="*/ 8505 w 46311"/>
                <a:gd name="connsiteY3" fmla="*/ 107239 h 127854"/>
                <a:gd name="connsiteX4" fmla="*/ 20083 w 46311"/>
                <a:gd name="connsiteY4" fmla="*/ 77591 h 127854"/>
                <a:gd name="connsiteX5" fmla="*/ 46160 w 46311"/>
                <a:gd name="connsiteY5" fmla="*/ 9 h 127854"/>
                <a:gd name="connsiteX6" fmla="*/ 13915 w 46311"/>
                <a:gd name="connsiteY6" fmla="*/ 75319 h 127854"/>
                <a:gd name="connsiteX7" fmla="*/ 2770 w 46311"/>
                <a:gd name="connsiteY7" fmla="*/ 105184 h 127854"/>
                <a:gd name="connsiteX8" fmla="*/ 715 w 46311"/>
                <a:gd name="connsiteY8" fmla="*/ 120440 h 127854"/>
                <a:gd name="connsiteX9" fmla="*/ 7099 w 46311"/>
                <a:gd name="connsiteY9" fmla="*/ 126175 h 127854"/>
                <a:gd name="connsiteX10" fmla="*/ 13699 w 46311"/>
                <a:gd name="connsiteY10" fmla="*/ 127149 h 127854"/>
                <a:gd name="connsiteX11" fmla="*/ 38911 w 46311"/>
                <a:gd name="connsiteY11" fmla="*/ 127257 h 12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311" h="127854">
                  <a:moveTo>
                    <a:pt x="38911" y="127257"/>
                  </a:moveTo>
                  <a:cubicBezTo>
                    <a:pt x="39019" y="126392"/>
                    <a:pt x="29497" y="124768"/>
                    <a:pt x="14132" y="122713"/>
                  </a:cubicBezTo>
                  <a:cubicBezTo>
                    <a:pt x="10237" y="122280"/>
                    <a:pt x="6558" y="121522"/>
                    <a:pt x="5908" y="118817"/>
                  </a:cubicBezTo>
                  <a:cubicBezTo>
                    <a:pt x="5043" y="116004"/>
                    <a:pt x="6666" y="111784"/>
                    <a:pt x="8505" y="107239"/>
                  </a:cubicBezTo>
                  <a:cubicBezTo>
                    <a:pt x="12184" y="97826"/>
                    <a:pt x="16079" y="87979"/>
                    <a:pt x="20083" y="77591"/>
                  </a:cubicBezTo>
                  <a:cubicBezTo>
                    <a:pt x="36205" y="35392"/>
                    <a:pt x="47783" y="658"/>
                    <a:pt x="46160" y="9"/>
                  </a:cubicBezTo>
                  <a:cubicBezTo>
                    <a:pt x="44429" y="-640"/>
                    <a:pt x="30038" y="33120"/>
                    <a:pt x="13915" y="75319"/>
                  </a:cubicBezTo>
                  <a:cubicBezTo>
                    <a:pt x="10020" y="85707"/>
                    <a:pt x="6341" y="95662"/>
                    <a:pt x="2770" y="105184"/>
                  </a:cubicBezTo>
                  <a:cubicBezTo>
                    <a:pt x="1255" y="109620"/>
                    <a:pt x="-1233" y="114597"/>
                    <a:pt x="715" y="120440"/>
                  </a:cubicBezTo>
                  <a:cubicBezTo>
                    <a:pt x="1797" y="123362"/>
                    <a:pt x="4610" y="125526"/>
                    <a:pt x="7099" y="126175"/>
                  </a:cubicBezTo>
                  <a:cubicBezTo>
                    <a:pt x="9587" y="126933"/>
                    <a:pt x="11751" y="127041"/>
                    <a:pt x="13699" y="127149"/>
                  </a:cubicBezTo>
                  <a:cubicBezTo>
                    <a:pt x="29280" y="128015"/>
                    <a:pt x="38802" y="128123"/>
                    <a:pt x="38911" y="12725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7E829267-DED0-4816-91AC-C517A06F07B4}"/>
                </a:ext>
              </a:extLst>
            </p:cNvPr>
            <p:cNvSpPr/>
            <p:nvPr/>
          </p:nvSpPr>
          <p:spPr>
            <a:xfrm flipH="1">
              <a:off x="1079136" y="3325625"/>
              <a:ext cx="163270" cy="73722"/>
            </a:xfrm>
            <a:custGeom>
              <a:avLst/>
              <a:gdLst>
                <a:gd name="connsiteX0" fmla="*/ 0 w 148131"/>
                <a:gd name="connsiteY0" fmla="*/ 39170 h 66886"/>
                <a:gd name="connsiteX1" fmla="*/ 148131 w 148131"/>
                <a:gd name="connsiteY1" fmla="*/ 0 h 66886"/>
                <a:gd name="connsiteX2" fmla="*/ 108 w 148131"/>
                <a:gd name="connsiteY2" fmla="*/ 65896 h 66886"/>
                <a:gd name="connsiteX3" fmla="*/ 0 w 148131"/>
                <a:gd name="connsiteY3" fmla="*/ 39170 h 66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31" h="66886">
                  <a:moveTo>
                    <a:pt x="0" y="39170"/>
                  </a:moveTo>
                  <a:cubicBezTo>
                    <a:pt x="0" y="39170"/>
                    <a:pt x="74336" y="44147"/>
                    <a:pt x="148131" y="0"/>
                  </a:cubicBezTo>
                  <a:cubicBezTo>
                    <a:pt x="148131" y="0"/>
                    <a:pt x="110693" y="76392"/>
                    <a:pt x="108" y="65896"/>
                  </a:cubicBezTo>
                  <a:lnTo>
                    <a:pt x="0" y="39170"/>
                  </a:ln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0E8B3D7-6601-415C-9635-FD9B0ED4B1FF}"/>
                </a:ext>
              </a:extLst>
            </p:cNvPr>
            <p:cNvSpPr/>
            <p:nvPr/>
          </p:nvSpPr>
          <p:spPr>
            <a:xfrm flipH="1">
              <a:off x="1173162" y="3199014"/>
              <a:ext cx="51774" cy="37033"/>
            </a:xfrm>
            <a:custGeom>
              <a:avLst/>
              <a:gdLst>
                <a:gd name="connsiteX0" fmla="*/ 1463 w 46973"/>
                <a:gd name="connsiteY0" fmla="*/ 10346 h 33599"/>
                <a:gd name="connsiteX1" fmla="*/ 26133 w 46973"/>
                <a:gd name="connsiteY1" fmla="*/ 175 h 33599"/>
                <a:gd name="connsiteX2" fmla="*/ 43446 w 46973"/>
                <a:gd name="connsiteY2" fmla="*/ 9480 h 33599"/>
                <a:gd name="connsiteX3" fmla="*/ 44636 w 46973"/>
                <a:gd name="connsiteY3" fmla="*/ 27659 h 33599"/>
                <a:gd name="connsiteX4" fmla="*/ 24618 w 46973"/>
                <a:gd name="connsiteY4" fmla="*/ 32636 h 33599"/>
                <a:gd name="connsiteX5" fmla="*/ 5142 w 46973"/>
                <a:gd name="connsiteY5" fmla="*/ 20950 h 33599"/>
                <a:gd name="connsiteX6" fmla="*/ 814 w 46973"/>
                <a:gd name="connsiteY6" fmla="*/ 16406 h 33599"/>
                <a:gd name="connsiteX7" fmla="*/ 814 w 46973"/>
                <a:gd name="connsiteY7" fmla="*/ 10779 h 3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73" h="33599">
                  <a:moveTo>
                    <a:pt x="1463" y="10346"/>
                  </a:moveTo>
                  <a:cubicBezTo>
                    <a:pt x="6981" y="3096"/>
                    <a:pt x="16611" y="-907"/>
                    <a:pt x="26133" y="175"/>
                  </a:cubicBezTo>
                  <a:cubicBezTo>
                    <a:pt x="32734" y="932"/>
                    <a:pt x="39443" y="4070"/>
                    <a:pt x="43446" y="9480"/>
                  </a:cubicBezTo>
                  <a:cubicBezTo>
                    <a:pt x="47450" y="14891"/>
                    <a:pt x="48315" y="22573"/>
                    <a:pt x="44636" y="27659"/>
                  </a:cubicBezTo>
                  <a:cubicBezTo>
                    <a:pt x="40524" y="33394"/>
                    <a:pt x="31868" y="34800"/>
                    <a:pt x="24618" y="32636"/>
                  </a:cubicBezTo>
                  <a:cubicBezTo>
                    <a:pt x="17369" y="30580"/>
                    <a:pt x="11093" y="25711"/>
                    <a:pt x="5142" y="20950"/>
                  </a:cubicBezTo>
                  <a:cubicBezTo>
                    <a:pt x="3519" y="19652"/>
                    <a:pt x="1787" y="18245"/>
                    <a:pt x="814" y="16406"/>
                  </a:cubicBezTo>
                  <a:cubicBezTo>
                    <a:pt x="-160" y="14566"/>
                    <a:pt x="-377" y="12186"/>
                    <a:pt x="814" y="10779"/>
                  </a:cubicBezTo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7358877A-BBA2-4877-BA77-00174187EF97}"/>
                </a:ext>
              </a:extLst>
            </p:cNvPr>
            <p:cNvSpPr/>
            <p:nvPr/>
          </p:nvSpPr>
          <p:spPr>
            <a:xfrm flipH="1">
              <a:off x="1178213" y="3181673"/>
              <a:ext cx="56449" cy="48318"/>
            </a:xfrm>
            <a:custGeom>
              <a:avLst/>
              <a:gdLst>
                <a:gd name="connsiteX0" fmla="*/ 48700 w 51215"/>
                <a:gd name="connsiteY0" fmla="*/ 2 h 43838"/>
                <a:gd name="connsiteX1" fmla="*/ 31928 w 51215"/>
                <a:gd name="connsiteY1" fmla="*/ 28135 h 43838"/>
                <a:gd name="connsiteX2" fmla="*/ 8 w 51215"/>
                <a:gd name="connsiteY2" fmla="*/ 40362 h 43838"/>
                <a:gd name="connsiteX3" fmla="*/ 11370 w 51215"/>
                <a:gd name="connsiteY3" fmla="*/ 43825 h 43838"/>
                <a:gd name="connsiteX4" fmla="*/ 38096 w 51215"/>
                <a:gd name="connsiteY4" fmla="*/ 34627 h 43838"/>
                <a:gd name="connsiteX5" fmla="*/ 51080 w 51215"/>
                <a:gd name="connsiteY5" fmla="*/ 11039 h 43838"/>
                <a:gd name="connsiteX6" fmla="*/ 48700 w 51215"/>
                <a:gd name="connsiteY6" fmla="*/ 2 h 43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215" h="43838">
                  <a:moveTo>
                    <a:pt x="48700" y="2"/>
                  </a:moveTo>
                  <a:cubicBezTo>
                    <a:pt x="46211" y="-106"/>
                    <a:pt x="46103" y="16449"/>
                    <a:pt x="31928" y="28135"/>
                  </a:cubicBezTo>
                  <a:cubicBezTo>
                    <a:pt x="17754" y="39929"/>
                    <a:pt x="116" y="37982"/>
                    <a:pt x="8" y="40362"/>
                  </a:cubicBezTo>
                  <a:cubicBezTo>
                    <a:pt x="-208" y="41444"/>
                    <a:pt x="3904" y="43608"/>
                    <a:pt x="11370" y="43825"/>
                  </a:cubicBezTo>
                  <a:cubicBezTo>
                    <a:pt x="18728" y="44041"/>
                    <a:pt x="29332" y="41769"/>
                    <a:pt x="38096" y="34627"/>
                  </a:cubicBezTo>
                  <a:cubicBezTo>
                    <a:pt x="46752" y="27486"/>
                    <a:pt x="50540" y="17856"/>
                    <a:pt x="51080" y="11039"/>
                  </a:cubicBezTo>
                  <a:cubicBezTo>
                    <a:pt x="51730" y="4006"/>
                    <a:pt x="49890" y="-106"/>
                    <a:pt x="48700" y="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EA88F6A3-EDAA-4AEA-92B6-CB4304FFEE11}"/>
                </a:ext>
              </a:extLst>
            </p:cNvPr>
            <p:cNvSpPr/>
            <p:nvPr/>
          </p:nvSpPr>
          <p:spPr>
            <a:xfrm flipH="1">
              <a:off x="1098543" y="2991969"/>
              <a:ext cx="76806" cy="22656"/>
            </a:xfrm>
            <a:custGeom>
              <a:avLst/>
              <a:gdLst>
                <a:gd name="connsiteX0" fmla="*/ 79 w 69684"/>
                <a:gd name="connsiteY0" fmla="*/ 11433 h 20555"/>
                <a:gd name="connsiteX1" fmla="*/ 34705 w 69684"/>
                <a:gd name="connsiteY1" fmla="*/ 15869 h 20555"/>
                <a:gd name="connsiteX2" fmla="*/ 69438 w 69684"/>
                <a:gd name="connsiteY2" fmla="*/ 19223 h 20555"/>
                <a:gd name="connsiteX3" fmla="*/ 62188 w 69684"/>
                <a:gd name="connsiteY3" fmla="*/ 9485 h 20555"/>
                <a:gd name="connsiteX4" fmla="*/ 36436 w 69684"/>
                <a:gd name="connsiteY4" fmla="*/ 396 h 20555"/>
                <a:gd name="connsiteX5" fmla="*/ 9277 w 69684"/>
                <a:gd name="connsiteY5" fmla="*/ 3534 h 20555"/>
                <a:gd name="connsiteX6" fmla="*/ 79 w 69684"/>
                <a:gd name="connsiteY6" fmla="*/ 11433 h 20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684" h="20555">
                  <a:moveTo>
                    <a:pt x="79" y="11433"/>
                  </a:moveTo>
                  <a:cubicBezTo>
                    <a:pt x="1594" y="15544"/>
                    <a:pt x="16851" y="13597"/>
                    <a:pt x="34705" y="15869"/>
                  </a:cubicBezTo>
                  <a:cubicBezTo>
                    <a:pt x="52666" y="17709"/>
                    <a:pt x="67058" y="23011"/>
                    <a:pt x="69438" y="19223"/>
                  </a:cubicBezTo>
                  <a:cubicBezTo>
                    <a:pt x="70520" y="17492"/>
                    <a:pt x="68032" y="13489"/>
                    <a:pt x="62188" y="9485"/>
                  </a:cubicBezTo>
                  <a:cubicBezTo>
                    <a:pt x="56454" y="5482"/>
                    <a:pt x="47148" y="1586"/>
                    <a:pt x="36436" y="396"/>
                  </a:cubicBezTo>
                  <a:cubicBezTo>
                    <a:pt x="25724" y="-794"/>
                    <a:pt x="15877" y="829"/>
                    <a:pt x="9277" y="3534"/>
                  </a:cubicBezTo>
                  <a:cubicBezTo>
                    <a:pt x="2785" y="6239"/>
                    <a:pt x="-570" y="9485"/>
                    <a:pt x="79" y="1143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16402FB2-0989-457C-9A29-E163A57A693A}"/>
                </a:ext>
              </a:extLst>
            </p:cNvPr>
            <p:cNvSpPr/>
            <p:nvPr/>
          </p:nvSpPr>
          <p:spPr>
            <a:xfrm flipH="1">
              <a:off x="1270675" y="2975815"/>
              <a:ext cx="57805" cy="18968"/>
            </a:xfrm>
            <a:custGeom>
              <a:avLst/>
              <a:gdLst>
                <a:gd name="connsiteX0" fmla="*/ 403 w 52445"/>
                <a:gd name="connsiteY0" fmla="*/ 15702 h 17209"/>
                <a:gd name="connsiteX1" fmla="*/ 26264 w 52445"/>
                <a:gd name="connsiteY1" fmla="*/ 15485 h 17209"/>
                <a:gd name="connsiteX2" fmla="*/ 52124 w 52445"/>
                <a:gd name="connsiteY2" fmla="*/ 14295 h 17209"/>
                <a:gd name="connsiteX3" fmla="*/ 46823 w 52445"/>
                <a:gd name="connsiteY3" fmla="*/ 5747 h 17209"/>
                <a:gd name="connsiteX4" fmla="*/ 25831 w 52445"/>
                <a:gd name="connsiteY4" fmla="*/ 12 h 17209"/>
                <a:gd name="connsiteX5" fmla="*/ 5164 w 52445"/>
                <a:gd name="connsiteY5" fmla="*/ 6937 h 17209"/>
                <a:gd name="connsiteX6" fmla="*/ 403 w 52445"/>
                <a:gd name="connsiteY6" fmla="*/ 15702 h 17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45" h="17209">
                  <a:moveTo>
                    <a:pt x="403" y="15702"/>
                  </a:moveTo>
                  <a:cubicBezTo>
                    <a:pt x="3108" y="19164"/>
                    <a:pt x="13604" y="15594"/>
                    <a:pt x="26264" y="15485"/>
                  </a:cubicBezTo>
                  <a:cubicBezTo>
                    <a:pt x="38924" y="14944"/>
                    <a:pt x="49636" y="17866"/>
                    <a:pt x="52124" y="14295"/>
                  </a:cubicBezTo>
                  <a:cubicBezTo>
                    <a:pt x="53207" y="12564"/>
                    <a:pt x="51584" y="9101"/>
                    <a:pt x="46823" y="5747"/>
                  </a:cubicBezTo>
                  <a:cubicBezTo>
                    <a:pt x="42170" y="2501"/>
                    <a:pt x="34487" y="-204"/>
                    <a:pt x="25831" y="12"/>
                  </a:cubicBezTo>
                  <a:cubicBezTo>
                    <a:pt x="17174" y="229"/>
                    <a:pt x="9600" y="3367"/>
                    <a:pt x="5164" y="6937"/>
                  </a:cubicBezTo>
                  <a:cubicBezTo>
                    <a:pt x="619" y="10508"/>
                    <a:pt x="-787" y="14079"/>
                    <a:pt x="403" y="1570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574119F1-A611-49E3-9682-B5769C9A2725}"/>
                </a:ext>
              </a:extLst>
            </p:cNvPr>
            <p:cNvSpPr/>
            <p:nvPr/>
          </p:nvSpPr>
          <p:spPr>
            <a:xfrm flipH="1">
              <a:off x="906682" y="2782385"/>
              <a:ext cx="403204" cy="532250"/>
            </a:xfrm>
            <a:custGeom>
              <a:avLst/>
              <a:gdLst>
                <a:gd name="connsiteX0" fmla="*/ 2577 w 365818"/>
                <a:gd name="connsiteY0" fmla="*/ 29648 h 482899"/>
                <a:gd name="connsiteX1" fmla="*/ 82756 w 365818"/>
                <a:gd name="connsiteY1" fmla="*/ 178104 h 482899"/>
                <a:gd name="connsiteX2" fmla="*/ 86760 w 365818"/>
                <a:gd name="connsiteY2" fmla="*/ 136878 h 482899"/>
                <a:gd name="connsiteX3" fmla="*/ 176028 w 365818"/>
                <a:gd name="connsiteY3" fmla="*/ 189790 h 482899"/>
                <a:gd name="connsiteX4" fmla="*/ 257830 w 365818"/>
                <a:gd name="connsiteY4" fmla="*/ 250925 h 482899"/>
                <a:gd name="connsiteX5" fmla="*/ 258696 w 365818"/>
                <a:gd name="connsiteY5" fmla="*/ 332944 h 482899"/>
                <a:gd name="connsiteX6" fmla="*/ 273628 w 365818"/>
                <a:gd name="connsiteY6" fmla="*/ 375143 h 482899"/>
                <a:gd name="connsiteX7" fmla="*/ 279796 w 365818"/>
                <a:gd name="connsiteY7" fmla="*/ 440390 h 482899"/>
                <a:gd name="connsiteX8" fmla="*/ 321995 w 365818"/>
                <a:gd name="connsiteY8" fmla="*/ 482806 h 482899"/>
                <a:gd name="connsiteX9" fmla="*/ 353050 w 365818"/>
                <a:gd name="connsiteY9" fmla="*/ 458136 h 482899"/>
                <a:gd name="connsiteX10" fmla="*/ 360732 w 365818"/>
                <a:gd name="connsiteY10" fmla="*/ 417451 h 482899"/>
                <a:gd name="connsiteX11" fmla="*/ 365169 w 365818"/>
                <a:gd name="connsiteY11" fmla="*/ 247571 h 482899"/>
                <a:gd name="connsiteX12" fmla="*/ 327297 w 365818"/>
                <a:gd name="connsiteY12" fmla="*/ 107555 h 482899"/>
                <a:gd name="connsiteX13" fmla="*/ 186416 w 365818"/>
                <a:gd name="connsiteY13" fmla="*/ 35924 h 482899"/>
                <a:gd name="connsiteX14" fmla="*/ 29303 w 365818"/>
                <a:gd name="connsiteY14" fmla="*/ 0 h 482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5818" h="482899">
                  <a:moveTo>
                    <a:pt x="2577" y="29648"/>
                  </a:moveTo>
                  <a:cubicBezTo>
                    <a:pt x="-10191" y="89485"/>
                    <a:pt x="25733" y="155922"/>
                    <a:pt x="82756" y="178104"/>
                  </a:cubicBezTo>
                  <a:cubicBezTo>
                    <a:pt x="84055" y="164362"/>
                    <a:pt x="85461" y="150620"/>
                    <a:pt x="86760" y="136878"/>
                  </a:cubicBezTo>
                  <a:cubicBezTo>
                    <a:pt x="103748" y="168149"/>
                    <a:pt x="142052" y="179402"/>
                    <a:pt x="176028" y="189790"/>
                  </a:cubicBezTo>
                  <a:cubicBezTo>
                    <a:pt x="210004" y="200069"/>
                    <a:pt x="247984" y="216733"/>
                    <a:pt x="257830" y="250925"/>
                  </a:cubicBezTo>
                  <a:cubicBezTo>
                    <a:pt x="265404" y="277327"/>
                    <a:pt x="253286" y="306001"/>
                    <a:pt x="258696" y="332944"/>
                  </a:cubicBezTo>
                  <a:cubicBezTo>
                    <a:pt x="261726" y="347551"/>
                    <a:pt x="269733" y="360752"/>
                    <a:pt x="273628" y="375143"/>
                  </a:cubicBezTo>
                  <a:cubicBezTo>
                    <a:pt x="279363" y="396243"/>
                    <a:pt x="275792" y="418858"/>
                    <a:pt x="279796" y="440390"/>
                  </a:cubicBezTo>
                  <a:cubicBezTo>
                    <a:pt x="283799" y="461923"/>
                    <a:pt x="300246" y="484538"/>
                    <a:pt x="321995" y="482806"/>
                  </a:cubicBezTo>
                  <a:cubicBezTo>
                    <a:pt x="335845" y="481724"/>
                    <a:pt x="347315" y="470796"/>
                    <a:pt x="353050" y="458136"/>
                  </a:cubicBezTo>
                  <a:cubicBezTo>
                    <a:pt x="358785" y="445476"/>
                    <a:pt x="359867" y="431301"/>
                    <a:pt x="360732" y="417451"/>
                  </a:cubicBezTo>
                  <a:cubicBezTo>
                    <a:pt x="364411" y="360860"/>
                    <a:pt x="367116" y="304162"/>
                    <a:pt x="365169" y="247571"/>
                  </a:cubicBezTo>
                  <a:cubicBezTo>
                    <a:pt x="363546" y="198446"/>
                    <a:pt x="357270" y="146508"/>
                    <a:pt x="327297" y="107555"/>
                  </a:cubicBezTo>
                  <a:cubicBezTo>
                    <a:pt x="294403" y="64814"/>
                    <a:pt x="239327" y="45987"/>
                    <a:pt x="186416" y="35924"/>
                  </a:cubicBezTo>
                  <a:cubicBezTo>
                    <a:pt x="133504" y="25861"/>
                    <a:pt x="78428" y="22182"/>
                    <a:pt x="29303" y="0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21AF43AA-110F-465C-B0B1-D7C21D02534C}"/>
                </a:ext>
              </a:extLst>
            </p:cNvPr>
            <p:cNvSpPr/>
            <p:nvPr/>
          </p:nvSpPr>
          <p:spPr>
            <a:xfrm flipH="1">
              <a:off x="1249133" y="2766522"/>
              <a:ext cx="43209" cy="152075"/>
            </a:xfrm>
            <a:custGeom>
              <a:avLst/>
              <a:gdLst>
                <a:gd name="connsiteX0" fmla="*/ 39139 w 39203"/>
                <a:gd name="connsiteY0" fmla="*/ 137961 h 137974"/>
                <a:gd name="connsiteX1" fmla="*/ 9166 w 39203"/>
                <a:gd name="connsiteY1" fmla="*/ 72173 h 137974"/>
                <a:gd name="connsiteX2" fmla="*/ 5271 w 39203"/>
                <a:gd name="connsiteY2" fmla="*/ 1 h 137974"/>
                <a:gd name="connsiteX3" fmla="*/ 726 w 39203"/>
                <a:gd name="connsiteY3" fmla="*/ 21209 h 137974"/>
                <a:gd name="connsiteX4" fmla="*/ 4514 w 39203"/>
                <a:gd name="connsiteY4" fmla="*/ 73363 h 137974"/>
                <a:gd name="connsiteX5" fmla="*/ 25181 w 39203"/>
                <a:gd name="connsiteY5" fmla="*/ 121298 h 137974"/>
                <a:gd name="connsiteX6" fmla="*/ 39139 w 39203"/>
                <a:gd name="connsiteY6" fmla="*/ 137961 h 13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03" h="137974">
                  <a:moveTo>
                    <a:pt x="39139" y="137961"/>
                  </a:moveTo>
                  <a:cubicBezTo>
                    <a:pt x="40545" y="137204"/>
                    <a:pt x="18580" y="111451"/>
                    <a:pt x="9166" y="72173"/>
                  </a:cubicBezTo>
                  <a:cubicBezTo>
                    <a:pt x="-680" y="33003"/>
                    <a:pt x="6894" y="109"/>
                    <a:pt x="5271" y="1"/>
                  </a:cubicBezTo>
                  <a:cubicBezTo>
                    <a:pt x="4730" y="-107"/>
                    <a:pt x="2133" y="7792"/>
                    <a:pt x="726" y="21209"/>
                  </a:cubicBezTo>
                  <a:cubicBezTo>
                    <a:pt x="-680" y="34518"/>
                    <a:pt x="-356" y="53346"/>
                    <a:pt x="4514" y="73363"/>
                  </a:cubicBezTo>
                  <a:cubicBezTo>
                    <a:pt x="9491" y="93381"/>
                    <a:pt x="17823" y="110153"/>
                    <a:pt x="25181" y="121298"/>
                  </a:cubicBezTo>
                  <a:cubicBezTo>
                    <a:pt x="32755" y="132551"/>
                    <a:pt x="38706" y="138286"/>
                    <a:pt x="39139" y="137961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1C13E63E-11EC-4494-AA05-6D2B9D27516A}"/>
                </a:ext>
              </a:extLst>
            </p:cNvPr>
            <p:cNvSpPr/>
            <p:nvPr/>
          </p:nvSpPr>
          <p:spPr>
            <a:xfrm flipH="1">
              <a:off x="904281" y="2758294"/>
              <a:ext cx="374572" cy="403588"/>
            </a:xfrm>
            <a:custGeom>
              <a:avLst/>
              <a:gdLst>
                <a:gd name="connsiteX0" fmla="*/ 323704 w 339841"/>
                <a:gd name="connsiteY0" fmla="*/ 366162 h 366166"/>
                <a:gd name="connsiteX1" fmla="*/ 326193 w 339841"/>
                <a:gd name="connsiteY1" fmla="*/ 360969 h 366166"/>
                <a:gd name="connsiteX2" fmla="*/ 331711 w 339841"/>
                <a:gd name="connsiteY2" fmla="*/ 345279 h 366166"/>
                <a:gd name="connsiteX3" fmla="*/ 339718 w 339841"/>
                <a:gd name="connsiteY3" fmla="*/ 284685 h 366166"/>
                <a:gd name="connsiteX4" fmla="*/ 310287 w 339841"/>
                <a:gd name="connsiteY4" fmla="*/ 199528 h 366166"/>
                <a:gd name="connsiteX5" fmla="*/ 269494 w 339841"/>
                <a:gd name="connsiteY5" fmla="*/ 164362 h 366166"/>
                <a:gd name="connsiteX6" fmla="*/ 213985 w 339841"/>
                <a:gd name="connsiteY6" fmla="*/ 148239 h 366166"/>
                <a:gd name="connsiteX7" fmla="*/ 157070 w 339841"/>
                <a:gd name="connsiteY7" fmla="*/ 141964 h 366166"/>
                <a:gd name="connsiteX8" fmla="*/ 106430 w 339841"/>
                <a:gd name="connsiteY8" fmla="*/ 127897 h 366166"/>
                <a:gd name="connsiteX9" fmla="*/ 36531 w 339841"/>
                <a:gd name="connsiteY9" fmla="*/ 73579 h 366166"/>
                <a:gd name="connsiteX10" fmla="*/ 6883 w 339841"/>
                <a:gd name="connsiteY10" fmla="*/ 21208 h 366166"/>
                <a:gd name="connsiteX11" fmla="*/ 3745 w 339841"/>
                <a:gd name="connsiteY11" fmla="*/ 12227 h 366166"/>
                <a:gd name="connsiteX12" fmla="*/ 1905 w 339841"/>
                <a:gd name="connsiteY12" fmla="*/ 5518 h 366166"/>
                <a:gd name="connsiteX13" fmla="*/ 66 w 339841"/>
                <a:gd name="connsiteY13" fmla="*/ 0 h 366166"/>
                <a:gd name="connsiteX14" fmla="*/ 931 w 339841"/>
                <a:gd name="connsiteY14" fmla="*/ 5735 h 366166"/>
                <a:gd name="connsiteX15" fmla="*/ 2338 w 339841"/>
                <a:gd name="connsiteY15" fmla="*/ 12660 h 366166"/>
                <a:gd name="connsiteX16" fmla="*/ 5152 w 339841"/>
                <a:gd name="connsiteY16" fmla="*/ 21857 h 366166"/>
                <a:gd name="connsiteX17" fmla="*/ 33934 w 339841"/>
                <a:gd name="connsiteY17" fmla="*/ 75635 h 366166"/>
                <a:gd name="connsiteX18" fmla="*/ 104699 w 339841"/>
                <a:gd name="connsiteY18" fmla="*/ 131793 h 366166"/>
                <a:gd name="connsiteX19" fmla="*/ 156421 w 339841"/>
                <a:gd name="connsiteY19" fmla="*/ 146400 h 366166"/>
                <a:gd name="connsiteX20" fmla="*/ 213336 w 339841"/>
                <a:gd name="connsiteY20" fmla="*/ 152784 h 366166"/>
                <a:gd name="connsiteX21" fmla="*/ 267330 w 339841"/>
                <a:gd name="connsiteY21" fmla="*/ 168257 h 366166"/>
                <a:gd name="connsiteX22" fmla="*/ 306824 w 339841"/>
                <a:gd name="connsiteY22" fmla="*/ 202017 h 366166"/>
                <a:gd name="connsiteX23" fmla="*/ 336364 w 339841"/>
                <a:gd name="connsiteY23" fmla="*/ 284685 h 366166"/>
                <a:gd name="connsiteX24" fmla="*/ 329872 w 339841"/>
                <a:gd name="connsiteY24" fmla="*/ 344630 h 366166"/>
                <a:gd name="connsiteX25" fmla="*/ 325219 w 339841"/>
                <a:gd name="connsiteY25" fmla="*/ 360428 h 366166"/>
                <a:gd name="connsiteX26" fmla="*/ 323704 w 339841"/>
                <a:gd name="connsiteY26" fmla="*/ 366162 h 366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9841" h="366166">
                  <a:moveTo>
                    <a:pt x="323704" y="366162"/>
                  </a:moveTo>
                  <a:cubicBezTo>
                    <a:pt x="323812" y="366271"/>
                    <a:pt x="324678" y="364431"/>
                    <a:pt x="326193" y="360969"/>
                  </a:cubicBezTo>
                  <a:cubicBezTo>
                    <a:pt x="327599" y="357506"/>
                    <a:pt x="329547" y="352204"/>
                    <a:pt x="331711" y="345279"/>
                  </a:cubicBezTo>
                  <a:cubicBezTo>
                    <a:pt x="335715" y="331537"/>
                    <a:pt x="340692" y="310762"/>
                    <a:pt x="339718" y="284685"/>
                  </a:cubicBezTo>
                  <a:cubicBezTo>
                    <a:pt x="338961" y="258932"/>
                    <a:pt x="331278" y="227228"/>
                    <a:pt x="310287" y="199528"/>
                  </a:cubicBezTo>
                  <a:cubicBezTo>
                    <a:pt x="299791" y="185786"/>
                    <a:pt x="286157" y="173235"/>
                    <a:pt x="269494" y="164362"/>
                  </a:cubicBezTo>
                  <a:cubicBezTo>
                    <a:pt x="252830" y="155381"/>
                    <a:pt x="233570" y="150836"/>
                    <a:pt x="213985" y="148239"/>
                  </a:cubicBezTo>
                  <a:cubicBezTo>
                    <a:pt x="194400" y="145534"/>
                    <a:pt x="175248" y="144561"/>
                    <a:pt x="157070" y="141964"/>
                  </a:cubicBezTo>
                  <a:cubicBezTo>
                    <a:pt x="138892" y="139583"/>
                    <a:pt x="121795" y="134714"/>
                    <a:pt x="106430" y="127897"/>
                  </a:cubicBezTo>
                  <a:cubicBezTo>
                    <a:pt x="75700" y="114155"/>
                    <a:pt x="52220" y="93597"/>
                    <a:pt x="36531" y="73579"/>
                  </a:cubicBezTo>
                  <a:cubicBezTo>
                    <a:pt x="20408" y="53777"/>
                    <a:pt x="11860" y="34517"/>
                    <a:pt x="6883" y="21208"/>
                  </a:cubicBezTo>
                  <a:cubicBezTo>
                    <a:pt x="5692" y="17854"/>
                    <a:pt x="4719" y="14932"/>
                    <a:pt x="3745" y="12227"/>
                  </a:cubicBezTo>
                  <a:cubicBezTo>
                    <a:pt x="2987" y="9738"/>
                    <a:pt x="2446" y="7466"/>
                    <a:pt x="1905" y="5518"/>
                  </a:cubicBezTo>
                  <a:cubicBezTo>
                    <a:pt x="823" y="1839"/>
                    <a:pt x="282" y="0"/>
                    <a:pt x="66" y="0"/>
                  </a:cubicBezTo>
                  <a:cubicBezTo>
                    <a:pt x="-151" y="0"/>
                    <a:pt x="174" y="1948"/>
                    <a:pt x="931" y="5735"/>
                  </a:cubicBezTo>
                  <a:cubicBezTo>
                    <a:pt x="1364" y="7791"/>
                    <a:pt x="1797" y="10063"/>
                    <a:pt x="2338" y="12660"/>
                  </a:cubicBezTo>
                  <a:cubicBezTo>
                    <a:pt x="3204" y="15365"/>
                    <a:pt x="4069" y="18503"/>
                    <a:pt x="5152" y="21857"/>
                  </a:cubicBezTo>
                  <a:cubicBezTo>
                    <a:pt x="9696" y="35491"/>
                    <a:pt x="17811" y="55184"/>
                    <a:pt x="33934" y="75635"/>
                  </a:cubicBezTo>
                  <a:cubicBezTo>
                    <a:pt x="49515" y="96193"/>
                    <a:pt x="73320" y="117510"/>
                    <a:pt x="104699" y="131793"/>
                  </a:cubicBezTo>
                  <a:cubicBezTo>
                    <a:pt x="120389" y="138934"/>
                    <a:pt x="138026" y="143911"/>
                    <a:pt x="156421" y="146400"/>
                  </a:cubicBezTo>
                  <a:cubicBezTo>
                    <a:pt x="174815" y="149105"/>
                    <a:pt x="194076" y="150187"/>
                    <a:pt x="213336" y="152784"/>
                  </a:cubicBezTo>
                  <a:cubicBezTo>
                    <a:pt x="232596" y="155381"/>
                    <a:pt x="251316" y="159709"/>
                    <a:pt x="267330" y="168257"/>
                  </a:cubicBezTo>
                  <a:cubicBezTo>
                    <a:pt x="283344" y="176697"/>
                    <a:pt x="296653" y="188816"/>
                    <a:pt x="306824" y="202017"/>
                  </a:cubicBezTo>
                  <a:cubicBezTo>
                    <a:pt x="327383" y="228743"/>
                    <a:pt x="335282" y="259365"/>
                    <a:pt x="336364" y="284685"/>
                  </a:cubicBezTo>
                  <a:cubicBezTo>
                    <a:pt x="337662" y="310221"/>
                    <a:pt x="333334" y="330780"/>
                    <a:pt x="329872" y="344630"/>
                  </a:cubicBezTo>
                  <a:cubicBezTo>
                    <a:pt x="328032" y="351555"/>
                    <a:pt x="326409" y="356857"/>
                    <a:pt x="325219" y="360428"/>
                  </a:cubicBezTo>
                  <a:cubicBezTo>
                    <a:pt x="324029" y="364215"/>
                    <a:pt x="323488" y="366162"/>
                    <a:pt x="323704" y="366162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3B6D3311-5216-4F83-842D-A66AF8097BF6}"/>
                </a:ext>
              </a:extLst>
            </p:cNvPr>
            <p:cNvSpPr/>
            <p:nvPr/>
          </p:nvSpPr>
          <p:spPr>
            <a:xfrm flipH="1">
              <a:off x="858858" y="2725989"/>
              <a:ext cx="394996" cy="295159"/>
            </a:xfrm>
            <a:custGeom>
              <a:avLst/>
              <a:gdLst>
                <a:gd name="connsiteX0" fmla="*/ 358155 w 358371"/>
                <a:gd name="connsiteY0" fmla="*/ 267791 h 267791"/>
                <a:gd name="connsiteX1" fmla="*/ 358372 w 358371"/>
                <a:gd name="connsiteY1" fmla="*/ 262814 h 267791"/>
                <a:gd name="connsiteX2" fmla="*/ 357073 w 358371"/>
                <a:gd name="connsiteY2" fmla="*/ 248531 h 267791"/>
                <a:gd name="connsiteX3" fmla="*/ 339977 w 358371"/>
                <a:gd name="connsiteY3" fmla="*/ 198973 h 267791"/>
                <a:gd name="connsiteX4" fmla="*/ 285442 w 358371"/>
                <a:gd name="connsiteY4" fmla="*/ 143681 h 267791"/>
                <a:gd name="connsiteX5" fmla="*/ 242377 w 358371"/>
                <a:gd name="connsiteY5" fmla="*/ 126801 h 267791"/>
                <a:gd name="connsiteX6" fmla="*/ 193577 w 358371"/>
                <a:gd name="connsiteY6" fmla="*/ 120201 h 267791"/>
                <a:gd name="connsiteX7" fmla="*/ 153974 w 358371"/>
                <a:gd name="connsiteY7" fmla="*/ 97045 h 267791"/>
                <a:gd name="connsiteX8" fmla="*/ 143262 w 358371"/>
                <a:gd name="connsiteY8" fmla="*/ 76703 h 267791"/>
                <a:gd name="connsiteX9" fmla="*/ 131901 w 358371"/>
                <a:gd name="connsiteY9" fmla="*/ 57010 h 267791"/>
                <a:gd name="connsiteX10" fmla="*/ 70766 w 358371"/>
                <a:gd name="connsiteY10" fmla="*/ 9184 h 267791"/>
                <a:gd name="connsiteX11" fmla="*/ 19044 w 358371"/>
                <a:gd name="connsiteY11" fmla="*/ 94 h 267791"/>
                <a:gd name="connsiteX12" fmla="*/ 4869 w 358371"/>
                <a:gd name="connsiteY12" fmla="*/ 1609 h 267791"/>
                <a:gd name="connsiteX13" fmla="*/ 0 w 358371"/>
                <a:gd name="connsiteY13" fmla="*/ 2691 h 267791"/>
                <a:gd name="connsiteX14" fmla="*/ 19044 w 358371"/>
                <a:gd name="connsiteY14" fmla="*/ 1826 h 267791"/>
                <a:gd name="connsiteX15" fmla="*/ 69467 w 358371"/>
                <a:gd name="connsiteY15" fmla="*/ 12105 h 267791"/>
                <a:gd name="connsiteX16" fmla="*/ 128222 w 358371"/>
                <a:gd name="connsiteY16" fmla="*/ 59282 h 267791"/>
                <a:gd name="connsiteX17" fmla="*/ 139042 w 358371"/>
                <a:gd name="connsiteY17" fmla="*/ 78434 h 267791"/>
                <a:gd name="connsiteX18" fmla="*/ 150079 w 358371"/>
                <a:gd name="connsiteY18" fmla="*/ 99426 h 267791"/>
                <a:gd name="connsiteX19" fmla="*/ 168365 w 358371"/>
                <a:gd name="connsiteY19" fmla="*/ 116630 h 267791"/>
                <a:gd name="connsiteX20" fmla="*/ 192711 w 358371"/>
                <a:gd name="connsiteY20" fmla="*/ 124745 h 267791"/>
                <a:gd name="connsiteX21" fmla="*/ 241295 w 358371"/>
                <a:gd name="connsiteY21" fmla="*/ 131238 h 267791"/>
                <a:gd name="connsiteX22" fmla="*/ 283278 w 358371"/>
                <a:gd name="connsiteY22" fmla="*/ 147360 h 267791"/>
                <a:gd name="connsiteX23" fmla="*/ 337164 w 358371"/>
                <a:gd name="connsiteY23" fmla="*/ 200488 h 267791"/>
                <a:gd name="connsiteX24" fmla="*/ 355342 w 358371"/>
                <a:gd name="connsiteY24" fmla="*/ 248747 h 267791"/>
                <a:gd name="connsiteX25" fmla="*/ 358155 w 358371"/>
                <a:gd name="connsiteY25" fmla="*/ 267791 h 267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58371" h="267791">
                  <a:moveTo>
                    <a:pt x="358155" y="267791"/>
                  </a:moveTo>
                  <a:cubicBezTo>
                    <a:pt x="358372" y="267791"/>
                    <a:pt x="358372" y="266060"/>
                    <a:pt x="358372" y="262814"/>
                  </a:cubicBezTo>
                  <a:cubicBezTo>
                    <a:pt x="358263" y="259568"/>
                    <a:pt x="357939" y="254698"/>
                    <a:pt x="357073" y="248531"/>
                  </a:cubicBezTo>
                  <a:cubicBezTo>
                    <a:pt x="355126" y="236304"/>
                    <a:pt x="350906" y="218450"/>
                    <a:pt x="339977" y="198973"/>
                  </a:cubicBezTo>
                  <a:cubicBezTo>
                    <a:pt x="329265" y="179497"/>
                    <a:pt x="311195" y="158505"/>
                    <a:pt x="285442" y="143681"/>
                  </a:cubicBezTo>
                  <a:cubicBezTo>
                    <a:pt x="272674" y="136215"/>
                    <a:pt x="258067" y="130264"/>
                    <a:pt x="242377" y="126801"/>
                  </a:cubicBezTo>
                  <a:cubicBezTo>
                    <a:pt x="226579" y="123231"/>
                    <a:pt x="209916" y="123122"/>
                    <a:pt x="193577" y="120201"/>
                  </a:cubicBezTo>
                  <a:cubicBezTo>
                    <a:pt x="177346" y="117604"/>
                    <a:pt x="162090" y="110354"/>
                    <a:pt x="153974" y="97045"/>
                  </a:cubicBezTo>
                  <a:cubicBezTo>
                    <a:pt x="149754" y="90661"/>
                    <a:pt x="146508" y="83628"/>
                    <a:pt x="143262" y="76703"/>
                  </a:cubicBezTo>
                  <a:cubicBezTo>
                    <a:pt x="140016" y="69778"/>
                    <a:pt x="136229" y="63069"/>
                    <a:pt x="131901" y="57010"/>
                  </a:cubicBezTo>
                  <a:cubicBezTo>
                    <a:pt x="114804" y="32447"/>
                    <a:pt x="91432" y="17407"/>
                    <a:pt x="70766" y="9184"/>
                  </a:cubicBezTo>
                  <a:cubicBezTo>
                    <a:pt x="49774" y="1176"/>
                    <a:pt x="31487" y="-447"/>
                    <a:pt x="19044" y="94"/>
                  </a:cubicBezTo>
                  <a:cubicBezTo>
                    <a:pt x="12876" y="419"/>
                    <a:pt x="8007" y="960"/>
                    <a:pt x="4869" y="1609"/>
                  </a:cubicBezTo>
                  <a:cubicBezTo>
                    <a:pt x="1623" y="2150"/>
                    <a:pt x="0" y="2583"/>
                    <a:pt x="0" y="2691"/>
                  </a:cubicBezTo>
                  <a:cubicBezTo>
                    <a:pt x="108" y="3232"/>
                    <a:pt x="6817" y="1826"/>
                    <a:pt x="19044" y="1826"/>
                  </a:cubicBezTo>
                  <a:cubicBezTo>
                    <a:pt x="31271" y="1826"/>
                    <a:pt x="49125" y="3990"/>
                    <a:pt x="69467" y="12105"/>
                  </a:cubicBezTo>
                  <a:cubicBezTo>
                    <a:pt x="89485" y="20545"/>
                    <a:pt x="111991" y="35477"/>
                    <a:pt x="128222" y="59282"/>
                  </a:cubicBezTo>
                  <a:cubicBezTo>
                    <a:pt x="132334" y="65125"/>
                    <a:pt x="135796" y="71617"/>
                    <a:pt x="139042" y="78434"/>
                  </a:cubicBezTo>
                  <a:cubicBezTo>
                    <a:pt x="142288" y="85251"/>
                    <a:pt x="145534" y="92609"/>
                    <a:pt x="150079" y="99426"/>
                  </a:cubicBezTo>
                  <a:cubicBezTo>
                    <a:pt x="154515" y="106351"/>
                    <a:pt x="160791" y="112518"/>
                    <a:pt x="168365" y="116630"/>
                  </a:cubicBezTo>
                  <a:cubicBezTo>
                    <a:pt x="175832" y="120850"/>
                    <a:pt x="184271" y="123122"/>
                    <a:pt x="192711" y="124745"/>
                  </a:cubicBezTo>
                  <a:cubicBezTo>
                    <a:pt x="209591" y="127667"/>
                    <a:pt x="226146" y="127775"/>
                    <a:pt x="241295" y="131238"/>
                  </a:cubicBezTo>
                  <a:cubicBezTo>
                    <a:pt x="256552" y="134592"/>
                    <a:pt x="270726" y="140219"/>
                    <a:pt x="283278" y="147360"/>
                  </a:cubicBezTo>
                  <a:cubicBezTo>
                    <a:pt x="308490" y="161535"/>
                    <a:pt x="326235" y="181661"/>
                    <a:pt x="337164" y="200488"/>
                  </a:cubicBezTo>
                  <a:cubicBezTo>
                    <a:pt x="348200" y="219424"/>
                    <a:pt x="352961" y="236737"/>
                    <a:pt x="355342" y="248747"/>
                  </a:cubicBezTo>
                  <a:cubicBezTo>
                    <a:pt x="357506" y="260974"/>
                    <a:pt x="357722" y="267791"/>
                    <a:pt x="358155" y="267791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09380FE9-FE2E-4338-8E5A-F8A4F78E23EA}"/>
                </a:ext>
              </a:extLst>
            </p:cNvPr>
            <p:cNvSpPr/>
            <p:nvPr/>
          </p:nvSpPr>
          <p:spPr>
            <a:xfrm flipH="1">
              <a:off x="811441" y="3006241"/>
              <a:ext cx="167401" cy="362318"/>
            </a:xfrm>
            <a:custGeom>
              <a:avLst/>
              <a:gdLst>
                <a:gd name="connsiteX0" fmla="*/ 5 w 151879"/>
                <a:gd name="connsiteY0" fmla="*/ 323530 h 328723"/>
                <a:gd name="connsiteX1" fmla="*/ 4875 w 151879"/>
                <a:gd name="connsiteY1" fmla="*/ 328507 h 328723"/>
                <a:gd name="connsiteX2" fmla="*/ 5091 w 151879"/>
                <a:gd name="connsiteY2" fmla="*/ 328724 h 328723"/>
                <a:gd name="connsiteX3" fmla="*/ 5416 w 151879"/>
                <a:gd name="connsiteY3" fmla="*/ 328616 h 328723"/>
                <a:gd name="connsiteX4" fmla="*/ 63846 w 151879"/>
                <a:gd name="connsiteY4" fmla="*/ 289229 h 328723"/>
                <a:gd name="connsiteX5" fmla="*/ 99770 w 151879"/>
                <a:gd name="connsiteY5" fmla="*/ 243892 h 328723"/>
                <a:gd name="connsiteX6" fmla="*/ 109941 w 151879"/>
                <a:gd name="connsiteY6" fmla="*/ 232098 h 328723"/>
                <a:gd name="connsiteX7" fmla="*/ 122709 w 151879"/>
                <a:gd name="connsiteY7" fmla="*/ 221926 h 328723"/>
                <a:gd name="connsiteX8" fmla="*/ 145324 w 151879"/>
                <a:gd name="connsiteY8" fmla="*/ 194767 h 328723"/>
                <a:gd name="connsiteX9" fmla="*/ 151491 w 151879"/>
                <a:gd name="connsiteY9" fmla="*/ 153650 h 328723"/>
                <a:gd name="connsiteX10" fmla="*/ 140563 w 151879"/>
                <a:gd name="connsiteY10" fmla="*/ 116644 h 328723"/>
                <a:gd name="connsiteX11" fmla="*/ 124115 w 151879"/>
                <a:gd name="connsiteY11" fmla="*/ 86671 h 328723"/>
                <a:gd name="connsiteX12" fmla="*/ 120761 w 151879"/>
                <a:gd name="connsiteY12" fmla="*/ 58322 h 328723"/>
                <a:gd name="connsiteX13" fmla="*/ 126063 w 151879"/>
                <a:gd name="connsiteY13" fmla="*/ 34409 h 328723"/>
                <a:gd name="connsiteX14" fmla="*/ 128985 w 151879"/>
                <a:gd name="connsiteY14" fmla="*/ 15798 h 328723"/>
                <a:gd name="connsiteX15" fmla="*/ 127794 w 151879"/>
                <a:gd name="connsiteY15" fmla="*/ 3895 h 328723"/>
                <a:gd name="connsiteX16" fmla="*/ 126280 w 151879"/>
                <a:gd name="connsiteY16" fmla="*/ 0 h 328723"/>
                <a:gd name="connsiteX17" fmla="*/ 127037 w 151879"/>
                <a:gd name="connsiteY17" fmla="*/ 15690 h 328723"/>
                <a:gd name="connsiteX18" fmla="*/ 123466 w 151879"/>
                <a:gd name="connsiteY18" fmla="*/ 33760 h 328723"/>
                <a:gd name="connsiteX19" fmla="*/ 117407 w 151879"/>
                <a:gd name="connsiteY19" fmla="*/ 57889 h 328723"/>
                <a:gd name="connsiteX20" fmla="*/ 120437 w 151879"/>
                <a:gd name="connsiteY20" fmla="*/ 88186 h 328723"/>
                <a:gd name="connsiteX21" fmla="*/ 136667 w 151879"/>
                <a:gd name="connsiteY21" fmla="*/ 118700 h 328723"/>
                <a:gd name="connsiteX22" fmla="*/ 146838 w 151879"/>
                <a:gd name="connsiteY22" fmla="*/ 154191 h 328723"/>
                <a:gd name="connsiteX23" fmla="*/ 140995 w 151879"/>
                <a:gd name="connsiteY23" fmla="*/ 192928 h 328723"/>
                <a:gd name="connsiteX24" fmla="*/ 119895 w 151879"/>
                <a:gd name="connsiteY24" fmla="*/ 218356 h 328723"/>
                <a:gd name="connsiteX25" fmla="*/ 106803 w 151879"/>
                <a:gd name="connsiteY25" fmla="*/ 228960 h 328723"/>
                <a:gd name="connsiteX26" fmla="*/ 96091 w 151879"/>
                <a:gd name="connsiteY26" fmla="*/ 241511 h 328723"/>
                <a:gd name="connsiteX27" fmla="*/ 61141 w 151879"/>
                <a:gd name="connsiteY27" fmla="*/ 286849 h 328723"/>
                <a:gd name="connsiteX28" fmla="*/ 4875 w 151879"/>
                <a:gd name="connsiteY28" fmla="*/ 327750 h 328723"/>
                <a:gd name="connsiteX29" fmla="*/ 5524 w 151879"/>
                <a:gd name="connsiteY29" fmla="*/ 327858 h 328723"/>
                <a:gd name="connsiteX30" fmla="*/ 5 w 151879"/>
                <a:gd name="connsiteY30" fmla="*/ 323530 h 32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1879" h="328723">
                  <a:moveTo>
                    <a:pt x="5" y="323530"/>
                  </a:moveTo>
                  <a:cubicBezTo>
                    <a:pt x="-103" y="323638"/>
                    <a:pt x="1412" y="325261"/>
                    <a:pt x="4875" y="328507"/>
                  </a:cubicBezTo>
                  <a:lnTo>
                    <a:pt x="5091" y="328724"/>
                  </a:lnTo>
                  <a:lnTo>
                    <a:pt x="5416" y="328616"/>
                  </a:lnTo>
                  <a:cubicBezTo>
                    <a:pt x="15479" y="324828"/>
                    <a:pt x="39284" y="313900"/>
                    <a:pt x="63846" y="289229"/>
                  </a:cubicBezTo>
                  <a:cubicBezTo>
                    <a:pt x="76289" y="277219"/>
                    <a:pt x="88192" y="261205"/>
                    <a:pt x="99770" y="243892"/>
                  </a:cubicBezTo>
                  <a:cubicBezTo>
                    <a:pt x="102799" y="239672"/>
                    <a:pt x="106154" y="235668"/>
                    <a:pt x="109941" y="232098"/>
                  </a:cubicBezTo>
                  <a:cubicBezTo>
                    <a:pt x="113836" y="228527"/>
                    <a:pt x="118272" y="225281"/>
                    <a:pt x="122709" y="221926"/>
                  </a:cubicBezTo>
                  <a:cubicBezTo>
                    <a:pt x="132014" y="215326"/>
                    <a:pt x="140454" y="206020"/>
                    <a:pt x="145324" y="194767"/>
                  </a:cubicBezTo>
                  <a:cubicBezTo>
                    <a:pt x="151275" y="181458"/>
                    <a:pt x="152681" y="167067"/>
                    <a:pt x="151491" y="153650"/>
                  </a:cubicBezTo>
                  <a:cubicBezTo>
                    <a:pt x="150192" y="140232"/>
                    <a:pt x="146189" y="127573"/>
                    <a:pt x="140563" y="116644"/>
                  </a:cubicBezTo>
                  <a:cubicBezTo>
                    <a:pt x="134828" y="105824"/>
                    <a:pt x="128119" y="96410"/>
                    <a:pt x="124115" y="86671"/>
                  </a:cubicBezTo>
                  <a:cubicBezTo>
                    <a:pt x="119895" y="77041"/>
                    <a:pt x="119354" y="67195"/>
                    <a:pt x="120761" y="58322"/>
                  </a:cubicBezTo>
                  <a:cubicBezTo>
                    <a:pt x="122060" y="49449"/>
                    <a:pt x="124440" y="41442"/>
                    <a:pt x="126063" y="34409"/>
                  </a:cubicBezTo>
                  <a:cubicBezTo>
                    <a:pt x="127794" y="27267"/>
                    <a:pt x="128876" y="20992"/>
                    <a:pt x="128985" y="15798"/>
                  </a:cubicBezTo>
                  <a:cubicBezTo>
                    <a:pt x="129201" y="10604"/>
                    <a:pt x="128444" y="6600"/>
                    <a:pt x="127794" y="3895"/>
                  </a:cubicBezTo>
                  <a:cubicBezTo>
                    <a:pt x="126929" y="1298"/>
                    <a:pt x="126496" y="0"/>
                    <a:pt x="126280" y="0"/>
                  </a:cubicBezTo>
                  <a:cubicBezTo>
                    <a:pt x="125738" y="108"/>
                    <a:pt x="128011" y="5518"/>
                    <a:pt x="127037" y="15690"/>
                  </a:cubicBezTo>
                  <a:cubicBezTo>
                    <a:pt x="126604" y="20667"/>
                    <a:pt x="125306" y="26835"/>
                    <a:pt x="123466" y="33760"/>
                  </a:cubicBezTo>
                  <a:cubicBezTo>
                    <a:pt x="121627" y="40793"/>
                    <a:pt x="118922" y="48692"/>
                    <a:pt x="117407" y="57889"/>
                  </a:cubicBezTo>
                  <a:cubicBezTo>
                    <a:pt x="115676" y="66978"/>
                    <a:pt x="116108" y="78015"/>
                    <a:pt x="120437" y="88186"/>
                  </a:cubicBezTo>
                  <a:cubicBezTo>
                    <a:pt x="124548" y="98466"/>
                    <a:pt x="131257" y="108096"/>
                    <a:pt x="136667" y="118700"/>
                  </a:cubicBezTo>
                  <a:cubicBezTo>
                    <a:pt x="141969" y="129304"/>
                    <a:pt x="145756" y="141314"/>
                    <a:pt x="146838" y="154191"/>
                  </a:cubicBezTo>
                  <a:cubicBezTo>
                    <a:pt x="147920" y="166959"/>
                    <a:pt x="146514" y="180593"/>
                    <a:pt x="140995" y="192928"/>
                  </a:cubicBezTo>
                  <a:cubicBezTo>
                    <a:pt x="136343" y="203424"/>
                    <a:pt x="128876" y="211864"/>
                    <a:pt x="119895" y="218356"/>
                  </a:cubicBezTo>
                  <a:cubicBezTo>
                    <a:pt x="115459" y="221710"/>
                    <a:pt x="110915" y="225064"/>
                    <a:pt x="106803" y="228960"/>
                  </a:cubicBezTo>
                  <a:cubicBezTo>
                    <a:pt x="102691" y="232855"/>
                    <a:pt x="99229" y="237183"/>
                    <a:pt x="96091" y="241511"/>
                  </a:cubicBezTo>
                  <a:cubicBezTo>
                    <a:pt x="84404" y="259257"/>
                    <a:pt x="73151" y="274730"/>
                    <a:pt x="61141" y="286849"/>
                  </a:cubicBezTo>
                  <a:cubicBezTo>
                    <a:pt x="37444" y="311519"/>
                    <a:pt x="14505" y="322989"/>
                    <a:pt x="4875" y="327750"/>
                  </a:cubicBezTo>
                  <a:lnTo>
                    <a:pt x="5524" y="327858"/>
                  </a:lnTo>
                  <a:cubicBezTo>
                    <a:pt x="1845" y="324720"/>
                    <a:pt x="114" y="323422"/>
                    <a:pt x="5" y="323530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8F3C3F5-051B-4EB7-A647-8C58658E9325}"/>
                </a:ext>
              </a:extLst>
            </p:cNvPr>
            <p:cNvSpPr/>
            <p:nvPr/>
          </p:nvSpPr>
          <p:spPr>
            <a:xfrm flipH="1">
              <a:off x="1810187" y="2681966"/>
              <a:ext cx="1453477" cy="1670983"/>
            </a:xfrm>
            <a:custGeom>
              <a:avLst/>
              <a:gdLst>
                <a:gd name="connsiteX0" fmla="*/ 334027 w 1318707"/>
                <a:gd name="connsiteY0" fmla="*/ 500768 h 1516046"/>
                <a:gd name="connsiteX1" fmla="*/ 224092 w 1318707"/>
                <a:gd name="connsiteY1" fmla="*/ 421996 h 1516046"/>
                <a:gd name="connsiteX2" fmla="*/ 5195 w 1318707"/>
                <a:gd name="connsiteY2" fmla="*/ 555087 h 1516046"/>
                <a:gd name="connsiteX3" fmla="*/ 138286 w 1318707"/>
                <a:gd name="connsiteY3" fmla="*/ 773983 h 1516046"/>
                <a:gd name="connsiteX4" fmla="*/ 274082 w 1318707"/>
                <a:gd name="connsiteY4" fmla="*/ 752667 h 1516046"/>
                <a:gd name="connsiteX5" fmla="*/ 276354 w 1318707"/>
                <a:gd name="connsiteY5" fmla="*/ 751152 h 1516046"/>
                <a:gd name="connsiteX6" fmla="*/ 153326 w 1318707"/>
                <a:gd name="connsiteY6" fmla="*/ 1255491 h 1516046"/>
                <a:gd name="connsiteX7" fmla="*/ 549678 w 1318707"/>
                <a:gd name="connsiteY7" fmla="*/ 1352118 h 1516046"/>
                <a:gd name="connsiteX8" fmla="*/ 548162 w 1318707"/>
                <a:gd name="connsiteY8" fmla="*/ 1349845 h 1516046"/>
                <a:gd name="connsiteX9" fmla="*/ 526846 w 1318707"/>
                <a:gd name="connsiteY9" fmla="*/ 1214049 h 1516046"/>
                <a:gd name="connsiteX10" fmla="*/ 745743 w 1318707"/>
                <a:gd name="connsiteY10" fmla="*/ 1080958 h 1516046"/>
                <a:gd name="connsiteX11" fmla="*/ 878834 w 1318707"/>
                <a:gd name="connsiteY11" fmla="*/ 1299855 h 1516046"/>
                <a:gd name="connsiteX12" fmla="*/ 800061 w 1318707"/>
                <a:gd name="connsiteY12" fmla="*/ 1409790 h 1516046"/>
                <a:gd name="connsiteX13" fmla="*/ 796166 w 1318707"/>
                <a:gd name="connsiteY13" fmla="*/ 1412171 h 1516046"/>
                <a:gd name="connsiteX14" fmla="*/ 1222274 w 1318707"/>
                <a:gd name="connsiteY14" fmla="*/ 1516047 h 1516046"/>
                <a:gd name="connsiteX15" fmla="*/ 1254735 w 1318707"/>
                <a:gd name="connsiteY15" fmla="*/ 719990 h 1516046"/>
                <a:gd name="connsiteX16" fmla="*/ 508668 w 1318707"/>
                <a:gd name="connsiteY16" fmla="*/ 12011 h 1516046"/>
                <a:gd name="connsiteX17" fmla="*/ 459327 w 1318707"/>
                <a:gd name="connsiteY17" fmla="*/ 0 h 1516046"/>
                <a:gd name="connsiteX18" fmla="*/ 336299 w 1318707"/>
                <a:gd name="connsiteY18" fmla="*/ 504555 h 1516046"/>
                <a:gd name="connsiteX19" fmla="*/ 334027 w 1318707"/>
                <a:gd name="connsiteY19" fmla="*/ 500768 h 151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18707" h="1516046">
                  <a:moveTo>
                    <a:pt x="334027" y="500768"/>
                  </a:moveTo>
                  <a:cubicBezTo>
                    <a:pt x="309789" y="462680"/>
                    <a:pt x="271377" y="433574"/>
                    <a:pt x="224092" y="421996"/>
                  </a:cubicBezTo>
                  <a:cubicBezTo>
                    <a:pt x="126924" y="398299"/>
                    <a:pt x="28891" y="457919"/>
                    <a:pt x="5195" y="555087"/>
                  </a:cubicBezTo>
                  <a:cubicBezTo>
                    <a:pt x="-18502" y="652254"/>
                    <a:pt x="41119" y="750287"/>
                    <a:pt x="138286" y="773983"/>
                  </a:cubicBezTo>
                  <a:cubicBezTo>
                    <a:pt x="186653" y="785778"/>
                    <a:pt x="234587" y="776472"/>
                    <a:pt x="274082" y="752667"/>
                  </a:cubicBezTo>
                  <a:lnTo>
                    <a:pt x="276354" y="751152"/>
                  </a:lnTo>
                  <a:lnTo>
                    <a:pt x="153326" y="1255491"/>
                  </a:lnTo>
                  <a:lnTo>
                    <a:pt x="549678" y="1352118"/>
                  </a:lnTo>
                  <a:lnTo>
                    <a:pt x="548162" y="1349845"/>
                  </a:lnTo>
                  <a:cubicBezTo>
                    <a:pt x="524358" y="1310351"/>
                    <a:pt x="515052" y="1262416"/>
                    <a:pt x="526846" y="1214049"/>
                  </a:cubicBezTo>
                  <a:cubicBezTo>
                    <a:pt x="550543" y="1116882"/>
                    <a:pt x="648576" y="1057262"/>
                    <a:pt x="745743" y="1080958"/>
                  </a:cubicBezTo>
                  <a:cubicBezTo>
                    <a:pt x="842910" y="1104655"/>
                    <a:pt x="902531" y="1202688"/>
                    <a:pt x="878834" y="1299855"/>
                  </a:cubicBezTo>
                  <a:cubicBezTo>
                    <a:pt x="867256" y="1347140"/>
                    <a:pt x="838149" y="1385553"/>
                    <a:pt x="800061" y="1409790"/>
                  </a:cubicBezTo>
                  <a:lnTo>
                    <a:pt x="796166" y="1412171"/>
                  </a:lnTo>
                  <a:lnTo>
                    <a:pt x="1222274" y="1516047"/>
                  </a:lnTo>
                  <a:cubicBezTo>
                    <a:pt x="1314463" y="1310784"/>
                    <a:pt x="1367808" y="1034863"/>
                    <a:pt x="1254735" y="719990"/>
                  </a:cubicBezTo>
                  <a:cubicBezTo>
                    <a:pt x="1072303" y="211755"/>
                    <a:pt x="652363" y="52587"/>
                    <a:pt x="508668" y="12011"/>
                  </a:cubicBezTo>
                  <a:lnTo>
                    <a:pt x="459327" y="0"/>
                  </a:lnTo>
                  <a:lnTo>
                    <a:pt x="336299" y="504555"/>
                  </a:lnTo>
                  <a:lnTo>
                    <a:pt x="334027" y="500768"/>
                  </a:ln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0CE5A521-DF6A-4065-B729-541A2A6C2390}"/>
                </a:ext>
              </a:extLst>
            </p:cNvPr>
            <p:cNvSpPr/>
            <p:nvPr/>
          </p:nvSpPr>
          <p:spPr>
            <a:xfrm flipH="1">
              <a:off x="1807358" y="2679700"/>
              <a:ext cx="1457897" cy="1676827"/>
            </a:xfrm>
            <a:custGeom>
              <a:avLst/>
              <a:gdLst>
                <a:gd name="connsiteX0" fmla="*/ 335470 w 1322717"/>
                <a:gd name="connsiteY0" fmla="*/ 502824 h 1521348"/>
                <a:gd name="connsiteX1" fmla="*/ 337958 w 1322717"/>
                <a:gd name="connsiteY1" fmla="*/ 506611 h 1521348"/>
                <a:gd name="connsiteX2" fmla="*/ 337742 w 1322717"/>
                <a:gd name="connsiteY2" fmla="*/ 506611 h 1521348"/>
                <a:gd name="connsiteX3" fmla="*/ 459255 w 1322717"/>
                <a:gd name="connsiteY3" fmla="*/ 1623 h 1521348"/>
                <a:gd name="connsiteX4" fmla="*/ 459688 w 1322717"/>
                <a:gd name="connsiteY4" fmla="*/ 0 h 1521348"/>
                <a:gd name="connsiteX5" fmla="*/ 461311 w 1322717"/>
                <a:gd name="connsiteY5" fmla="*/ 433 h 1521348"/>
                <a:gd name="connsiteX6" fmla="*/ 501888 w 1322717"/>
                <a:gd name="connsiteY6" fmla="*/ 10279 h 1521348"/>
                <a:gd name="connsiteX7" fmla="*/ 543546 w 1322717"/>
                <a:gd name="connsiteY7" fmla="*/ 22398 h 1521348"/>
                <a:gd name="connsiteX8" fmla="*/ 628811 w 1322717"/>
                <a:gd name="connsiteY8" fmla="*/ 54102 h 1521348"/>
                <a:gd name="connsiteX9" fmla="*/ 804642 w 1322717"/>
                <a:gd name="connsiteY9" fmla="*/ 146292 h 1521348"/>
                <a:gd name="connsiteX10" fmla="*/ 977120 w 1322717"/>
                <a:gd name="connsiteY10" fmla="*/ 281655 h 1521348"/>
                <a:gd name="connsiteX11" fmla="*/ 1129904 w 1322717"/>
                <a:gd name="connsiteY11" fmla="*/ 464412 h 1521348"/>
                <a:gd name="connsiteX12" fmla="*/ 1162582 w 1322717"/>
                <a:gd name="connsiteY12" fmla="*/ 517540 h 1521348"/>
                <a:gd name="connsiteX13" fmla="*/ 1178920 w 1322717"/>
                <a:gd name="connsiteY13" fmla="*/ 544591 h 1521348"/>
                <a:gd name="connsiteX14" fmla="*/ 1193311 w 1322717"/>
                <a:gd name="connsiteY14" fmla="*/ 572940 h 1521348"/>
                <a:gd name="connsiteX15" fmla="*/ 1222094 w 1322717"/>
                <a:gd name="connsiteY15" fmla="*/ 630613 h 1521348"/>
                <a:gd name="connsiteX16" fmla="*/ 1246656 w 1322717"/>
                <a:gd name="connsiteY16" fmla="*/ 691207 h 1521348"/>
                <a:gd name="connsiteX17" fmla="*/ 1314824 w 1322717"/>
                <a:gd name="connsiteY17" fmla="*/ 952736 h 1521348"/>
                <a:gd name="connsiteX18" fmla="*/ 1310713 w 1322717"/>
                <a:gd name="connsiteY18" fmla="*/ 1236339 h 1521348"/>
                <a:gd name="connsiteX19" fmla="*/ 1297295 w 1322717"/>
                <a:gd name="connsiteY19" fmla="*/ 1308078 h 1521348"/>
                <a:gd name="connsiteX20" fmla="*/ 1278360 w 1322717"/>
                <a:gd name="connsiteY20" fmla="*/ 1379277 h 1521348"/>
                <a:gd name="connsiteX21" fmla="*/ 1226422 w 1322717"/>
                <a:gd name="connsiteY21" fmla="*/ 1519184 h 1521348"/>
                <a:gd name="connsiteX22" fmla="*/ 1225448 w 1322717"/>
                <a:gd name="connsiteY22" fmla="*/ 1521349 h 1521348"/>
                <a:gd name="connsiteX23" fmla="*/ 1223176 w 1322717"/>
                <a:gd name="connsiteY23" fmla="*/ 1520808 h 1521348"/>
                <a:gd name="connsiteX24" fmla="*/ 925831 w 1322717"/>
                <a:gd name="connsiteY24" fmla="*/ 1448311 h 1521348"/>
                <a:gd name="connsiteX25" fmla="*/ 797068 w 1322717"/>
                <a:gd name="connsiteY25" fmla="*/ 1416932 h 1521348"/>
                <a:gd name="connsiteX26" fmla="*/ 790359 w 1322717"/>
                <a:gd name="connsiteY26" fmla="*/ 1415309 h 1521348"/>
                <a:gd name="connsiteX27" fmla="*/ 796203 w 1322717"/>
                <a:gd name="connsiteY27" fmla="*/ 1411846 h 1521348"/>
                <a:gd name="connsiteX28" fmla="*/ 867834 w 1322717"/>
                <a:gd name="connsiteY28" fmla="*/ 1330044 h 1521348"/>
                <a:gd name="connsiteX29" fmla="*/ 881467 w 1322717"/>
                <a:gd name="connsiteY29" fmla="*/ 1277240 h 1521348"/>
                <a:gd name="connsiteX30" fmla="*/ 878762 w 1322717"/>
                <a:gd name="connsiteY30" fmla="*/ 1223138 h 1521348"/>
                <a:gd name="connsiteX31" fmla="*/ 871512 w 1322717"/>
                <a:gd name="connsiteY31" fmla="*/ 1197061 h 1521348"/>
                <a:gd name="connsiteX32" fmla="*/ 860043 w 1322717"/>
                <a:gd name="connsiteY32" fmla="*/ 1172607 h 1521348"/>
                <a:gd name="connsiteX33" fmla="*/ 827474 w 1322717"/>
                <a:gd name="connsiteY33" fmla="*/ 1130191 h 1521348"/>
                <a:gd name="connsiteX34" fmla="*/ 733877 w 1322717"/>
                <a:gd name="connsiteY34" fmla="*/ 1083231 h 1521348"/>
                <a:gd name="connsiteX35" fmla="*/ 631516 w 1322717"/>
                <a:gd name="connsiteY35" fmla="*/ 1096215 h 1521348"/>
                <a:gd name="connsiteX36" fmla="*/ 554367 w 1322717"/>
                <a:gd name="connsiteY36" fmla="*/ 1162436 h 1521348"/>
                <a:gd name="connsiteX37" fmla="*/ 533375 w 1322717"/>
                <a:gd name="connsiteY37" fmla="*/ 1208531 h 1521348"/>
                <a:gd name="connsiteX38" fmla="*/ 526017 w 1322717"/>
                <a:gd name="connsiteY38" fmla="*/ 1258305 h 1521348"/>
                <a:gd name="connsiteX39" fmla="*/ 553393 w 1322717"/>
                <a:gd name="connsiteY39" fmla="*/ 1352550 h 1521348"/>
                <a:gd name="connsiteX40" fmla="*/ 556964 w 1322717"/>
                <a:gd name="connsiteY40" fmla="*/ 1358177 h 1521348"/>
                <a:gd name="connsiteX41" fmla="*/ 550580 w 1322717"/>
                <a:gd name="connsiteY41" fmla="*/ 1356662 h 1521348"/>
                <a:gd name="connsiteX42" fmla="*/ 154228 w 1322717"/>
                <a:gd name="connsiteY42" fmla="*/ 1259819 h 1521348"/>
                <a:gd name="connsiteX43" fmla="*/ 151848 w 1322717"/>
                <a:gd name="connsiteY43" fmla="*/ 1259278 h 1521348"/>
                <a:gd name="connsiteX44" fmla="*/ 152389 w 1322717"/>
                <a:gd name="connsiteY44" fmla="*/ 1256898 h 1521348"/>
                <a:gd name="connsiteX45" fmla="*/ 275741 w 1322717"/>
                <a:gd name="connsiteY45" fmla="*/ 752667 h 1521348"/>
                <a:gd name="connsiteX46" fmla="*/ 278879 w 1322717"/>
                <a:gd name="connsiteY46" fmla="*/ 754831 h 1521348"/>
                <a:gd name="connsiteX47" fmla="*/ 186906 w 1322717"/>
                <a:gd name="connsiteY47" fmla="*/ 782964 h 1521348"/>
                <a:gd name="connsiteX48" fmla="*/ 98070 w 1322717"/>
                <a:gd name="connsiteY48" fmla="*/ 762081 h 1521348"/>
                <a:gd name="connsiteX49" fmla="*/ 2418 w 1322717"/>
                <a:gd name="connsiteY49" fmla="*/ 630180 h 1521348"/>
                <a:gd name="connsiteX50" fmla="*/ 36069 w 1322717"/>
                <a:gd name="connsiteY50" fmla="*/ 491246 h 1521348"/>
                <a:gd name="connsiteX51" fmla="*/ 136374 w 1322717"/>
                <a:gd name="connsiteY51" fmla="*/ 423727 h 1521348"/>
                <a:gd name="connsiteX52" fmla="*/ 188204 w 1322717"/>
                <a:gd name="connsiteY52" fmla="*/ 417992 h 1521348"/>
                <a:gd name="connsiteX53" fmla="*/ 233433 w 1322717"/>
                <a:gd name="connsiteY53" fmla="*/ 425242 h 1521348"/>
                <a:gd name="connsiteX54" fmla="*/ 296625 w 1322717"/>
                <a:gd name="connsiteY54" fmla="*/ 458460 h 1521348"/>
                <a:gd name="connsiteX55" fmla="*/ 327030 w 1322717"/>
                <a:gd name="connsiteY55" fmla="*/ 490272 h 1521348"/>
                <a:gd name="connsiteX56" fmla="*/ 335470 w 1322717"/>
                <a:gd name="connsiteY56" fmla="*/ 502824 h 1521348"/>
                <a:gd name="connsiteX57" fmla="*/ 333197 w 1322717"/>
                <a:gd name="connsiteY57" fmla="*/ 499794 h 1521348"/>
                <a:gd name="connsiteX58" fmla="*/ 326597 w 1322717"/>
                <a:gd name="connsiteY58" fmla="*/ 490705 h 1521348"/>
                <a:gd name="connsiteX59" fmla="*/ 295867 w 1322717"/>
                <a:gd name="connsiteY59" fmla="*/ 459434 h 1521348"/>
                <a:gd name="connsiteX60" fmla="*/ 232892 w 1322717"/>
                <a:gd name="connsiteY60" fmla="*/ 426973 h 1521348"/>
                <a:gd name="connsiteX61" fmla="*/ 188096 w 1322717"/>
                <a:gd name="connsiteY61" fmla="*/ 420048 h 1521348"/>
                <a:gd name="connsiteX62" fmla="*/ 136916 w 1322717"/>
                <a:gd name="connsiteY62" fmla="*/ 425999 h 1521348"/>
                <a:gd name="connsiteX63" fmla="*/ 38234 w 1322717"/>
                <a:gd name="connsiteY63" fmla="*/ 492978 h 1521348"/>
                <a:gd name="connsiteX64" fmla="*/ 5556 w 1322717"/>
                <a:gd name="connsiteY64" fmla="*/ 629747 h 1521348"/>
                <a:gd name="connsiteX65" fmla="*/ 99693 w 1322717"/>
                <a:gd name="connsiteY65" fmla="*/ 758943 h 1521348"/>
                <a:gd name="connsiteX66" fmla="*/ 186797 w 1322717"/>
                <a:gd name="connsiteY66" fmla="*/ 779177 h 1521348"/>
                <a:gd name="connsiteX67" fmla="*/ 276607 w 1322717"/>
                <a:gd name="connsiteY67" fmla="*/ 751585 h 1521348"/>
                <a:gd name="connsiteX68" fmla="*/ 280935 w 1322717"/>
                <a:gd name="connsiteY68" fmla="*/ 748880 h 1521348"/>
                <a:gd name="connsiteX69" fmla="*/ 279745 w 1322717"/>
                <a:gd name="connsiteY69" fmla="*/ 753749 h 1521348"/>
                <a:gd name="connsiteX70" fmla="*/ 157150 w 1322717"/>
                <a:gd name="connsiteY70" fmla="*/ 1258196 h 1521348"/>
                <a:gd name="connsiteX71" fmla="*/ 155310 w 1322717"/>
                <a:gd name="connsiteY71" fmla="*/ 1255275 h 1521348"/>
                <a:gd name="connsiteX72" fmla="*/ 551770 w 1322717"/>
                <a:gd name="connsiteY72" fmla="*/ 1351685 h 1521348"/>
                <a:gd name="connsiteX73" fmla="*/ 548956 w 1322717"/>
                <a:gd name="connsiteY73" fmla="*/ 1355688 h 1521348"/>
                <a:gd name="connsiteX74" fmla="*/ 520499 w 1322717"/>
                <a:gd name="connsiteY74" fmla="*/ 1258521 h 1521348"/>
                <a:gd name="connsiteX75" fmla="*/ 528073 w 1322717"/>
                <a:gd name="connsiteY75" fmla="*/ 1207232 h 1521348"/>
                <a:gd name="connsiteX76" fmla="*/ 549714 w 1322717"/>
                <a:gd name="connsiteY76" fmla="*/ 1159623 h 1521348"/>
                <a:gd name="connsiteX77" fmla="*/ 629136 w 1322717"/>
                <a:gd name="connsiteY77" fmla="*/ 1091346 h 1521348"/>
                <a:gd name="connsiteX78" fmla="*/ 734743 w 1322717"/>
                <a:gd name="connsiteY78" fmla="*/ 1077928 h 1521348"/>
                <a:gd name="connsiteX79" fmla="*/ 831261 w 1322717"/>
                <a:gd name="connsiteY79" fmla="*/ 1126296 h 1521348"/>
                <a:gd name="connsiteX80" fmla="*/ 864912 w 1322717"/>
                <a:gd name="connsiteY80" fmla="*/ 1170010 h 1521348"/>
                <a:gd name="connsiteX81" fmla="*/ 876706 w 1322717"/>
                <a:gd name="connsiteY81" fmla="*/ 1195222 h 1521348"/>
                <a:gd name="connsiteX82" fmla="*/ 884172 w 1322717"/>
                <a:gd name="connsiteY82" fmla="*/ 1222056 h 1521348"/>
                <a:gd name="connsiteX83" fmla="*/ 886986 w 1322717"/>
                <a:gd name="connsiteY83" fmla="*/ 1277889 h 1521348"/>
                <a:gd name="connsiteX84" fmla="*/ 872919 w 1322717"/>
                <a:gd name="connsiteY84" fmla="*/ 1332316 h 1521348"/>
                <a:gd name="connsiteX85" fmla="*/ 799124 w 1322717"/>
                <a:gd name="connsiteY85" fmla="*/ 1416607 h 1521348"/>
                <a:gd name="connsiteX86" fmla="*/ 798367 w 1322717"/>
                <a:gd name="connsiteY86" fmla="*/ 1411522 h 1521348"/>
                <a:gd name="connsiteX87" fmla="*/ 927130 w 1322717"/>
                <a:gd name="connsiteY87" fmla="*/ 1442901 h 1521348"/>
                <a:gd name="connsiteX88" fmla="*/ 1224474 w 1322717"/>
                <a:gd name="connsiteY88" fmla="*/ 1515397 h 1521348"/>
                <a:gd name="connsiteX89" fmla="*/ 1221228 w 1322717"/>
                <a:gd name="connsiteY89" fmla="*/ 1517020 h 1521348"/>
                <a:gd name="connsiteX90" fmla="*/ 1272949 w 1322717"/>
                <a:gd name="connsiteY90" fmla="*/ 1377762 h 1521348"/>
                <a:gd name="connsiteX91" fmla="*/ 1291777 w 1322717"/>
                <a:gd name="connsiteY91" fmla="*/ 1306888 h 1521348"/>
                <a:gd name="connsiteX92" fmla="*/ 1305086 w 1322717"/>
                <a:gd name="connsiteY92" fmla="*/ 1235474 h 1521348"/>
                <a:gd name="connsiteX93" fmla="*/ 1309306 w 1322717"/>
                <a:gd name="connsiteY93" fmla="*/ 953386 h 1521348"/>
                <a:gd name="connsiteX94" fmla="*/ 1241679 w 1322717"/>
                <a:gd name="connsiteY94" fmla="*/ 693047 h 1521348"/>
                <a:gd name="connsiteX95" fmla="*/ 1217333 w 1322717"/>
                <a:gd name="connsiteY95" fmla="*/ 632669 h 1521348"/>
                <a:gd name="connsiteX96" fmla="*/ 1188767 w 1322717"/>
                <a:gd name="connsiteY96" fmla="*/ 575213 h 1521348"/>
                <a:gd name="connsiteX97" fmla="*/ 1174484 w 1322717"/>
                <a:gd name="connsiteY97" fmla="*/ 546863 h 1521348"/>
                <a:gd name="connsiteX98" fmla="*/ 1158253 w 1322717"/>
                <a:gd name="connsiteY98" fmla="*/ 519920 h 1521348"/>
                <a:gd name="connsiteX99" fmla="*/ 1125792 w 1322717"/>
                <a:gd name="connsiteY99" fmla="*/ 467009 h 1521348"/>
                <a:gd name="connsiteX100" fmla="*/ 973982 w 1322717"/>
                <a:gd name="connsiteY100" fmla="*/ 284901 h 1521348"/>
                <a:gd name="connsiteX101" fmla="*/ 802370 w 1322717"/>
                <a:gd name="connsiteY101" fmla="*/ 149754 h 1521348"/>
                <a:gd name="connsiteX102" fmla="*/ 627296 w 1322717"/>
                <a:gd name="connsiteY102" fmla="*/ 57565 h 1521348"/>
                <a:gd name="connsiteX103" fmla="*/ 542356 w 1322717"/>
                <a:gd name="connsiteY103" fmla="*/ 25753 h 1521348"/>
                <a:gd name="connsiteX104" fmla="*/ 500914 w 1322717"/>
                <a:gd name="connsiteY104" fmla="*/ 13634 h 1521348"/>
                <a:gd name="connsiteX105" fmla="*/ 460337 w 1322717"/>
                <a:gd name="connsiteY105" fmla="*/ 3679 h 1521348"/>
                <a:gd name="connsiteX106" fmla="*/ 462285 w 1322717"/>
                <a:gd name="connsiteY106" fmla="*/ 2489 h 1521348"/>
                <a:gd name="connsiteX107" fmla="*/ 337742 w 1322717"/>
                <a:gd name="connsiteY107" fmla="*/ 506719 h 1521348"/>
                <a:gd name="connsiteX108" fmla="*/ 337634 w 1322717"/>
                <a:gd name="connsiteY108" fmla="*/ 506936 h 1521348"/>
                <a:gd name="connsiteX109" fmla="*/ 337526 w 1322717"/>
                <a:gd name="connsiteY109" fmla="*/ 506719 h 1521348"/>
                <a:gd name="connsiteX110" fmla="*/ 335470 w 1322717"/>
                <a:gd name="connsiteY110" fmla="*/ 502824 h 1521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322717" h="1521348">
                  <a:moveTo>
                    <a:pt x="335470" y="502824"/>
                  </a:moveTo>
                  <a:cubicBezTo>
                    <a:pt x="335470" y="502824"/>
                    <a:pt x="335903" y="503473"/>
                    <a:pt x="337958" y="506611"/>
                  </a:cubicBezTo>
                  <a:lnTo>
                    <a:pt x="337742" y="506611"/>
                  </a:lnTo>
                  <a:cubicBezTo>
                    <a:pt x="342070" y="486593"/>
                    <a:pt x="385893" y="304486"/>
                    <a:pt x="459255" y="1623"/>
                  </a:cubicBezTo>
                  <a:lnTo>
                    <a:pt x="459688" y="0"/>
                  </a:lnTo>
                  <a:lnTo>
                    <a:pt x="461311" y="433"/>
                  </a:lnTo>
                  <a:cubicBezTo>
                    <a:pt x="474620" y="3679"/>
                    <a:pt x="488146" y="6925"/>
                    <a:pt x="501888" y="10279"/>
                  </a:cubicBezTo>
                  <a:cubicBezTo>
                    <a:pt x="515738" y="13417"/>
                    <a:pt x="529480" y="18178"/>
                    <a:pt x="543546" y="22398"/>
                  </a:cubicBezTo>
                  <a:cubicBezTo>
                    <a:pt x="571463" y="31596"/>
                    <a:pt x="600029" y="41875"/>
                    <a:pt x="628811" y="54102"/>
                  </a:cubicBezTo>
                  <a:cubicBezTo>
                    <a:pt x="686484" y="78448"/>
                    <a:pt x="746104" y="108204"/>
                    <a:pt x="804642" y="146292"/>
                  </a:cubicBezTo>
                  <a:cubicBezTo>
                    <a:pt x="863289" y="184163"/>
                    <a:pt x="921611" y="228960"/>
                    <a:pt x="977120" y="281655"/>
                  </a:cubicBezTo>
                  <a:cubicBezTo>
                    <a:pt x="1031655" y="335324"/>
                    <a:pt x="1083701" y="395918"/>
                    <a:pt x="1129904" y="464412"/>
                  </a:cubicBezTo>
                  <a:cubicBezTo>
                    <a:pt x="1141482" y="481508"/>
                    <a:pt x="1151545" y="499686"/>
                    <a:pt x="1162582" y="517540"/>
                  </a:cubicBezTo>
                  <a:cubicBezTo>
                    <a:pt x="1167992" y="526521"/>
                    <a:pt x="1173402" y="535502"/>
                    <a:pt x="1178920" y="544591"/>
                  </a:cubicBezTo>
                  <a:cubicBezTo>
                    <a:pt x="1183898" y="553896"/>
                    <a:pt x="1188442" y="563527"/>
                    <a:pt x="1193311" y="572940"/>
                  </a:cubicBezTo>
                  <a:cubicBezTo>
                    <a:pt x="1202833" y="591984"/>
                    <a:pt x="1212463" y="611245"/>
                    <a:pt x="1222094" y="630613"/>
                  </a:cubicBezTo>
                  <a:cubicBezTo>
                    <a:pt x="1230209" y="650631"/>
                    <a:pt x="1238432" y="670865"/>
                    <a:pt x="1246656" y="691207"/>
                  </a:cubicBezTo>
                  <a:cubicBezTo>
                    <a:pt x="1279333" y="772685"/>
                    <a:pt x="1302814" y="860871"/>
                    <a:pt x="1314824" y="952736"/>
                  </a:cubicBezTo>
                  <a:cubicBezTo>
                    <a:pt x="1325753" y="1044710"/>
                    <a:pt x="1326186" y="1140579"/>
                    <a:pt x="1310713" y="1236339"/>
                  </a:cubicBezTo>
                  <a:cubicBezTo>
                    <a:pt x="1307467" y="1260360"/>
                    <a:pt x="1302165" y="1284165"/>
                    <a:pt x="1297295" y="1308078"/>
                  </a:cubicBezTo>
                  <a:cubicBezTo>
                    <a:pt x="1291452" y="1331775"/>
                    <a:pt x="1285717" y="1355797"/>
                    <a:pt x="1278360" y="1379277"/>
                  </a:cubicBezTo>
                  <a:cubicBezTo>
                    <a:pt x="1264185" y="1426562"/>
                    <a:pt x="1246872" y="1473414"/>
                    <a:pt x="1226422" y="1519184"/>
                  </a:cubicBezTo>
                  <a:lnTo>
                    <a:pt x="1225448" y="1521349"/>
                  </a:lnTo>
                  <a:lnTo>
                    <a:pt x="1223176" y="1520808"/>
                  </a:lnTo>
                  <a:cubicBezTo>
                    <a:pt x="1128172" y="1497652"/>
                    <a:pt x="1027651" y="1473198"/>
                    <a:pt x="925831" y="1448311"/>
                  </a:cubicBezTo>
                  <a:cubicBezTo>
                    <a:pt x="882657" y="1437815"/>
                    <a:pt x="839700" y="1427319"/>
                    <a:pt x="797068" y="1416932"/>
                  </a:cubicBezTo>
                  <a:lnTo>
                    <a:pt x="790359" y="1415309"/>
                  </a:lnTo>
                  <a:lnTo>
                    <a:pt x="796203" y="1411846"/>
                  </a:lnTo>
                  <a:cubicBezTo>
                    <a:pt x="828015" y="1392802"/>
                    <a:pt x="853334" y="1363803"/>
                    <a:pt x="867834" y="1330044"/>
                  </a:cubicBezTo>
                  <a:cubicBezTo>
                    <a:pt x="875300" y="1313272"/>
                    <a:pt x="879520" y="1295310"/>
                    <a:pt x="881467" y="1277240"/>
                  </a:cubicBezTo>
                  <a:cubicBezTo>
                    <a:pt x="883740" y="1259170"/>
                    <a:pt x="882333" y="1240776"/>
                    <a:pt x="878762" y="1223138"/>
                  </a:cubicBezTo>
                  <a:cubicBezTo>
                    <a:pt x="877247" y="1214157"/>
                    <a:pt x="874218" y="1205717"/>
                    <a:pt x="871512" y="1197061"/>
                  </a:cubicBezTo>
                  <a:cubicBezTo>
                    <a:pt x="867942" y="1188729"/>
                    <a:pt x="864696" y="1180398"/>
                    <a:pt x="860043" y="1172607"/>
                  </a:cubicBezTo>
                  <a:cubicBezTo>
                    <a:pt x="851278" y="1157026"/>
                    <a:pt x="840566" y="1142310"/>
                    <a:pt x="827474" y="1130191"/>
                  </a:cubicBezTo>
                  <a:cubicBezTo>
                    <a:pt x="801721" y="1105412"/>
                    <a:pt x="768611" y="1088965"/>
                    <a:pt x="733877" y="1083231"/>
                  </a:cubicBezTo>
                  <a:cubicBezTo>
                    <a:pt x="699252" y="1077171"/>
                    <a:pt x="663003" y="1081932"/>
                    <a:pt x="631516" y="1096215"/>
                  </a:cubicBezTo>
                  <a:cubicBezTo>
                    <a:pt x="599812" y="1110282"/>
                    <a:pt x="572761" y="1133762"/>
                    <a:pt x="554367" y="1162436"/>
                  </a:cubicBezTo>
                  <a:cubicBezTo>
                    <a:pt x="545277" y="1176827"/>
                    <a:pt x="537811" y="1192300"/>
                    <a:pt x="533375" y="1208531"/>
                  </a:cubicBezTo>
                  <a:cubicBezTo>
                    <a:pt x="528289" y="1224653"/>
                    <a:pt x="526017" y="1241533"/>
                    <a:pt x="526017" y="1258305"/>
                  </a:cubicBezTo>
                  <a:cubicBezTo>
                    <a:pt x="526017" y="1291740"/>
                    <a:pt x="535972" y="1324958"/>
                    <a:pt x="553393" y="1352550"/>
                  </a:cubicBezTo>
                  <a:lnTo>
                    <a:pt x="556964" y="1358177"/>
                  </a:lnTo>
                  <a:lnTo>
                    <a:pt x="550580" y="1356662"/>
                  </a:lnTo>
                  <a:cubicBezTo>
                    <a:pt x="411970" y="1322794"/>
                    <a:pt x="279637" y="1290441"/>
                    <a:pt x="154228" y="1259819"/>
                  </a:cubicBezTo>
                  <a:lnTo>
                    <a:pt x="151848" y="1259278"/>
                  </a:lnTo>
                  <a:lnTo>
                    <a:pt x="152389" y="1256898"/>
                  </a:lnTo>
                  <a:cubicBezTo>
                    <a:pt x="197510" y="1072518"/>
                    <a:pt x="238736" y="903828"/>
                    <a:pt x="275741" y="752667"/>
                  </a:cubicBezTo>
                  <a:lnTo>
                    <a:pt x="278879" y="754831"/>
                  </a:lnTo>
                  <a:cubicBezTo>
                    <a:pt x="250638" y="772577"/>
                    <a:pt x="218501" y="782099"/>
                    <a:pt x="186906" y="782964"/>
                  </a:cubicBezTo>
                  <a:cubicBezTo>
                    <a:pt x="155310" y="783830"/>
                    <a:pt x="124472" y="776147"/>
                    <a:pt x="98070" y="762081"/>
                  </a:cubicBezTo>
                  <a:cubicBezTo>
                    <a:pt x="44293" y="734597"/>
                    <a:pt x="10966" y="681902"/>
                    <a:pt x="2418" y="630180"/>
                  </a:cubicBezTo>
                  <a:cubicBezTo>
                    <a:pt x="-6238" y="577918"/>
                    <a:pt x="9127" y="527170"/>
                    <a:pt x="36069" y="491246"/>
                  </a:cubicBezTo>
                  <a:cubicBezTo>
                    <a:pt x="63229" y="454890"/>
                    <a:pt x="100883" y="433249"/>
                    <a:pt x="136374" y="423727"/>
                  </a:cubicBezTo>
                  <a:cubicBezTo>
                    <a:pt x="154336" y="419291"/>
                    <a:pt x="171866" y="417668"/>
                    <a:pt x="188204" y="417992"/>
                  </a:cubicBezTo>
                  <a:cubicBezTo>
                    <a:pt x="204543" y="418858"/>
                    <a:pt x="219800" y="421346"/>
                    <a:pt x="233433" y="425242"/>
                  </a:cubicBezTo>
                  <a:cubicBezTo>
                    <a:pt x="260809" y="433249"/>
                    <a:pt x="281584" y="446342"/>
                    <a:pt x="296625" y="458460"/>
                  </a:cubicBezTo>
                  <a:cubicBezTo>
                    <a:pt x="311665" y="470796"/>
                    <a:pt x="321187" y="482373"/>
                    <a:pt x="327030" y="490272"/>
                  </a:cubicBezTo>
                  <a:cubicBezTo>
                    <a:pt x="333090" y="498388"/>
                    <a:pt x="335470" y="502824"/>
                    <a:pt x="335470" y="502824"/>
                  </a:cubicBezTo>
                  <a:cubicBezTo>
                    <a:pt x="335470" y="502824"/>
                    <a:pt x="334713" y="501850"/>
                    <a:pt x="333197" y="499794"/>
                  </a:cubicBezTo>
                  <a:cubicBezTo>
                    <a:pt x="331791" y="497739"/>
                    <a:pt x="329627" y="494709"/>
                    <a:pt x="326597" y="490705"/>
                  </a:cubicBezTo>
                  <a:cubicBezTo>
                    <a:pt x="320538" y="482915"/>
                    <a:pt x="310907" y="471553"/>
                    <a:pt x="295867" y="459434"/>
                  </a:cubicBezTo>
                  <a:cubicBezTo>
                    <a:pt x="280827" y="447532"/>
                    <a:pt x="260052" y="434764"/>
                    <a:pt x="232892" y="426973"/>
                  </a:cubicBezTo>
                  <a:cubicBezTo>
                    <a:pt x="219367" y="423186"/>
                    <a:pt x="204218" y="420805"/>
                    <a:pt x="188096" y="420048"/>
                  </a:cubicBezTo>
                  <a:cubicBezTo>
                    <a:pt x="171866" y="419832"/>
                    <a:pt x="154661" y="421455"/>
                    <a:pt x="136916" y="425999"/>
                  </a:cubicBezTo>
                  <a:cubicBezTo>
                    <a:pt x="101858" y="435629"/>
                    <a:pt x="64852" y="457162"/>
                    <a:pt x="38234" y="492978"/>
                  </a:cubicBezTo>
                  <a:cubicBezTo>
                    <a:pt x="11832" y="528468"/>
                    <a:pt x="-3100" y="578351"/>
                    <a:pt x="5556" y="629747"/>
                  </a:cubicBezTo>
                  <a:cubicBezTo>
                    <a:pt x="14104" y="680495"/>
                    <a:pt x="46998" y="732108"/>
                    <a:pt x="99693" y="758943"/>
                  </a:cubicBezTo>
                  <a:cubicBezTo>
                    <a:pt x="125554" y="772577"/>
                    <a:pt x="155851" y="780151"/>
                    <a:pt x="186797" y="779177"/>
                  </a:cubicBezTo>
                  <a:cubicBezTo>
                    <a:pt x="217636" y="778420"/>
                    <a:pt x="249231" y="768898"/>
                    <a:pt x="276607" y="751585"/>
                  </a:cubicBezTo>
                  <a:lnTo>
                    <a:pt x="280935" y="748880"/>
                  </a:lnTo>
                  <a:lnTo>
                    <a:pt x="279745" y="753749"/>
                  </a:lnTo>
                  <a:cubicBezTo>
                    <a:pt x="242955" y="905018"/>
                    <a:pt x="201946" y="1073709"/>
                    <a:pt x="157150" y="1258196"/>
                  </a:cubicBezTo>
                  <a:lnTo>
                    <a:pt x="155310" y="1255275"/>
                  </a:lnTo>
                  <a:cubicBezTo>
                    <a:pt x="280827" y="1285788"/>
                    <a:pt x="413052" y="1318033"/>
                    <a:pt x="551770" y="1351685"/>
                  </a:cubicBezTo>
                  <a:lnTo>
                    <a:pt x="548956" y="1355688"/>
                  </a:lnTo>
                  <a:cubicBezTo>
                    <a:pt x="530778" y="1326906"/>
                    <a:pt x="520607" y="1293038"/>
                    <a:pt x="520499" y="1258521"/>
                  </a:cubicBezTo>
                  <a:cubicBezTo>
                    <a:pt x="520499" y="1241317"/>
                    <a:pt x="522771" y="1223896"/>
                    <a:pt x="528073" y="1207232"/>
                  </a:cubicBezTo>
                  <a:cubicBezTo>
                    <a:pt x="532618" y="1190461"/>
                    <a:pt x="540300" y="1174446"/>
                    <a:pt x="549714" y="1159623"/>
                  </a:cubicBezTo>
                  <a:cubicBezTo>
                    <a:pt x="568650" y="1129975"/>
                    <a:pt x="596566" y="1105845"/>
                    <a:pt x="629136" y="1091346"/>
                  </a:cubicBezTo>
                  <a:cubicBezTo>
                    <a:pt x="661705" y="1076630"/>
                    <a:pt x="698927" y="1071653"/>
                    <a:pt x="734743" y="1077928"/>
                  </a:cubicBezTo>
                  <a:cubicBezTo>
                    <a:pt x="770558" y="1083880"/>
                    <a:pt x="804751" y="1100760"/>
                    <a:pt x="831261" y="1126296"/>
                  </a:cubicBezTo>
                  <a:cubicBezTo>
                    <a:pt x="844786" y="1138847"/>
                    <a:pt x="855823" y="1153888"/>
                    <a:pt x="864912" y="1170010"/>
                  </a:cubicBezTo>
                  <a:cubicBezTo>
                    <a:pt x="869673" y="1178017"/>
                    <a:pt x="873027" y="1186674"/>
                    <a:pt x="876706" y="1195222"/>
                  </a:cubicBezTo>
                  <a:cubicBezTo>
                    <a:pt x="879520" y="1204094"/>
                    <a:pt x="882657" y="1212859"/>
                    <a:pt x="884172" y="1222056"/>
                  </a:cubicBezTo>
                  <a:cubicBezTo>
                    <a:pt x="887851" y="1240343"/>
                    <a:pt x="889258" y="1259170"/>
                    <a:pt x="886986" y="1277889"/>
                  </a:cubicBezTo>
                  <a:cubicBezTo>
                    <a:pt x="884930" y="1296501"/>
                    <a:pt x="880602" y="1315004"/>
                    <a:pt x="872919" y="1332316"/>
                  </a:cubicBezTo>
                  <a:cubicBezTo>
                    <a:pt x="857987" y="1367050"/>
                    <a:pt x="831802" y="1397022"/>
                    <a:pt x="799124" y="1416607"/>
                  </a:cubicBezTo>
                  <a:lnTo>
                    <a:pt x="798367" y="1411522"/>
                  </a:lnTo>
                  <a:cubicBezTo>
                    <a:pt x="840999" y="1421909"/>
                    <a:pt x="883956" y="1432405"/>
                    <a:pt x="927130" y="1442901"/>
                  </a:cubicBezTo>
                  <a:cubicBezTo>
                    <a:pt x="1028950" y="1467788"/>
                    <a:pt x="1129579" y="1492242"/>
                    <a:pt x="1224474" y="1515397"/>
                  </a:cubicBezTo>
                  <a:lnTo>
                    <a:pt x="1221228" y="1517020"/>
                  </a:lnTo>
                  <a:cubicBezTo>
                    <a:pt x="1241570" y="1471358"/>
                    <a:pt x="1258883" y="1424831"/>
                    <a:pt x="1272949" y="1377762"/>
                  </a:cubicBezTo>
                  <a:cubicBezTo>
                    <a:pt x="1280307" y="1354282"/>
                    <a:pt x="1285934" y="1330477"/>
                    <a:pt x="1291777" y="1306888"/>
                  </a:cubicBezTo>
                  <a:cubicBezTo>
                    <a:pt x="1296538" y="1283083"/>
                    <a:pt x="1301948" y="1259387"/>
                    <a:pt x="1305086" y="1235474"/>
                  </a:cubicBezTo>
                  <a:cubicBezTo>
                    <a:pt x="1320451" y="1140254"/>
                    <a:pt x="1320127" y="1044926"/>
                    <a:pt x="1309306" y="953386"/>
                  </a:cubicBezTo>
                  <a:cubicBezTo>
                    <a:pt x="1297404" y="861953"/>
                    <a:pt x="1274140" y="774200"/>
                    <a:pt x="1241679" y="693047"/>
                  </a:cubicBezTo>
                  <a:cubicBezTo>
                    <a:pt x="1233455" y="672704"/>
                    <a:pt x="1225340" y="652578"/>
                    <a:pt x="1217333" y="632669"/>
                  </a:cubicBezTo>
                  <a:cubicBezTo>
                    <a:pt x="1207702" y="613409"/>
                    <a:pt x="1198180" y="594257"/>
                    <a:pt x="1188767" y="575213"/>
                  </a:cubicBezTo>
                  <a:cubicBezTo>
                    <a:pt x="1184006" y="565799"/>
                    <a:pt x="1179461" y="556169"/>
                    <a:pt x="1174484" y="546863"/>
                  </a:cubicBezTo>
                  <a:cubicBezTo>
                    <a:pt x="1169074" y="537882"/>
                    <a:pt x="1163663" y="528901"/>
                    <a:pt x="1158253" y="519920"/>
                  </a:cubicBezTo>
                  <a:cubicBezTo>
                    <a:pt x="1147325" y="502175"/>
                    <a:pt x="1137262" y="483997"/>
                    <a:pt x="1125792" y="467009"/>
                  </a:cubicBezTo>
                  <a:cubicBezTo>
                    <a:pt x="1079914" y="398840"/>
                    <a:pt x="1028084" y="338354"/>
                    <a:pt x="973982" y="284901"/>
                  </a:cubicBezTo>
                  <a:cubicBezTo>
                    <a:pt x="918798" y="232422"/>
                    <a:pt x="860692" y="187626"/>
                    <a:pt x="802370" y="149754"/>
                  </a:cubicBezTo>
                  <a:cubicBezTo>
                    <a:pt x="744048" y="111667"/>
                    <a:pt x="684753" y="81910"/>
                    <a:pt x="627296" y="57565"/>
                  </a:cubicBezTo>
                  <a:cubicBezTo>
                    <a:pt x="598622" y="45337"/>
                    <a:pt x="570165" y="34950"/>
                    <a:pt x="542356" y="25753"/>
                  </a:cubicBezTo>
                  <a:cubicBezTo>
                    <a:pt x="528398" y="21533"/>
                    <a:pt x="514764" y="16880"/>
                    <a:pt x="500914" y="13634"/>
                  </a:cubicBezTo>
                  <a:cubicBezTo>
                    <a:pt x="487172" y="10279"/>
                    <a:pt x="473646" y="6925"/>
                    <a:pt x="460337" y="3679"/>
                  </a:cubicBezTo>
                  <a:lnTo>
                    <a:pt x="462285" y="2489"/>
                  </a:lnTo>
                  <a:cubicBezTo>
                    <a:pt x="388057" y="305135"/>
                    <a:pt x="343152" y="486918"/>
                    <a:pt x="337742" y="506719"/>
                  </a:cubicBezTo>
                  <a:lnTo>
                    <a:pt x="337634" y="506936"/>
                  </a:lnTo>
                  <a:lnTo>
                    <a:pt x="337526" y="506719"/>
                  </a:lnTo>
                  <a:cubicBezTo>
                    <a:pt x="335795" y="503581"/>
                    <a:pt x="335470" y="502824"/>
                    <a:pt x="335470" y="50282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01276C40-AC93-402D-9B6B-D0413252FE85}"/>
                </a:ext>
              </a:extLst>
            </p:cNvPr>
            <p:cNvSpPr/>
            <p:nvPr/>
          </p:nvSpPr>
          <p:spPr>
            <a:xfrm flipH="1">
              <a:off x="1902881" y="3153374"/>
              <a:ext cx="348943" cy="324668"/>
            </a:xfrm>
            <a:custGeom>
              <a:avLst/>
              <a:gdLst>
                <a:gd name="connsiteX0" fmla="*/ 290945 w 316588"/>
                <a:gd name="connsiteY0" fmla="*/ 189174 h 294564"/>
                <a:gd name="connsiteX1" fmla="*/ 275039 w 316588"/>
                <a:gd name="connsiteY1" fmla="*/ 91790 h 294564"/>
                <a:gd name="connsiteX2" fmla="*/ 209359 w 316588"/>
                <a:gd name="connsiteY2" fmla="*/ 30006 h 294564"/>
                <a:gd name="connsiteX3" fmla="*/ 226563 w 316588"/>
                <a:gd name="connsiteY3" fmla="*/ 62575 h 294564"/>
                <a:gd name="connsiteX4" fmla="*/ 230783 w 316588"/>
                <a:gd name="connsiteY4" fmla="*/ 73937 h 294564"/>
                <a:gd name="connsiteX5" fmla="*/ 215851 w 316588"/>
                <a:gd name="connsiteY5" fmla="*/ 89410 h 294564"/>
                <a:gd name="connsiteX6" fmla="*/ 86764 w 316588"/>
                <a:gd name="connsiteY6" fmla="*/ 7608 h 294564"/>
                <a:gd name="connsiteX7" fmla="*/ 53437 w 316588"/>
                <a:gd name="connsiteY7" fmla="*/ 6850 h 294564"/>
                <a:gd name="connsiteX8" fmla="*/ 27360 w 316588"/>
                <a:gd name="connsiteY8" fmla="*/ 5552 h 294564"/>
                <a:gd name="connsiteX9" fmla="*/ 32878 w 316588"/>
                <a:gd name="connsiteY9" fmla="*/ 30980 h 294564"/>
                <a:gd name="connsiteX10" fmla="*/ 3555 w 316588"/>
                <a:gd name="connsiteY10" fmla="*/ 24487 h 294564"/>
                <a:gd name="connsiteX11" fmla="*/ 18595 w 316588"/>
                <a:gd name="connsiteY11" fmla="*/ 64631 h 294564"/>
                <a:gd name="connsiteX12" fmla="*/ 77242 w 316588"/>
                <a:gd name="connsiteY12" fmla="*/ 161906 h 294564"/>
                <a:gd name="connsiteX13" fmla="*/ 235544 w 316588"/>
                <a:gd name="connsiteY13" fmla="*/ 294565 h 294564"/>
                <a:gd name="connsiteX14" fmla="*/ 316589 w 316588"/>
                <a:gd name="connsiteY14" fmla="*/ 223042 h 294564"/>
                <a:gd name="connsiteX15" fmla="*/ 290945 w 316588"/>
                <a:gd name="connsiteY15" fmla="*/ 189174 h 29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6588" h="294564">
                  <a:moveTo>
                    <a:pt x="290945" y="189174"/>
                  </a:moveTo>
                  <a:cubicBezTo>
                    <a:pt x="290945" y="189174"/>
                    <a:pt x="276121" y="115487"/>
                    <a:pt x="275039" y="91790"/>
                  </a:cubicBezTo>
                  <a:cubicBezTo>
                    <a:pt x="273957" y="68094"/>
                    <a:pt x="209359" y="30006"/>
                    <a:pt x="209359" y="30006"/>
                  </a:cubicBezTo>
                  <a:lnTo>
                    <a:pt x="226563" y="62575"/>
                  </a:lnTo>
                  <a:lnTo>
                    <a:pt x="230783" y="73937"/>
                  </a:lnTo>
                  <a:cubicBezTo>
                    <a:pt x="230783" y="73937"/>
                    <a:pt x="227104" y="93089"/>
                    <a:pt x="215851" y="89410"/>
                  </a:cubicBezTo>
                  <a:cubicBezTo>
                    <a:pt x="204598" y="85839"/>
                    <a:pt x="86764" y="7608"/>
                    <a:pt x="86764" y="7608"/>
                  </a:cubicBezTo>
                  <a:cubicBezTo>
                    <a:pt x="61444" y="-9056"/>
                    <a:pt x="53437" y="6850"/>
                    <a:pt x="53437" y="6850"/>
                  </a:cubicBezTo>
                  <a:cubicBezTo>
                    <a:pt x="53437" y="6850"/>
                    <a:pt x="36557" y="-5161"/>
                    <a:pt x="27360" y="5552"/>
                  </a:cubicBezTo>
                  <a:cubicBezTo>
                    <a:pt x="21517" y="12477"/>
                    <a:pt x="32878" y="30980"/>
                    <a:pt x="32878" y="30980"/>
                  </a:cubicBezTo>
                  <a:cubicBezTo>
                    <a:pt x="32878" y="30980"/>
                    <a:pt x="16864" y="15074"/>
                    <a:pt x="3555" y="24487"/>
                  </a:cubicBezTo>
                  <a:cubicBezTo>
                    <a:pt x="-9754" y="34009"/>
                    <a:pt x="18595" y="64631"/>
                    <a:pt x="18595" y="64631"/>
                  </a:cubicBezTo>
                  <a:cubicBezTo>
                    <a:pt x="9722" y="85406"/>
                    <a:pt x="63283" y="145351"/>
                    <a:pt x="77242" y="161906"/>
                  </a:cubicBezTo>
                  <a:cubicBezTo>
                    <a:pt x="91092" y="178462"/>
                    <a:pt x="235544" y="294565"/>
                    <a:pt x="235544" y="294565"/>
                  </a:cubicBezTo>
                  <a:lnTo>
                    <a:pt x="316589" y="223042"/>
                  </a:lnTo>
                  <a:lnTo>
                    <a:pt x="290945" y="189174"/>
                  </a:ln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9087B400-3679-4449-AE07-B8296574F96D}"/>
                </a:ext>
              </a:extLst>
            </p:cNvPr>
            <p:cNvSpPr/>
            <p:nvPr/>
          </p:nvSpPr>
          <p:spPr>
            <a:xfrm flipH="1">
              <a:off x="2066496" y="3160900"/>
              <a:ext cx="126445" cy="107396"/>
            </a:xfrm>
            <a:custGeom>
              <a:avLst/>
              <a:gdLst>
                <a:gd name="connsiteX0" fmla="*/ 114710 w 114721"/>
                <a:gd name="connsiteY0" fmla="*/ 97405 h 97438"/>
                <a:gd name="connsiteX1" fmla="*/ 95234 w 114721"/>
                <a:gd name="connsiteY1" fmla="*/ 86693 h 97438"/>
                <a:gd name="connsiteX2" fmla="*/ 52385 w 114721"/>
                <a:gd name="connsiteY2" fmla="*/ 54557 h 97438"/>
                <a:gd name="connsiteX3" fmla="*/ 14081 w 114721"/>
                <a:gd name="connsiteY3" fmla="*/ 17226 h 97438"/>
                <a:gd name="connsiteX4" fmla="*/ 14 w 114721"/>
                <a:gd name="connsiteY4" fmla="*/ 22 h 97438"/>
                <a:gd name="connsiteX5" fmla="*/ 16028 w 114721"/>
                <a:gd name="connsiteY5" fmla="*/ 15278 h 97438"/>
                <a:gd name="connsiteX6" fmla="*/ 54982 w 114721"/>
                <a:gd name="connsiteY6" fmla="*/ 51527 h 97438"/>
                <a:gd name="connsiteX7" fmla="*/ 96857 w 114721"/>
                <a:gd name="connsiteY7" fmla="*/ 84313 h 97438"/>
                <a:gd name="connsiteX8" fmla="*/ 114710 w 114721"/>
                <a:gd name="connsiteY8" fmla="*/ 97405 h 9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721" h="97438">
                  <a:moveTo>
                    <a:pt x="114710" y="97405"/>
                  </a:moveTo>
                  <a:cubicBezTo>
                    <a:pt x="114494" y="97838"/>
                    <a:pt x="106812" y="94051"/>
                    <a:pt x="95234" y="86693"/>
                  </a:cubicBezTo>
                  <a:cubicBezTo>
                    <a:pt x="83656" y="79335"/>
                    <a:pt x="68183" y="68298"/>
                    <a:pt x="52385" y="54557"/>
                  </a:cubicBezTo>
                  <a:cubicBezTo>
                    <a:pt x="36587" y="40815"/>
                    <a:pt x="23278" y="27289"/>
                    <a:pt x="14081" y="17226"/>
                  </a:cubicBezTo>
                  <a:cubicBezTo>
                    <a:pt x="4883" y="7055"/>
                    <a:pt x="-310" y="346"/>
                    <a:pt x="14" y="22"/>
                  </a:cubicBezTo>
                  <a:cubicBezTo>
                    <a:pt x="447" y="-411"/>
                    <a:pt x="6398" y="5648"/>
                    <a:pt x="16028" y="15278"/>
                  </a:cubicBezTo>
                  <a:cubicBezTo>
                    <a:pt x="25659" y="24909"/>
                    <a:pt x="39184" y="38001"/>
                    <a:pt x="54982" y="51527"/>
                  </a:cubicBezTo>
                  <a:cubicBezTo>
                    <a:pt x="70672" y="65052"/>
                    <a:pt x="85712" y="76414"/>
                    <a:pt x="96857" y="84313"/>
                  </a:cubicBezTo>
                  <a:cubicBezTo>
                    <a:pt x="108002" y="92320"/>
                    <a:pt x="115035" y="96973"/>
                    <a:pt x="114710" y="97405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B48667A2-E238-41EA-8898-367BC2957B46}"/>
                </a:ext>
              </a:extLst>
            </p:cNvPr>
            <p:cNvSpPr/>
            <p:nvPr/>
          </p:nvSpPr>
          <p:spPr>
            <a:xfrm flipH="1">
              <a:off x="2096548" y="3189284"/>
              <a:ext cx="116550" cy="108464"/>
            </a:xfrm>
            <a:custGeom>
              <a:avLst/>
              <a:gdLst>
                <a:gd name="connsiteX0" fmla="*/ 105730 w 105743"/>
                <a:gd name="connsiteY0" fmla="*/ 98380 h 98407"/>
                <a:gd name="connsiteX1" fmla="*/ 88634 w 105743"/>
                <a:gd name="connsiteY1" fmla="*/ 85828 h 98407"/>
                <a:gd name="connsiteX2" fmla="*/ 49573 w 105743"/>
                <a:gd name="connsiteY2" fmla="*/ 52718 h 98407"/>
                <a:gd name="connsiteX3" fmla="*/ 13324 w 105743"/>
                <a:gd name="connsiteY3" fmla="*/ 16578 h 98407"/>
                <a:gd name="connsiteX4" fmla="*/ 15 w 105743"/>
                <a:gd name="connsiteY4" fmla="*/ 23 h 98407"/>
                <a:gd name="connsiteX5" fmla="*/ 15380 w 105743"/>
                <a:gd name="connsiteY5" fmla="*/ 14630 h 98407"/>
                <a:gd name="connsiteX6" fmla="*/ 52278 w 105743"/>
                <a:gd name="connsiteY6" fmla="*/ 49796 h 98407"/>
                <a:gd name="connsiteX7" fmla="*/ 90365 w 105743"/>
                <a:gd name="connsiteY7" fmla="*/ 83664 h 98407"/>
                <a:gd name="connsiteX8" fmla="*/ 105730 w 105743"/>
                <a:gd name="connsiteY8" fmla="*/ 98380 h 9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743" h="98407">
                  <a:moveTo>
                    <a:pt x="105730" y="98380"/>
                  </a:moveTo>
                  <a:cubicBezTo>
                    <a:pt x="105406" y="98813"/>
                    <a:pt x="98805" y="94052"/>
                    <a:pt x="88634" y="85828"/>
                  </a:cubicBezTo>
                  <a:cubicBezTo>
                    <a:pt x="78355" y="77713"/>
                    <a:pt x="64396" y="66135"/>
                    <a:pt x="49573" y="52718"/>
                  </a:cubicBezTo>
                  <a:cubicBezTo>
                    <a:pt x="34749" y="39301"/>
                    <a:pt x="21981" y="26316"/>
                    <a:pt x="13324" y="16578"/>
                  </a:cubicBezTo>
                  <a:cubicBezTo>
                    <a:pt x="4560" y="6839"/>
                    <a:pt x="-309" y="347"/>
                    <a:pt x="15" y="23"/>
                  </a:cubicBezTo>
                  <a:cubicBezTo>
                    <a:pt x="448" y="-410"/>
                    <a:pt x="6075" y="5433"/>
                    <a:pt x="15380" y="14630"/>
                  </a:cubicBezTo>
                  <a:cubicBezTo>
                    <a:pt x="24577" y="23827"/>
                    <a:pt x="37562" y="36379"/>
                    <a:pt x="52278" y="49796"/>
                  </a:cubicBezTo>
                  <a:cubicBezTo>
                    <a:pt x="66669" y="62564"/>
                    <a:pt x="79653" y="74142"/>
                    <a:pt x="90365" y="83664"/>
                  </a:cubicBezTo>
                  <a:cubicBezTo>
                    <a:pt x="100212" y="92429"/>
                    <a:pt x="106055" y="97947"/>
                    <a:pt x="105730" y="98380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A031D6F4-9651-4DD3-9CF7-C76A77E69E69}"/>
                </a:ext>
              </a:extLst>
            </p:cNvPr>
            <p:cNvSpPr/>
            <p:nvPr/>
          </p:nvSpPr>
          <p:spPr>
            <a:xfrm flipH="1">
              <a:off x="2131849" y="3224709"/>
              <a:ext cx="99277" cy="99047"/>
            </a:xfrm>
            <a:custGeom>
              <a:avLst/>
              <a:gdLst>
                <a:gd name="connsiteX0" fmla="*/ 90059 w 90072"/>
                <a:gd name="connsiteY0" fmla="*/ 89828 h 89863"/>
                <a:gd name="connsiteX1" fmla="*/ 74045 w 90072"/>
                <a:gd name="connsiteY1" fmla="*/ 79981 h 89863"/>
                <a:gd name="connsiteX2" fmla="*/ 39852 w 90072"/>
                <a:gd name="connsiteY2" fmla="*/ 50117 h 89863"/>
                <a:gd name="connsiteX3" fmla="*/ 10313 w 90072"/>
                <a:gd name="connsiteY3" fmla="*/ 15708 h 89863"/>
                <a:gd name="connsiteX4" fmla="*/ 33 w 90072"/>
                <a:gd name="connsiteY4" fmla="*/ 18 h 89863"/>
                <a:gd name="connsiteX5" fmla="*/ 42666 w 90072"/>
                <a:gd name="connsiteY5" fmla="*/ 47412 h 89863"/>
                <a:gd name="connsiteX6" fmla="*/ 75776 w 90072"/>
                <a:gd name="connsiteY6" fmla="*/ 77817 h 89863"/>
                <a:gd name="connsiteX7" fmla="*/ 90059 w 90072"/>
                <a:gd name="connsiteY7" fmla="*/ 89828 h 89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072" h="89863">
                  <a:moveTo>
                    <a:pt x="90059" y="89828"/>
                  </a:moveTo>
                  <a:cubicBezTo>
                    <a:pt x="89843" y="90260"/>
                    <a:pt x="83459" y="86798"/>
                    <a:pt x="74045" y="79981"/>
                  </a:cubicBezTo>
                  <a:cubicBezTo>
                    <a:pt x="64631" y="73164"/>
                    <a:pt x="52188" y="62885"/>
                    <a:pt x="39852" y="50117"/>
                  </a:cubicBezTo>
                  <a:cubicBezTo>
                    <a:pt x="27409" y="37457"/>
                    <a:pt x="17346" y="24905"/>
                    <a:pt x="10313" y="15708"/>
                  </a:cubicBezTo>
                  <a:cubicBezTo>
                    <a:pt x="3388" y="6402"/>
                    <a:pt x="-399" y="343"/>
                    <a:pt x="33" y="18"/>
                  </a:cubicBezTo>
                  <a:cubicBezTo>
                    <a:pt x="1007" y="-739"/>
                    <a:pt x="18212" y="22200"/>
                    <a:pt x="42666" y="47412"/>
                  </a:cubicBezTo>
                  <a:cubicBezTo>
                    <a:pt x="54893" y="59963"/>
                    <a:pt x="66795" y="70567"/>
                    <a:pt x="75776" y="77817"/>
                  </a:cubicBezTo>
                  <a:cubicBezTo>
                    <a:pt x="84649" y="85067"/>
                    <a:pt x="90384" y="89287"/>
                    <a:pt x="90059" y="89828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88F72978-7660-4D92-8866-0AB260AF790D}"/>
                </a:ext>
              </a:extLst>
            </p:cNvPr>
            <p:cNvSpPr/>
            <p:nvPr/>
          </p:nvSpPr>
          <p:spPr>
            <a:xfrm flipH="1">
              <a:off x="1211398" y="6454352"/>
              <a:ext cx="483250" cy="384382"/>
            </a:xfrm>
            <a:custGeom>
              <a:avLst/>
              <a:gdLst>
                <a:gd name="connsiteX0" fmla="*/ 224740 w 438442"/>
                <a:gd name="connsiteY0" fmla="*/ 0 h 348741"/>
                <a:gd name="connsiteX1" fmla="*/ 227012 w 438442"/>
                <a:gd name="connsiteY1" fmla="*/ 220628 h 348741"/>
                <a:gd name="connsiteX2" fmla="*/ 0 w 438442"/>
                <a:gd name="connsiteY2" fmla="*/ 337813 h 348741"/>
                <a:gd name="connsiteX3" fmla="*/ 427947 w 438442"/>
                <a:gd name="connsiteY3" fmla="*/ 348742 h 348741"/>
                <a:gd name="connsiteX4" fmla="*/ 438443 w 438442"/>
                <a:gd name="connsiteY4" fmla="*/ 4869 h 348741"/>
                <a:gd name="connsiteX5" fmla="*/ 224740 w 438442"/>
                <a:gd name="connsiteY5" fmla="*/ 0 h 34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442" h="348741">
                  <a:moveTo>
                    <a:pt x="224740" y="0"/>
                  </a:moveTo>
                  <a:lnTo>
                    <a:pt x="227012" y="220628"/>
                  </a:lnTo>
                  <a:cubicBezTo>
                    <a:pt x="227012" y="220628"/>
                    <a:pt x="3571" y="297020"/>
                    <a:pt x="0" y="337813"/>
                  </a:cubicBezTo>
                  <a:lnTo>
                    <a:pt x="427947" y="348742"/>
                  </a:lnTo>
                  <a:lnTo>
                    <a:pt x="438443" y="4869"/>
                  </a:lnTo>
                  <a:lnTo>
                    <a:pt x="224740" y="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5466314-D367-49F6-9C2E-6DF204DB1616}"/>
                </a:ext>
              </a:extLst>
            </p:cNvPr>
            <p:cNvSpPr/>
            <p:nvPr/>
          </p:nvSpPr>
          <p:spPr>
            <a:xfrm flipH="1">
              <a:off x="1284820" y="6679785"/>
              <a:ext cx="36741" cy="36668"/>
            </a:xfrm>
            <a:custGeom>
              <a:avLst/>
              <a:gdLst>
                <a:gd name="connsiteX0" fmla="*/ 21285 w 33334"/>
                <a:gd name="connsiteY0" fmla="*/ 841 h 33268"/>
                <a:gd name="connsiteX1" fmla="*/ 32862 w 33334"/>
                <a:gd name="connsiteY1" fmla="*/ 21076 h 33268"/>
                <a:gd name="connsiteX2" fmla="*/ 12845 w 33334"/>
                <a:gd name="connsiteY2" fmla="*/ 32761 h 33268"/>
                <a:gd name="connsiteX3" fmla="*/ 726 w 33334"/>
                <a:gd name="connsiteY3" fmla="*/ 11229 h 33268"/>
                <a:gd name="connsiteX4" fmla="*/ 22799 w 33334"/>
                <a:gd name="connsiteY4" fmla="*/ 1382 h 3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4" h="33268">
                  <a:moveTo>
                    <a:pt x="21285" y="841"/>
                  </a:moveTo>
                  <a:cubicBezTo>
                    <a:pt x="29508" y="3330"/>
                    <a:pt x="35026" y="12744"/>
                    <a:pt x="32862" y="21076"/>
                  </a:cubicBezTo>
                  <a:cubicBezTo>
                    <a:pt x="30698" y="29407"/>
                    <a:pt x="21176" y="35034"/>
                    <a:pt x="12845" y="32761"/>
                  </a:cubicBezTo>
                  <a:cubicBezTo>
                    <a:pt x="4621" y="30381"/>
                    <a:pt x="-2304" y="19236"/>
                    <a:pt x="726" y="11229"/>
                  </a:cubicBezTo>
                  <a:cubicBezTo>
                    <a:pt x="3755" y="3222"/>
                    <a:pt x="15333" y="-2838"/>
                    <a:pt x="22799" y="1382"/>
                  </a:cubicBezTo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A37FFB50-761E-4607-94E6-AFBCEA970EE3}"/>
                </a:ext>
              </a:extLst>
            </p:cNvPr>
            <p:cNvSpPr/>
            <p:nvPr/>
          </p:nvSpPr>
          <p:spPr>
            <a:xfrm flipH="1">
              <a:off x="1222966" y="6800451"/>
              <a:ext cx="471818" cy="38283"/>
            </a:xfrm>
            <a:custGeom>
              <a:avLst/>
              <a:gdLst>
                <a:gd name="connsiteX0" fmla="*/ 428071 w 428070"/>
                <a:gd name="connsiteY0" fmla="*/ 34734 h 34733"/>
                <a:gd name="connsiteX1" fmla="*/ 427746 w 428070"/>
                <a:gd name="connsiteY1" fmla="*/ 0 h 34733"/>
                <a:gd name="connsiteX2" fmla="*/ 17545 w 428070"/>
                <a:gd name="connsiteY2" fmla="*/ 2489 h 34733"/>
                <a:gd name="connsiteX3" fmla="*/ 124 w 428070"/>
                <a:gd name="connsiteY3" fmla="*/ 23805 h 34733"/>
                <a:gd name="connsiteX4" fmla="*/ 428071 w 428070"/>
                <a:gd name="connsiteY4" fmla="*/ 34734 h 3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070" h="34733">
                  <a:moveTo>
                    <a:pt x="428071" y="34734"/>
                  </a:moveTo>
                  <a:lnTo>
                    <a:pt x="427746" y="0"/>
                  </a:lnTo>
                  <a:lnTo>
                    <a:pt x="17545" y="2489"/>
                  </a:lnTo>
                  <a:cubicBezTo>
                    <a:pt x="17545" y="2489"/>
                    <a:pt x="-1716" y="10280"/>
                    <a:pt x="124" y="23805"/>
                  </a:cubicBezTo>
                  <a:lnTo>
                    <a:pt x="428071" y="34734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92FD1CDC-628E-43AB-9FC9-D00172700D70}"/>
                </a:ext>
              </a:extLst>
            </p:cNvPr>
            <p:cNvSpPr/>
            <p:nvPr/>
          </p:nvSpPr>
          <p:spPr>
            <a:xfrm flipH="1">
              <a:off x="1409588" y="6692936"/>
              <a:ext cx="42373" cy="30042"/>
            </a:xfrm>
            <a:custGeom>
              <a:avLst/>
              <a:gdLst>
                <a:gd name="connsiteX0" fmla="*/ 11 w 38444"/>
                <a:gd name="connsiteY0" fmla="*/ 1785 h 27256"/>
                <a:gd name="connsiteX1" fmla="*/ 20570 w 38444"/>
                <a:gd name="connsiteY1" fmla="*/ 12064 h 27256"/>
                <a:gd name="connsiteX2" fmla="*/ 37882 w 38444"/>
                <a:gd name="connsiteY2" fmla="*/ 27213 h 27256"/>
                <a:gd name="connsiteX3" fmla="*/ 24681 w 38444"/>
                <a:gd name="connsiteY3" fmla="*/ 6005 h 27256"/>
                <a:gd name="connsiteX4" fmla="*/ 11 w 38444"/>
                <a:gd name="connsiteY4" fmla="*/ 1785 h 2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44" h="27256">
                  <a:moveTo>
                    <a:pt x="11" y="1785"/>
                  </a:moveTo>
                  <a:cubicBezTo>
                    <a:pt x="11" y="3841"/>
                    <a:pt x="10399" y="5139"/>
                    <a:pt x="20570" y="12064"/>
                  </a:cubicBezTo>
                  <a:cubicBezTo>
                    <a:pt x="30849" y="18773"/>
                    <a:pt x="35935" y="27970"/>
                    <a:pt x="37882" y="27213"/>
                  </a:cubicBezTo>
                  <a:cubicBezTo>
                    <a:pt x="39830" y="26888"/>
                    <a:pt x="37017" y="14336"/>
                    <a:pt x="24681" y="6005"/>
                  </a:cubicBezTo>
                  <a:cubicBezTo>
                    <a:pt x="12238" y="-2327"/>
                    <a:pt x="-422" y="-163"/>
                    <a:pt x="11" y="178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0B99F35-937C-4132-BC2A-A5E01C1F2DD4}"/>
                </a:ext>
              </a:extLst>
            </p:cNvPr>
            <p:cNvSpPr/>
            <p:nvPr/>
          </p:nvSpPr>
          <p:spPr>
            <a:xfrm flipH="1">
              <a:off x="1471677" y="6713194"/>
              <a:ext cx="30388" cy="37536"/>
            </a:xfrm>
            <a:custGeom>
              <a:avLst/>
              <a:gdLst>
                <a:gd name="connsiteX0" fmla="*/ 23 w 27570"/>
                <a:gd name="connsiteY0" fmla="*/ 827 h 34056"/>
                <a:gd name="connsiteX1" fmla="*/ 15280 w 27570"/>
                <a:gd name="connsiteY1" fmla="*/ 15651 h 34056"/>
                <a:gd name="connsiteX2" fmla="*/ 25992 w 27570"/>
                <a:gd name="connsiteY2" fmla="*/ 34046 h 34056"/>
                <a:gd name="connsiteX3" fmla="*/ 20907 w 27570"/>
                <a:gd name="connsiteY3" fmla="*/ 11214 h 34056"/>
                <a:gd name="connsiteX4" fmla="*/ 23 w 27570"/>
                <a:gd name="connsiteY4" fmla="*/ 827 h 3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70" h="34056">
                  <a:moveTo>
                    <a:pt x="23" y="827"/>
                  </a:moveTo>
                  <a:cubicBezTo>
                    <a:pt x="-518" y="2883"/>
                    <a:pt x="8463" y="6670"/>
                    <a:pt x="15280" y="15651"/>
                  </a:cubicBezTo>
                  <a:cubicBezTo>
                    <a:pt x="22422" y="24415"/>
                    <a:pt x="23936" y="34046"/>
                    <a:pt x="25992" y="34046"/>
                  </a:cubicBezTo>
                  <a:cubicBezTo>
                    <a:pt x="27940" y="34478"/>
                    <a:pt x="29671" y="22251"/>
                    <a:pt x="20907" y="11214"/>
                  </a:cubicBezTo>
                  <a:cubicBezTo>
                    <a:pt x="12467" y="-39"/>
                    <a:pt x="131" y="-1229"/>
                    <a:pt x="23" y="82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928E8F98-1C0E-431A-83DA-A96D300D2B18}"/>
                </a:ext>
              </a:extLst>
            </p:cNvPr>
            <p:cNvSpPr/>
            <p:nvPr/>
          </p:nvSpPr>
          <p:spPr>
            <a:xfrm flipH="1">
              <a:off x="1528612" y="6732370"/>
              <a:ext cx="20463" cy="40195"/>
            </a:xfrm>
            <a:custGeom>
              <a:avLst/>
              <a:gdLst>
                <a:gd name="connsiteX0" fmla="*/ 15839 w 18566"/>
                <a:gd name="connsiteY0" fmla="*/ 36449 h 36468"/>
                <a:gd name="connsiteX1" fmla="*/ 15839 w 18566"/>
                <a:gd name="connsiteY1" fmla="*/ 15024 h 36468"/>
                <a:gd name="connsiteX2" fmla="*/ 150 w 18566"/>
                <a:gd name="connsiteY2" fmla="*/ 309 h 36468"/>
                <a:gd name="connsiteX3" fmla="*/ 9131 w 18566"/>
                <a:gd name="connsiteY3" fmla="*/ 17838 h 36468"/>
                <a:gd name="connsiteX4" fmla="*/ 15839 w 18566"/>
                <a:gd name="connsiteY4" fmla="*/ 36449 h 3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66" h="36468">
                  <a:moveTo>
                    <a:pt x="15839" y="36449"/>
                  </a:moveTo>
                  <a:cubicBezTo>
                    <a:pt x="17679" y="36990"/>
                    <a:pt x="20925" y="26602"/>
                    <a:pt x="15839" y="15024"/>
                  </a:cubicBezTo>
                  <a:cubicBezTo>
                    <a:pt x="10862" y="3447"/>
                    <a:pt x="1124" y="-1314"/>
                    <a:pt x="150" y="309"/>
                  </a:cubicBezTo>
                  <a:cubicBezTo>
                    <a:pt x="-1040" y="2040"/>
                    <a:pt x="5127" y="8316"/>
                    <a:pt x="9131" y="17838"/>
                  </a:cubicBezTo>
                  <a:cubicBezTo>
                    <a:pt x="13459" y="27360"/>
                    <a:pt x="13783" y="36232"/>
                    <a:pt x="15839" y="3644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DE05328C-0E44-4D4B-B256-65A0966788F0}"/>
                </a:ext>
              </a:extLst>
            </p:cNvPr>
            <p:cNvSpPr/>
            <p:nvPr/>
          </p:nvSpPr>
          <p:spPr>
            <a:xfrm flipH="1">
              <a:off x="1397428" y="6631742"/>
              <a:ext cx="49107" cy="12265"/>
            </a:xfrm>
            <a:custGeom>
              <a:avLst/>
              <a:gdLst>
                <a:gd name="connsiteX0" fmla="*/ 66 w 44554"/>
                <a:gd name="connsiteY0" fmla="*/ 6990 h 11128"/>
                <a:gd name="connsiteX1" fmla="*/ 22356 w 44554"/>
                <a:gd name="connsiteY1" fmla="*/ 7423 h 11128"/>
                <a:gd name="connsiteX2" fmla="*/ 44429 w 44554"/>
                <a:gd name="connsiteY2" fmla="*/ 10669 h 11128"/>
                <a:gd name="connsiteX3" fmla="*/ 23005 w 44554"/>
                <a:gd name="connsiteY3" fmla="*/ 173 h 11128"/>
                <a:gd name="connsiteX4" fmla="*/ 66 w 44554"/>
                <a:gd name="connsiteY4" fmla="*/ 6990 h 11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54" h="11128">
                  <a:moveTo>
                    <a:pt x="66" y="6990"/>
                  </a:moveTo>
                  <a:cubicBezTo>
                    <a:pt x="931" y="8937"/>
                    <a:pt x="10562" y="6232"/>
                    <a:pt x="22356" y="7423"/>
                  </a:cubicBezTo>
                  <a:cubicBezTo>
                    <a:pt x="34150" y="8288"/>
                    <a:pt x="43239" y="12508"/>
                    <a:pt x="44429" y="10669"/>
                  </a:cubicBezTo>
                  <a:cubicBezTo>
                    <a:pt x="45728" y="9154"/>
                    <a:pt x="36855" y="1255"/>
                    <a:pt x="23005" y="173"/>
                  </a:cubicBezTo>
                  <a:cubicBezTo>
                    <a:pt x="9046" y="-1125"/>
                    <a:pt x="-908" y="5259"/>
                    <a:pt x="66" y="699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68F3BB8E-5162-445A-9273-5E1AB5319015}"/>
                </a:ext>
              </a:extLst>
            </p:cNvPr>
            <p:cNvSpPr/>
            <p:nvPr/>
          </p:nvSpPr>
          <p:spPr>
            <a:xfrm flipH="1">
              <a:off x="1212828" y="6502415"/>
              <a:ext cx="233515" cy="47227"/>
            </a:xfrm>
            <a:custGeom>
              <a:avLst/>
              <a:gdLst>
                <a:gd name="connsiteX0" fmla="*/ 0 w 211863"/>
                <a:gd name="connsiteY0" fmla="*/ 0 h 42848"/>
                <a:gd name="connsiteX1" fmla="*/ 325 w 211863"/>
                <a:gd name="connsiteY1" fmla="*/ 39386 h 42848"/>
                <a:gd name="connsiteX2" fmla="*/ 210673 w 211863"/>
                <a:gd name="connsiteY2" fmla="*/ 42849 h 42848"/>
                <a:gd name="connsiteX3" fmla="*/ 211864 w 211863"/>
                <a:gd name="connsiteY3" fmla="*/ 7466 h 4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863" h="42848">
                  <a:moveTo>
                    <a:pt x="0" y="0"/>
                  </a:moveTo>
                  <a:lnTo>
                    <a:pt x="325" y="39386"/>
                  </a:lnTo>
                  <a:lnTo>
                    <a:pt x="210673" y="42849"/>
                  </a:lnTo>
                  <a:lnTo>
                    <a:pt x="211864" y="7466"/>
                  </a:lnTo>
                  <a:close/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C7BABD8E-85B1-422C-BBAE-BA7133C54766}"/>
                </a:ext>
              </a:extLst>
            </p:cNvPr>
            <p:cNvSpPr/>
            <p:nvPr/>
          </p:nvSpPr>
          <p:spPr>
            <a:xfrm flipH="1">
              <a:off x="1373610" y="6554007"/>
              <a:ext cx="72376" cy="38277"/>
            </a:xfrm>
            <a:custGeom>
              <a:avLst/>
              <a:gdLst>
                <a:gd name="connsiteX0" fmla="*/ 0 w 65665"/>
                <a:gd name="connsiteY0" fmla="*/ 32937 h 34728"/>
                <a:gd name="connsiteX1" fmla="*/ 21425 w 65665"/>
                <a:gd name="connsiteY1" fmla="*/ 33370 h 34728"/>
                <a:gd name="connsiteX2" fmla="*/ 44039 w 65665"/>
                <a:gd name="connsiteY2" fmla="*/ 27094 h 34728"/>
                <a:gd name="connsiteX3" fmla="*/ 56483 w 65665"/>
                <a:gd name="connsiteY3" fmla="*/ 20927 h 34728"/>
                <a:gd name="connsiteX4" fmla="*/ 63083 w 65665"/>
                <a:gd name="connsiteY4" fmla="*/ 16057 h 34728"/>
                <a:gd name="connsiteX5" fmla="*/ 64273 w 65665"/>
                <a:gd name="connsiteY5" fmla="*/ 5021 h 34728"/>
                <a:gd name="connsiteX6" fmla="*/ 55292 w 65665"/>
                <a:gd name="connsiteY6" fmla="*/ 43 h 34728"/>
                <a:gd name="connsiteX7" fmla="*/ 47177 w 65665"/>
                <a:gd name="connsiteY7" fmla="*/ 909 h 34728"/>
                <a:gd name="connsiteX8" fmla="*/ 33760 w 65665"/>
                <a:gd name="connsiteY8" fmla="*/ 5129 h 34728"/>
                <a:gd name="connsiteX9" fmla="*/ 13634 w 65665"/>
                <a:gd name="connsiteY9" fmla="*/ 17572 h 34728"/>
                <a:gd name="connsiteX10" fmla="*/ 541 w 65665"/>
                <a:gd name="connsiteY10" fmla="*/ 34668 h 34728"/>
                <a:gd name="connsiteX11" fmla="*/ 16772 w 65665"/>
                <a:gd name="connsiteY11" fmla="*/ 21684 h 34728"/>
                <a:gd name="connsiteX12" fmla="*/ 36140 w 65665"/>
                <a:gd name="connsiteY12" fmla="*/ 11405 h 34728"/>
                <a:gd name="connsiteX13" fmla="*/ 48584 w 65665"/>
                <a:gd name="connsiteY13" fmla="*/ 7942 h 34728"/>
                <a:gd name="connsiteX14" fmla="*/ 58106 w 65665"/>
                <a:gd name="connsiteY14" fmla="*/ 9024 h 34728"/>
                <a:gd name="connsiteX15" fmla="*/ 57565 w 65665"/>
                <a:gd name="connsiteY15" fmla="*/ 11405 h 34728"/>
                <a:gd name="connsiteX16" fmla="*/ 52696 w 65665"/>
                <a:gd name="connsiteY16" fmla="*/ 14975 h 34728"/>
                <a:gd name="connsiteX17" fmla="*/ 41226 w 65665"/>
                <a:gd name="connsiteY17" fmla="*/ 21143 h 34728"/>
                <a:gd name="connsiteX18" fmla="*/ 20342 w 65665"/>
                <a:gd name="connsiteY18" fmla="*/ 28501 h 34728"/>
                <a:gd name="connsiteX19" fmla="*/ 0 w 65665"/>
                <a:gd name="connsiteY19" fmla="*/ 32937 h 34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5665" h="34728">
                  <a:moveTo>
                    <a:pt x="0" y="32937"/>
                  </a:moveTo>
                  <a:cubicBezTo>
                    <a:pt x="0" y="33803"/>
                    <a:pt x="8224" y="35318"/>
                    <a:pt x="21425" y="33370"/>
                  </a:cubicBezTo>
                  <a:cubicBezTo>
                    <a:pt x="28025" y="32396"/>
                    <a:pt x="35816" y="30448"/>
                    <a:pt x="44039" y="27094"/>
                  </a:cubicBezTo>
                  <a:cubicBezTo>
                    <a:pt x="48151" y="25363"/>
                    <a:pt x="52371" y="23307"/>
                    <a:pt x="56483" y="20927"/>
                  </a:cubicBezTo>
                  <a:cubicBezTo>
                    <a:pt x="58538" y="19736"/>
                    <a:pt x="60811" y="18438"/>
                    <a:pt x="63083" y="16057"/>
                  </a:cubicBezTo>
                  <a:cubicBezTo>
                    <a:pt x="65464" y="13893"/>
                    <a:pt x="66870" y="8483"/>
                    <a:pt x="64273" y="5021"/>
                  </a:cubicBezTo>
                  <a:cubicBezTo>
                    <a:pt x="62217" y="1666"/>
                    <a:pt x="58322" y="151"/>
                    <a:pt x="55292" y="43"/>
                  </a:cubicBezTo>
                  <a:cubicBezTo>
                    <a:pt x="52154" y="-173"/>
                    <a:pt x="49558" y="476"/>
                    <a:pt x="47177" y="909"/>
                  </a:cubicBezTo>
                  <a:cubicBezTo>
                    <a:pt x="42416" y="1991"/>
                    <a:pt x="37871" y="3397"/>
                    <a:pt x="33760" y="5129"/>
                  </a:cubicBezTo>
                  <a:cubicBezTo>
                    <a:pt x="25536" y="8591"/>
                    <a:pt x="18719" y="13136"/>
                    <a:pt x="13634" y="17572"/>
                  </a:cubicBezTo>
                  <a:cubicBezTo>
                    <a:pt x="3463" y="26553"/>
                    <a:pt x="-108" y="34235"/>
                    <a:pt x="541" y="34668"/>
                  </a:cubicBezTo>
                  <a:cubicBezTo>
                    <a:pt x="1515" y="35426"/>
                    <a:pt x="6492" y="28934"/>
                    <a:pt x="16772" y="21684"/>
                  </a:cubicBezTo>
                  <a:cubicBezTo>
                    <a:pt x="21857" y="18005"/>
                    <a:pt x="28458" y="14326"/>
                    <a:pt x="36140" y="11405"/>
                  </a:cubicBezTo>
                  <a:cubicBezTo>
                    <a:pt x="40036" y="9998"/>
                    <a:pt x="44147" y="8807"/>
                    <a:pt x="48584" y="7942"/>
                  </a:cubicBezTo>
                  <a:cubicBezTo>
                    <a:pt x="53128" y="6860"/>
                    <a:pt x="57024" y="6968"/>
                    <a:pt x="58106" y="9024"/>
                  </a:cubicBezTo>
                  <a:cubicBezTo>
                    <a:pt x="58538" y="9782"/>
                    <a:pt x="58538" y="10106"/>
                    <a:pt x="57565" y="11405"/>
                  </a:cubicBezTo>
                  <a:cubicBezTo>
                    <a:pt x="56591" y="12595"/>
                    <a:pt x="54643" y="13785"/>
                    <a:pt x="52696" y="14975"/>
                  </a:cubicBezTo>
                  <a:cubicBezTo>
                    <a:pt x="48800" y="17356"/>
                    <a:pt x="45013" y="19412"/>
                    <a:pt x="41226" y="21143"/>
                  </a:cubicBezTo>
                  <a:cubicBezTo>
                    <a:pt x="33652" y="24605"/>
                    <a:pt x="26510" y="26986"/>
                    <a:pt x="20342" y="28501"/>
                  </a:cubicBezTo>
                  <a:cubicBezTo>
                    <a:pt x="8007" y="31422"/>
                    <a:pt x="0" y="31855"/>
                    <a:pt x="0" y="3293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3F0278D0-717B-4C5F-8FE7-4202266B28F7}"/>
                </a:ext>
              </a:extLst>
            </p:cNvPr>
            <p:cNvSpPr/>
            <p:nvPr/>
          </p:nvSpPr>
          <p:spPr>
            <a:xfrm flipH="1">
              <a:off x="1436114" y="6518145"/>
              <a:ext cx="36594" cy="75515"/>
            </a:xfrm>
            <a:custGeom>
              <a:avLst/>
              <a:gdLst>
                <a:gd name="connsiteX0" fmla="*/ 26841 w 33201"/>
                <a:gd name="connsiteY0" fmla="*/ 68504 h 68513"/>
                <a:gd name="connsiteX1" fmla="*/ 33008 w 33201"/>
                <a:gd name="connsiteY1" fmla="*/ 47945 h 68513"/>
                <a:gd name="connsiteX2" fmla="*/ 30736 w 33201"/>
                <a:gd name="connsiteY2" fmla="*/ 24357 h 68513"/>
                <a:gd name="connsiteX3" fmla="*/ 25650 w 33201"/>
                <a:gd name="connsiteY3" fmla="*/ 11156 h 68513"/>
                <a:gd name="connsiteX4" fmla="*/ 12233 w 33201"/>
                <a:gd name="connsiteY4" fmla="*/ 11 h 68513"/>
                <a:gd name="connsiteX5" fmla="*/ 3144 w 33201"/>
                <a:gd name="connsiteY5" fmla="*/ 5745 h 68513"/>
                <a:gd name="connsiteX6" fmla="*/ 764 w 33201"/>
                <a:gd name="connsiteY6" fmla="*/ 13536 h 68513"/>
                <a:gd name="connsiteX7" fmla="*/ 331 w 33201"/>
                <a:gd name="connsiteY7" fmla="*/ 27927 h 68513"/>
                <a:gd name="connsiteX8" fmla="*/ 8879 w 33201"/>
                <a:gd name="connsiteY8" fmla="*/ 50325 h 68513"/>
                <a:gd name="connsiteX9" fmla="*/ 25759 w 33201"/>
                <a:gd name="connsiteY9" fmla="*/ 63635 h 68513"/>
                <a:gd name="connsiteX10" fmla="*/ 13207 w 33201"/>
                <a:gd name="connsiteY10" fmla="*/ 47512 h 68513"/>
                <a:gd name="connsiteX11" fmla="*/ 6931 w 33201"/>
                <a:gd name="connsiteY11" fmla="*/ 27170 h 68513"/>
                <a:gd name="connsiteX12" fmla="*/ 7688 w 33201"/>
                <a:gd name="connsiteY12" fmla="*/ 14835 h 68513"/>
                <a:gd name="connsiteX13" fmla="*/ 12017 w 33201"/>
                <a:gd name="connsiteY13" fmla="*/ 7152 h 68513"/>
                <a:gd name="connsiteX14" fmla="*/ 19375 w 33201"/>
                <a:gd name="connsiteY14" fmla="*/ 14402 h 68513"/>
                <a:gd name="connsiteX15" fmla="*/ 24352 w 33201"/>
                <a:gd name="connsiteY15" fmla="*/ 26196 h 68513"/>
                <a:gd name="connsiteX16" fmla="*/ 27923 w 33201"/>
                <a:gd name="connsiteY16" fmla="*/ 47729 h 68513"/>
                <a:gd name="connsiteX17" fmla="*/ 26841 w 33201"/>
                <a:gd name="connsiteY17" fmla="*/ 68504 h 6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3201" h="68513">
                  <a:moveTo>
                    <a:pt x="26841" y="68504"/>
                  </a:moveTo>
                  <a:cubicBezTo>
                    <a:pt x="27598" y="68828"/>
                    <a:pt x="31926" y="61470"/>
                    <a:pt x="33008" y="47945"/>
                  </a:cubicBezTo>
                  <a:cubicBezTo>
                    <a:pt x="33549" y="41236"/>
                    <a:pt x="33008" y="33121"/>
                    <a:pt x="30736" y="24357"/>
                  </a:cubicBezTo>
                  <a:cubicBezTo>
                    <a:pt x="29546" y="20028"/>
                    <a:pt x="27815" y="15592"/>
                    <a:pt x="25650" y="11156"/>
                  </a:cubicBezTo>
                  <a:cubicBezTo>
                    <a:pt x="23270" y="6828"/>
                    <a:pt x="20348" y="1092"/>
                    <a:pt x="12233" y="11"/>
                  </a:cubicBezTo>
                  <a:cubicBezTo>
                    <a:pt x="8013" y="-206"/>
                    <a:pt x="4442" y="2932"/>
                    <a:pt x="3144" y="5745"/>
                  </a:cubicBezTo>
                  <a:cubicBezTo>
                    <a:pt x="1629" y="8558"/>
                    <a:pt x="1304" y="11047"/>
                    <a:pt x="764" y="13536"/>
                  </a:cubicBezTo>
                  <a:cubicBezTo>
                    <a:pt x="-102" y="18513"/>
                    <a:pt x="-210" y="23383"/>
                    <a:pt x="331" y="27927"/>
                  </a:cubicBezTo>
                  <a:cubicBezTo>
                    <a:pt x="1413" y="37125"/>
                    <a:pt x="4983" y="44699"/>
                    <a:pt x="8879" y="50325"/>
                  </a:cubicBezTo>
                  <a:cubicBezTo>
                    <a:pt x="16994" y="61579"/>
                    <a:pt x="25650" y="64392"/>
                    <a:pt x="25759" y="63635"/>
                  </a:cubicBezTo>
                  <a:cubicBezTo>
                    <a:pt x="26516" y="62553"/>
                    <a:pt x="19266" y="58332"/>
                    <a:pt x="13207" y="47512"/>
                  </a:cubicBezTo>
                  <a:cubicBezTo>
                    <a:pt x="10177" y="42210"/>
                    <a:pt x="7580" y="35177"/>
                    <a:pt x="6931" y="27170"/>
                  </a:cubicBezTo>
                  <a:cubicBezTo>
                    <a:pt x="6607" y="23166"/>
                    <a:pt x="6823" y="18946"/>
                    <a:pt x="7688" y="14835"/>
                  </a:cubicBezTo>
                  <a:cubicBezTo>
                    <a:pt x="8446" y="10290"/>
                    <a:pt x="10286" y="6719"/>
                    <a:pt x="12017" y="7152"/>
                  </a:cubicBezTo>
                  <a:cubicBezTo>
                    <a:pt x="14181" y="7152"/>
                    <a:pt x="17643" y="10723"/>
                    <a:pt x="19375" y="14402"/>
                  </a:cubicBezTo>
                  <a:cubicBezTo>
                    <a:pt x="21431" y="18297"/>
                    <a:pt x="23162" y="22301"/>
                    <a:pt x="24352" y="26196"/>
                  </a:cubicBezTo>
                  <a:cubicBezTo>
                    <a:pt x="26841" y="33987"/>
                    <a:pt x="27815" y="41453"/>
                    <a:pt x="27923" y="47729"/>
                  </a:cubicBezTo>
                  <a:cubicBezTo>
                    <a:pt x="28139" y="60388"/>
                    <a:pt x="25759" y="68179"/>
                    <a:pt x="26841" y="6850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DE4565A3-D932-4E72-ADBC-07B13CC8A8F5}"/>
                </a:ext>
              </a:extLst>
            </p:cNvPr>
            <p:cNvSpPr/>
            <p:nvPr/>
          </p:nvSpPr>
          <p:spPr>
            <a:xfrm flipH="1">
              <a:off x="210192" y="5911470"/>
              <a:ext cx="444489" cy="599054"/>
            </a:xfrm>
            <a:custGeom>
              <a:avLst/>
              <a:gdLst>
                <a:gd name="connsiteX0" fmla="*/ 0 w 403275"/>
                <a:gd name="connsiteY0" fmla="*/ 186435 h 543508"/>
                <a:gd name="connsiteX1" fmla="*/ 195849 w 403275"/>
                <a:gd name="connsiteY1" fmla="*/ 288039 h 543508"/>
                <a:gd name="connsiteX2" fmla="*/ 192711 w 403275"/>
                <a:gd name="connsiteY2" fmla="*/ 543509 h 543508"/>
                <a:gd name="connsiteX3" fmla="*/ 403276 w 403275"/>
                <a:gd name="connsiteY3" fmla="*/ 170854 h 543508"/>
                <a:gd name="connsiteX4" fmla="*/ 104633 w 403275"/>
                <a:gd name="connsiteY4" fmla="*/ 0 h 543508"/>
                <a:gd name="connsiteX5" fmla="*/ 0 w 403275"/>
                <a:gd name="connsiteY5" fmla="*/ 186435 h 54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275" h="543508">
                  <a:moveTo>
                    <a:pt x="0" y="186435"/>
                  </a:moveTo>
                  <a:lnTo>
                    <a:pt x="195849" y="288039"/>
                  </a:lnTo>
                  <a:cubicBezTo>
                    <a:pt x="195849" y="288039"/>
                    <a:pt x="158410" y="521219"/>
                    <a:pt x="192711" y="543509"/>
                  </a:cubicBezTo>
                  <a:lnTo>
                    <a:pt x="403276" y="170854"/>
                  </a:lnTo>
                  <a:lnTo>
                    <a:pt x="104633" y="0"/>
                  </a:lnTo>
                  <a:lnTo>
                    <a:pt x="0" y="186435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3877AAE0-364D-4F57-B348-C50BD119E636}"/>
                </a:ext>
              </a:extLst>
            </p:cNvPr>
            <p:cNvSpPr/>
            <p:nvPr/>
          </p:nvSpPr>
          <p:spPr>
            <a:xfrm flipH="1">
              <a:off x="353559" y="6086609"/>
              <a:ext cx="36223" cy="35437"/>
            </a:xfrm>
            <a:custGeom>
              <a:avLst/>
              <a:gdLst>
                <a:gd name="connsiteX0" fmla="*/ 4529 w 32864"/>
                <a:gd name="connsiteY0" fmla="*/ 4813 h 32151"/>
                <a:gd name="connsiteX1" fmla="*/ 27793 w 32864"/>
                <a:gd name="connsiteY1" fmla="*/ 4055 h 32151"/>
                <a:gd name="connsiteX2" fmla="*/ 28658 w 32864"/>
                <a:gd name="connsiteY2" fmla="*/ 27103 h 32151"/>
                <a:gd name="connsiteX3" fmla="*/ 3987 w 32864"/>
                <a:gd name="connsiteY3" fmla="*/ 27752 h 32151"/>
                <a:gd name="connsiteX4" fmla="*/ 5719 w 32864"/>
                <a:gd name="connsiteY4" fmla="*/ 3623 h 32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64" h="32151">
                  <a:moveTo>
                    <a:pt x="4529" y="4813"/>
                  </a:moveTo>
                  <a:cubicBezTo>
                    <a:pt x="10588" y="-1247"/>
                    <a:pt x="21516" y="-1679"/>
                    <a:pt x="27793" y="4055"/>
                  </a:cubicBezTo>
                  <a:cubicBezTo>
                    <a:pt x="34177" y="9898"/>
                    <a:pt x="34609" y="20935"/>
                    <a:pt x="28658" y="27103"/>
                  </a:cubicBezTo>
                  <a:cubicBezTo>
                    <a:pt x="22707" y="33270"/>
                    <a:pt x="9614" y="34136"/>
                    <a:pt x="3987" y="27752"/>
                  </a:cubicBezTo>
                  <a:cubicBezTo>
                    <a:pt x="-1639" y="21260"/>
                    <a:pt x="-1531" y="8167"/>
                    <a:pt x="5719" y="3623"/>
                  </a:cubicBezTo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DCA3BE7-1259-42A8-BB4F-94E2ACCE09B4}"/>
                </a:ext>
              </a:extLst>
            </p:cNvPr>
            <p:cNvSpPr/>
            <p:nvPr/>
          </p:nvSpPr>
          <p:spPr>
            <a:xfrm flipH="1">
              <a:off x="210192" y="6082134"/>
              <a:ext cx="243924" cy="428389"/>
            </a:xfrm>
            <a:custGeom>
              <a:avLst/>
              <a:gdLst>
                <a:gd name="connsiteX0" fmla="*/ 221308 w 221307"/>
                <a:gd name="connsiteY0" fmla="*/ 16014 h 388668"/>
                <a:gd name="connsiteX1" fmla="*/ 190578 w 221307"/>
                <a:gd name="connsiteY1" fmla="*/ 0 h 388668"/>
                <a:gd name="connsiteX2" fmla="*/ 139 w 221307"/>
                <a:gd name="connsiteY2" fmla="*/ 363241 h 388668"/>
                <a:gd name="connsiteX3" fmla="*/ 10743 w 221307"/>
                <a:gd name="connsiteY3" fmla="*/ 388669 h 388668"/>
                <a:gd name="connsiteX4" fmla="*/ 221308 w 221307"/>
                <a:gd name="connsiteY4" fmla="*/ 16014 h 388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307" h="388668">
                  <a:moveTo>
                    <a:pt x="221308" y="16014"/>
                  </a:moveTo>
                  <a:lnTo>
                    <a:pt x="190578" y="0"/>
                  </a:lnTo>
                  <a:lnTo>
                    <a:pt x="139" y="363241"/>
                  </a:lnTo>
                  <a:cubicBezTo>
                    <a:pt x="139" y="363241"/>
                    <a:pt x="-2025" y="383908"/>
                    <a:pt x="10743" y="388669"/>
                  </a:cubicBezTo>
                  <a:lnTo>
                    <a:pt x="221308" y="16014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22EE8C3-E303-44BD-819A-CED2C3737F40}"/>
                </a:ext>
              </a:extLst>
            </p:cNvPr>
            <p:cNvSpPr/>
            <p:nvPr/>
          </p:nvSpPr>
          <p:spPr>
            <a:xfrm flipH="1">
              <a:off x="400396" y="6207952"/>
              <a:ext cx="44769" cy="26563"/>
            </a:xfrm>
            <a:custGeom>
              <a:avLst/>
              <a:gdLst>
                <a:gd name="connsiteX0" fmla="*/ 458 w 40618"/>
                <a:gd name="connsiteY0" fmla="*/ 24025 h 24100"/>
                <a:gd name="connsiteX1" fmla="*/ 19177 w 40618"/>
                <a:gd name="connsiteY1" fmla="*/ 10715 h 24100"/>
                <a:gd name="connsiteX2" fmla="*/ 40601 w 40618"/>
                <a:gd name="connsiteY2" fmla="*/ 2492 h 24100"/>
                <a:gd name="connsiteX3" fmla="*/ 15714 w 40618"/>
                <a:gd name="connsiteY3" fmla="*/ 4223 h 24100"/>
                <a:gd name="connsiteX4" fmla="*/ 458 w 40618"/>
                <a:gd name="connsiteY4" fmla="*/ 24025 h 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18" h="24100">
                  <a:moveTo>
                    <a:pt x="458" y="24025"/>
                  </a:moveTo>
                  <a:cubicBezTo>
                    <a:pt x="2297" y="24998"/>
                    <a:pt x="8248" y="16342"/>
                    <a:pt x="19177" y="10715"/>
                  </a:cubicBezTo>
                  <a:cubicBezTo>
                    <a:pt x="29889" y="4764"/>
                    <a:pt x="40385" y="4656"/>
                    <a:pt x="40601" y="2492"/>
                  </a:cubicBezTo>
                  <a:cubicBezTo>
                    <a:pt x="41143" y="653"/>
                    <a:pt x="28807" y="-2810"/>
                    <a:pt x="15714" y="4223"/>
                  </a:cubicBezTo>
                  <a:cubicBezTo>
                    <a:pt x="2622" y="11257"/>
                    <a:pt x="-1490" y="23484"/>
                    <a:pt x="458" y="2402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3E5371E4-9E3F-4E31-ABF5-E748001E7267}"/>
                </a:ext>
              </a:extLst>
            </p:cNvPr>
            <p:cNvSpPr/>
            <p:nvPr/>
          </p:nvSpPr>
          <p:spPr>
            <a:xfrm flipH="1">
              <a:off x="405297" y="6271871"/>
              <a:ext cx="46213" cy="15980"/>
            </a:xfrm>
            <a:custGeom>
              <a:avLst/>
              <a:gdLst>
                <a:gd name="connsiteX0" fmla="*/ 265 w 41928"/>
                <a:gd name="connsiteY0" fmla="*/ 14292 h 14498"/>
                <a:gd name="connsiteX1" fmla="*/ 20499 w 41928"/>
                <a:gd name="connsiteY1" fmla="*/ 7692 h 14498"/>
                <a:gd name="connsiteX2" fmla="*/ 41815 w 41928"/>
                <a:gd name="connsiteY2" fmla="*/ 6826 h 14498"/>
                <a:gd name="connsiteX3" fmla="*/ 19200 w 41928"/>
                <a:gd name="connsiteY3" fmla="*/ 550 h 14498"/>
                <a:gd name="connsiteX4" fmla="*/ 265 w 41928"/>
                <a:gd name="connsiteY4" fmla="*/ 14292 h 14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28" h="14498">
                  <a:moveTo>
                    <a:pt x="265" y="14292"/>
                  </a:moveTo>
                  <a:cubicBezTo>
                    <a:pt x="1779" y="15699"/>
                    <a:pt x="9353" y="9531"/>
                    <a:pt x="20499" y="7692"/>
                  </a:cubicBezTo>
                  <a:cubicBezTo>
                    <a:pt x="31643" y="5527"/>
                    <a:pt x="40841" y="8665"/>
                    <a:pt x="41815" y="6826"/>
                  </a:cubicBezTo>
                  <a:cubicBezTo>
                    <a:pt x="43113" y="5311"/>
                    <a:pt x="33158" y="-2047"/>
                    <a:pt x="19200" y="550"/>
                  </a:cubicBezTo>
                  <a:cubicBezTo>
                    <a:pt x="5350" y="2931"/>
                    <a:pt x="-1467" y="13210"/>
                    <a:pt x="265" y="1429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5C139D94-328B-487D-89A9-C9B814291C67}"/>
                </a:ext>
              </a:extLst>
            </p:cNvPr>
            <p:cNvSpPr/>
            <p:nvPr/>
          </p:nvSpPr>
          <p:spPr>
            <a:xfrm flipH="1">
              <a:off x="413257" y="6329945"/>
              <a:ext cx="43547" cy="11721"/>
            </a:xfrm>
            <a:custGeom>
              <a:avLst/>
              <a:gdLst>
                <a:gd name="connsiteX0" fmla="*/ 39367 w 39509"/>
                <a:gd name="connsiteY0" fmla="*/ 10186 h 10634"/>
                <a:gd name="connsiteX1" fmla="*/ 20432 w 39509"/>
                <a:gd name="connsiteY1" fmla="*/ 123 h 10634"/>
                <a:gd name="connsiteX2" fmla="*/ 89 w 39509"/>
                <a:gd name="connsiteY2" fmla="*/ 7048 h 10634"/>
                <a:gd name="connsiteX3" fmla="*/ 19782 w 39509"/>
                <a:gd name="connsiteY3" fmla="*/ 7372 h 10634"/>
                <a:gd name="connsiteX4" fmla="*/ 39367 w 39509"/>
                <a:gd name="connsiteY4" fmla="*/ 10186 h 10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09" h="10634">
                  <a:moveTo>
                    <a:pt x="39367" y="10186"/>
                  </a:moveTo>
                  <a:cubicBezTo>
                    <a:pt x="40666" y="8779"/>
                    <a:pt x="32983" y="1096"/>
                    <a:pt x="20432" y="123"/>
                  </a:cubicBezTo>
                  <a:cubicBezTo>
                    <a:pt x="7880" y="-959"/>
                    <a:pt x="-993" y="5425"/>
                    <a:pt x="89" y="7048"/>
                  </a:cubicBezTo>
                  <a:cubicBezTo>
                    <a:pt x="955" y="8887"/>
                    <a:pt x="9503" y="6399"/>
                    <a:pt x="19782" y="7372"/>
                  </a:cubicBezTo>
                  <a:cubicBezTo>
                    <a:pt x="30170" y="8130"/>
                    <a:pt x="38069" y="11917"/>
                    <a:pt x="39367" y="1018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A8284CF6-B1C9-4E32-A06E-122E717A43C8}"/>
                </a:ext>
              </a:extLst>
            </p:cNvPr>
            <p:cNvSpPr/>
            <p:nvPr/>
          </p:nvSpPr>
          <p:spPr>
            <a:xfrm flipH="1">
              <a:off x="464368" y="6161808"/>
              <a:ext cx="28204" cy="41619"/>
            </a:xfrm>
            <a:custGeom>
              <a:avLst/>
              <a:gdLst>
                <a:gd name="connsiteX0" fmla="*/ 1379 w 25589"/>
                <a:gd name="connsiteY0" fmla="*/ 37757 h 37760"/>
                <a:gd name="connsiteX1" fmla="*/ 12199 w 25589"/>
                <a:gd name="connsiteY1" fmla="*/ 18281 h 37760"/>
                <a:gd name="connsiteX2" fmla="*/ 25508 w 25589"/>
                <a:gd name="connsiteY2" fmla="*/ 427 h 37760"/>
                <a:gd name="connsiteX3" fmla="*/ 6140 w 25589"/>
                <a:gd name="connsiteY3" fmla="*/ 14385 h 37760"/>
                <a:gd name="connsiteX4" fmla="*/ 1379 w 25589"/>
                <a:gd name="connsiteY4" fmla="*/ 37757 h 3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89" h="37760">
                  <a:moveTo>
                    <a:pt x="1379" y="37757"/>
                  </a:moveTo>
                  <a:cubicBezTo>
                    <a:pt x="3435" y="37974"/>
                    <a:pt x="5707" y="28127"/>
                    <a:pt x="12199" y="18281"/>
                  </a:cubicBezTo>
                  <a:cubicBezTo>
                    <a:pt x="18475" y="8218"/>
                    <a:pt x="26482" y="2158"/>
                    <a:pt x="25508" y="427"/>
                  </a:cubicBezTo>
                  <a:cubicBezTo>
                    <a:pt x="24751" y="-1413"/>
                    <a:pt x="13606" y="2591"/>
                    <a:pt x="6140" y="14385"/>
                  </a:cubicBezTo>
                  <a:cubicBezTo>
                    <a:pt x="-1543" y="26071"/>
                    <a:pt x="-569" y="37866"/>
                    <a:pt x="1379" y="3775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D2D422A-9B3C-40BE-B82B-75C0F62A030F}"/>
                </a:ext>
              </a:extLst>
            </p:cNvPr>
            <p:cNvSpPr/>
            <p:nvPr/>
          </p:nvSpPr>
          <p:spPr>
            <a:xfrm flipH="1">
              <a:off x="461238" y="5936753"/>
              <a:ext cx="150628" cy="222424"/>
            </a:xfrm>
            <a:custGeom>
              <a:avLst/>
              <a:gdLst>
                <a:gd name="connsiteX0" fmla="*/ 0 w 136661"/>
                <a:gd name="connsiteY0" fmla="*/ 183622 h 201800"/>
                <a:gd name="connsiteX1" fmla="*/ 34842 w 136661"/>
                <a:gd name="connsiteY1" fmla="*/ 201800 h 201800"/>
                <a:gd name="connsiteX2" fmla="*/ 136662 w 136661"/>
                <a:gd name="connsiteY2" fmla="*/ 17637 h 201800"/>
                <a:gd name="connsiteX3" fmla="*/ 106040 w 136661"/>
                <a:gd name="connsiteY3" fmla="*/ 0 h 20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661" h="201800">
                  <a:moveTo>
                    <a:pt x="0" y="183622"/>
                  </a:moveTo>
                  <a:lnTo>
                    <a:pt x="34842" y="201800"/>
                  </a:lnTo>
                  <a:lnTo>
                    <a:pt x="136662" y="17637"/>
                  </a:lnTo>
                  <a:lnTo>
                    <a:pt x="106040" y="0"/>
                  </a:lnTo>
                  <a:close/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B96390F1-BE16-40C1-86AC-98F9479C4A85}"/>
                </a:ext>
              </a:extLst>
            </p:cNvPr>
            <p:cNvSpPr/>
            <p:nvPr/>
          </p:nvSpPr>
          <p:spPr>
            <a:xfrm flipH="1">
              <a:off x="516456" y="6102805"/>
              <a:ext cx="27635" cy="77493"/>
            </a:xfrm>
            <a:custGeom>
              <a:avLst/>
              <a:gdLst>
                <a:gd name="connsiteX0" fmla="*/ 9060 w 25073"/>
                <a:gd name="connsiteY0" fmla="*/ 70081 h 70308"/>
                <a:gd name="connsiteX1" fmla="*/ 19555 w 25073"/>
                <a:gd name="connsiteY1" fmla="*/ 51362 h 70308"/>
                <a:gd name="connsiteX2" fmla="*/ 24641 w 25073"/>
                <a:gd name="connsiteY2" fmla="*/ 28423 h 70308"/>
                <a:gd name="connsiteX3" fmla="*/ 24965 w 25073"/>
                <a:gd name="connsiteY3" fmla="*/ 14464 h 70308"/>
                <a:gd name="connsiteX4" fmla="*/ 23775 w 25073"/>
                <a:gd name="connsiteY4" fmla="*/ 6349 h 70308"/>
                <a:gd name="connsiteX5" fmla="*/ 14578 w 25073"/>
                <a:gd name="connsiteY5" fmla="*/ 73 h 70308"/>
                <a:gd name="connsiteX6" fmla="*/ 5921 w 25073"/>
                <a:gd name="connsiteY6" fmla="*/ 5700 h 70308"/>
                <a:gd name="connsiteX7" fmla="*/ 2892 w 25073"/>
                <a:gd name="connsiteY7" fmla="*/ 13274 h 70308"/>
                <a:gd name="connsiteX8" fmla="*/ 295 w 25073"/>
                <a:gd name="connsiteY8" fmla="*/ 27124 h 70308"/>
                <a:gd name="connsiteX9" fmla="*/ 1918 w 25073"/>
                <a:gd name="connsiteY9" fmla="*/ 50713 h 70308"/>
                <a:gd name="connsiteX10" fmla="*/ 10899 w 25073"/>
                <a:gd name="connsiteY10" fmla="*/ 70298 h 70308"/>
                <a:gd name="connsiteX11" fmla="*/ 7004 w 25073"/>
                <a:gd name="connsiteY11" fmla="*/ 49847 h 70308"/>
                <a:gd name="connsiteX12" fmla="*/ 7004 w 25073"/>
                <a:gd name="connsiteY12" fmla="*/ 27882 h 70308"/>
                <a:gd name="connsiteX13" fmla="*/ 9709 w 25073"/>
                <a:gd name="connsiteY13" fmla="*/ 15330 h 70308"/>
                <a:gd name="connsiteX14" fmla="*/ 15119 w 25073"/>
                <a:gd name="connsiteY14" fmla="*/ 7431 h 70308"/>
                <a:gd name="connsiteX15" fmla="*/ 16958 w 25073"/>
                <a:gd name="connsiteY15" fmla="*/ 9054 h 70308"/>
                <a:gd name="connsiteX16" fmla="*/ 17824 w 25073"/>
                <a:gd name="connsiteY16" fmla="*/ 15006 h 70308"/>
                <a:gd name="connsiteX17" fmla="*/ 17932 w 25073"/>
                <a:gd name="connsiteY17" fmla="*/ 28098 h 70308"/>
                <a:gd name="connsiteX18" fmla="*/ 14686 w 25073"/>
                <a:gd name="connsiteY18" fmla="*/ 50064 h 70308"/>
                <a:gd name="connsiteX19" fmla="*/ 9060 w 25073"/>
                <a:gd name="connsiteY19" fmla="*/ 70081 h 7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73" h="70308">
                  <a:moveTo>
                    <a:pt x="9060" y="70081"/>
                  </a:moveTo>
                  <a:cubicBezTo>
                    <a:pt x="9817" y="70514"/>
                    <a:pt x="15011" y="64022"/>
                    <a:pt x="19555" y="51362"/>
                  </a:cubicBezTo>
                  <a:cubicBezTo>
                    <a:pt x="21828" y="45086"/>
                    <a:pt x="23775" y="37296"/>
                    <a:pt x="24641" y="28423"/>
                  </a:cubicBezTo>
                  <a:cubicBezTo>
                    <a:pt x="25074" y="23986"/>
                    <a:pt x="25182" y="19334"/>
                    <a:pt x="24965" y="14464"/>
                  </a:cubicBezTo>
                  <a:cubicBezTo>
                    <a:pt x="24857" y="12084"/>
                    <a:pt x="24857" y="9487"/>
                    <a:pt x="23775" y="6349"/>
                  </a:cubicBezTo>
                  <a:cubicBezTo>
                    <a:pt x="23018" y="3211"/>
                    <a:pt x="18798" y="-576"/>
                    <a:pt x="14578" y="73"/>
                  </a:cubicBezTo>
                  <a:cubicBezTo>
                    <a:pt x="10682" y="398"/>
                    <a:pt x="7545" y="2995"/>
                    <a:pt x="5921" y="5700"/>
                  </a:cubicBezTo>
                  <a:cubicBezTo>
                    <a:pt x="4299" y="8405"/>
                    <a:pt x="3541" y="10894"/>
                    <a:pt x="2892" y="13274"/>
                  </a:cubicBezTo>
                  <a:cubicBezTo>
                    <a:pt x="1594" y="18035"/>
                    <a:pt x="728" y="22688"/>
                    <a:pt x="295" y="27124"/>
                  </a:cubicBezTo>
                  <a:cubicBezTo>
                    <a:pt x="-462" y="36105"/>
                    <a:pt x="295" y="44220"/>
                    <a:pt x="1918" y="50713"/>
                  </a:cubicBezTo>
                  <a:cubicBezTo>
                    <a:pt x="5056" y="63914"/>
                    <a:pt x="10141" y="70622"/>
                    <a:pt x="10899" y="70298"/>
                  </a:cubicBezTo>
                  <a:cubicBezTo>
                    <a:pt x="11981" y="69865"/>
                    <a:pt x="8626" y="62399"/>
                    <a:pt x="7004" y="49847"/>
                  </a:cubicBezTo>
                  <a:cubicBezTo>
                    <a:pt x="6246" y="43571"/>
                    <a:pt x="5921" y="36105"/>
                    <a:pt x="7004" y="27882"/>
                  </a:cubicBezTo>
                  <a:cubicBezTo>
                    <a:pt x="7545" y="23770"/>
                    <a:pt x="8410" y="19550"/>
                    <a:pt x="9709" y="15330"/>
                  </a:cubicBezTo>
                  <a:cubicBezTo>
                    <a:pt x="10899" y="10785"/>
                    <a:pt x="12738" y="7431"/>
                    <a:pt x="15119" y="7431"/>
                  </a:cubicBezTo>
                  <a:cubicBezTo>
                    <a:pt x="15985" y="7431"/>
                    <a:pt x="16309" y="7539"/>
                    <a:pt x="16958" y="9054"/>
                  </a:cubicBezTo>
                  <a:cubicBezTo>
                    <a:pt x="17499" y="10461"/>
                    <a:pt x="17716" y="12733"/>
                    <a:pt x="17824" y="15006"/>
                  </a:cubicBezTo>
                  <a:cubicBezTo>
                    <a:pt x="18148" y="19550"/>
                    <a:pt x="18148" y="23878"/>
                    <a:pt x="17932" y="28098"/>
                  </a:cubicBezTo>
                  <a:cubicBezTo>
                    <a:pt x="17499" y="36430"/>
                    <a:pt x="16201" y="43896"/>
                    <a:pt x="14686" y="50064"/>
                  </a:cubicBezTo>
                  <a:cubicBezTo>
                    <a:pt x="11440" y="62291"/>
                    <a:pt x="7977" y="69540"/>
                    <a:pt x="9060" y="7008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B6032EFF-BF3D-4494-8879-CE7455BBD7F3}"/>
                </a:ext>
              </a:extLst>
            </p:cNvPr>
            <p:cNvSpPr/>
            <p:nvPr/>
          </p:nvSpPr>
          <p:spPr>
            <a:xfrm flipH="1">
              <a:off x="529746" y="6150710"/>
              <a:ext cx="75621" cy="36919"/>
            </a:xfrm>
            <a:custGeom>
              <a:avLst/>
              <a:gdLst>
                <a:gd name="connsiteX0" fmla="*/ 68548 w 68609"/>
                <a:gd name="connsiteY0" fmla="*/ 25752 h 33496"/>
                <a:gd name="connsiteX1" fmla="*/ 53292 w 68609"/>
                <a:gd name="connsiteY1" fmla="*/ 10604 h 33496"/>
                <a:gd name="connsiteX2" fmla="*/ 31434 w 68609"/>
                <a:gd name="connsiteY2" fmla="*/ 1623 h 33496"/>
                <a:gd name="connsiteX3" fmla="*/ 17368 w 68609"/>
                <a:gd name="connsiteY3" fmla="*/ 0 h 33496"/>
                <a:gd name="connsiteX4" fmla="*/ 1246 w 68609"/>
                <a:gd name="connsiteY4" fmla="*/ 6600 h 33496"/>
                <a:gd name="connsiteX5" fmla="*/ 2003 w 68609"/>
                <a:gd name="connsiteY5" fmla="*/ 17312 h 33496"/>
                <a:gd name="connsiteX6" fmla="*/ 7738 w 68609"/>
                <a:gd name="connsiteY6" fmla="*/ 23047 h 33496"/>
                <a:gd name="connsiteX7" fmla="*/ 20289 w 68609"/>
                <a:gd name="connsiteY7" fmla="*/ 30189 h 33496"/>
                <a:gd name="connsiteX8" fmla="*/ 44094 w 68609"/>
                <a:gd name="connsiteY8" fmla="*/ 33110 h 33496"/>
                <a:gd name="connsiteX9" fmla="*/ 63787 w 68609"/>
                <a:gd name="connsiteY9" fmla="*/ 24454 h 33496"/>
                <a:gd name="connsiteX10" fmla="*/ 43662 w 68609"/>
                <a:gd name="connsiteY10" fmla="*/ 28025 h 33496"/>
                <a:gd name="connsiteX11" fmla="*/ 22778 w 68609"/>
                <a:gd name="connsiteY11" fmla="*/ 24021 h 33496"/>
                <a:gd name="connsiteX12" fmla="*/ 12174 w 68609"/>
                <a:gd name="connsiteY12" fmla="*/ 17637 h 33496"/>
                <a:gd name="connsiteX13" fmla="*/ 7413 w 68609"/>
                <a:gd name="connsiteY13" fmla="*/ 10279 h 33496"/>
                <a:gd name="connsiteX14" fmla="*/ 17260 w 68609"/>
                <a:gd name="connsiteY14" fmla="*/ 7249 h 33496"/>
                <a:gd name="connsiteX15" fmla="*/ 30028 w 68609"/>
                <a:gd name="connsiteY15" fmla="*/ 8332 h 33496"/>
                <a:gd name="connsiteX16" fmla="*/ 50694 w 68609"/>
                <a:gd name="connsiteY16" fmla="*/ 15256 h 33496"/>
                <a:gd name="connsiteX17" fmla="*/ 68548 w 68609"/>
                <a:gd name="connsiteY17" fmla="*/ 25752 h 3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609" h="33496">
                  <a:moveTo>
                    <a:pt x="68548" y="25752"/>
                  </a:moveTo>
                  <a:cubicBezTo>
                    <a:pt x="69198" y="25211"/>
                    <a:pt x="64761" y="17962"/>
                    <a:pt x="53292" y="10604"/>
                  </a:cubicBezTo>
                  <a:cubicBezTo>
                    <a:pt x="47665" y="7033"/>
                    <a:pt x="40199" y="3571"/>
                    <a:pt x="31434" y="1623"/>
                  </a:cubicBezTo>
                  <a:cubicBezTo>
                    <a:pt x="26998" y="649"/>
                    <a:pt x="22345" y="0"/>
                    <a:pt x="17368" y="0"/>
                  </a:cubicBezTo>
                  <a:cubicBezTo>
                    <a:pt x="12499" y="108"/>
                    <a:pt x="6007" y="0"/>
                    <a:pt x="1246" y="6600"/>
                  </a:cubicBezTo>
                  <a:cubicBezTo>
                    <a:pt x="-1027" y="10171"/>
                    <a:pt x="163" y="14932"/>
                    <a:pt x="2003" y="17312"/>
                  </a:cubicBezTo>
                  <a:cubicBezTo>
                    <a:pt x="3843" y="20017"/>
                    <a:pt x="5898" y="21424"/>
                    <a:pt x="7738" y="23047"/>
                  </a:cubicBezTo>
                  <a:cubicBezTo>
                    <a:pt x="11741" y="26185"/>
                    <a:pt x="16070" y="28566"/>
                    <a:pt x="20289" y="30189"/>
                  </a:cubicBezTo>
                  <a:cubicBezTo>
                    <a:pt x="28838" y="33543"/>
                    <a:pt x="37277" y="33976"/>
                    <a:pt x="44094" y="33110"/>
                  </a:cubicBezTo>
                  <a:cubicBezTo>
                    <a:pt x="57836" y="31271"/>
                    <a:pt x="64328" y="24887"/>
                    <a:pt x="63787" y="24454"/>
                  </a:cubicBezTo>
                  <a:cubicBezTo>
                    <a:pt x="63246" y="23372"/>
                    <a:pt x="56105" y="27700"/>
                    <a:pt x="43662" y="28025"/>
                  </a:cubicBezTo>
                  <a:cubicBezTo>
                    <a:pt x="37494" y="28133"/>
                    <a:pt x="30136" y="27267"/>
                    <a:pt x="22778" y="24021"/>
                  </a:cubicBezTo>
                  <a:cubicBezTo>
                    <a:pt x="19099" y="22398"/>
                    <a:pt x="15528" y="20342"/>
                    <a:pt x="12174" y="17637"/>
                  </a:cubicBezTo>
                  <a:cubicBezTo>
                    <a:pt x="8495" y="14824"/>
                    <a:pt x="6223" y="11578"/>
                    <a:pt x="7413" y="10279"/>
                  </a:cubicBezTo>
                  <a:cubicBezTo>
                    <a:pt x="8387" y="8440"/>
                    <a:pt x="13148" y="6925"/>
                    <a:pt x="17260" y="7249"/>
                  </a:cubicBezTo>
                  <a:cubicBezTo>
                    <a:pt x="21696" y="7249"/>
                    <a:pt x="25916" y="7682"/>
                    <a:pt x="30028" y="8332"/>
                  </a:cubicBezTo>
                  <a:cubicBezTo>
                    <a:pt x="38035" y="9846"/>
                    <a:pt x="45068" y="12443"/>
                    <a:pt x="50694" y="15256"/>
                  </a:cubicBezTo>
                  <a:cubicBezTo>
                    <a:pt x="61948" y="20775"/>
                    <a:pt x="67683" y="26618"/>
                    <a:pt x="68548" y="2575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6F5F14D3-80D9-4A8D-BFEB-4BDEC2B5A438}"/>
                </a:ext>
              </a:extLst>
            </p:cNvPr>
            <p:cNvSpPr/>
            <p:nvPr/>
          </p:nvSpPr>
          <p:spPr>
            <a:xfrm flipH="1">
              <a:off x="457660" y="4658381"/>
              <a:ext cx="1135019" cy="1875995"/>
            </a:xfrm>
            <a:custGeom>
              <a:avLst/>
              <a:gdLst>
                <a:gd name="connsiteX0" fmla="*/ 480859 w 1029777"/>
                <a:gd name="connsiteY0" fmla="*/ 0 h 1702049"/>
                <a:gd name="connsiteX1" fmla="*/ 520245 w 1029777"/>
                <a:gd name="connsiteY1" fmla="*/ 239239 h 1702049"/>
                <a:gd name="connsiteX2" fmla="*/ 491463 w 1029777"/>
                <a:gd name="connsiteY2" fmla="*/ 370599 h 1702049"/>
                <a:gd name="connsiteX3" fmla="*/ 450778 w 1029777"/>
                <a:gd name="connsiteY3" fmla="*/ 580623 h 1702049"/>
                <a:gd name="connsiteX4" fmla="*/ 502067 w 1029777"/>
                <a:gd name="connsiteY4" fmla="*/ 728970 h 1702049"/>
                <a:gd name="connsiteX5" fmla="*/ 1029777 w 1029777"/>
                <a:gd name="connsiteY5" fmla="*/ 1157242 h 1702049"/>
                <a:gd name="connsiteX6" fmla="*/ 898093 w 1029777"/>
                <a:gd name="connsiteY6" fmla="*/ 1399619 h 1702049"/>
                <a:gd name="connsiteX7" fmla="*/ 387262 w 1029777"/>
                <a:gd name="connsiteY7" fmla="*/ 1075548 h 1702049"/>
                <a:gd name="connsiteX8" fmla="*/ 369409 w 1029777"/>
                <a:gd name="connsiteY8" fmla="*/ 1216105 h 1702049"/>
                <a:gd name="connsiteX9" fmla="*/ 361185 w 1029777"/>
                <a:gd name="connsiteY9" fmla="*/ 1702049 h 1702049"/>
                <a:gd name="connsiteX10" fmla="*/ 111775 w 1029777"/>
                <a:gd name="connsiteY10" fmla="*/ 1693393 h 1702049"/>
                <a:gd name="connsiteX11" fmla="*/ 69034 w 1029777"/>
                <a:gd name="connsiteY11" fmla="*/ 868770 h 1702049"/>
                <a:gd name="connsiteX12" fmla="*/ 0 w 1029777"/>
                <a:gd name="connsiteY12" fmla="*/ 13309 h 1702049"/>
                <a:gd name="connsiteX13" fmla="*/ 480859 w 1029777"/>
                <a:gd name="connsiteY13" fmla="*/ 0 h 1702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29777" h="1702049">
                  <a:moveTo>
                    <a:pt x="480859" y="0"/>
                  </a:moveTo>
                  <a:cubicBezTo>
                    <a:pt x="480859" y="0"/>
                    <a:pt x="529767" y="178753"/>
                    <a:pt x="520245" y="239239"/>
                  </a:cubicBezTo>
                  <a:cubicBezTo>
                    <a:pt x="516999" y="259690"/>
                    <a:pt x="501850" y="322340"/>
                    <a:pt x="491463" y="370599"/>
                  </a:cubicBezTo>
                  <a:cubicBezTo>
                    <a:pt x="473284" y="454673"/>
                    <a:pt x="455647" y="559523"/>
                    <a:pt x="450778" y="580623"/>
                  </a:cubicBezTo>
                  <a:lnTo>
                    <a:pt x="502067" y="728970"/>
                  </a:lnTo>
                  <a:lnTo>
                    <a:pt x="1029777" y="1157242"/>
                  </a:lnTo>
                  <a:lnTo>
                    <a:pt x="898093" y="1399619"/>
                  </a:lnTo>
                  <a:lnTo>
                    <a:pt x="387262" y="1075548"/>
                  </a:lnTo>
                  <a:lnTo>
                    <a:pt x="369409" y="1216105"/>
                  </a:lnTo>
                  <a:cubicBezTo>
                    <a:pt x="369409" y="1216105"/>
                    <a:pt x="373953" y="1542881"/>
                    <a:pt x="361185" y="1702049"/>
                  </a:cubicBezTo>
                  <a:lnTo>
                    <a:pt x="111775" y="1693393"/>
                  </a:lnTo>
                  <a:lnTo>
                    <a:pt x="69034" y="868770"/>
                  </a:lnTo>
                  <a:lnTo>
                    <a:pt x="0" y="13309"/>
                  </a:lnTo>
                  <a:lnTo>
                    <a:pt x="480859" y="0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EEE2D2FC-46B8-4AAF-9DD1-500C170E5E3A}"/>
                </a:ext>
              </a:extLst>
            </p:cNvPr>
            <p:cNvSpPr/>
            <p:nvPr/>
          </p:nvSpPr>
          <p:spPr>
            <a:xfrm flipH="1">
              <a:off x="1027093" y="4959399"/>
              <a:ext cx="157803" cy="1034361"/>
            </a:xfrm>
            <a:custGeom>
              <a:avLst/>
              <a:gdLst>
                <a:gd name="connsiteX0" fmla="*/ 85 w 143171"/>
                <a:gd name="connsiteY0" fmla="*/ 938454 h 938453"/>
                <a:gd name="connsiteX1" fmla="*/ 626 w 143171"/>
                <a:gd name="connsiteY1" fmla="*/ 936073 h 938453"/>
                <a:gd name="connsiteX2" fmla="*/ 1816 w 143171"/>
                <a:gd name="connsiteY2" fmla="*/ 928932 h 938453"/>
                <a:gd name="connsiteX3" fmla="*/ 5279 w 143171"/>
                <a:gd name="connsiteY3" fmla="*/ 901448 h 938453"/>
                <a:gd name="connsiteX4" fmla="*/ 17181 w 143171"/>
                <a:gd name="connsiteY4" fmla="*/ 800385 h 938453"/>
                <a:gd name="connsiteX5" fmla="*/ 59597 w 143171"/>
                <a:gd name="connsiteY5" fmla="*/ 467225 h 938453"/>
                <a:gd name="connsiteX6" fmla="*/ 113591 w 143171"/>
                <a:gd name="connsiteY6" fmla="*/ 135904 h 938453"/>
                <a:gd name="connsiteX7" fmla="*/ 135015 w 143171"/>
                <a:gd name="connsiteY7" fmla="*/ 36465 h 938453"/>
                <a:gd name="connsiteX8" fmla="*/ 141291 w 143171"/>
                <a:gd name="connsiteY8" fmla="*/ 9522 h 938453"/>
                <a:gd name="connsiteX9" fmla="*/ 143131 w 143171"/>
                <a:gd name="connsiteY9" fmla="*/ 0 h 938453"/>
                <a:gd name="connsiteX10" fmla="*/ 140209 w 143171"/>
                <a:gd name="connsiteY10" fmla="*/ 9197 h 938453"/>
                <a:gd name="connsiteX11" fmla="*/ 132851 w 143171"/>
                <a:gd name="connsiteY11" fmla="*/ 35924 h 938453"/>
                <a:gd name="connsiteX12" fmla="*/ 109587 w 143171"/>
                <a:gd name="connsiteY12" fmla="*/ 135147 h 938453"/>
                <a:gd name="connsiteX13" fmla="*/ 53862 w 143171"/>
                <a:gd name="connsiteY13" fmla="*/ 466576 h 938453"/>
                <a:gd name="connsiteX14" fmla="*/ 13069 w 143171"/>
                <a:gd name="connsiteY14" fmla="*/ 800061 h 938453"/>
                <a:gd name="connsiteX15" fmla="*/ 2898 w 143171"/>
                <a:gd name="connsiteY15" fmla="*/ 901339 h 938453"/>
                <a:gd name="connsiteX16" fmla="*/ 518 w 143171"/>
                <a:gd name="connsiteY16" fmla="*/ 928932 h 938453"/>
                <a:gd name="connsiteX17" fmla="*/ 85 w 143171"/>
                <a:gd name="connsiteY17" fmla="*/ 938454 h 938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3171" h="938453">
                  <a:moveTo>
                    <a:pt x="85" y="938454"/>
                  </a:moveTo>
                  <a:cubicBezTo>
                    <a:pt x="193" y="938454"/>
                    <a:pt x="410" y="937696"/>
                    <a:pt x="626" y="936073"/>
                  </a:cubicBezTo>
                  <a:cubicBezTo>
                    <a:pt x="950" y="934126"/>
                    <a:pt x="1275" y="931745"/>
                    <a:pt x="1816" y="928932"/>
                  </a:cubicBezTo>
                  <a:cubicBezTo>
                    <a:pt x="2682" y="922115"/>
                    <a:pt x="3872" y="913026"/>
                    <a:pt x="5279" y="901448"/>
                  </a:cubicBezTo>
                  <a:cubicBezTo>
                    <a:pt x="8200" y="876994"/>
                    <a:pt x="12204" y="842585"/>
                    <a:pt x="17181" y="800385"/>
                  </a:cubicBezTo>
                  <a:cubicBezTo>
                    <a:pt x="27244" y="715012"/>
                    <a:pt x="41311" y="597070"/>
                    <a:pt x="59597" y="467225"/>
                  </a:cubicBezTo>
                  <a:cubicBezTo>
                    <a:pt x="77775" y="337272"/>
                    <a:pt x="96927" y="220087"/>
                    <a:pt x="113591" y="135904"/>
                  </a:cubicBezTo>
                  <a:cubicBezTo>
                    <a:pt x="122247" y="93813"/>
                    <a:pt x="129064" y="59729"/>
                    <a:pt x="135015" y="36465"/>
                  </a:cubicBezTo>
                  <a:cubicBezTo>
                    <a:pt x="137612" y="25103"/>
                    <a:pt x="139776" y="16122"/>
                    <a:pt x="141291" y="9522"/>
                  </a:cubicBezTo>
                  <a:cubicBezTo>
                    <a:pt x="142698" y="3354"/>
                    <a:pt x="143347" y="108"/>
                    <a:pt x="143131" y="0"/>
                  </a:cubicBezTo>
                  <a:cubicBezTo>
                    <a:pt x="142914" y="0"/>
                    <a:pt x="141940" y="3138"/>
                    <a:pt x="140209" y="9197"/>
                  </a:cubicBezTo>
                  <a:cubicBezTo>
                    <a:pt x="138370" y="15798"/>
                    <a:pt x="135989" y="24671"/>
                    <a:pt x="132851" y="35924"/>
                  </a:cubicBezTo>
                  <a:cubicBezTo>
                    <a:pt x="126251" y="59079"/>
                    <a:pt x="118785" y="93056"/>
                    <a:pt x="109587" y="135147"/>
                  </a:cubicBezTo>
                  <a:cubicBezTo>
                    <a:pt x="91842" y="219329"/>
                    <a:pt x="72041" y="336515"/>
                    <a:pt x="53862" y="466576"/>
                  </a:cubicBezTo>
                  <a:cubicBezTo>
                    <a:pt x="35576" y="596529"/>
                    <a:pt x="22158" y="714579"/>
                    <a:pt x="13069" y="800061"/>
                  </a:cubicBezTo>
                  <a:cubicBezTo>
                    <a:pt x="8849" y="842477"/>
                    <a:pt x="5387" y="876886"/>
                    <a:pt x="2898" y="901339"/>
                  </a:cubicBezTo>
                  <a:cubicBezTo>
                    <a:pt x="1924" y="912917"/>
                    <a:pt x="1059" y="922115"/>
                    <a:pt x="518" y="928932"/>
                  </a:cubicBezTo>
                  <a:cubicBezTo>
                    <a:pt x="85" y="935099"/>
                    <a:pt x="-132" y="938345"/>
                    <a:pt x="85" y="938454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B38D033E-C2DF-4B88-8BA2-02558C418BA2}"/>
                </a:ext>
              </a:extLst>
            </p:cNvPr>
            <p:cNvSpPr/>
            <p:nvPr/>
          </p:nvSpPr>
          <p:spPr>
            <a:xfrm flipH="1">
              <a:off x="889015" y="3422228"/>
              <a:ext cx="711416" cy="1520475"/>
            </a:xfrm>
            <a:custGeom>
              <a:avLst/>
              <a:gdLst>
                <a:gd name="connsiteX0" fmla="*/ 638728 w 645452"/>
                <a:gd name="connsiteY0" fmla="*/ 304162 h 1379493"/>
                <a:gd name="connsiteX1" fmla="*/ 527386 w 645452"/>
                <a:gd name="connsiteY1" fmla="*/ 854379 h 1379493"/>
                <a:gd name="connsiteX2" fmla="*/ 627800 w 645452"/>
                <a:gd name="connsiteY2" fmla="*/ 1212967 h 1379493"/>
                <a:gd name="connsiteX3" fmla="*/ 556818 w 645452"/>
                <a:gd name="connsiteY3" fmla="*/ 1379493 h 1379493"/>
                <a:gd name="connsiteX4" fmla="*/ 0 w 645452"/>
                <a:gd name="connsiteY4" fmla="*/ 1174122 h 1379493"/>
                <a:gd name="connsiteX5" fmla="*/ 89376 w 645452"/>
                <a:gd name="connsiteY5" fmla="*/ 421455 h 1379493"/>
                <a:gd name="connsiteX6" fmla="*/ 294639 w 645452"/>
                <a:gd name="connsiteY6" fmla="*/ 57348 h 1379493"/>
                <a:gd name="connsiteX7" fmla="*/ 294639 w 645452"/>
                <a:gd name="connsiteY7" fmla="*/ 57348 h 1379493"/>
                <a:gd name="connsiteX8" fmla="*/ 297669 w 645452"/>
                <a:gd name="connsiteY8" fmla="*/ 0 h 1379493"/>
                <a:gd name="connsiteX9" fmla="*/ 580298 w 645452"/>
                <a:gd name="connsiteY9" fmla="*/ 4112 h 1379493"/>
                <a:gd name="connsiteX10" fmla="*/ 578567 w 645452"/>
                <a:gd name="connsiteY10" fmla="*/ 61893 h 1379493"/>
                <a:gd name="connsiteX11" fmla="*/ 638728 w 645452"/>
                <a:gd name="connsiteY11" fmla="*/ 304162 h 1379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5452" h="1379493">
                  <a:moveTo>
                    <a:pt x="638728" y="304162"/>
                  </a:moveTo>
                  <a:lnTo>
                    <a:pt x="527386" y="854379"/>
                  </a:lnTo>
                  <a:cubicBezTo>
                    <a:pt x="527386" y="854379"/>
                    <a:pt x="641109" y="1111796"/>
                    <a:pt x="627800" y="1212967"/>
                  </a:cubicBezTo>
                  <a:cubicBezTo>
                    <a:pt x="620117" y="1271722"/>
                    <a:pt x="556818" y="1379493"/>
                    <a:pt x="556818" y="1379493"/>
                  </a:cubicBezTo>
                  <a:lnTo>
                    <a:pt x="0" y="1174122"/>
                  </a:lnTo>
                  <a:cubicBezTo>
                    <a:pt x="0" y="1174122"/>
                    <a:pt x="53777" y="540804"/>
                    <a:pt x="89376" y="421455"/>
                  </a:cubicBezTo>
                  <a:cubicBezTo>
                    <a:pt x="139583" y="253089"/>
                    <a:pt x="294639" y="57348"/>
                    <a:pt x="294639" y="57348"/>
                  </a:cubicBezTo>
                  <a:lnTo>
                    <a:pt x="294639" y="57348"/>
                  </a:lnTo>
                  <a:lnTo>
                    <a:pt x="297669" y="0"/>
                  </a:lnTo>
                  <a:lnTo>
                    <a:pt x="580298" y="4112"/>
                  </a:lnTo>
                  <a:lnTo>
                    <a:pt x="578567" y="61893"/>
                  </a:lnTo>
                  <a:cubicBezTo>
                    <a:pt x="578567" y="62001"/>
                    <a:pt x="670648" y="166310"/>
                    <a:pt x="638728" y="304162"/>
                  </a:cubicBez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CD868BF-4787-42A6-9649-360746AF92BE}"/>
                </a:ext>
              </a:extLst>
            </p:cNvPr>
            <p:cNvSpPr/>
            <p:nvPr/>
          </p:nvSpPr>
          <p:spPr>
            <a:xfrm flipH="1">
              <a:off x="1019028" y="3890571"/>
              <a:ext cx="571623" cy="95178"/>
            </a:xfrm>
            <a:custGeom>
              <a:avLst/>
              <a:gdLst>
                <a:gd name="connsiteX0" fmla="*/ 0 w 518621"/>
                <a:gd name="connsiteY0" fmla="*/ 86347 h 86353"/>
                <a:gd name="connsiteX1" fmla="*/ 518622 w 518621"/>
                <a:gd name="connsiteY1" fmla="*/ 0 h 86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621" h="86353">
                  <a:moveTo>
                    <a:pt x="0" y="86347"/>
                  </a:moveTo>
                  <a:cubicBezTo>
                    <a:pt x="41442" y="87212"/>
                    <a:pt x="518622" y="0"/>
                    <a:pt x="518622" y="0"/>
                  </a:cubicBezTo>
                </a:path>
              </a:pathLst>
            </a:custGeom>
            <a:solidFill>
              <a:srgbClr val="FF725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531C0EC7-FD4E-490D-8E0E-5642152A76DB}"/>
                </a:ext>
              </a:extLst>
            </p:cNvPr>
            <p:cNvSpPr/>
            <p:nvPr/>
          </p:nvSpPr>
          <p:spPr>
            <a:xfrm flipH="1">
              <a:off x="1010538" y="4091995"/>
              <a:ext cx="76757" cy="292200"/>
            </a:xfrm>
            <a:custGeom>
              <a:avLst/>
              <a:gdLst>
                <a:gd name="connsiteX0" fmla="*/ 45 w 69640"/>
                <a:gd name="connsiteY0" fmla="*/ 8 h 265107"/>
                <a:gd name="connsiteX1" fmla="*/ 153 w 69640"/>
                <a:gd name="connsiteY1" fmla="*/ 2821 h 265107"/>
                <a:gd name="connsiteX2" fmla="*/ 910 w 69640"/>
                <a:gd name="connsiteY2" fmla="*/ 10829 h 265107"/>
                <a:gd name="connsiteX3" fmla="*/ 4589 w 69640"/>
                <a:gd name="connsiteY3" fmla="*/ 40044 h 265107"/>
                <a:gd name="connsiteX4" fmla="*/ 24066 w 69640"/>
                <a:gd name="connsiteY4" fmla="*/ 135371 h 265107"/>
                <a:gd name="connsiteX5" fmla="*/ 53930 w 69640"/>
                <a:gd name="connsiteY5" fmla="*/ 227994 h 265107"/>
                <a:gd name="connsiteX6" fmla="*/ 65076 w 69640"/>
                <a:gd name="connsiteY6" fmla="*/ 255261 h 265107"/>
                <a:gd name="connsiteX7" fmla="*/ 68322 w 69640"/>
                <a:gd name="connsiteY7" fmla="*/ 262619 h 265107"/>
                <a:gd name="connsiteX8" fmla="*/ 69620 w 69640"/>
                <a:gd name="connsiteY8" fmla="*/ 265108 h 265107"/>
                <a:gd name="connsiteX9" fmla="*/ 68754 w 69640"/>
                <a:gd name="connsiteY9" fmla="*/ 262403 h 265107"/>
                <a:gd name="connsiteX10" fmla="*/ 65833 w 69640"/>
                <a:gd name="connsiteY10" fmla="*/ 254937 h 265107"/>
                <a:gd name="connsiteX11" fmla="*/ 55337 w 69640"/>
                <a:gd name="connsiteY11" fmla="*/ 227453 h 265107"/>
                <a:gd name="connsiteX12" fmla="*/ 26122 w 69640"/>
                <a:gd name="connsiteY12" fmla="*/ 134830 h 265107"/>
                <a:gd name="connsiteX13" fmla="*/ 5996 w 69640"/>
                <a:gd name="connsiteY13" fmla="*/ 39827 h 265107"/>
                <a:gd name="connsiteX14" fmla="*/ 1560 w 69640"/>
                <a:gd name="connsiteY14" fmla="*/ 10720 h 265107"/>
                <a:gd name="connsiteX15" fmla="*/ 369 w 69640"/>
                <a:gd name="connsiteY15" fmla="*/ 2821 h 265107"/>
                <a:gd name="connsiteX16" fmla="*/ 45 w 69640"/>
                <a:gd name="connsiteY16" fmla="*/ 8 h 26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9640" h="265107">
                  <a:moveTo>
                    <a:pt x="45" y="8"/>
                  </a:moveTo>
                  <a:cubicBezTo>
                    <a:pt x="-63" y="8"/>
                    <a:pt x="45" y="982"/>
                    <a:pt x="153" y="2821"/>
                  </a:cubicBezTo>
                  <a:cubicBezTo>
                    <a:pt x="369" y="5310"/>
                    <a:pt x="586" y="7907"/>
                    <a:pt x="910" y="10829"/>
                  </a:cubicBezTo>
                  <a:cubicBezTo>
                    <a:pt x="1560" y="17754"/>
                    <a:pt x="2858" y="27708"/>
                    <a:pt x="4589" y="40044"/>
                  </a:cubicBezTo>
                  <a:cubicBezTo>
                    <a:pt x="8160" y="64714"/>
                    <a:pt x="14436" y="98582"/>
                    <a:pt x="24066" y="135371"/>
                  </a:cubicBezTo>
                  <a:cubicBezTo>
                    <a:pt x="33804" y="172161"/>
                    <a:pt x="44949" y="204730"/>
                    <a:pt x="53930" y="227994"/>
                  </a:cubicBezTo>
                  <a:cubicBezTo>
                    <a:pt x="58475" y="239572"/>
                    <a:pt x="62262" y="248877"/>
                    <a:pt x="65076" y="255261"/>
                  </a:cubicBezTo>
                  <a:cubicBezTo>
                    <a:pt x="66266" y="257966"/>
                    <a:pt x="67348" y="260347"/>
                    <a:pt x="68322" y="262619"/>
                  </a:cubicBezTo>
                  <a:cubicBezTo>
                    <a:pt x="69079" y="264242"/>
                    <a:pt x="69512" y="265108"/>
                    <a:pt x="69620" y="265108"/>
                  </a:cubicBezTo>
                  <a:cubicBezTo>
                    <a:pt x="69728" y="265108"/>
                    <a:pt x="69404" y="264134"/>
                    <a:pt x="68754" y="262403"/>
                  </a:cubicBezTo>
                  <a:cubicBezTo>
                    <a:pt x="67889" y="260131"/>
                    <a:pt x="66915" y="257642"/>
                    <a:pt x="65833" y="254937"/>
                  </a:cubicBezTo>
                  <a:cubicBezTo>
                    <a:pt x="63236" y="248444"/>
                    <a:pt x="59665" y="239031"/>
                    <a:pt x="55337" y="227453"/>
                  </a:cubicBezTo>
                  <a:cubicBezTo>
                    <a:pt x="46681" y="204189"/>
                    <a:pt x="35752" y="171511"/>
                    <a:pt x="26122" y="134830"/>
                  </a:cubicBezTo>
                  <a:cubicBezTo>
                    <a:pt x="16492" y="98149"/>
                    <a:pt x="9999" y="64389"/>
                    <a:pt x="5996" y="39827"/>
                  </a:cubicBezTo>
                  <a:cubicBezTo>
                    <a:pt x="4048" y="27600"/>
                    <a:pt x="2533" y="17645"/>
                    <a:pt x="1560" y="10720"/>
                  </a:cubicBezTo>
                  <a:cubicBezTo>
                    <a:pt x="1127" y="7799"/>
                    <a:pt x="802" y="5202"/>
                    <a:pt x="369" y="2821"/>
                  </a:cubicBezTo>
                  <a:cubicBezTo>
                    <a:pt x="261" y="874"/>
                    <a:pt x="45" y="-100"/>
                    <a:pt x="45" y="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794DA787-EDAB-494B-880E-3105F21C1AA7}"/>
                </a:ext>
              </a:extLst>
            </p:cNvPr>
            <p:cNvSpPr/>
            <p:nvPr/>
          </p:nvSpPr>
          <p:spPr>
            <a:xfrm flipH="1">
              <a:off x="1016493" y="4825823"/>
              <a:ext cx="39655" cy="95532"/>
            </a:xfrm>
            <a:custGeom>
              <a:avLst/>
              <a:gdLst>
                <a:gd name="connsiteX0" fmla="*/ 27 w 35978"/>
                <a:gd name="connsiteY0" fmla="*/ 86673 h 86674"/>
                <a:gd name="connsiteX1" fmla="*/ 18963 w 35978"/>
                <a:gd name="connsiteY1" fmla="*/ 43716 h 86674"/>
                <a:gd name="connsiteX2" fmla="*/ 35951 w 35978"/>
                <a:gd name="connsiteY2" fmla="*/ 2 h 86674"/>
                <a:gd name="connsiteX3" fmla="*/ 17015 w 35978"/>
                <a:gd name="connsiteY3" fmla="*/ 42959 h 86674"/>
                <a:gd name="connsiteX4" fmla="*/ 27 w 35978"/>
                <a:gd name="connsiteY4" fmla="*/ 86673 h 8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78" h="86674">
                  <a:moveTo>
                    <a:pt x="27" y="86673"/>
                  </a:moveTo>
                  <a:cubicBezTo>
                    <a:pt x="568" y="86890"/>
                    <a:pt x="9116" y="67629"/>
                    <a:pt x="18963" y="43716"/>
                  </a:cubicBezTo>
                  <a:cubicBezTo>
                    <a:pt x="28918" y="19803"/>
                    <a:pt x="36492" y="218"/>
                    <a:pt x="35951" y="2"/>
                  </a:cubicBezTo>
                  <a:cubicBezTo>
                    <a:pt x="35410" y="-215"/>
                    <a:pt x="26862" y="18938"/>
                    <a:pt x="17015" y="42959"/>
                  </a:cubicBezTo>
                  <a:cubicBezTo>
                    <a:pt x="7061" y="66872"/>
                    <a:pt x="-514" y="86457"/>
                    <a:pt x="27" y="8667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57F5771B-51C7-4358-8515-2130A96902BF}"/>
                </a:ext>
              </a:extLst>
            </p:cNvPr>
            <p:cNvSpPr/>
            <p:nvPr/>
          </p:nvSpPr>
          <p:spPr>
            <a:xfrm flipH="1">
              <a:off x="1115002" y="4793504"/>
              <a:ext cx="36202" cy="91955"/>
            </a:xfrm>
            <a:custGeom>
              <a:avLst/>
              <a:gdLst>
                <a:gd name="connsiteX0" fmla="*/ 30 w 32845"/>
                <a:gd name="connsiteY0" fmla="*/ 83427 h 83429"/>
                <a:gd name="connsiteX1" fmla="*/ 17451 w 32845"/>
                <a:gd name="connsiteY1" fmla="*/ 42093 h 83429"/>
                <a:gd name="connsiteX2" fmla="*/ 32816 w 32845"/>
                <a:gd name="connsiteY2" fmla="*/ 2 h 83429"/>
                <a:gd name="connsiteX3" fmla="*/ 15395 w 32845"/>
                <a:gd name="connsiteY3" fmla="*/ 41336 h 83429"/>
                <a:gd name="connsiteX4" fmla="*/ 30 w 32845"/>
                <a:gd name="connsiteY4" fmla="*/ 83427 h 8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45" h="83429">
                  <a:moveTo>
                    <a:pt x="30" y="83427"/>
                  </a:moveTo>
                  <a:cubicBezTo>
                    <a:pt x="571" y="83644"/>
                    <a:pt x="8362" y="65141"/>
                    <a:pt x="17451" y="42093"/>
                  </a:cubicBezTo>
                  <a:cubicBezTo>
                    <a:pt x="26540" y="19046"/>
                    <a:pt x="33357" y="218"/>
                    <a:pt x="32816" y="2"/>
                  </a:cubicBezTo>
                  <a:cubicBezTo>
                    <a:pt x="32275" y="-214"/>
                    <a:pt x="24484" y="18288"/>
                    <a:pt x="15395" y="41336"/>
                  </a:cubicBezTo>
                  <a:cubicBezTo>
                    <a:pt x="6306" y="64275"/>
                    <a:pt x="-511" y="83211"/>
                    <a:pt x="30" y="8342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213646F5-CAF0-4416-A5AD-389F60F205DB}"/>
                </a:ext>
              </a:extLst>
            </p:cNvPr>
            <p:cNvSpPr/>
            <p:nvPr/>
          </p:nvSpPr>
          <p:spPr>
            <a:xfrm flipH="1">
              <a:off x="1225190" y="4744487"/>
              <a:ext cx="36927" cy="104006"/>
            </a:xfrm>
            <a:custGeom>
              <a:avLst/>
              <a:gdLst>
                <a:gd name="connsiteX0" fmla="*/ 30 w 33503"/>
                <a:gd name="connsiteY0" fmla="*/ 94355 h 94362"/>
                <a:gd name="connsiteX1" fmla="*/ 2194 w 33503"/>
                <a:gd name="connsiteY1" fmla="*/ 91001 h 94362"/>
                <a:gd name="connsiteX2" fmla="*/ 7171 w 33503"/>
                <a:gd name="connsiteY2" fmla="*/ 81371 h 94362"/>
                <a:gd name="connsiteX3" fmla="*/ 20805 w 33503"/>
                <a:gd name="connsiteY3" fmla="*/ 48585 h 94362"/>
                <a:gd name="connsiteX4" fmla="*/ 30868 w 33503"/>
                <a:gd name="connsiteY4" fmla="*/ 14501 h 94362"/>
                <a:gd name="connsiteX5" fmla="*/ 33032 w 33503"/>
                <a:gd name="connsiteY5" fmla="*/ 3897 h 94362"/>
                <a:gd name="connsiteX6" fmla="*/ 33465 w 33503"/>
                <a:gd name="connsiteY6" fmla="*/ 2 h 94362"/>
                <a:gd name="connsiteX7" fmla="*/ 29353 w 33503"/>
                <a:gd name="connsiteY7" fmla="*/ 14068 h 94362"/>
                <a:gd name="connsiteX8" fmla="*/ 18749 w 33503"/>
                <a:gd name="connsiteY8" fmla="*/ 47828 h 94362"/>
                <a:gd name="connsiteX9" fmla="*/ 5764 w 33503"/>
                <a:gd name="connsiteY9" fmla="*/ 80722 h 94362"/>
                <a:gd name="connsiteX10" fmla="*/ 30 w 33503"/>
                <a:gd name="connsiteY10" fmla="*/ 94355 h 94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503" h="94362">
                  <a:moveTo>
                    <a:pt x="30" y="94355"/>
                  </a:moveTo>
                  <a:cubicBezTo>
                    <a:pt x="138" y="94464"/>
                    <a:pt x="895" y="93274"/>
                    <a:pt x="2194" y="91001"/>
                  </a:cubicBezTo>
                  <a:cubicBezTo>
                    <a:pt x="3492" y="88837"/>
                    <a:pt x="5115" y="85483"/>
                    <a:pt x="7171" y="81371"/>
                  </a:cubicBezTo>
                  <a:cubicBezTo>
                    <a:pt x="11175" y="73148"/>
                    <a:pt x="16152" y="61678"/>
                    <a:pt x="20805" y="48585"/>
                  </a:cubicBezTo>
                  <a:cubicBezTo>
                    <a:pt x="25458" y="35493"/>
                    <a:pt x="28812" y="23374"/>
                    <a:pt x="30868" y="14501"/>
                  </a:cubicBezTo>
                  <a:cubicBezTo>
                    <a:pt x="31842" y="10065"/>
                    <a:pt x="32599" y="6494"/>
                    <a:pt x="33032" y="3897"/>
                  </a:cubicBezTo>
                  <a:cubicBezTo>
                    <a:pt x="33465" y="1408"/>
                    <a:pt x="33573" y="2"/>
                    <a:pt x="33465" y="2"/>
                  </a:cubicBezTo>
                  <a:cubicBezTo>
                    <a:pt x="33140" y="-107"/>
                    <a:pt x="31733" y="5412"/>
                    <a:pt x="29353" y="14068"/>
                  </a:cubicBezTo>
                  <a:cubicBezTo>
                    <a:pt x="26972" y="22833"/>
                    <a:pt x="23402" y="34843"/>
                    <a:pt x="18749" y="47828"/>
                  </a:cubicBezTo>
                  <a:cubicBezTo>
                    <a:pt x="14096" y="60812"/>
                    <a:pt x="9335" y="72390"/>
                    <a:pt x="5764" y="80722"/>
                  </a:cubicBezTo>
                  <a:cubicBezTo>
                    <a:pt x="2085" y="89054"/>
                    <a:pt x="-295" y="94139"/>
                    <a:pt x="30" y="9435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F308A473-5D5E-4013-8DAE-EDC92A6DBB95}"/>
                </a:ext>
              </a:extLst>
            </p:cNvPr>
            <p:cNvSpPr/>
            <p:nvPr/>
          </p:nvSpPr>
          <p:spPr>
            <a:xfrm flipH="1">
              <a:off x="1321193" y="4703580"/>
              <a:ext cx="36704" cy="108174"/>
            </a:xfrm>
            <a:custGeom>
              <a:avLst/>
              <a:gdLst>
                <a:gd name="connsiteX0" fmla="*/ 42 w 33301"/>
                <a:gd name="connsiteY0" fmla="*/ 98143 h 98144"/>
                <a:gd name="connsiteX1" fmla="*/ 17679 w 33301"/>
                <a:gd name="connsiteY1" fmla="*/ 49451 h 98144"/>
                <a:gd name="connsiteX2" fmla="*/ 33260 w 33301"/>
                <a:gd name="connsiteY2" fmla="*/ 2 h 98144"/>
                <a:gd name="connsiteX3" fmla="*/ 15623 w 33301"/>
                <a:gd name="connsiteY3" fmla="*/ 48693 h 98144"/>
                <a:gd name="connsiteX4" fmla="*/ 42 w 33301"/>
                <a:gd name="connsiteY4" fmla="*/ 98143 h 9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01" h="98144">
                  <a:moveTo>
                    <a:pt x="42" y="98143"/>
                  </a:moveTo>
                  <a:cubicBezTo>
                    <a:pt x="582" y="98359"/>
                    <a:pt x="8481" y="76502"/>
                    <a:pt x="17679" y="49451"/>
                  </a:cubicBezTo>
                  <a:cubicBezTo>
                    <a:pt x="26876" y="22292"/>
                    <a:pt x="33909" y="218"/>
                    <a:pt x="33260" y="2"/>
                  </a:cubicBezTo>
                  <a:cubicBezTo>
                    <a:pt x="32719" y="-215"/>
                    <a:pt x="24820" y="21642"/>
                    <a:pt x="15623" y="48693"/>
                  </a:cubicBezTo>
                  <a:cubicBezTo>
                    <a:pt x="6426" y="75853"/>
                    <a:pt x="-608" y="98034"/>
                    <a:pt x="42" y="9814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CC5198C9-D3C0-4C26-B63A-6B63C1366383}"/>
                </a:ext>
              </a:extLst>
            </p:cNvPr>
            <p:cNvSpPr/>
            <p:nvPr/>
          </p:nvSpPr>
          <p:spPr>
            <a:xfrm flipH="1">
              <a:off x="1444279" y="4677938"/>
              <a:ext cx="32171" cy="87900"/>
            </a:xfrm>
            <a:custGeom>
              <a:avLst/>
              <a:gdLst>
                <a:gd name="connsiteX0" fmla="*/ 48 w 29188"/>
                <a:gd name="connsiteY0" fmla="*/ 79748 h 79750"/>
                <a:gd name="connsiteX1" fmla="*/ 15629 w 29188"/>
                <a:gd name="connsiteY1" fmla="*/ 40254 h 79750"/>
                <a:gd name="connsiteX2" fmla="*/ 29155 w 29188"/>
                <a:gd name="connsiteY2" fmla="*/ 2 h 79750"/>
                <a:gd name="connsiteX3" fmla="*/ 13573 w 29188"/>
                <a:gd name="connsiteY3" fmla="*/ 39496 h 79750"/>
                <a:gd name="connsiteX4" fmla="*/ 48 w 29188"/>
                <a:gd name="connsiteY4" fmla="*/ 79748 h 7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88" h="79750">
                  <a:moveTo>
                    <a:pt x="48" y="79748"/>
                  </a:moveTo>
                  <a:cubicBezTo>
                    <a:pt x="589" y="79965"/>
                    <a:pt x="7622" y="62219"/>
                    <a:pt x="15629" y="40254"/>
                  </a:cubicBezTo>
                  <a:cubicBezTo>
                    <a:pt x="23636" y="18180"/>
                    <a:pt x="29695" y="218"/>
                    <a:pt x="29155" y="2"/>
                  </a:cubicBezTo>
                  <a:cubicBezTo>
                    <a:pt x="28614" y="-214"/>
                    <a:pt x="21580" y="17531"/>
                    <a:pt x="13573" y="39496"/>
                  </a:cubicBezTo>
                  <a:cubicBezTo>
                    <a:pt x="5458" y="61462"/>
                    <a:pt x="-602" y="79532"/>
                    <a:pt x="48" y="7974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164FAF19-B402-421B-88A6-FE0EAFB32E38}"/>
                </a:ext>
              </a:extLst>
            </p:cNvPr>
            <p:cNvSpPr/>
            <p:nvPr/>
          </p:nvSpPr>
          <p:spPr>
            <a:xfrm flipH="1">
              <a:off x="925433" y="3357587"/>
              <a:ext cx="1136781" cy="629712"/>
            </a:xfrm>
            <a:custGeom>
              <a:avLst/>
              <a:gdLst>
                <a:gd name="connsiteX0" fmla="*/ 938345 w 1031376"/>
                <a:gd name="connsiteY0" fmla="*/ 185570 h 571324"/>
                <a:gd name="connsiteX1" fmla="*/ 1013331 w 1031376"/>
                <a:gd name="connsiteY1" fmla="*/ 247463 h 571324"/>
                <a:gd name="connsiteX2" fmla="*/ 1013006 w 1031376"/>
                <a:gd name="connsiteY2" fmla="*/ 417018 h 571324"/>
                <a:gd name="connsiteX3" fmla="*/ 890194 w 1031376"/>
                <a:gd name="connsiteY3" fmla="*/ 510939 h 571324"/>
                <a:gd name="connsiteX4" fmla="*/ 427730 w 1031376"/>
                <a:gd name="connsiteY4" fmla="*/ 569911 h 571324"/>
                <a:gd name="connsiteX5" fmla="*/ 244649 w 1031376"/>
                <a:gd name="connsiteY5" fmla="*/ 460733 h 571324"/>
                <a:gd name="connsiteX6" fmla="*/ 0 w 1031376"/>
                <a:gd name="connsiteY6" fmla="*/ 93921 h 571324"/>
                <a:gd name="connsiteX7" fmla="*/ 140341 w 1031376"/>
                <a:gd name="connsiteY7" fmla="*/ 0 h 571324"/>
                <a:gd name="connsiteX8" fmla="*/ 423294 w 1031376"/>
                <a:gd name="connsiteY8" fmla="*/ 302647 h 571324"/>
                <a:gd name="connsiteX9" fmla="*/ 938345 w 1031376"/>
                <a:gd name="connsiteY9" fmla="*/ 185570 h 571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1376" h="571324">
                  <a:moveTo>
                    <a:pt x="938345" y="185570"/>
                  </a:moveTo>
                  <a:cubicBezTo>
                    <a:pt x="973295" y="189898"/>
                    <a:pt x="972538" y="203748"/>
                    <a:pt x="1013331" y="247463"/>
                  </a:cubicBezTo>
                  <a:cubicBezTo>
                    <a:pt x="1054123" y="291177"/>
                    <a:pt x="1013006" y="417018"/>
                    <a:pt x="1013006" y="417018"/>
                  </a:cubicBezTo>
                  <a:lnTo>
                    <a:pt x="890194" y="510939"/>
                  </a:lnTo>
                  <a:lnTo>
                    <a:pt x="427730" y="569911"/>
                  </a:lnTo>
                  <a:cubicBezTo>
                    <a:pt x="427730" y="569911"/>
                    <a:pt x="329265" y="592092"/>
                    <a:pt x="244649" y="460733"/>
                  </a:cubicBezTo>
                  <a:cubicBezTo>
                    <a:pt x="213595" y="412582"/>
                    <a:pt x="0" y="93921"/>
                    <a:pt x="0" y="93921"/>
                  </a:cubicBezTo>
                  <a:lnTo>
                    <a:pt x="140341" y="0"/>
                  </a:lnTo>
                  <a:lnTo>
                    <a:pt x="423294" y="302647"/>
                  </a:lnTo>
                  <a:lnTo>
                    <a:pt x="938345" y="185570"/>
                  </a:ln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57D1A470-A442-435C-B94F-5E90BE64DF0D}"/>
                </a:ext>
              </a:extLst>
            </p:cNvPr>
            <p:cNvSpPr/>
            <p:nvPr/>
          </p:nvSpPr>
          <p:spPr>
            <a:xfrm flipH="1">
              <a:off x="967211" y="3884312"/>
              <a:ext cx="501554" cy="86879"/>
            </a:xfrm>
            <a:custGeom>
              <a:avLst/>
              <a:gdLst>
                <a:gd name="connsiteX0" fmla="*/ 35383 w 455049"/>
                <a:gd name="connsiteY0" fmla="*/ 73197 h 78823"/>
                <a:gd name="connsiteX1" fmla="*/ 430868 w 455049"/>
                <a:gd name="connsiteY1" fmla="*/ 1025 h 78823"/>
                <a:gd name="connsiteX2" fmla="*/ 445800 w 455049"/>
                <a:gd name="connsiteY2" fmla="*/ 1133 h 78823"/>
                <a:gd name="connsiteX3" fmla="*/ 453266 w 455049"/>
                <a:gd name="connsiteY3" fmla="*/ 25479 h 78823"/>
                <a:gd name="connsiteX4" fmla="*/ 432383 w 455049"/>
                <a:gd name="connsiteY4" fmla="*/ 44198 h 78823"/>
                <a:gd name="connsiteX5" fmla="*/ 288039 w 455049"/>
                <a:gd name="connsiteY5" fmla="*/ 70275 h 78823"/>
                <a:gd name="connsiteX6" fmla="*/ 0 w 455049"/>
                <a:gd name="connsiteY6" fmla="*/ 78823 h 78823"/>
                <a:gd name="connsiteX7" fmla="*/ 35383 w 455049"/>
                <a:gd name="connsiteY7" fmla="*/ 73197 h 7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5049" h="78823">
                  <a:moveTo>
                    <a:pt x="35383" y="73197"/>
                  </a:moveTo>
                  <a:cubicBezTo>
                    <a:pt x="168690" y="48851"/>
                    <a:pt x="297561" y="25371"/>
                    <a:pt x="430868" y="1025"/>
                  </a:cubicBezTo>
                  <a:cubicBezTo>
                    <a:pt x="435846" y="159"/>
                    <a:pt x="441148" y="-815"/>
                    <a:pt x="445800" y="1133"/>
                  </a:cubicBezTo>
                  <a:cubicBezTo>
                    <a:pt x="454673" y="4704"/>
                    <a:pt x="457162" y="16822"/>
                    <a:pt x="453266" y="25479"/>
                  </a:cubicBezTo>
                  <a:cubicBezTo>
                    <a:pt x="449263" y="34135"/>
                    <a:pt x="440823" y="39762"/>
                    <a:pt x="432383" y="44198"/>
                  </a:cubicBezTo>
                  <a:cubicBezTo>
                    <a:pt x="388669" y="67029"/>
                    <a:pt x="337380" y="68869"/>
                    <a:pt x="288039" y="70275"/>
                  </a:cubicBezTo>
                  <a:cubicBezTo>
                    <a:pt x="203748" y="72547"/>
                    <a:pt x="84183" y="76551"/>
                    <a:pt x="0" y="78823"/>
                  </a:cubicBezTo>
                  <a:lnTo>
                    <a:pt x="35383" y="73197"/>
                  </a:lnTo>
                  <a:close/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FC54B56C-71E5-4F9D-B944-276838BE3239}"/>
                </a:ext>
              </a:extLst>
            </p:cNvPr>
            <p:cNvSpPr/>
            <p:nvPr/>
          </p:nvSpPr>
          <p:spPr>
            <a:xfrm flipH="1">
              <a:off x="1042522" y="3898322"/>
              <a:ext cx="682896" cy="89795"/>
            </a:xfrm>
            <a:custGeom>
              <a:avLst/>
              <a:gdLst>
                <a:gd name="connsiteX0" fmla="*/ 0 w 619576"/>
                <a:gd name="connsiteY0" fmla="*/ 39819 h 81469"/>
                <a:gd name="connsiteX1" fmla="*/ 4761 w 619576"/>
                <a:gd name="connsiteY1" fmla="*/ 44147 h 81469"/>
                <a:gd name="connsiteX2" fmla="*/ 19477 w 619576"/>
                <a:gd name="connsiteY2" fmla="*/ 55509 h 81469"/>
                <a:gd name="connsiteX3" fmla="*/ 82884 w 619576"/>
                <a:gd name="connsiteY3" fmla="*/ 79855 h 81469"/>
                <a:gd name="connsiteX4" fmla="*/ 129953 w 619576"/>
                <a:gd name="connsiteY4" fmla="*/ 79422 h 81469"/>
                <a:gd name="connsiteX5" fmla="*/ 183622 w 619576"/>
                <a:gd name="connsiteY5" fmla="*/ 72713 h 81469"/>
                <a:gd name="connsiteX6" fmla="*/ 306001 w 619576"/>
                <a:gd name="connsiteY6" fmla="*/ 53994 h 81469"/>
                <a:gd name="connsiteX7" fmla="*/ 527603 w 619576"/>
                <a:gd name="connsiteY7" fmla="*/ 15149 h 81469"/>
                <a:gd name="connsiteX8" fmla="*/ 594906 w 619576"/>
                <a:gd name="connsiteY8" fmla="*/ 4112 h 81469"/>
                <a:gd name="connsiteX9" fmla="*/ 613192 w 619576"/>
                <a:gd name="connsiteY9" fmla="*/ 1190 h 81469"/>
                <a:gd name="connsiteX10" fmla="*/ 619576 w 619576"/>
                <a:gd name="connsiteY10" fmla="*/ 0 h 81469"/>
                <a:gd name="connsiteX11" fmla="*/ 613192 w 619576"/>
                <a:gd name="connsiteY11" fmla="*/ 758 h 81469"/>
                <a:gd name="connsiteX12" fmla="*/ 594798 w 619576"/>
                <a:gd name="connsiteY12" fmla="*/ 3246 h 81469"/>
                <a:gd name="connsiteX13" fmla="*/ 527386 w 619576"/>
                <a:gd name="connsiteY13" fmla="*/ 13526 h 81469"/>
                <a:gd name="connsiteX14" fmla="*/ 305676 w 619576"/>
                <a:gd name="connsiteY14" fmla="*/ 51830 h 81469"/>
                <a:gd name="connsiteX15" fmla="*/ 183298 w 619576"/>
                <a:gd name="connsiteY15" fmla="*/ 70766 h 81469"/>
                <a:gd name="connsiteX16" fmla="*/ 129737 w 619576"/>
                <a:gd name="connsiteY16" fmla="*/ 77691 h 81469"/>
                <a:gd name="connsiteX17" fmla="*/ 83101 w 619576"/>
                <a:gd name="connsiteY17" fmla="*/ 78448 h 81469"/>
                <a:gd name="connsiteX18" fmla="*/ 20018 w 619576"/>
                <a:gd name="connsiteY18" fmla="*/ 54968 h 81469"/>
                <a:gd name="connsiteX19" fmla="*/ 5194 w 619576"/>
                <a:gd name="connsiteY19" fmla="*/ 43931 h 81469"/>
                <a:gd name="connsiteX20" fmla="*/ 0 w 619576"/>
                <a:gd name="connsiteY20" fmla="*/ 39819 h 81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9576" h="81469">
                  <a:moveTo>
                    <a:pt x="0" y="39819"/>
                  </a:moveTo>
                  <a:cubicBezTo>
                    <a:pt x="0" y="39819"/>
                    <a:pt x="1623" y="41334"/>
                    <a:pt x="4761" y="44147"/>
                  </a:cubicBezTo>
                  <a:cubicBezTo>
                    <a:pt x="7899" y="47069"/>
                    <a:pt x="12768" y="50964"/>
                    <a:pt x="19477" y="55509"/>
                  </a:cubicBezTo>
                  <a:cubicBezTo>
                    <a:pt x="32678" y="64490"/>
                    <a:pt x="54102" y="75635"/>
                    <a:pt x="82884" y="79855"/>
                  </a:cubicBezTo>
                  <a:cubicBezTo>
                    <a:pt x="97167" y="82127"/>
                    <a:pt x="113290" y="82019"/>
                    <a:pt x="129953" y="79422"/>
                  </a:cubicBezTo>
                  <a:cubicBezTo>
                    <a:pt x="146725" y="77474"/>
                    <a:pt x="164687" y="75202"/>
                    <a:pt x="183622" y="72713"/>
                  </a:cubicBezTo>
                  <a:cubicBezTo>
                    <a:pt x="221385" y="67628"/>
                    <a:pt x="262719" y="61244"/>
                    <a:pt x="306001" y="53994"/>
                  </a:cubicBezTo>
                  <a:cubicBezTo>
                    <a:pt x="392240" y="38845"/>
                    <a:pt x="470255" y="25212"/>
                    <a:pt x="527603" y="15149"/>
                  </a:cubicBezTo>
                  <a:cubicBezTo>
                    <a:pt x="555519" y="10604"/>
                    <a:pt x="578351" y="6817"/>
                    <a:pt x="594906" y="4112"/>
                  </a:cubicBezTo>
                  <a:cubicBezTo>
                    <a:pt x="602372" y="2922"/>
                    <a:pt x="608431" y="1948"/>
                    <a:pt x="613192" y="1190"/>
                  </a:cubicBezTo>
                  <a:cubicBezTo>
                    <a:pt x="617412" y="541"/>
                    <a:pt x="619576" y="0"/>
                    <a:pt x="619576" y="0"/>
                  </a:cubicBezTo>
                  <a:cubicBezTo>
                    <a:pt x="619576" y="0"/>
                    <a:pt x="617304" y="216"/>
                    <a:pt x="613192" y="758"/>
                  </a:cubicBezTo>
                  <a:cubicBezTo>
                    <a:pt x="608431" y="1407"/>
                    <a:pt x="602372" y="2272"/>
                    <a:pt x="594798" y="3246"/>
                  </a:cubicBezTo>
                  <a:cubicBezTo>
                    <a:pt x="578892" y="5519"/>
                    <a:pt x="555844" y="8981"/>
                    <a:pt x="527386" y="13526"/>
                  </a:cubicBezTo>
                  <a:cubicBezTo>
                    <a:pt x="470471" y="22615"/>
                    <a:pt x="392240" y="37006"/>
                    <a:pt x="305676" y="51830"/>
                  </a:cubicBezTo>
                  <a:cubicBezTo>
                    <a:pt x="262395" y="59079"/>
                    <a:pt x="221061" y="65572"/>
                    <a:pt x="183298" y="70766"/>
                  </a:cubicBezTo>
                  <a:cubicBezTo>
                    <a:pt x="164470" y="73362"/>
                    <a:pt x="146508" y="75635"/>
                    <a:pt x="129737" y="77691"/>
                  </a:cubicBezTo>
                  <a:cubicBezTo>
                    <a:pt x="112965" y="80396"/>
                    <a:pt x="97275" y="80504"/>
                    <a:pt x="83101" y="78448"/>
                  </a:cubicBezTo>
                  <a:cubicBezTo>
                    <a:pt x="54643" y="74444"/>
                    <a:pt x="33327" y="63624"/>
                    <a:pt x="20018" y="54968"/>
                  </a:cubicBezTo>
                  <a:cubicBezTo>
                    <a:pt x="13309" y="50531"/>
                    <a:pt x="8332" y="46744"/>
                    <a:pt x="5194" y="43931"/>
                  </a:cubicBezTo>
                  <a:cubicBezTo>
                    <a:pt x="1840" y="41118"/>
                    <a:pt x="0" y="39819"/>
                    <a:pt x="0" y="3981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33C78B11-D070-4F87-BB0B-26AE1DC96257}"/>
                </a:ext>
              </a:extLst>
            </p:cNvPr>
            <p:cNvSpPr/>
            <p:nvPr/>
          </p:nvSpPr>
          <p:spPr>
            <a:xfrm flipH="1">
              <a:off x="924743" y="3580488"/>
              <a:ext cx="89400" cy="211094"/>
            </a:xfrm>
            <a:custGeom>
              <a:avLst/>
              <a:gdLst>
                <a:gd name="connsiteX0" fmla="*/ 72286 w 81111"/>
                <a:gd name="connsiteY0" fmla="*/ 191521 h 191521"/>
                <a:gd name="connsiteX1" fmla="*/ 72935 w 81111"/>
                <a:gd name="connsiteY1" fmla="*/ 189249 h 191521"/>
                <a:gd name="connsiteX2" fmla="*/ 74234 w 81111"/>
                <a:gd name="connsiteY2" fmla="*/ 182757 h 191521"/>
                <a:gd name="connsiteX3" fmla="*/ 78237 w 81111"/>
                <a:gd name="connsiteY3" fmla="*/ 158519 h 191521"/>
                <a:gd name="connsiteX4" fmla="*/ 76181 w 81111"/>
                <a:gd name="connsiteY4" fmla="*/ 77799 h 191521"/>
                <a:gd name="connsiteX5" fmla="*/ 31277 w 81111"/>
                <a:gd name="connsiteY5" fmla="*/ 11794 h 191521"/>
                <a:gd name="connsiteX6" fmla="*/ 8878 w 81111"/>
                <a:gd name="connsiteY6" fmla="*/ 1623 h 191521"/>
                <a:gd name="connsiteX7" fmla="*/ 6 w 81111"/>
                <a:gd name="connsiteY7" fmla="*/ 0 h 191521"/>
                <a:gd name="connsiteX8" fmla="*/ 30411 w 81111"/>
                <a:gd name="connsiteY8" fmla="*/ 13093 h 191521"/>
                <a:gd name="connsiteX9" fmla="*/ 74125 w 81111"/>
                <a:gd name="connsiteY9" fmla="*/ 78340 h 191521"/>
                <a:gd name="connsiteX10" fmla="*/ 76830 w 81111"/>
                <a:gd name="connsiteY10" fmla="*/ 158303 h 191521"/>
                <a:gd name="connsiteX11" fmla="*/ 73476 w 81111"/>
                <a:gd name="connsiteY11" fmla="*/ 182540 h 191521"/>
                <a:gd name="connsiteX12" fmla="*/ 72502 w 81111"/>
                <a:gd name="connsiteY12" fmla="*/ 189141 h 191521"/>
                <a:gd name="connsiteX13" fmla="*/ 72286 w 81111"/>
                <a:gd name="connsiteY13" fmla="*/ 191521 h 19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111" h="191521">
                  <a:moveTo>
                    <a:pt x="72286" y="191521"/>
                  </a:moveTo>
                  <a:cubicBezTo>
                    <a:pt x="72394" y="191521"/>
                    <a:pt x="72611" y="190764"/>
                    <a:pt x="72935" y="189249"/>
                  </a:cubicBezTo>
                  <a:cubicBezTo>
                    <a:pt x="73368" y="187193"/>
                    <a:pt x="73801" y="185029"/>
                    <a:pt x="74234" y="182757"/>
                  </a:cubicBezTo>
                  <a:cubicBezTo>
                    <a:pt x="75316" y="177022"/>
                    <a:pt x="76830" y="168798"/>
                    <a:pt x="78237" y="158519"/>
                  </a:cubicBezTo>
                  <a:cubicBezTo>
                    <a:pt x="80942" y="138177"/>
                    <a:pt x="83864" y="108853"/>
                    <a:pt x="76181" y="77799"/>
                  </a:cubicBezTo>
                  <a:cubicBezTo>
                    <a:pt x="68282" y="46636"/>
                    <a:pt x="48806" y="22939"/>
                    <a:pt x="31277" y="11794"/>
                  </a:cubicBezTo>
                  <a:cubicBezTo>
                    <a:pt x="22512" y="6168"/>
                    <a:pt x="14505" y="3030"/>
                    <a:pt x="8878" y="1623"/>
                  </a:cubicBezTo>
                  <a:cubicBezTo>
                    <a:pt x="3252" y="216"/>
                    <a:pt x="6" y="0"/>
                    <a:pt x="6" y="0"/>
                  </a:cubicBezTo>
                  <a:cubicBezTo>
                    <a:pt x="-319" y="649"/>
                    <a:pt x="13207" y="1407"/>
                    <a:pt x="30411" y="13093"/>
                  </a:cubicBezTo>
                  <a:cubicBezTo>
                    <a:pt x="47507" y="24346"/>
                    <a:pt x="66335" y="47718"/>
                    <a:pt x="74125" y="78340"/>
                  </a:cubicBezTo>
                  <a:cubicBezTo>
                    <a:pt x="81700" y="108961"/>
                    <a:pt x="79103" y="137960"/>
                    <a:pt x="76830" y="158303"/>
                  </a:cubicBezTo>
                  <a:cubicBezTo>
                    <a:pt x="75640" y="168582"/>
                    <a:pt x="74342" y="176805"/>
                    <a:pt x="73476" y="182540"/>
                  </a:cubicBezTo>
                  <a:cubicBezTo>
                    <a:pt x="73151" y="184921"/>
                    <a:pt x="72827" y="187085"/>
                    <a:pt x="72502" y="189141"/>
                  </a:cubicBezTo>
                  <a:cubicBezTo>
                    <a:pt x="72286" y="190655"/>
                    <a:pt x="72178" y="191413"/>
                    <a:pt x="72286" y="19152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DC7365D6-BE9C-4AD7-A70F-3AA23D97B097}"/>
                </a:ext>
              </a:extLst>
            </p:cNvPr>
            <p:cNvSpPr/>
            <p:nvPr/>
          </p:nvSpPr>
          <p:spPr>
            <a:xfrm flipH="1">
              <a:off x="1593127" y="3690687"/>
              <a:ext cx="11139" cy="176870"/>
            </a:xfrm>
            <a:custGeom>
              <a:avLst/>
              <a:gdLst>
                <a:gd name="connsiteX0" fmla="*/ 6076 w 10106"/>
                <a:gd name="connsiteY0" fmla="*/ 160467 h 160470"/>
                <a:gd name="connsiteX1" fmla="*/ 5643 w 10106"/>
                <a:gd name="connsiteY1" fmla="*/ 154083 h 160470"/>
                <a:gd name="connsiteX2" fmla="*/ 4020 w 10106"/>
                <a:gd name="connsiteY2" fmla="*/ 136878 h 160470"/>
                <a:gd name="connsiteX3" fmla="*/ 2289 w 10106"/>
                <a:gd name="connsiteY3" fmla="*/ 80071 h 160470"/>
                <a:gd name="connsiteX4" fmla="*/ 6834 w 10106"/>
                <a:gd name="connsiteY4" fmla="*/ 23372 h 160470"/>
                <a:gd name="connsiteX5" fmla="*/ 9323 w 10106"/>
                <a:gd name="connsiteY5" fmla="*/ 6276 h 160470"/>
                <a:gd name="connsiteX6" fmla="*/ 10080 w 10106"/>
                <a:gd name="connsiteY6" fmla="*/ 0 h 160470"/>
                <a:gd name="connsiteX7" fmla="*/ 8457 w 10106"/>
                <a:gd name="connsiteY7" fmla="*/ 6168 h 160470"/>
                <a:gd name="connsiteX8" fmla="*/ 5319 w 10106"/>
                <a:gd name="connsiteY8" fmla="*/ 23156 h 160470"/>
                <a:gd name="connsiteX9" fmla="*/ 125 w 10106"/>
                <a:gd name="connsiteY9" fmla="*/ 80071 h 160470"/>
                <a:gd name="connsiteX10" fmla="*/ 2397 w 10106"/>
                <a:gd name="connsiteY10" fmla="*/ 137095 h 160470"/>
                <a:gd name="connsiteX11" fmla="*/ 4670 w 10106"/>
                <a:gd name="connsiteY11" fmla="*/ 154299 h 160470"/>
                <a:gd name="connsiteX12" fmla="*/ 6076 w 10106"/>
                <a:gd name="connsiteY12" fmla="*/ 160467 h 16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106" h="160470">
                  <a:moveTo>
                    <a:pt x="6076" y="160467"/>
                  </a:moveTo>
                  <a:cubicBezTo>
                    <a:pt x="6185" y="160467"/>
                    <a:pt x="6076" y="158194"/>
                    <a:pt x="5643" y="154083"/>
                  </a:cubicBezTo>
                  <a:cubicBezTo>
                    <a:pt x="5102" y="148672"/>
                    <a:pt x="4562" y="143046"/>
                    <a:pt x="4020" y="136878"/>
                  </a:cubicBezTo>
                  <a:cubicBezTo>
                    <a:pt x="2830" y="122379"/>
                    <a:pt x="1856" y="102253"/>
                    <a:pt x="2289" y="80071"/>
                  </a:cubicBezTo>
                  <a:cubicBezTo>
                    <a:pt x="2830" y="57889"/>
                    <a:pt x="4886" y="37763"/>
                    <a:pt x="6834" y="23372"/>
                  </a:cubicBezTo>
                  <a:cubicBezTo>
                    <a:pt x="7699" y="17313"/>
                    <a:pt x="8565" y="11578"/>
                    <a:pt x="9323" y="6276"/>
                  </a:cubicBezTo>
                  <a:cubicBezTo>
                    <a:pt x="9972" y="2272"/>
                    <a:pt x="10188" y="0"/>
                    <a:pt x="10080" y="0"/>
                  </a:cubicBezTo>
                  <a:cubicBezTo>
                    <a:pt x="9972" y="0"/>
                    <a:pt x="9431" y="2164"/>
                    <a:pt x="8457" y="6168"/>
                  </a:cubicBezTo>
                  <a:cubicBezTo>
                    <a:pt x="7591" y="10171"/>
                    <a:pt x="6509" y="16014"/>
                    <a:pt x="5319" y="23156"/>
                  </a:cubicBezTo>
                  <a:cubicBezTo>
                    <a:pt x="2938" y="37547"/>
                    <a:pt x="774" y="57673"/>
                    <a:pt x="125" y="80071"/>
                  </a:cubicBezTo>
                  <a:cubicBezTo>
                    <a:pt x="-416" y="102361"/>
                    <a:pt x="882" y="122595"/>
                    <a:pt x="2397" y="137095"/>
                  </a:cubicBezTo>
                  <a:cubicBezTo>
                    <a:pt x="3155" y="144344"/>
                    <a:pt x="4020" y="150187"/>
                    <a:pt x="4670" y="154299"/>
                  </a:cubicBezTo>
                  <a:cubicBezTo>
                    <a:pt x="5427" y="158303"/>
                    <a:pt x="5860" y="160575"/>
                    <a:pt x="6076" y="16046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99AFEBA2-4305-4D6F-9D59-E8F2516EB7C8}"/>
                </a:ext>
              </a:extLst>
            </p:cNvPr>
            <p:cNvSpPr/>
            <p:nvPr/>
          </p:nvSpPr>
          <p:spPr>
            <a:xfrm flipH="1">
              <a:off x="1087365" y="3357583"/>
              <a:ext cx="820052" cy="336563"/>
            </a:xfrm>
            <a:custGeom>
              <a:avLst/>
              <a:gdLst>
                <a:gd name="connsiteX0" fmla="*/ 744015 w 744015"/>
                <a:gd name="connsiteY0" fmla="*/ 202238 h 305356"/>
                <a:gd name="connsiteX1" fmla="*/ 735359 w 744015"/>
                <a:gd name="connsiteY1" fmla="*/ 204726 h 305356"/>
                <a:gd name="connsiteX2" fmla="*/ 710256 w 744015"/>
                <a:gd name="connsiteY2" fmla="*/ 210786 h 305356"/>
                <a:gd name="connsiteX3" fmla="*/ 617742 w 744015"/>
                <a:gd name="connsiteY3" fmla="*/ 231885 h 305356"/>
                <a:gd name="connsiteX4" fmla="*/ 312173 w 744015"/>
                <a:gd name="connsiteY4" fmla="*/ 299297 h 305356"/>
                <a:gd name="connsiteX5" fmla="*/ 285663 w 744015"/>
                <a:gd name="connsiteY5" fmla="*/ 305031 h 305356"/>
                <a:gd name="connsiteX6" fmla="*/ 284148 w 744015"/>
                <a:gd name="connsiteY6" fmla="*/ 305356 h 305356"/>
                <a:gd name="connsiteX7" fmla="*/ 283066 w 744015"/>
                <a:gd name="connsiteY7" fmla="*/ 304166 h 305356"/>
                <a:gd name="connsiteX8" fmla="*/ 81374 w 744015"/>
                <a:gd name="connsiteY8" fmla="*/ 89056 h 305356"/>
                <a:gd name="connsiteX9" fmla="*/ 21321 w 744015"/>
                <a:gd name="connsiteY9" fmla="*/ 24134 h 305356"/>
                <a:gd name="connsiteX10" fmla="*/ 5307 w 744015"/>
                <a:gd name="connsiteY10" fmla="*/ 6388 h 305356"/>
                <a:gd name="connsiteX11" fmla="*/ 4 w 744015"/>
                <a:gd name="connsiteY11" fmla="*/ 4 h 305356"/>
                <a:gd name="connsiteX12" fmla="*/ 6172 w 744015"/>
                <a:gd name="connsiteY12" fmla="*/ 5739 h 305356"/>
                <a:gd name="connsiteX13" fmla="*/ 22944 w 744015"/>
                <a:gd name="connsiteY13" fmla="*/ 22835 h 305356"/>
                <a:gd name="connsiteX14" fmla="*/ 84296 w 744015"/>
                <a:gd name="connsiteY14" fmla="*/ 86567 h 305356"/>
                <a:gd name="connsiteX15" fmla="*/ 287178 w 744015"/>
                <a:gd name="connsiteY15" fmla="*/ 300379 h 305356"/>
                <a:gd name="connsiteX16" fmla="*/ 284581 w 744015"/>
                <a:gd name="connsiteY16" fmla="*/ 299513 h 305356"/>
                <a:gd name="connsiteX17" fmla="*/ 311091 w 744015"/>
                <a:gd name="connsiteY17" fmla="*/ 293778 h 305356"/>
                <a:gd name="connsiteX18" fmla="*/ 617092 w 744015"/>
                <a:gd name="connsiteY18" fmla="*/ 227990 h 305356"/>
                <a:gd name="connsiteX19" fmla="*/ 709931 w 744015"/>
                <a:gd name="connsiteY19" fmla="*/ 208622 h 305356"/>
                <a:gd name="connsiteX20" fmla="*/ 735251 w 744015"/>
                <a:gd name="connsiteY20" fmla="*/ 203644 h 305356"/>
                <a:gd name="connsiteX21" fmla="*/ 744015 w 744015"/>
                <a:gd name="connsiteY21" fmla="*/ 202238 h 305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44015" h="305356">
                  <a:moveTo>
                    <a:pt x="744015" y="202238"/>
                  </a:moveTo>
                  <a:cubicBezTo>
                    <a:pt x="744015" y="202454"/>
                    <a:pt x="741094" y="203320"/>
                    <a:pt x="735359" y="204726"/>
                  </a:cubicBezTo>
                  <a:cubicBezTo>
                    <a:pt x="729083" y="206241"/>
                    <a:pt x="720752" y="208189"/>
                    <a:pt x="710256" y="210786"/>
                  </a:cubicBezTo>
                  <a:cubicBezTo>
                    <a:pt x="687858" y="215871"/>
                    <a:pt x="656370" y="223013"/>
                    <a:pt x="617742" y="231885"/>
                  </a:cubicBezTo>
                  <a:cubicBezTo>
                    <a:pt x="539077" y="249198"/>
                    <a:pt x="431198" y="273003"/>
                    <a:pt x="312173" y="299297"/>
                  </a:cubicBezTo>
                  <a:cubicBezTo>
                    <a:pt x="303084" y="301244"/>
                    <a:pt x="294103" y="303192"/>
                    <a:pt x="285663" y="305031"/>
                  </a:cubicBezTo>
                  <a:lnTo>
                    <a:pt x="284148" y="305356"/>
                  </a:lnTo>
                  <a:lnTo>
                    <a:pt x="283066" y="304166"/>
                  </a:lnTo>
                  <a:cubicBezTo>
                    <a:pt x="203861" y="219658"/>
                    <a:pt x="132987" y="144024"/>
                    <a:pt x="81374" y="89056"/>
                  </a:cubicBezTo>
                  <a:cubicBezTo>
                    <a:pt x="56271" y="61897"/>
                    <a:pt x="35820" y="39823"/>
                    <a:pt x="21321" y="24134"/>
                  </a:cubicBezTo>
                  <a:cubicBezTo>
                    <a:pt x="14612" y="16668"/>
                    <a:pt x="9310" y="10825"/>
                    <a:pt x="5307" y="6388"/>
                  </a:cubicBezTo>
                  <a:cubicBezTo>
                    <a:pt x="1736" y="2277"/>
                    <a:pt x="-103" y="113"/>
                    <a:pt x="4" y="4"/>
                  </a:cubicBezTo>
                  <a:cubicBezTo>
                    <a:pt x="113" y="-104"/>
                    <a:pt x="2277" y="1844"/>
                    <a:pt x="6172" y="5739"/>
                  </a:cubicBezTo>
                  <a:cubicBezTo>
                    <a:pt x="10392" y="9959"/>
                    <a:pt x="15910" y="15694"/>
                    <a:pt x="22944" y="22835"/>
                  </a:cubicBezTo>
                  <a:cubicBezTo>
                    <a:pt x="37768" y="38200"/>
                    <a:pt x="58543" y="59841"/>
                    <a:pt x="84296" y="86567"/>
                  </a:cubicBezTo>
                  <a:cubicBezTo>
                    <a:pt x="136125" y="141211"/>
                    <a:pt x="207540" y="216412"/>
                    <a:pt x="287178" y="300379"/>
                  </a:cubicBezTo>
                  <a:lnTo>
                    <a:pt x="284581" y="299513"/>
                  </a:lnTo>
                  <a:cubicBezTo>
                    <a:pt x="293021" y="297673"/>
                    <a:pt x="302002" y="295726"/>
                    <a:pt x="311091" y="293778"/>
                  </a:cubicBezTo>
                  <a:cubicBezTo>
                    <a:pt x="430332" y="268134"/>
                    <a:pt x="538320" y="244870"/>
                    <a:pt x="617092" y="227990"/>
                  </a:cubicBezTo>
                  <a:cubicBezTo>
                    <a:pt x="655938" y="219875"/>
                    <a:pt x="687533" y="213383"/>
                    <a:pt x="709931" y="208622"/>
                  </a:cubicBezTo>
                  <a:cubicBezTo>
                    <a:pt x="720535" y="206566"/>
                    <a:pt x="728975" y="204834"/>
                    <a:pt x="735251" y="203644"/>
                  </a:cubicBezTo>
                  <a:cubicBezTo>
                    <a:pt x="740986" y="202454"/>
                    <a:pt x="744015" y="202021"/>
                    <a:pt x="744015" y="20223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6A9842B0-6D70-4413-94DD-AB265CE4B869}"/>
                </a:ext>
              </a:extLst>
            </p:cNvPr>
            <p:cNvSpPr/>
            <p:nvPr/>
          </p:nvSpPr>
          <p:spPr>
            <a:xfrm flipH="1">
              <a:off x="2011051" y="4341978"/>
              <a:ext cx="1215044" cy="1732642"/>
            </a:xfrm>
            <a:custGeom>
              <a:avLst/>
              <a:gdLst>
                <a:gd name="connsiteX0" fmla="*/ 671947 w 1102382"/>
                <a:gd name="connsiteY0" fmla="*/ 303837 h 1571988"/>
                <a:gd name="connsiteX1" fmla="*/ 675085 w 1102382"/>
                <a:gd name="connsiteY1" fmla="*/ 300699 h 1571988"/>
                <a:gd name="connsiteX2" fmla="*/ 724642 w 1102382"/>
                <a:gd name="connsiteY2" fmla="*/ 177671 h 1571988"/>
                <a:gd name="connsiteX3" fmla="*/ 546971 w 1102382"/>
                <a:gd name="connsiteY3" fmla="*/ 0 h 1571988"/>
                <a:gd name="connsiteX4" fmla="*/ 369300 w 1102382"/>
                <a:gd name="connsiteY4" fmla="*/ 177671 h 1571988"/>
                <a:gd name="connsiteX5" fmla="*/ 421130 w 1102382"/>
                <a:gd name="connsiteY5" fmla="*/ 302106 h 1571988"/>
                <a:gd name="connsiteX6" fmla="*/ 423078 w 1102382"/>
                <a:gd name="connsiteY6" fmla="*/ 303837 h 1571988"/>
                <a:gd name="connsiteX7" fmla="*/ 0 w 1102382"/>
                <a:gd name="connsiteY7" fmla="*/ 303837 h 1571988"/>
                <a:gd name="connsiteX8" fmla="*/ 0 w 1102382"/>
                <a:gd name="connsiteY8" fmla="*/ 778745 h 1571988"/>
                <a:gd name="connsiteX9" fmla="*/ 1731 w 1102382"/>
                <a:gd name="connsiteY9" fmla="*/ 776797 h 1571988"/>
                <a:gd name="connsiteX10" fmla="*/ 126166 w 1102382"/>
                <a:gd name="connsiteY10" fmla="*/ 724859 h 1571988"/>
                <a:gd name="connsiteX11" fmla="*/ 303837 w 1102382"/>
                <a:gd name="connsiteY11" fmla="*/ 902530 h 1571988"/>
                <a:gd name="connsiteX12" fmla="*/ 126166 w 1102382"/>
                <a:gd name="connsiteY12" fmla="*/ 1080201 h 1571988"/>
                <a:gd name="connsiteX13" fmla="*/ 3138 w 1102382"/>
                <a:gd name="connsiteY13" fmla="*/ 1030644 h 1571988"/>
                <a:gd name="connsiteX14" fmla="*/ 0 w 1102382"/>
                <a:gd name="connsiteY14" fmla="*/ 1027506 h 1571988"/>
                <a:gd name="connsiteX15" fmla="*/ 0 w 1102382"/>
                <a:gd name="connsiteY15" fmla="*/ 1571988 h 1571988"/>
                <a:gd name="connsiteX16" fmla="*/ 477180 w 1102382"/>
                <a:gd name="connsiteY16" fmla="*/ 1571988 h 1571988"/>
                <a:gd name="connsiteX17" fmla="*/ 520678 w 1102382"/>
                <a:gd name="connsiteY17" fmla="*/ 1252245 h 1571988"/>
                <a:gd name="connsiteX18" fmla="*/ 939860 w 1102382"/>
                <a:gd name="connsiteY18" fmla="*/ 715012 h 1571988"/>
                <a:gd name="connsiteX19" fmla="*/ 1102383 w 1102382"/>
                <a:gd name="connsiteY19" fmla="*/ 303621 h 1571988"/>
                <a:gd name="connsiteX20" fmla="*/ 671947 w 1102382"/>
                <a:gd name="connsiteY20" fmla="*/ 303621 h 157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02382" h="1571988">
                  <a:moveTo>
                    <a:pt x="671947" y="303837"/>
                  </a:moveTo>
                  <a:lnTo>
                    <a:pt x="675085" y="300699"/>
                  </a:lnTo>
                  <a:cubicBezTo>
                    <a:pt x="705707" y="268779"/>
                    <a:pt x="724642" y="225389"/>
                    <a:pt x="724642" y="177671"/>
                  </a:cubicBezTo>
                  <a:cubicBezTo>
                    <a:pt x="724642" y="79530"/>
                    <a:pt x="645112" y="0"/>
                    <a:pt x="546971" y="0"/>
                  </a:cubicBezTo>
                  <a:cubicBezTo>
                    <a:pt x="448830" y="0"/>
                    <a:pt x="369300" y="79530"/>
                    <a:pt x="369300" y="177671"/>
                  </a:cubicBezTo>
                  <a:cubicBezTo>
                    <a:pt x="369300" y="226471"/>
                    <a:pt x="389318" y="269969"/>
                    <a:pt x="421130" y="302106"/>
                  </a:cubicBezTo>
                  <a:lnTo>
                    <a:pt x="423078" y="303837"/>
                  </a:lnTo>
                  <a:lnTo>
                    <a:pt x="0" y="303837"/>
                  </a:lnTo>
                  <a:lnTo>
                    <a:pt x="0" y="778745"/>
                  </a:lnTo>
                  <a:lnTo>
                    <a:pt x="1731" y="776797"/>
                  </a:lnTo>
                  <a:cubicBezTo>
                    <a:pt x="33868" y="744985"/>
                    <a:pt x="77366" y="724859"/>
                    <a:pt x="126166" y="724859"/>
                  </a:cubicBezTo>
                  <a:cubicBezTo>
                    <a:pt x="224307" y="724859"/>
                    <a:pt x="303837" y="804389"/>
                    <a:pt x="303837" y="902530"/>
                  </a:cubicBezTo>
                  <a:cubicBezTo>
                    <a:pt x="303837" y="1000671"/>
                    <a:pt x="224307" y="1080201"/>
                    <a:pt x="126166" y="1080201"/>
                  </a:cubicBezTo>
                  <a:cubicBezTo>
                    <a:pt x="78448" y="1080201"/>
                    <a:pt x="35058" y="1061373"/>
                    <a:pt x="3138" y="1030644"/>
                  </a:cubicBezTo>
                  <a:lnTo>
                    <a:pt x="0" y="1027506"/>
                  </a:lnTo>
                  <a:lnTo>
                    <a:pt x="0" y="1571988"/>
                  </a:lnTo>
                  <a:lnTo>
                    <a:pt x="477180" y="1571988"/>
                  </a:lnTo>
                  <a:cubicBezTo>
                    <a:pt x="477180" y="1571988"/>
                    <a:pt x="498929" y="1390314"/>
                    <a:pt x="520678" y="1252245"/>
                  </a:cubicBezTo>
                  <a:cubicBezTo>
                    <a:pt x="542427" y="1114177"/>
                    <a:pt x="851241" y="832522"/>
                    <a:pt x="939860" y="715012"/>
                  </a:cubicBezTo>
                  <a:cubicBezTo>
                    <a:pt x="975567" y="667727"/>
                    <a:pt x="1063754" y="512779"/>
                    <a:pt x="1102383" y="303621"/>
                  </a:cubicBezTo>
                  <a:lnTo>
                    <a:pt x="671947" y="303621"/>
                  </a:lnTo>
                  <a:close/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91AD1180-97CD-4161-8774-E57D8DF2879A}"/>
                </a:ext>
              </a:extLst>
            </p:cNvPr>
            <p:cNvSpPr/>
            <p:nvPr/>
          </p:nvSpPr>
          <p:spPr>
            <a:xfrm flipH="1">
              <a:off x="2324473" y="5096689"/>
              <a:ext cx="901623" cy="977932"/>
            </a:xfrm>
            <a:custGeom>
              <a:avLst/>
              <a:gdLst>
                <a:gd name="connsiteX0" fmla="*/ 818022 w 818022"/>
                <a:gd name="connsiteY0" fmla="*/ 166726 h 887256"/>
                <a:gd name="connsiteX1" fmla="*/ 753749 w 818022"/>
                <a:gd name="connsiteY1" fmla="*/ 133832 h 887256"/>
                <a:gd name="connsiteX2" fmla="*/ 703218 w 818022"/>
                <a:gd name="connsiteY2" fmla="*/ 148872 h 887256"/>
                <a:gd name="connsiteX3" fmla="*/ 667402 w 818022"/>
                <a:gd name="connsiteY3" fmla="*/ 118900 h 887256"/>
                <a:gd name="connsiteX4" fmla="*/ 647493 w 818022"/>
                <a:gd name="connsiteY4" fmla="*/ 74536 h 887256"/>
                <a:gd name="connsiteX5" fmla="*/ 607566 w 818022"/>
                <a:gd name="connsiteY5" fmla="*/ 51813 h 887256"/>
                <a:gd name="connsiteX6" fmla="*/ 552273 w 818022"/>
                <a:gd name="connsiteY6" fmla="*/ 81353 h 887256"/>
                <a:gd name="connsiteX7" fmla="*/ 521868 w 818022"/>
                <a:gd name="connsiteY7" fmla="*/ 62092 h 887256"/>
                <a:gd name="connsiteX8" fmla="*/ 503257 w 818022"/>
                <a:gd name="connsiteY8" fmla="*/ 29523 h 887256"/>
                <a:gd name="connsiteX9" fmla="*/ 398407 w 818022"/>
                <a:gd name="connsiteY9" fmla="*/ 14916 h 887256"/>
                <a:gd name="connsiteX10" fmla="*/ 353502 w 818022"/>
                <a:gd name="connsiteY10" fmla="*/ 93904 h 887256"/>
                <a:gd name="connsiteX11" fmla="*/ 303837 w 818022"/>
                <a:gd name="connsiteY11" fmla="*/ 217798 h 887256"/>
                <a:gd name="connsiteX12" fmla="*/ 126166 w 818022"/>
                <a:gd name="connsiteY12" fmla="*/ 395469 h 887256"/>
                <a:gd name="connsiteX13" fmla="*/ 3138 w 818022"/>
                <a:gd name="connsiteY13" fmla="*/ 345912 h 887256"/>
                <a:gd name="connsiteX14" fmla="*/ 0 w 818022"/>
                <a:gd name="connsiteY14" fmla="*/ 342774 h 887256"/>
                <a:gd name="connsiteX15" fmla="*/ 0 w 818022"/>
                <a:gd name="connsiteY15" fmla="*/ 887256 h 887256"/>
                <a:gd name="connsiteX16" fmla="*/ 477180 w 818022"/>
                <a:gd name="connsiteY16" fmla="*/ 887256 h 887256"/>
                <a:gd name="connsiteX17" fmla="*/ 520678 w 818022"/>
                <a:gd name="connsiteY17" fmla="*/ 567513 h 887256"/>
                <a:gd name="connsiteX18" fmla="*/ 519920 w 818022"/>
                <a:gd name="connsiteY18" fmla="*/ 563943 h 887256"/>
                <a:gd name="connsiteX19" fmla="*/ 520678 w 818022"/>
                <a:gd name="connsiteY19" fmla="*/ 559723 h 887256"/>
                <a:gd name="connsiteX20" fmla="*/ 818022 w 818022"/>
                <a:gd name="connsiteY20" fmla="*/ 166726 h 88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18022" h="887256">
                  <a:moveTo>
                    <a:pt x="818022" y="166726"/>
                  </a:moveTo>
                  <a:cubicBezTo>
                    <a:pt x="808284" y="142272"/>
                    <a:pt x="779177" y="127448"/>
                    <a:pt x="753749" y="133832"/>
                  </a:cubicBezTo>
                  <a:cubicBezTo>
                    <a:pt x="736545" y="138160"/>
                    <a:pt x="720855" y="150820"/>
                    <a:pt x="703218" y="148872"/>
                  </a:cubicBezTo>
                  <a:cubicBezTo>
                    <a:pt x="687096" y="147141"/>
                    <a:pt x="674760" y="133399"/>
                    <a:pt x="667402" y="118900"/>
                  </a:cubicBezTo>
                  <a:cubicBezTo>
                    <a:pt x="660045" y="104400"/>
                    <a:pt x="656041" y="88278"/>
                    <a:pt x="647493" y="74536"/>
                  </a:cubicBezTo>
                  <a:cubicBezTo>
                    <a:pt x="638945" y="60794"/>
                    <a:pt x="623580" y="49216"/>
                    <a:pt x="607566" y="51813"/>
                  </a:cubicBezTo>
                  <a:cubicBezTo>
                    <a:pt x="586574" y="55276"/>
                    <a:pt x="573589" y="80920"/>
                    <a:pt x="552273" y="81353"/>
                  </a:cubicBezTo>
                  <a:cubicBezTo>
                    <a:pt x="539722" y="81569"/>
                    <a:pt x="528901" y="72480"/>
                    <a:pt x="521868" y="62092"/>
                  </a:cubicBezTo>
                  <a:cubicBezTo>
                    <a:pt x="514835" y="51705"/>
                    <a:pt x="510398" y="39802"/>
                    <a:pt x="503257" y="29523"/>
                  </a:cubicBezTo>
                  <a:cubicBezTo>
                    <a:pt x="480534" y="-2938"/>
                    <a:pt x="429137" y="-9863"/>
                    <a:pt x="398407" y="14916"/>
                  </a:cubicBezTo>
                  <a:cubicBezTo>
                    <a:pt x="378173" y="25195"/>
                    <a:pt x="356424" y="59279"/>
                    <a:pt x="353502" y="93904"/>
                  </a:cubicBezTo>
                  <a:cubicBezTo>
                    <a:pt x="344738" y="198863"/>
                    <a:pt x="303837" y="217798"/>
                    <a:pt x="303837" y="217798"/>
                  </a:cubicBezTo>
                  <a:cubicBezTo>
                    <a:pt x="303837" y="315939"/>
                    <a:pt x="224307" y="395469"/>
                    <a:pt x="126166" y="395469"/>
                  </a:cubicBezTo>
                  <a:cubicBezTo>
                    <a:pt x="78448" y="395469"/>
                    <a:pt x="35058" y="376642"/>
                    <a:pt x="3138" y="345912"/>
                  </a:cubicBezTo>
                  <a:lnTo>
                    <a:pt x="0" y="342774"/>
                  </a:lnTo>
                  <a:lnTo>
                    <a:pt x="0" y="887256"/>
                  </a:lnTo>
                  <a:lnTo>
                    <a:pt x="477180" y="887256"/>
                  </a:lnTo>
                  <a:cubicBezTo>
                    <a:pt x="477180" y="887256"/>
                    <a:pt x="498929" y="705582"/>
                    <a:pt x="520678" y="567513"/>
                  </a:cubicBezTo>
                  <a:lnTo>
                    <a:pt x="519920" y="563943"/>
                  </a:lnTo>
                  <a:cubicBezTo>
                    <a:pt x="520245" y="562752"/>
                    <a:pt x="520461" y="561346"/>
                    <a:pt x="520678" y="559723"/>
                  </a:cubicBezTo>
                  <a:cubicBezTo>
                    <a:pt x="534095" y="461690"/>
                    <a:pt x="818022" y="166726"/>
                    <a:pt x="818022" y="166726"/>
                  </a:cubicBez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669C58B5-48EB-4F6A-B19F-3655EC153A48}"/>
                </a:ext>
              </a:extLst>
            </p:cNvPr>
            <p:cNvSpPr/>
            <p:nvPr/>
          </p:nvSpPr>
          <p:spPr>
            <a:xfrm flipH="1">
              <a:off x="2009144" y="4340463"/>
              <a:ext cx="1219933" cy="1737378"/>
            </a:xfrm>
            <a:custGeom>
              <a:avLst/>
              <a:gdLst>
                <a:gd name="connsiteX0" fmla="*/ 674652 w 1106818"/>
                <a:gd name="connsiteY0" fmla="*/ 305212 h 1576284"/>
                <a:gd name="connsiteX1" fmla="*/ 1104979 w 1106818"/>
                <a:gd name="connsiteY1" fmla="*/ 303697 h 1576284"/>
                <a:gd name="connsiteX2" fmla="*/ 1106819 w 1106818"/>
                <a:gd name="connsiteY2" fmla="*/ 303697 h 1576284"/>
                <a:gd name="connsiteX3" fmla="*/ 1106494 w 1106818"/>
                <a:gd name="connsiteY3" fmla="*/ 305537 h 1576284"/>
                <a:gd name="connsiteX4" fmla="*/ 1023826 w 1106818"/>
                <a:gd name="connsiteY4" fmla="*/ 573559 h 1576284"/>
                <a:gd name="connsiteX5" fmla="*/ 944729 w 1106818"/>
                <a:gd name="connsiteY5" fmla="*/ 717037 h 1576284"/>
                <a:gd name="connsiteX6" fmla="*/ 827112 w 1106818"/>
                <a:gd name="connsiteY6" fmla="*/ 850669 h 1576284"/>
                <a:gd name="connsiteX7" fmla="*/ 698457 w 1106818"/>
                <a:gd name="connsiteY7" fmla="*/ 991659 h 1576284"/>
                <a:gd name="connsiteX8" fmla="*/ 573265 w 1106818"/>
                <a:gd name="connsiteY8" fmla="*/ 1150827 h 1576284"/>
                <a:gd name="connsiteX9" fmla="*/ 527927 w 1106818"/>
                <a:gd name="connsiteY9" fmla="*/ 1244856 h 1576284"/>
                <a:gd name="connsiteX10" fmla="*/ 511480 w 1106818"/>
                <a:gd name="connsiteY10" fmla="*/ 1351653 h 1576284"/>
                <a:gd name="connsiteX11" fmla="*/ 482590 w 1106818"/>
                <a:gd name="connsiteY11" fmla="*/ 1573688 h 1576284"/>
                <a:gd name="connsiteX12" fmla="*/ 482265 w 1106818"/>
                <a:gd name="connsiteY12" fmla="*/ 1576177 h 1576284"/>
                <a:gd name="connsiteX13" fmla="*/ 479885 w 1106818"/>
                <a:gd name="connsiteY13" fmla="*/ 1576177 h 1576284"/>
                <a:gd name="connsiteX14" fmla="*/ 2813 w 1106818"/>
                <a:gd name="connsiteY14" fmla="*/ 1576285 h 1576284"/>
                <a:gd name="connsiteX15" fmla="*/ 0 w 1106818"/>
                <a:gd name="connsiteY15" fmla="*/ 1576285 h 1576284"/>
                <a:gd name="connsiteX16" fmla="*/ 0 w 1106818"/>
                <a:gd name="connsiteY16" fmla="*/ 1573472 h 1576284"/>
                <a:gd name="connsiteX17" fmla="*/ 0 w 1106818"/>
                <a:gd name="connsiteY17" fmla="*/ 1193676 h 1576284"/>
                <a:gd name="connsiteX18" fmla="*/ 0 w 1106818"/>
                <a:gd name="connsiteY18" fmla="*/ 1028989 h 1576284"/>
                <a:gd name="connsiteX19" fmla="*/ 0 w 1106818"/>
                <a:gd name="connsiteY19" fmla="*/ 1022172 h 1576284"/>
                <a:gd name="connsiteX20" fmla="*/ 4761 w 1106818"/>
                <a:gd name="connsiteY20" fmla="*/ 1027041 h 1576284"/>
                <a:gd name="connsiteX21" fmla="*/ 99331 w 1106818"/>
                <a:gd name="connsiteY21" fmla="*/ 1076274 h 1576284"/>
                <a:gd name="connsiteX22" fmla="*/ 152784 w 1106818"/>
                <a:gd name="connsiteY22" fmla="*/ 1077032 h 1576284"/>
                <a:gd name="connsiteX23" fmla="*/ 203748 w 1106818"/>
                <a:gd name="connsiteY23" fmla="*/ 1061883 h 1576284"/>
                <a:gd name="connsiteX24" fmla="*/ 226904 w 1106818"/>
                <a:gd name="connsiteY24" fmla="*/ 1048899 h 1576284"/>
                <a:gd name="connsiteX25" fmla="*/ 247571 w 1106818"/>
                <a:gd name="connsiteY25" fmla="*/ 1032343 h 1576284"/>
                <a:gd name="connsiteX26" fmla="*/ 280357 w 1106818"/>
                <a:gd name="connsiteY26" fmla="*/ 991442 h 1576284"/>
                <a:gd name="connsiteX27" fmla="*/ 303296 w 1106818"/>
                <a:gd name="connsiteY27" fmla="*/ 891354 h 1576284"/>
                <a:gd name="connsiteX28" fmla="*/ 267047 w 1106818"/>
                <a:gd name="connsiteY28" fmla="*/ 796783 h 1576284"/>
                <a:gd name="connsiteX29" fmla="*/ 186003 w 1106818"/>
                <a:gd name="connsiteY29" fmla="*/ 738678 h 1576284"/>
                <a:gd name="connsiteX30" fmla="*/ 137094 w 1106818"/>
                <a:gd name="connsiteY30" fmla="*/ 729372 h 1576284"/>
                <a:gd name="connsiteX31" fmla="*/ 87970 w 1106818"/>
                <a:gd name="connsiteY31" fmla="*/ 733917 h 1576284"/>
                <a:gd name="connsiteX32" fmla="*/ 4544 w 1106818"/>
                <a:gd name="connsiteY32" fmla="*/ 781959 h 1576284"/>
                <a:gd name="connsiteX33" fmla="*/ 0 w 1106818"/>
                <a:gd name="connsiteY33" fmla="*/ 786720 h 1576284"/>
                <a:gd name="connsiteX34" fmla="*/ 0 w 1106818"/>
                <a:gd name="connsiteY34" fmla="*/ 780228 h 1576284"/>
                <a:gd name="connsiteX35" fmla="*/ 216 w 1106818"/>
                <a:gd name="connsiteY35" fmla="*/ 305321 h 1576284"/>
                <a:gd name="connsiteX36" fmla="*/ 216 w 1106818"/>
                <a:gd name="connsiteY36" fmla="*/ 302940 h 1576284"/>
                <a:gd name="connsiteX37" fmla="*/ 2597 w 1106818"/>
                <a:gd name="connsiteY37" fmla="*/ 302940 h 1576284"/>
                <a:gd name="connsiteX38" fmla="*/ 425675 w 1106818"/>
                <a:gd name="connsiteY38" fmla="*/ 303265 h 1576284"/>
                <a:gd name="connsiteX39" fmla="*/ 424376 w 1106818"/>
                <a:gd name="connsiteY39" fmla="*/ 306835 h 1576284"/>
                <a:gd name="connsiteX40" fmla="*/ 376009 w 1106818"/>
                <a:gd name="connsiteY40" fmla="*/ 225141 h 1576284"/>
                <a:gd name="connsiteX41" fmla="*/ 375576 w 1106818"/>
                <a:gd name="connsiteY41" fmla="*/ 135116 h 1576284"/>
                <a:gd name="connsiteX42" fmla="*/ 480534 w 1106818"/>
                <a:gd name="connsiteY42" fmla="*/ 13494 h 1576284"/>
                <a:gd name="connsiteX43" fmla="*/ 621416 w 1106818"/>
                <a:gd name="connsiteY43" fmla="*/ 15117 h 1576284"/>
                <a:gd name="connsiteX44" fmla="*/ 708195 w 1106818"/>
                <a:gd name="connsiteY44" fmla="*/ 96920 h 1576284"/>
                <a:gd name="connsiteX45" fmla="*/ 724967 w 1106818"/>
                <a:gd name="connsiteY45" fmla="*/ 145611 h 1576284"/>
                <a:gd name="connsiteX46" fmla="*/ 727672 w 1106818"/>
                <a:gd name="connsiteY46" fmla="*/ 168875 h 1576284"/>
                <a:gd name="connsiteX47" fmla="*/ 727672 w 1106818"/>
                <a:gd name="connsiteY47" fmla="*/ 190732 h 1576284"/>
                <a:gd name="connsiteX48" fmla="*/ 709061 w 1106818"/>
                <a:gd name="connsiteY48" fmla="*/ 258685 h 1576284"/>
                <a:gd name="connsiteX49" fmla="*/ 684823 w 1106818"/>
                <a:gd name="connsiteY49" fmla="*/ 294717 h 1576284"/>
                <a:gd name="connsiteX50" fmla="*/ 677249 w 1106818"/>
                <a:gd name="connsiteY50" fmla="*/ 302832 h 1576284"/>
                <a:gd name="connsiteX51" fmla="*/ 674652 w 1106818"/>
                <a:gd name="connsiteY51" fmla="*/ 305212 h 1576284"/>
                <a:gd name="connsiteX52" fmla="*/ 677141 w 1106818"/>
                <a:gd name="connsiteY52" fmla="*/ 302507 h 1576284"/>
                <a:gd name="connsiteX53" fmla="*/ 684498 w 1106818"/>
                <a:gd name="connsiteY53" fmla="*/ 294176 h 1576284"/>
                <a:gd name="connsiteX54" fmla="*/ 708087 w 1106818"/>
                <a:gd name="connsiteY54" fmla="*/ 258035 h 1576284"/>
                <a:gd name="connsiteX55" fmla="*/ 726049 w 1106818"/>
                <a:gd name="connsiteY55" fmla="*/ 190516 h 1576284"/>
                <a:gd name="connsiteX56" fmla="*/ 725832 w 1106818"/>
                <a:gd name="connsiteY56" fmla="*/ 168875 h 1576284"/>
                <a:gd name="connsiteX57" fmla="*/ 723019 w 1106818"/>
                <a:gd name="connsiteY57" fmla="*/ 145828 h 1576284"/>
                <a:gd name="connsiteX58" fmla="*/ 706248 w 1106818"/>
                <a:gd name="connsiteY58" fmla="*/ 97894 h 1576284"/>
                <a:gd name="connsiteX59" fmla="*/ 620334 w 1106818"/>
                <a:gd name="connsiteY59" fmla="*/ 17606 h 1576284"/>
                <a:gd name="connsiteX60" fmla="*/ 481832 w 1106818"/>
                <a:gd name="connsiteY60" fmla="*/ 16416 h 1576284"/>
                <a:gd name="connsiteX61" fmla="*/ 379147 w 1106818"/>
                <a:gd name="connsiteY61" fmla="*/ 135981 h 1576284"/>
                <a:gd name="connsiteX62" fmla="*/ 379688 w 1106818"/>
                <a:gd name="connsiteY62" fmla="*/ 224168 h 1576284"/>
                <a:gd name="connsiteX63" fmla="*/ 426973 w 1106818"/>
                <a:gd name="connsiteY63" fmla="*/ 303806 h 1576284"/>
                <a:gd name="connsiteX64" fmla="*/ 430652 w 1106818"/>
                <a:gd name="connsiteY64" fmla="*/ 307377 h 1576284"/>
                <a:gd name="connsiteX65" fmla="*/ 425675 w 1106818"/>
                <a:gd name="connsiteY65" fmla="*/ 307377 h 1576284"/>
                <a:gd name="connsiteX66" fmla="*/ 2597 w 1106818"/>
                <a:gd name="connsiteY66" fmla="*/ 307701 h 1576284"/>
                <a:gd name="connsiteX67" fmla="*/ 4977 w 1106818"/>
                <a:gd name="connsiteY67" fmla="*/ 305321 h 1576284"/>
                <a:gd name="connsiteX68" fmla="*/ 5194 w 1106818"/>
                <a:gd name="connsiteY68" fmla="*/ 780228 h 1576284"/>
                <a:gd name="connsiteX69" fmla="*/ 649 w 1106818"/>
                <a:gd name="connsiteY69" fmla="*/ 778497 h 1576284"/>
                <a:gd name="connsiteX70" fmla="*/ 86780 w 1106818"/>
                <a:gd name="connsiteY70" fmla="*/ 728831 h 1576284"/>
                <a:gd name="connsiteX71" fmla="*/ 137419 w 1106818"/>
                <a:gd name="connsiteY71" fmla="*/ 724178 h 1576284"/>
                <a:gd name="connsiteX72" fmla="*/ 187734 w 1106818"/>
                <a:gd name="connsiteY72" fmla="*/ 733809 h 1576284"/>
                <a:gd name="connsiteX73" fmla="*/ 271267 w 1106818"/>
                <a:gd name="connsiteY73" fmla="*/ 793645 h 1576284"/>
                <a:gd name="connsiteX74" fmla="*/ 308598 w 1106818"/>
                <a:gd name="connsiteY74" fmla="*/ 891137 h 1576284"/>
                <a:gd name="connsiteX75" fmla="*/ 284901 w 1106818"/>
                <a:gd name="connsiteY75" fmla="*/ 994364 h 1576284"/>
                <a:gd name="connsiteX76" fmla="*/ 251033 w 1106818"/>
                <a:gd name="connsiteY76" fmla="*/ 1036563 h 1576284"/>
                <a:gd name="connsiteX77" fmla="*/ 229717 w 1106818"/>
                <a:gd name="connsiteY77" fmla="*/ 1053660 h 1576284"/>
                <a:gd name="connsiteX78" fmla="*/ 205804 w 1106818"/>
                <a:gd name="connsiteY78" fmla="*/ 1067077 h 1576284"/>
                <a:gd name="connsiteX79" fmla="*/ 153217 w 1106818"/>
                <a:gd name="connsiteY79" fmla="*/ 1082767 h 1576284"/>
                <a:gd name="connsiteX80" fmla="*/ 98033 w 1106818"/>
                <a:gd name="connsiteY80" fmla="*/ 1082009 h 1576284"/>
                <a:gd name="connsiteX81" fmla="*/ 433 w 1106818"/>
                <a:gd name="connsiteY81" fmla="*/ 1031261 h 1576284"/>
                <a:gd name="connsiteX82" fmla="*/ 5194 w 1106818"/>
                <a:gd name="connsiteY82" fmla="*/ 1029314 h 1576284"/>
                <a:gd name="connsiteX83" fmla="*/ 5194 w 1106818"/>
                <a:gd name="connsiteY83" fmla="*/ 1194000 h 1576284"/>
                <a:gd name="connsiteX84" fmla="*/ 5194 w 1106818"/>
                <a:gd name="connsiteY84" fmla="*/ 1573796 h 1576284"/>
                <a:gd name="connsiteX85" fmla="*/ 2381 w 1106818"/>
                <a:gd name="connsiteY85" fmla="*/ 1570983 h 1576284"/>
                <a:gd name="connsiteX86" fmla="*/ 479452 w 1106818"/>
                <a:gd name="connsiteY86" fmla="*/ 1571091 h 1576284"/>
                <a:gd name="connsiteX87" fmla="*/ 476747 w 1106818"/>
                <a:gd name="connsiteY87" fmla="*/ 1573472 h 1576284"/>
                <a:gd name="connsiteX88" fmla="*/ 505854 w 1106818"/>
                <a:gd name="connsiteY88" fmla="*/ 1351221 h 1576284"/>
                <a:gd name="connsiteX89" fmla="*/ 522409 w 1106818"/>
                <a:gd name="connsiteY89" fmla="*/ 1243991 h 1576284"/>
                <a:gd name="connsiteX90" fmla="*/ 568504 w 1106818"/>
                <a:gd name="connsiteY90" fmla="*/ 1148446 h 1576284"/>
                <a:gd name="connsiteX91" fmla="*/ 694345 w 1106818"/>
                <a:gd name="connsiteY91" fmla="*/ 988845 h 1576284"/>
                <a:gd name="connsiteX92" fmla="*/ 823324 w 1106818"/>
                <a:gd name="connsiteY92" fmla="*/ 847964 h 1576284"/>
                <a:gd name="connsiteX93" fmla="*/ 940942 w 1106818"/>
                <a:gd name="connsiteY93" fmla="*/ 714873 h 1576284"/>
                <a:gd name="connsiteX94" fmla="*/ 1019931 w 1106818"/>
                <a:gd name="connsiteY94" fmla="*/ 572260 h 1576284"/>
                <a:gd name="connsiteX95" fmla="*/ 1103140 w 1106818"/>
                <a:gd name="connsiteY95" fmla="*/ 305212 h 1576284"/>
                <a:gd name="connsiteX96" fmla="*/ 1104655 w 1106818"/>
                <a:gd name="connsiteY96" fmla="*/ 306944 h 1576284"/>
                <a:gd name="connsiteX97" fmla="*/ 674652 w 1106818"/>
                <a:gd name="connsiteY97" fmla="*/ 305212 h 157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106818" h="1576284">
                  <a:moveTo>
                    <a:pt x="674652" y="305212"/>
                  </a:moveTo>
                  <a:cubicBezTo>
                    <a:pt x="685689" y="305212"/>
                    <a:pt x="831115" y="304671"/>
                    <a:pt x="1104979" y="303697"/>
                  </a:cubicBezTo>
                  <a:lnTo>
                    <a:pt x="1106819" y="303697"/>
                  </a:lnTo>
                  <a:lnTo>
                    <a:pt x="1106494" y="305537"/>
                  </a:lnTo>
                  <a:cubicBezTo>
                    <a:pt x="1091346" y="386690"/>
                    <a:pt x="1065918" y="478014"/>
                    <a:pt x="1023826" y="573559"/>
                  </a:cubicBezTo>
                  <a:cubicBezTo>
                    <a:pt x="1002294" y="621060"/>
                    <a:pt x="978164" y="670401"/>
                    <a:pt x="944729" y="717037"/>
                  </a:cubicBezTo>
                  <a:cubicBezTo>
                    <a:pt x="909779" y="762374"/>
                    <a:pt x="868770" y="805440"/>
                    <a:pt x="827112" y="850669"/>
                  </a:cubicBezTo>
                  <a:cubicBezTo>
                    <a:pt x="785236" y="895790"/>
                    <a:pt x="741738" y="942318"/>
                    <a:pt x="698457" y="991659"/>
                  </a:cubicBezTo>
                  <a:cubicBezTo>
                    <a:pt x="655284" y="1041108"/>
                    <a:pt x="611353" y="1092830"/>
                    <a:pt x="573265" y="1150827"/>
                  </a:cubicBezTo>
                  <a:cubicBezTo>
                    <a:pt x="554654" y="1179934"/>
                    <a:pt x="536475" y="1210664"/>
                    <a:pt x="527927" y="1244856"/>
                  </a:cubicBezTo>
                  <a:cubicBezTo>
                    <a:pt x="521435" y="1279481"/>
                    <a:pt x="516782" y="1315622"/>
                    <a:pt x="511480" y="1351653"/>
                  </a:cubicBezTo>
                  <a:cubicBezTo>
                    <a:pt x="501309" y="1423934"/>
                    <a:pt x="491679" y="1498162"/>
                    <a:pt x="482590" y="1573688"/>
                  </a:cubicBezTo>
                  <a:lnTo>
                    <a:pt x="482265" y="1576177"/>
                  </a:lnTo>
                  <a:lnTo>
                    <a:pt x="479885" y="1576177"/>
                  </a:lnTo>
                  <a:cubicBezTo>
                    <a:pt x="326560" y="1576177"/>
                    <a:pt x="167067" y="1576285"/>
                    <a:pt x="2813" y="1576285"/>
                  </a:cubicBezTo>
                  <a:lnTo>
                    <a:pt x="0" y="1576285"/>
                  </a:lnTo>
                  <a:lnTo>
                    <a:pt x="0" y="1573472"/>
                  </a:lnTo>
                  <a:cubicBezTo>
                    <a:pt x="0" y="1451742"/>
                    <a:pt x="0" y="1323845"/>
                    <a:pt x="0" y="1193676"/>
                  </a:cubicBezTo>
                  <a:cubicBezTo>
                    <a:pt x="0" y="1138275"/>
                    <a:pt x="0" y="1083308"/>
                    <a:pt x="0" y="1028989"/>
                  </a:cubicBezTo>
                  <a:lnTo>
                    <a:pt x="0" y="1022172"/>
                  </a:lnTo>
                  <a:lnTo>
                    <a:pt x="4761" y="1027041"/>
                  </a:lnTo>
                  <a:cubicBezTo>
                    <a:pt x="30405" y="1052902"/>
                    <a:pt x="63949" y="1070323"/>
                    <a:pt x="99331" y="1076274"/>
                  </a:cubicBezTo>
                  <a:cubicBezTo>
                    <a:pt x="117076" y="1079520"/>
                    <a:pt x="135147" y="1079304"/>
                    <a:pt x="152784" y="1077032"/>
                  </a:cubicBezTo>
                  <a:cubicBezTo>
                    <a:pt x="170529" y="1074976"/>
                    <a:pt x="187734" y="1069457"/>
                    <a:pt x="203748" y="1061883"/>
                  </a:cubicBezTo>
                  <a:cubicBezTo>
                    <a:pt x="211863" y="1058312"/>
                    <a:pt x="219329" y="1053443"/>
                    <a:pt x="226904" y="1048899"/>
                  </a:cubicBezTo>
                  <a:cubicBezTo>
                    <a:pt x="233937" y="1043596"/>
                    <a:pt x="241187" y="1038511"/>
                    <a:pt x="247571" y="1032343"/>
                  </a:cubicBezTo>
                  <a:cubicBezTo>
                    <a:pt x="260447" y="1020333"/>
                    <a:pt x="271917" y="1006699"/>
                    <a:pt x="280357" y="991442"/>
                  </a:cubicBezTo>
                  <a:cubicBezTo>
                    <a:pt x="297994" y="961145"/>
                    <a:pt x="305893" y="925762"/>
                    <a:pt x="303296" y="891354"/>
                  </a:cubicBezTo>
                  <a:cubicBezTo>
                    <a:pt x="301023" y="856945"/>
                    <a:pt x="288039" y="823618"/>
                    <a:pt x="267047" y="796783"/>
                  </a:cubicBezTo>
                  <a:cubicBezTo>
                    <a:pt x="246272" y="769840"/>
                    <a:pt x="217706" y="749498"/>
                    <a:pt x="186003" y="738678"/>
                  </a:cubicBezTo>
                  <a:cubicBezTo>
                    <a:pt x="170205" y="733376"/>
                    <a:pt x="153758" y="729805"/>
                    <a:pt x="137094" y="729372"/>
                  </a:cubicBezTo>
                  <a:cubicBezTo>
                    <a:pt x="120539" y="728290"/>
                    <a:pt x="103984" y="730021"/>
                    <a:pt x="87970" y="733917"/>
                  </a:cubicBezTo>
                  <a:cubicBezTo>
                    <a:pt x="56050" y="741707"/>
                    <a:pt x="26726" y="758912"/>
                    <a:pt x="4544" y="781959"/>
                  </a:cubicBezTo>
                  <a:lnTo>
                    <a:pt x="0" y="786720"/>
                  </a:lnTo>
                  <a:lnTo>
                    <a:pt x="0" y="780228"/>
                  </a:lnTo>
                  <a:cubicBezTo>
                    <a:pt x="108" y="612728"/>
                    <a:pt x="216" y="453993"/>
                    <a:pt x="216" y="305321"/>
                  </a:cubicBezTo>
                  <a:lnTo>
                    <a:pt x="216" y="302940"/>
                  </a:lnTo>
                  <a:lnTo>
                    <a:pt x="2597" y="302940"/>
                  </a:lnTo>
                  <a:cubicBezTo>
                    <a:pt x="155273" y="303048"/>
                    <a:pt x="296695" y="303156"/>
                    <a:pt x="425675" y="303265"/>
                  </a:cubicBezTo>
                  <a:lnTo>
                    <a:pt x="424376" y="306835"/>
                  </a:lnTo>
                  <a:cubicBezTo>
                    <a:pt x="400679" y="283896"/>
                    <a:pt x="384124" y="255330"/>
                    <a:pt x="376009" y="225141"/>
                  </a:cubicBezTo>
                  <a:cubicBezTo>
                    <a:pt x="367785" y="194952"/>
                    <a:pt x="368218" y="163681"/>
                    <a:pt x="375576" y="135116"/>
                  </a:cubicBezTo>
                  <a:cubicBezTo>
                    <a:pt x="389642" y="77227"/>
                    <a:pt x="432816" y="33296"/>
                    <a:pt x="480534" y="13494"/>
                  </a:cubicBezTo>
                  <a:cubicBezTo>
                    <a:pt x="528901" y="-6415"/>
                    <a:pt x="580947" y="-2953"/>
                    <a:pt x="621416" y="15117"/>
                  </a:cubicBezTo>
                  <a:cubicBezTo>
                    <a:pt x="662533" y="32971"/>
                    <a:pt x="691424" y="64783"/>
                    <a:pt x="708195" y="96920"/>
                  </a:cubicBezTo>
                  <a:cubicBezTo>
                    <a:pt x="716852" y="113042"/>
                    <a:pt x="721613" y="129814"/>
                    <a:pt x="724967" y="145611"/>
                  </a:cubicBezTo>
                  <a:cubicBezTo>
                    <a:pt x="726157" y="153619"/>
                    <a:pt x="727564" y="161301"/>
                    <a:pt x="727672" y="168875"/>
                  </a:cubicBezTo>
                  <a:cubicBezTo>
                    <a:pt x="728213" y="176450"/>
                    <a:pt x="728321" y="183699"/>
                    <a:pt x="727672" y="190732"/>
                  </a:cubicBezTo>
                  <a:cubicBezTo>
                    <a:pt x="725724" y="218757"/>
                    <a:pt x="717717" y="241697"/>
                    <a:pt x="709061" y="258685"/>
                  </a:cubicBezTo>
                  <a:cubicBezTo>
                    <a:pt x="700404" y="275781"/>
                    <a:pt x="691207" y="287359"/>
                    <a:pt x="684823" y="294717"/>
                  </a:cubicBezTo>
                  <a:cubicBezTo>
                    <a:pt x="681577" y="298396"/>
                    <a:pt x="678980" y="301101"/>
                    <a:pt x="677249" y="302832"/>
                  </a:cubicBezTo>
                  <a:cubicBezTo>
                    <a:pt x="675951" y="304022"/>
                    <a:pt x="675301" y="304780"/>
                    <a:pt x="674652" y="305212"/>
                  </a:cubicBezTo>
                  <a:cubicBezTo>
                    <a:pt x="675193" y="304671"/>
                    <a:pt x="675842" y="303914"/>
                    <a:pt x="677141" y="302507"/>
                  </a:cubicBezTo>
                  <a:cubicBezTo>
                    <a:pt x="678764" y="300668"/>
                    <a:pt x="681361" y="297963"/>
                    <a:pt x="684498" y="294176"/>
                  </a:cubicBezTo>
                  <a:cubicBezTo>
                    <a:pt x="690666" y="286710"/>
                    <a:pt x="699755" y="275132"/>
                    <a:pt x="708087" y="258035"/>
                  </a:cubicBezTo>
                  <a:cubicBezTo>
                    <a:pt x="716527" y="241047"/>
                    <a:pt x="724318" y="218324"/>
                    <a:pt x="726049" y="190516"/>
                  </a:cubicBezTo>
                  <a:cubicBezTo>
                    <a:pt x="726590" y="183591"/>
                    <a:pt x="726374" y="176341"/>
                    <a:pt x="725832" y="168875"/>
                  </a:cubicBezTo>
                  <a:cubicBezTo>
                    <a:pt x="725724" y="161409"/>
                    <a:pt x="724209" y="153727"/>
                    <a:pt x="723019" y="145828"/>
                  </a:cubicBezTo>
                  <a:cubicBezTo>
                    <a:pt x="719665" y="130246"/>
                    <a:pt x="714904" y="113691"/>
                    <a:pt x="706248" y="97894"/>
                  </a:cubicBezTo>
                  <a:cubicBezTo>
                    <a:pt x="689584" y="66190"/>
                    <a:pt x="660910" y="35027"/>
                    <a:pt x="620334" y="17606"/>
                  </a:cubicBezTo>
                  <a:cubicBezTo>
                    <a:pt x="580406" y="-31"/>
                    <a:pt x="529226" y="-3277"/>
                    <a:pt x="481832" y="16416"/>
                  </a:cubicBezTo>
                  <a:cubicBezTo>
                    <a:pt x="434980" y="36001"/>
                    <a:pt x="392780" y="79282"/>
                    <a:pt x="379147" y="135981"/>
                  </a:cubicBezTo>
                  <a:cubicBezTo>
                    <a:pt x="372005" y="164006"/>
                    <a:pt x="371681" y="194628"/>
                    <a:pt x="379688" y="224168"/>
                  </a:cubicBezTo>
                  <a:cubicBezTo>
                    <a:pt x="387587" y="253599"/>
                    <a:pt x="404034" y="281732"/>
                    <a:pt x="426973" y="303806"/>
                  </a:cubicBezTo>
                  <a:lnTo>
                    <a:pt x="430652" y="307377"/>
                  </a:lnTo>
                  <a:lnTo>
                    <a:pt x="425675" y="307377"/>
                  </a:lnTo>
                  <a:cubicBezTo>
                    <a:pt x="296695" y="307485"/>
                    <a:pt x="155165" y="307593"/>
                    <a:pt x="2597" y="307701"/>
                  </a:cubicBezTo>
                  <a:lnTo>
                    <a:pt x="4977" y="305321"/>
                  </a:lnTo>
                  <a:cubicBezTo>
                    <a:pt x="5086" y="453993"/>
                    <a:pt x="5194" y="612728"/>
                    <a:pt x="5194" y="780228"/>
                  </a:cubicBezTo>
                  <a:lnTo>
                    <a:pt x="649" y="778497"/>
                  </a:lnTo>
                  <a:cubicBezTo>
                    <a:pt x="23805" y="754476"/>
                    <a:pt x="53777" y="736946"/>
                    <a:pt x="86780" y="728831"/>
                  </a:cubicBezTo>
                  <a:cubicBezTo>
                    <a:pt x="103226" y="724828"/>
                    <a:pt x="120323" y="722988"/>
                    <a:pt x="137419" y="724178"/>
                  </a:cubicBezTo>
                  <a:cubicBezTo>
                    <a:pt x="154515" y="724611"/>
                    <a:pt x="171503" y="728290"/>
                    <a:pt x="187734" y="733809"/>
                  </a:cubicBezTo>
                  <a:cubicBezTo>
                    <a:pt x="220303" y="744954"/>
                    <a:pt x="249843" y="765945"/>
                    <a:pt x="271267" y="793645"/>
                  </a:cubicBezTo>
                  <a:cubicBezTo>
                    <a:pt x="292908" y="821237"/>
                    <a:pt x="306217" y="855646"/>
                    <a:pt x="308598" y="891137"/>
                  </a:cubicBezTo>
                  <a:cubicBezTo>
                    <a:pt x="311303" y="926628"/>
                    <a:pt x="303188" y="963201"/>
                    <a:pt x="284901" y="994364"/>
                  </a:cubicBezTo>
                  <a:cubicBezTo>
                    <a:pt x="276137" y="1010161"/>
                    <a:pt x="264342" y="1024228"/>
                    <a:pt x="251033" y="1036563"/>
                  </a:cubicBezTo>
                  <a:cubicBezTo>
                    <a:pt x="244541" y="1042947"/>
                    <a:pt x="237075" y="1048250"/>
                    <a:pt x="229717" y="1053660"/>
                  </a:cubicBezTo>
                  <a:cubicBezTo>
                    <a:pt x="221926" y="1058421"/>
                    <a:pt x="214244" y="1063398"/>
                    <a:pt x="205804" y="1067077"/>
                  </a:cubicBezTo>
                  <a:cubicBezTo>
                    <a:pt x="189249" y="1074868"/>
                    <a:pt x="171503" y="1080602"/>
                    <a:pt x="153217" y="1082767"/>
                  </a:cubicBezTo>
                  <a:cubicBezTo>
                    <a:pt x="135038" y="1085147"/>
                    <a:pt x="116319" y="1085363"/>
                    <a:pt x="98033" y="1082009"/>
                  </a:cubicBezTo>
                  <a:cubicBezTo>
                    <a:pt x="61460" y="1075841"/>
                    <a:pt x="26726" y="1057880"/>
                    <a:pt x="433" y="1031261"/>
                  </a:cubicBezTo>
                  <a:lnTo>
                    <a:pt x="5194" y="1029314"/>
                  </a:lnTo>
                  <a:cubicBezTo>
                    <a:pt x="5194" y="1083740"/>
                    <a:pt x="5194" y="1138708"/>
                    <a:pt x="5194" y="1194000"/>
                  </a:cubicBezTo>
                  <a:cubicBezTo>
                    <a:pt x="5194" y="1324061"/>
                    <a:pt x="5194" y="1452067"/>
                    <a:pt x="5194" y="1573796"/>
                  </a:cubicBezTo>
                  <a:lnTo>
                    <a:pt x="2381" y="1570983"/>
                  </a:lnTo>
                  <a:cubicBezTo>
                    <a:pt x="166634" y="1570983"/>
                    <a:pt x="326235" y="1571091"/>
                    <a:pt x="479452" y="1571091"/>
                  </a:cubicBezTo>
                  <a:lnTo>
                    <a:pt x="476747" y="1573472"/>
                  </a:lnTo>
                  <a:cubicBezTo>
                    <a:pt x="485944" y="1497621"/>
                    <a:pt x="495683" y="1423609"/>
                    <a:pt x="505854" y="1351221"/>
                  </a:cubicBezTo>
                  <a:cubicBezTo>
                    <a:pt x="511264" y="1314972"/>
                    <a:pt x="515700" y="1279373"/>
                    <a:pt x="522409" y="1243991"/>
                  </a:cubicBezTo>
                  <a:cubicBezTo>
                    <a:pt x="531390" y="1208716"/>
                    <a:pt x="549785" y="1177770"/>
                    <a:pt x="568504" y="1148446"/>
                  </a:cubicBezTo>
                  <a:cubicBezTo>
                    <a:pt x="606916" y="1090124"/>
                    <a:pt x="651063" y="1038295"/>
                    <a:pt x="694345" y="988845"/>
                  </a:cubicBezTo>
                  <a:cubicBezTo>
                    <a:pt x="737843" y="939504"/>
                    <a:pt x="781449" y="892977"/>
                    <a:pt x="823324" y="847964"/>
                  </a:cubicBezTo>
                  <a:cubicBezTo>
                    <a:pt x="864983" y="802735"/>
                    <a:pt x="906209" y="759778"/>
                    <a:pt x="940942" y="714873"/>
                  </a:cubicBezTo>
                  <a:cubicBezTo>
                    <a:pt x="974052" y="668886"/>
                    <a:pt x="998398" y="619545"/>
                    <a:pt x="1019931" y="572260"/>
                  </a:cubicBezTo>
                  <a:cubicBezTo>
                    <a:pt x="1062022" y="477040"/>
                    <a:pt x="1087667" y="386041"/>
                    <a:pt x="1103140" y="305212"/>
                  </a:cubicBezTo>
                  <a:lnTo>
                    <a:pt x="1104655" y="306944"/>
                  </a:lnTo>
                  <a:cubicBezTo>
                    <a:pt x="831223" y="305753"/>
                    <a:pt x="685689" y="305321"/>
                    <a:pt x="674652" y="30521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77587DE7-41DE-404A-A1A5-AF280CCD445C}"/>
                </a:ext>
              </a:extLst>
            </p:cNvPr>
            <p:cNvSpPr/>
            <p:nvPr/>
          </p:nvSpPr>
          <p:spPr>
            <a:xfrm flipH="1">
              <a:off x="2835392" y="5006031"/>
              <a:ext cx="90638" cy="90639"/>
            </a:xfrm>
            <a:custGeom>
              <a:avLst/>
              <a:gdLst>
                <a:gd name="connsiteX0" fmla="*/ 82235 w 82234"/>
                <a:gd name="connsiteY0" fmla="*/ 41118 h 82235"/>
                <a:gd name="connsiteX1" fmla="*/ 41117 w 82234"/>
                <a:gd name="connsiteY1" fmla="*/ 82236 h 82235"/>
                <a:gd name="connsiteX2" fmla="*/ 0 w 82234"/>
                <a:gd name="connsiteY2" fmla="*/ 41118 h 82235"/>
                <a:gd name="connsiteX3" fmla="*/ 41117 w 82234"/>
                <a:gd name="connsiteY3" fmla="*/ 0 h 82235"/>
                <a:gd name="connsiteX4" fmla="*/ 82235 w 82234"/>
                <a:gd name="connsiteY4" fmla="*/ 41118 h 8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34" h="82235">
                  <a:moveTo>
                    <a:pt x="82235" y="41118"/>
                  </a:moveTo>
                  <a:cubicBezTo>
                    <a:pt x="82235" y="63841"/>
                    <a:pt x="63840" y="82236"/>
                    <a:pt x="41117" y="82236"/>
                  </a:cubicBezTo>
                  <a:cubicBezTo>
                    <a:pt x="18394" y="82236"/>
                    <a:pt x="0" y="63841"/>
                    <a:pt x="0" y="41118"/>
                  </a:cubicBezTo>
                  <a:cubicBezTo>
                    <a:pt x="0" y="18395"/>
                    <a:pt x="18394" y="0"/>
                    <a:pt x="41117" y="0"/>
                  </a:cubicBezTo>
                  <a:cubicBezTo>
                    <a:pt x="63732" y="-108"/>
                    <a:pt x="82235" y="18395"/>
                    <a:pt x="82235" y="41118"/>
                  </a:cubicBez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1ECFD063-0BDD-4EF8-BB56-BA15E4F97BB0}"/>
                </a:ext>
              </a:extLst>
            </p:cNvPr>
            <p:cNvSpPr/>
            <p:nvPr/>
          </p:nvSpPr>
          <p:spPr>
            <a:xfrm flipH="1">
              <a:off x="1413431" y="4292876"/>
              <a:ext cx="209660" cy="218651"/>
            </a:xfrm>
            <a:custGeom>
              <a:avLst/>
              <a:gdLst>
                <a:gd name="connsiteX0" fmla="*/ 189465 w 190220"/>
                <a:gd name="connsiteY0" fmla="*/ 158055 h 198377"/>
                <a:gd name="connsiteX1" fmla="*/ 178861 w 190220"/>
                <a:gd name="connsiteY1" fmla="*/ 142906 h 198377"/>
                <a:gd name="connsiteX2" fmla="*/ 123136 w 190220"/>
                <a:gd name="connsiteY2" fmla="*/ 122131 h 198377"/>
                <a:gd name="connsiteX3" fmla="*/ 161007 w 190220"/>
                <a:gd name="connsiteY3" fmla="*/ 81338 h 198377"/>
                <a:gd name="connsiteX4" fmla="*/ 162739 w 190220"/>
                <a:gd name="connsiteY4" fmla="*/ 27885 h 198377"/>
                <a:gd name="connsiteX5" fmla="*/ 116103 w 190220"/>
                <a:gd name="connsiteY5" fmla="*/ 1808 h 198377"/>
                <a:gd name="connsiteX6" fmla="*/ 41658 w 190220"/>
                <a:gd name="connsiteY6" fmla="*/ 12737 h 198377"/>
                <a:gd name="connsiteX7" fmla="*/ 0 w 190220"/>
                <a:gd name="connsiteY7" fmla="*/ 73439 h 198377"/>
                <a:gd name="connsiteX8" fmla="*/ 36465 w 190220"/>
                <a:gd name="connsiteY8" fmla="*/ 128515 h 198377"/>
                <a:gd name="connsiteX9" fmla="*/ 77799 w 190220"/>
                <a:gd name="connsiteY9" fmla="*/ 187919 h 198377"/>
                <a:gd name="connsiteX10" fmla="*/ 108204 w 190220"/>
                <a:gd name="connsiteY10" fmla="*/ 196792 h 198377"/>
                <a:gd name="connsiteX11" fmla="*/ 119674 w 190220"/>
                <a:gd name="connsiteY11" fmla="*/ 172771 h 198377"/>
                <a:gd name="connsiteX12" fmla="*/ 108637 w 190220"/>
                <a:gd name="connsiteY12" fmla="*/ 146693 h 198377"/>
                <a:gd name="connsiteX13" fmla="*/ 164145 w 190220"/>
                <a:gd name="connsiteY13" fmla="*/ 177207 h 198377"/>
                <a:gd name="connsiteX14" fmla="*/ 185353 w 190220"/>
                <a:gd name="connsiteY14" fmla="*/ 175259 h 198377"/>
                <a:gd name="connsiteX15" fmla="*/ 189465 w 190220"/>
                <a:gd name="connsiteY15" fmla="*/ 158055 h 19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0220" h="198377">
                  <a:moveTo>
                    <a:pt x="189465" y="158055"/>
                  </a:moveTo>
                  <a:cubicBezTo>
                    <a:pt x="187734" y="152104"/>
                    <a:pt x="183514" y="147126"/>
                    <a:pt x="178861" y="142906"/>
                  </a:cubicBezTo>
                  <a:cubicBezTo>
                    <a:pt x="163821" y="129164"/>
                    <a:pt x="143478" y="121590"/>
                    <a:pt x="123136" y="122131"/>
                  </a:cubicBezTo>
                  <a:cubicBezTo>
                    <a:pt x="137636" y="110337"/>
                    <a:pt x="152027" y="97785"/>
                    <a:pt x="161007" y="81338"/>
                  </a:cubicBezTo>
                  <a:cubicBezTo>
                    <a:pt x="169988" y="64999"/>
                    <a:pt x="172477" y="43791"/>
                    <a:pt x="162739" y="27885"/>
                  </a:cubicBezTo>
                  <a:cubicBezTo>
                    <a:pt x="153109" y="12196"/>
                    <a:pt x="134173" y="4838"/>
                    <a:pt x="116103" y="1808"/>
                  </a:cubicBezTo>
                  <a:cubicBezTo>
                    <a:pt x="90891" y="-2303"/>
                    <a:pt x="64057" y="293"/>
                    <a:pt x="41658" y="12737"/>
                  </a:cubicBezTo>
                  <a:cubicBezTo>
                    <a:pt x="19260" y="25072"/>
                    <a:pt x="2164" y="47903"/>
                    <a:pt x="0" y="73439"/>
                  </a:cubicBezTo>
                  <a:lnTo>
                    <a:pt x="36465" y="128515"/>
                  </a:lnTo>
                  <a:cubicBezTo>
                    <a:pt x="44580" y="151563"/>
                    <a:pt x="59079" y="172230"/>
                    <a:pt x="77799" y="187919"/>
                  </a:cubicBezTo>
                  <a:cubicBezTo>
                    <a:pt x="86347" y="195061"/>
                    <a:pt x="98033" y="201445"/>
                    <a:pt x="108204" y="196792"/>
                  </a:cubicBezTo>
                  <a:cubicBezTo>
                    <a:pt x="116860" y="192897"/>
                    <a:pt x="120755" y="182184"/>
                    <a:pt x="119674" y="172771"/>
                  </a:cubicBezTo>
                  <a:cubicBezTo>
                    <a:pt x="118592" y="163357"/>
                    <a:pt x="113506" y="154917"/>
                    <a:pt x="108637" y="146693"/>
                  </a:cubicBezTo>
                  <a:cubicBezTo>
                    <a:pt x="124218" y="161301"/>
                    <a:pt x="143478" y="171797"/>
                    <a:pt x="164145" y="177207"/>
                  </a:cubicBezTo>
                  <a:cubicBezTo>
                    <a:pt x="171287" y="179046"/>
                    <a:pt x="179727" y="180020"/>
                    <a:pt x="185353" y="175259"/>
                  </a:cubicBezTo>
                  <a:cubicBezTo>
                    <a:pt x="190006" y="171148"/>
                    <a:pt x="191196" y="164006"/>
                    <a:pt x="189465" y="15805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50B2E465-7919-4C27-962E-E3DB01F13F62}"/>
                </a:ext>
              </a:extLst>
            </p:cNvPr>
            <p:cNvSpPr/>
            <p:nvPr/>
          </p:nvSpPr>
          <p:spPr>
            <a:xfrm flipH="1">
              <a:off x="1485086" y="4406655"/>
              <a:ext cx="89068" cy="29444"/>
            </a:xfrm>
            <a:custGeom>
              <a:avLst/>
              <a:gdLst>
                <a:gd name="connsiteX0" fmla="*/ 72 w 80809"/>
                <a:gd name="connsiteY0" fmla="*/ 75 h 26714"/>
                <a:gd name="connsiteX1" fmla="*/ 38052 w 80809"/>
                <a:gd name="connsiteY1" fmla="*/ 19768 h 26714"/>
                <a:gd name="connsiteX2" fmla="*/ 80792 w 80809"/>
                <a:gd name="connsiteY2" fmla="*/ 17604 h 26714"/>
                <a:gd name="connsiteX3" fmla="*/ 68998 w 80809"/>
                <a:gd name="connsiteY3" fmla="*/ 23879 h 26714"/>
                <a:gd name="connsiteX4" fmla="*/ 36861 w 80809"/>
                <a:gd name="connsiteY4" fmla="*/ 25286 h 26714"/>
                <a:gd name="connsiteX5" fmla="*/ 8187 w 80809"/>
                <a:gd name="connsiteY5" fmla="*/ 10679 h 26714"/>
                <a:gd name="connsiteX6" fmla="*/ 72 w 80809"/>
                <a:gd name="connsiteY6" fmla="*/ 75 h 2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809" h="26714">
                  <a:moveTo>
                    <a:pt x="72" y="75"/>
                  </a:moveTo>
                  <a:cubicBezTo>
                    <a:pt x="1154" y="-1224"/>
                    <a:pt x="14571" y="14790"/>
                    <a:pt x="38052" y="19768"/>
                  </a:cubicBezTo>
                  <a:cubicBezTo>
                    <a:pt x="61424" y="24962"/>
                    <a:pt x="80360" y="15981"/>
                    <a:pt x="80792" y="17604"/>
                  </a:cubicBezTo>
                  <a:cubicBezTo>
                    <a:pt x="81117" y="18253"/>
                    <a:pt x="77005" y="21282"/>
                    <a:pt x="68998" y="23879"/>
                  </a:cubicBezTo>
                  <a:cubicBezTo>
                    <a:pt x="61207" y="26476"/>
                    <a:pt x="49413" y="27991"/>
                    <a:pt x="36861" y="25286"/>
                  </a:cubicBezTo>
                  <a:cubicBezTo>
                    <a:pt x="24310" y="22581"/>
                    <a:pt x="14247" y="16305"/>
                    <a:pt x="8187" y="10679"/>
                  </a:cubicBezTo>
                  <a:cubicBezTo>
                    <a:pt x="2020" y="5052"/>
                    <a:pt x="-469" y="507"/>
                    <a:pt x="72" y="75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59B8243-69B3-4AB1-8DD5-73ACD61E0273}"/>
                </a:ext>
              </a:extLst>
            </p:cNvPr>
            <p:cNvSpPr/>
            <p:nvPr/>
          </p:nvSpPr>
          <p:spPr>
            <a:xfrm flipH="1">
              <a:off x="1433818" y="4321217"/>
              <a:ext cx="153682" cy="76354"/>
            </a:xfrm>
            <a:custGeom>
              <a:avLst/>
              <a:gdLst>
                <a:gd name="connsiteX0" fmla="*/ 139429 w 139432"/>
                <a:gd name="connsiteY0" fmla="*/ 6609 h 69274"/>
                <a:gd name="connsiteX1" fmla="*/ 115408 w 139432"/>
                <a:gd name="connsiteY1" fmla="*/ 4553 h 69274"/>
                <a:gd name="connsiteX2" fmla="*/ 59574 w 139432"/>
                <a:gd name="connsiteY2" fmla="*/ 15265 h 69274"/>
                <a:gd name="connsiteX3" fmla="*/ 14453 w 139432"/>
                <a:gd name="connsiteY3" fmla="*/ 49890 h 69274"/>
                <a:gd name="connsiteX4" fmla="*/ 62 w 139432"/>
                <a:gd name="connsiteY4" fmla="*/ 69259 h 69274"/>
                <a:gd name="connsiteX5" fmla="*/ 11316 w 139432"/>
                <a:gd name="connsiteY5" fmla="*/ 47510 h 69274"/>
                <a:gd name="connsiteX6" fmla="*/ 57302 w 139432"/>
                <a:gd name="connsiteY6" fmla="*/ 10180 h 69274"/>
                <a:gd name="connsiteX7" fmla="*/ 115732 w 139432"/>
                <a:gd name="connsiteY7" fmla="*/ 549 h 69274"/>
                <a:gd name="connsiteX8" fmla="*/ 139429 w 139432"/>
                <a:gd name="connsiteY8" fmla="*/ 6609 h 6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432" h="69274">
                  <a:moveTo>
                    <a:pt x="139429" y="6609"/>
                  </a:moveTo>
                  <a:cubicBezTo>
                    <a:pt x="139212" y="7475"/>
                    <a:pt x="130123" y="5094"/>
                    <a:pt x="115408" y="4553"/>
                  </a:cubicBezTo>
                  <a:cubicBezTo>
                    <a:pt x="100692" y="4012"/>
                    <a:pt x="80025" y="6068"/>
                    <a:pt x="59574" y="15265"/>
                  </a:cubicBezTo>
                  <a:cubicBezTo>
                    <a:pt x="39124" y="24462"/>
                    <a:pt x="23759" y="38529"/>
                    <a:pt x="14453" y="49890"/>
                  </a:cubicBezTo>
                  <a:cubicBezTo>
                    <a:pt x="5040" y="61252"/>
                    <a:pt x="820" y="69692"/>
                    <a:pt x="62" y="69259"/>
                  </a:cubicBezTo>
                  <a:cubicBezTo>
                    <a:pt x="-479" y="69042"/>
                    <a:pt x="2443" y="59953"/>
                    <a:pt x="11316" y="47510"/>
                  </a:cubicBezTo>
                  <a:cubicBezTo>
                    <a:pt x="20080" y="35175"/>
                    <a:pt x="35769" y="19810"/>
                    <a:pt x="57302" y="10180"/>
                  </a:cubicBezTo>
                  <a:cubicBezTo>
                    <a:pt x="78835" y="549"/>
                    <a:pt x="100692" y="-1074"/>
                    <a:pt x="115732" y="549"/>
                  </a:cubicBezTo>
                  <a:cubicBezTo>
                    <a:pt x="130881" y="2172"/>
                    <a:pt x="139645" y="6068"/>
                    <a:pt x="139429" y="6609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5BC92FD7-5636-4791-928F-EBEC00FC5EC7}"/>
                </a:ext>
              </a:extLst>
            </p:cNvPr>
            <p:cNvSpPr/>
            <p:nvPr/>
          </p:nvSpPr>
          <p:spPr>
            <a:xfrm flipH="1">
              <a:off x="1577409" y="4353642"/>
              <a:ext cx="56622" cy="87677"/>
            </a:xfrm>
            <a:custGeom>
              <a:avLst/>
              <a:gdLst>
                <a:gd name="connsiteX0" fmla="*/ 51369 w 51372"/>
                <a:gd name="connsiteY0" fmla="*/ 65918 h 79547"/>
                <a:gd name="connsiteX1" fmla="*/ 47474 w 51372"/>
                <a:gd name="connsiteY1" fmla="*/ 51635 h 79547"/>
                <a:gd name="connsiteX2" fmla="*/ 14904 w 51372"/>
                <a:gd name="connsiteY2" fmla="*/ 2835 h 79547"/>
                <a:gd name="connsiteX3" fmla="*/ 5058 w 51372"/>
                <a:gd name="connsiteY3" fmla="*/ 347 h 79547"/>
                <a:gd name="connsiteX4" fmla="*/ 1054 w 51372"/>
                <a:gd name="connsiteY4" fmla="*/ 14738 h 79547"/>
                <a:gd name="connsiteX5" fmla="*/ 7654 w 51372"/>
                <a:gd name="connsiteY5" fmla="*/ 29995 h 79547"/>
                <a:gd name="connsiteX6" fmla="*/ 25183 w 51372"/>
                <a:gd name="connsiteY6" fmla="*/ 66676 h 79547"/>
                <a:gd name="connsiteX7" fmla="*/ 32649 w 51372"/>
                <a:gd name="connsiteY7" fmla="*/ 77172 h 79547"/>
                <a:gd name="connsiteX8" fmla="*/ 45093 w 51372"/>
                <a:gd name="connsiteY8" fmla="*/ 78362 h 79547"/>
                <a:gd name="connsiteX9" fmla="*/ 51369 w 51372"/>
                <a:gd name="connsiteY9" fmla="*/ 65918 h 79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372" h="79547">
                  <a:moveTo>
                    <a:pt x="51369" y="65918"/>
                  </a:moveTo>
                  <a:cubicBezTo>
                    <a:pt x="51261" y="60941"/>
                    <a:pt x="49313" y="56288"/>
                    <a:pt x="47474" y="51635"/>
                  </a:cubicBezTo>
                  <a:cubicBezTo>
                    <a:pt x="39899" y="33241"/>
                    <a:pt x="31459" y="13764"/>
                    <a:pt x="14904" y="2835"/>
                  </a:cubicBezTo>
                  <a:cubicBezTo>
                    <a:pt x="11983" y="888"/>
                    <a:pt x="8412" y="-735"/>
                    <a:pt x="5058" y="347"/>
                  </a:cubicBezTo>
                  <a:cubicBezTo>
                    <a:pt x="-244" y="2186"/>
                    <a:pt x="-1002" y="9544"/>
                    <a:pt x="1054" y="14738"/>
                  </a:cubicBezTo>
                  <a:cubicBezTo>
                    <a:pt x="3110" y="19932"/>
                    <a:pt x="6897" y="24476"/>
                    <a:pt x="7654" y="29995"/>
                  </a:cubicBezTo>
                  <a:lnTo>
                    <a:pt x="25183" y="66676"/>
                  </a:lnTo>
                  <a:cubicBezTo>
                    <a:pt x="26590" y="70788"/>
                    <a:pt x="28971" y="74791"/>
                    <a:pt x="32649" y="77172"/>
                  </a:cubicBezTo>
                  <a:cubicBezTo>
                    <a:pt x="36220" y="79660"/>
                    <a:pt x="41198" y="80418"/>
                    <a:pt x="45093" y="78362"/>
                  </a:cubicBezTo>
                  <a:cubicBezTo>
                    <a:pt x="49313" y="76198"/>
                    <a:pt x="51477" y="70896"/>
                    <a:pt x="51369" y="65918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E8B31063-3A47-40B1-9FD0-D6DBE72A1D9D}"/>
                </a:ext>
              </a:extLst>
            </p:cNvPr>
            <p:cNvSpPr/>
            <p:nvPr/>
          </p:nvSpPr>
          <p:spPr>
            <a:xfrm flipH="1">
              <a:off x="1540493" y="4388414"/>
              <a:ext cx="83048" cy="345103"/>
            </a:xfrm>
            <a:custGeom>
              <a:avLst/>
              <a:gdLst>
                <a:gd name="connsiteX0" fmla="*/ 65115 w 75348"/>
                <a:gd name="connsiteY0" fmla="*/ 313104 h 313104"/>
                <a:gd name="connsiteX1" fmla="*/ 74962 w 75348"/>
                <a:gd name="connsiteY1" fmla="*/ 175468 h 313104"/>
                <a:gd name="connsiteX2" fmla="*/ 39363 w 75348"/>
                <a:gd name="connsiteY2" fmla="*/ 43460 h 313104"/>
                <a:gd name="connsiteX3" fmla="*/ 734 w 75348"/>
                <a:gd name="connsiteY3" fmla="*/ 70 h 313104"/>
                <a:gd name="connsiteX4" fmla="*/ 14260 w 75348"/>
                <a:gd name="connsiteY4" fmla="*/ 44109 h 313104"/>
                <a:gd name="connsiteX5" fmla="*/ 13178 w 75348"/>
                <a:gd name="connsiteY5" fmla="*/ 184774 h 313104"/>
                <a:gd name="connsiteX6" fmla="*/ 65115 w 75348"/>
                <a:gd name="connsiteY6" fmla="*/ 313104 h 313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348" h="313104">
                  <a:moveTo>
                    <a:pt x="65115" y="313104"/>
                  </a:moveTo>
                  <a:cubicBezTo>
                    <a:pt x="71175" y="267442"/>
                    <a:pt x="76910" y="221564"/>
                    <a:pt x="74962" y="175468"/>
                  </a:cubicBezTo>
                  <a:cubicBezTo>
                    <a:pt x="73014" y="129482"/>
                    <a:pt x="63059" y="82954"/>
                    <a:pt x="39363" y="43460"/>
                  </a:cubicBezTo>
                  <a:cubicBezTo>
                    <a:pt x="35792" y="37508"/>
                    <a:pt x="7443" y="-1878"/>
                    <a:pt x="734" y="70"/>
                  </a:cubicBezTo>
                  <a:cubicBezTo>
                    <a:pt x="-4027" y="1477"/>
                    <a:pt x="15991" y="39348"/>
                    <a:pt x="14260" y="44109"/>
                  </a:cubicBezTo>
                  <a:cubicBezTo>
                    <a:pt x="-1755" y="88905"/>
                    <a:pt x="842" y="138787"/>
                    <a:pt x="13178" y="184774"/>
                  </a:cubicBezTo>
                  <a:cubicBezTo>
                    <a:pt x="25729" y="230761"/>
                    <a:pt x="43150" y="270905"/>
                    <a:pt x="65115" y="313104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AFCA43BA-A18D-4F1E-A180-802A67A67795}"/>
                </a:ext>
              </a:extLst>
            </p:cNvPr>
            <p:cNvSpPr/>
            <p:nvPr/>
          </p:nvSpPr>
          <p:spPr>
            <a:xfrm flipH="1">
              <a:off x="1493642" y="4341959"/>
              <a:ext cx="507572" cy="836936"/>
            </a:xfrm>
            <a:custGeom>
              <a:avLst/>
              <a:gdLst>
                <a:gd name="connsiteX0" fmla="*/ 355831 w 460509"/>
                <a:gd name="connsiteY0" fmla="*/ 756579 h 759333"/>
                <a:gd name="connsiteX1" fmla="*/ 458300 w 460509"/>
                <a:gd name="connsiteY1" fmla="*/ 604228 h 759333"/>
                <a:gd name="connsiteX2" fmla="*/ 380285 w 460509"/>
                <a:gd name="connsiteY2" fmla="*/ 181800 h 759333"/>
                <a:gd name="connsiteX3" fmla="*/ 168422 w 460509"/>
                <a:gd name="connsiteY3" fmla="*/ 3047 h 759333"/>
                <a:gd name="connsiteX4" fmla="*/ 158034 w 460509"/>
                <a:gd name="connsiteY4" fmla="*/ 5535 h 759333"/>
                <a:gd name="connsiteX5" fmla="*/ 2545 w 460509"/>
                <a:gd name="connsiteY5" fmla="*/ 238282 h 759333"/>
                <a:gd name="connsiteX6" fmla="*/ 49830 w 460509"/>
                <a:gd name="connsiteY6" fmla="*/ 498080 h 759333"/>
                <a:gd name="connsiteX7" fmla="*/ 188873 w 460509"/>
                <a:gd name="connsiteY7" fmla="*/ 596221 h 759333"/>
                <a:gd name="connsiteX8" fmla="*/ 200450 w 460509"/>
                <a:gd name="connsiteY8" fmla="*/ 653245 h 759333"/>
                <a:gd name="connsiteX9" fmla="*/ 355831 w 460509"/>
                <a:gd name="connsiteY9" fmla="*/ 756579 h 759333"/>
                <a:gd name="connsiteX10" fmla="*/ 355831 w 460509"/>
                <a:gd name="connsiteY10" fmla="*/ 756579 h 75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09" h="759333">
                  <a:moveTo>
                    <a:pt x="355831" y="756579"/>
                  </a:moveTo>
                  <a:cubicBezTo>
                    <a:pt x="425731" y="742080"/>
                    <a:pt x="471285" y="674453"/>
                    <a:pt x="458300" y="604228"/>
                  </a:cubicBezTo>
                  <a:lnTo>
                    <a:pt x="380285" y="181800"/>
                  </a:lnTo>
                  <a:cubicBezTo>
                    <a:pt x="362973" y="67644"/>
                    <a:pt x="282036" y="-17404"/>
                    <a:pt x="168422" y="3047"/>
                  </a:cubicBezTo>
                  <a:lnTo>
                    <a:pt x="158034" y="5535"/>
                  </a:lnTo>
                  <a:cubicBezTo>
                    <a:pt x="53509" y="30747"/>
                    <a:pt x="-14227" y="132026"/>
                    <a:pt x="2545" y="238282"/>
                  </a:cubicBezTo>
                  <a:cubicBezTo>
                    <a:pt x="18127" y="337181"/>
                    <a:pt x="36629" y="446142"/>
                    <a:pt x="49830" y="498080"/>
                  </a:cubicBezTo>
                  <a:cubicBezTo>
                    <a:pt x="77206" y="605418"/>
                    <a:pt x="188873" y="596221"/>
                    <a:pt x="188873" y="596221"/>
                  </a:cubicBezTo>
                  <a:cubicBezTo>
                    <a:pt x="189089" y="596221"/>
                    <a:pt x="194174" y="621324"/>
                    <a:pt x="200450" y="653245"/>
                  </a:cubicBezTo>
                  <a:cubicBezTo>
                    <a:pt x="214408" y="724876"/>
                    <a:pt x="284308" y="771403"/>
                    <a:pt x="355831" y="756579"/>
                  </a:cubicBezTo>
                  <a:lnTo>
                    <a:pt x="355831" y="756579"/>
                  </a:lnTo>
                  <a:close/>
                </a:path>
              </a:pathLst>
            </a:custGeom>
            <a:solidFill>
              <a:srgbClr val="B78876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6EE263E7-7C02-421B-BF22-83B9FAB99D51}"/>
                </a:ext>
              </a:extLst>
            </p:cNvPr>
            <p:cNvSpPr/>
            <p:nvPr/>
          </p:nvSpPr>
          <p:spPr>
            <a:xfrm flipH="1">
              <a:off x="1649448" y="4916107"/>
              <a:ext cx="143591" cy="113298"/>
            </a:xfrm>
            <a:custGeom>
              <a:avLst/>
              <a:gdLst>
                <a:gd name="connsiteX0" fmla="*/ 0 w 130277"/>
                <a:gd name="connsiteY0" fmla="*/ 75310 h 102793"/>
                <a:gd name="connsiteX1" fmla="*/ 130277 w 130277"/>
                <a:gd name="connsiteY1" fmla="*/ 0 h 102793"/>
                <a:gd name="connsiteX2" fmla="*/ 5194 w 130277"/>
                <a:gd name="connsiteY2" fmla="*/ 102794 h 102793"/>
                <a:gd name="connsiteX3" fmla="*/ 0 w 130277"/>
                <a:gd name="connsiteY3" fmla="*/ 75310 h 10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277" h="102793">
                  <a:moveTo>
                    <a:pt x="0" y="75310"/>
                  </a:moveTo>
                  <a:cubicBezTo>
                    <a:pt x="0" y="75310"/>
                    <a:pt x="68818" y="62867"/>
                    <a:pt x="130277" y="0"/>
                  </a:cubicBezTo>
                  <a:cubicBezTo>
                    <a:pt x="130277" y="0"/>
                    <a:pt x="115021" y="86563"/>
                    <a:pt x="5194" y="102794"/>
                  </a:cubicBezTo>
                  <a:lnTo>
                    <a:pt x="0" y="75310"/>
                  </a:ln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872FD108-4776-4C15-B079-DF4B4A1CD567}"/>
                </a:ext>
              </a:extLst>
            </p:cNvPr>
            <p:cNvSpPr/>
            <p:nvPr/>
          </p:nvSpPr>
          <p:spPr>
            <a:xfrm flipH="1">
              <a:off x="1909849" y="4663425"/>
              <a:ext cx="34999" cy="33322"/>
            </a:xfrm>
            <a:custGeom>
              <a:avLst/>
              <a:gdLst>
                <a:gd name="connsiteX0" fmla="*/ 313 w 31754"/>
                <a:gd name="connsiteY0" fmla="*/ 18038 h 30232"/>
                <a:gd name="connsiteX1" fmla="*/ 18924 w 31754"/>
                <a:gd name="connsiteY1" fmla="*/ 29940 h 30232"/>
                <a:gd name="connsiteX2" fmla="*/ 31476 w 31754"/>
                <a:gd name="connsiteY2" fmla="*/ 12194 h 30232"/>
                <a:gd name="connsiteX3" fmla="*/ 12865 w 31754"/>
                <a:gd name="connsiteY3" fmla="*/ 292 h 30232"/>
                <a:gd name="connsiteX4" fmla="*/ 313 w 31754"/>
                <a:gd name="connsiteY4" fmla="*/ 18038 h 3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4" h="30232">
                  <a:moveTo>
                    <a:pt x="313" y="18038"/>
                  </a:moveTo>
                  <a:cubicBezTo>
                    <a:pt x="1936" y="26261"/>
                    <a:pt x="10268" y="31563"/>
                    <a:pt x="18924" y="29940"/>
                  </a:cubicBezTo>
                  <a:cubicBezTo>
                    <a:pt x="27472" y="28317"/>
                    <a:pt x="33099" y="20418"/>
                    <a:pt x="31476" y="12194"/>
                  </a:cubicBezTo>
                  <a:cubicBezTo>
                    <a:pt x="29853" y="3971"/>
                    <a:pt x="21521" y="-1331"/>
                    <a:pt x="12865" y="292"/>
                  </a:cubicBezTo>
                  <a:cubicBezTo>
                    <a:pt x="4208" y="1915"/>
                    <a:pt x="-1418" y="9814"/>
                    <a:pt x="313" y="1803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8998C3CA-FFC3-42BB-8CB3-4BAB18A39DC7}"/>
                </a:ext>
              </a:extLst>
            </p:cNvPr>
            <p:cNvSpPr/>
            <p:nvPr/>
          </p:nvSpPr>
          <p:spPr>
            <a:xfrm flipH="1">
              <a:off x="1894312" y="4620609"/>
              <a:ext cx="67424" cy="27309"/>
            </a:xfrm>
            <a:custGeom>
              <a:avLst/>
              <a:gdLst>
                <a:gd name="connsiteX0" fmla="*/ 487 w 61172"/>
                <a:gd name="connsiteY0" fmla="*/ 24640 h 24777"/>
                <a:gd name="connsiteX1" fmla="*/ 29053 w 61172"/>
                <a:gd name="connsiteY1" fmla="*/ 10790 h 24777"/>
                <a:gd name="connsiteX2" fmla="*/ 61081 w 61172"/>
                <a:gd name="connsiteY2" fmla="*/ 9708 h 24777"/>
                <a:gd name="connsiteX3" fmla="*/ 52749 w 61172"/>
                <a:gd name="connsiteY3" fmla="*/ 2891 h 24777"/>
                <a:gd name="connsiteX4" fmla="*/ 26564 w 61172"/>
                <a:gd name="connsiteY4" fmla="*/ 1268 h 24777"/>
                <a:gd name="connsiteX5" fmla="*/ 4491 w 61172"/>
                <a:gd name="connsiteY5" fmla="*/ 14793 h 24777"/>
                <a:gd name="connsiteX6" fmla="*/ 487 w 61172"/>
                <a:gd name="connsiteY6" fmla="*/ 24640 h 2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172" h="24777">
                  <a:moveTo>
                    <a:pt x="487" y="24640"/>
                  </a:moveTo>
                  <a:cubicBezTo>
                    <a:pt x="2868" y="26155"/>
                    <a:pt x="12498" y="14793"/>
                    <a:pt x="29053" y="10790"/>
                  </a:cubicBezTo>
                  <a:cubicBezTo>
                    <a:pt x="45500" y="6570"/>
                    <a:pt x="59783" y="12196"/>
                    <a:pt x="61081" y="9708"/>
                  </a:cubicBezTo>
                  <a:cubicBezTo>
                    <a:pt x="61731" y="8625"/>
                    <a:pt x="58917" y="5488"/>
                    <a:pt x="52749" y="2891"/>
                  </a:cubicBezTo>
                  <a:cubicBezTo>
                    <a:pt x="46582" y="294"/>
                    <a:pt x="36843" y="-1221"/>
                    <a:pt x="26564" y="1268"/>
                  </a:cubicBezTo>
                  <a:cubicBezTo>
                    <a:pt x="16285" y="3864"/>
                    <a:pt x="8494" y="9708"/>
                    <a:pt x="4491" y="14793"/>
                  </a:cubicBezTo>
                  <a:cubicBezTo>
                    <a:pt x="162" y="19879"/>
                    <a:pt x="-703" y="23990"/>
                    <a:pt x="487" y="2464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74F49E8D-25E1-4531-B85C-8933DA3AADBE}"/>
                </a:ext>
              </a:extLst>
            </p:cNvPr>
            <p:cNvSpPr/>
            <p:nvPr/>
          </p:nvSpPr>
          <p:spPr>
            <a:xfrm flipH="1">
              <a:off x="1736798" y="4622996"/>
              <a:ext cx="34999" cy="33322"/>
            </a:xfrm>
            <a:custGeom>
              <a:avLst/>
              <a:gdLst>
                <a:gd name="connsiteX0" fmla="*/ 313 w 31754"/>
                <a:gd name="connsiteY0" fmla="*/ 18038 h 30232"/>
                <a:gd name="connsiteX1" fmla="*/ 18924 w 31754"/>
                <a:gd name="connsiteY1" fmla="*/ 29940 h 30232"/>
                <a:gd name="connsiteX2" fmla="*/ 31476 w 31754"/>
                <a:gd name="connsiteY2" fmla="*/ 12194 h 30232"/>
                <a:gd name="connsiteX3" fmla="*/ 12865 w 31754"/>
                <a:gd name="connsiteY3" fmla="*/ 292 h 30232"/>
                <a:gd name="connsiteX4" fmla="*/ 313 w 31754"/>
                <a:gd name="connsiteY4" fmla="*/ 18038 h 3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4" h="30232">
                  <a:moveTo>
                    <a:pt x="313" y="18038"/>
                  </a:moveTo>
                  <a:cubicBezTo>
                    <a:pt x="1936" y="26261"/>
                    <a:pt x="10268" y="31563"/>
                    <a:pt x="18924" y="29940"/>
                  </a:cubicBezTo>
                  <a:cubicBezTo>
                    <a:pt x="27472" y="28317"/>
                    <a:pt x="33099" y="20418"/>
                    <a:pt x="31476" y="12194"/>
                  </a:cubicBezTo>
                  <a:cubicBezTo>
                    <a:pt x="29852" y="3971"/>
                    <a:pt x="21521" y="-1331"/>
                    <a:pt x="12865" y="292"/>
                  </a:cubicBezTo>
                  <a:cubicBezTo>
                    <a:pt x="4208" y="1915"/>
                    <a:pt x="-1418" y="9922"/>
                    <a:pt x="313" y="1803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F16C49E6-DAB6-4578-B226-36CEE3C3EB5E}"/>
                </a:ext>
              </a:extLst>
            </p:cNvPr>
            <p:cNvSpPr/>
            <p:nvPr/>
          </p:nvSpPr>
          <p:spPr>
            <a:xfrm flipH="1">
              <a:off x="1713868" y="4584830"/>
              <a:ext cx="67424" cy="27309"/>
            </a:xfrm>
            <a:custGeom>
              <a:avLst/>
              <a:gdLst>
                <a:gd name="connsiteX0" fmla="*/ 487 w 61172"/>
                <a:gd name="connsiteY0" fmla="*/ 24640 h 24777"/>
                <a:gd name="connsiteX1" fmla="*/ 29053 w 61172"/>
                <a:gd name="connsiteY1" fmla="*/ 10790 h 24777"/>
                <a:gd name="connsiteX2" fmla="*/ 61081 w 61172"/>
                <a:gd name="connsiteY2" fmla="*/ 9708 h 24777"/>
                <a:gd name="connsiteX3" fmla="*/ 52749 w 61172"/>
                <a:gd name="connsiteY3" fmla="*/ 2891 h 24777"/>
                <a:gd name="connsiteX4" fmla="*/ 26564 w 61172"/>
                <a:gd name="connsiteY4" fmla="*/ 1268 h 24777"/>
                <a:gd name="connsiteX5" fmla="*/ 4491 w 61172"/>
                <a:gd name="connsiteY5" fmla="*/ 14793 h 24777"/>
                <a:gd name="connsiteX6" fmla="*/ 487 w 61172"/>
                <a:gd name="connsiteY6" fmla="*/ 24640 h 2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172" h="24777">
                  <a:moveTo>
                    <a:pt x="487" y="24640"/>
                  </a:moveTo>
                  <a:cubicBezTo>
                    <a:pt x="2868" y="26155"/>
                    <a:pt x="12498" y="14793"/>
                    <a:pt x="29053" y="10790"/>
                  </a:cubicBezTo>
                  <a:cubicBezTo>
                    <a:pt x="45500" y="6570"/>
                    <a:pt x="59783" y="12196"/>
                    <a:pt x="61081" y="9708"/>
                  </a:cubicBezTo>
                  <a:cubicBezTo>
                    <a:pt x="61731" y="8625"/>
                    <a:pt x="58917" y="5488"/>
                    <a:pt x="52749" y="2891"/>
                  </a:cubicBezTo>
                  <a:cubicBezTo>
                    <a:pt x="46582" y="294"/>
                    <a:pt x="36843" y="-1221"/>
                    <a:pt x="26564" y="1268"/>
                  </a:cubicBezTo>
                  <a:cubicBezTo>
                    <a:pt x="16285" y="3864"/>
                    <a:pt x="8494" y="9708"/>
                    <a:pt x="4491" y="14793"/>
                  </a:cubicBezTo>
                  <a:cubicBezTo>
                    <a:pt x="162" y="19879"/>
                    <a:pt x="-703" y="23990"/>
                    <a:pt x="487" y="2464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62C938E3-2F25-4349-A9A3-373869C4F73E}"/>
                </a:ext>
              </a:extLst>
            </p:cNvPr>
            <p:cNvSpPr/>
            <p:nvPr/>
          </p:nvSpPr>
          <p:spPr>
            <a:xfrm flipH="1">
              <a:off x="1812357" y="4613895"/>
              <a:ext cx="50068" cy="162132"/>
            </a:xfrm>
            <a:custGeom>
              <a:avLst/>
              <a:gdLst>
                <a:gd name="connsiteX0" fmla="*/ 45423 w 45426"/>
                <a:gd name="connsiteY0" fmla="*/ 139800 h 147099"/>
                <a:gd name="connsiteX1" fmla="*/ 17398 w 45426"/>
                <a:gd name="connsiteY1" fmla="*/ 141424 h 147099"/>
                <a:gd name="connsiteX2" fmla="*/ 7444 w 45426"/>
                <a:gd name="connsiteY2" fmla="*/ 139368 h 147099"/>
                <a:gd name="connsiteX3" fmla="*/ 7227 w 45426"/>
                <a:gd name="connsiteY3" fmla="*/ 126167 h 147099"/>
                <a:gd name="connsiteX4" fmla="*/ 11988 w 45426"/>
                <a:gd name="connsiteY4" fmla="*/ 91000 h 147099"/>
                <a:gd name="connsiteX5" fmla="*/ 19779 w 45426"/>
                <a:gd name="connsiteY5" fmla="*/ 1 h 147099"/>
                <a:gd name="connsiteX6" fmla="*/ 4738 w 45426"/>
                <a:gd name="connsiteY6" fmla="*/ 90135 h 147099"/>
                <a:gd name="connsiteX7" fmla="*/ 627 w 45426"/>
                <a:gd name="connsiteY7" fmla="*/ 125409 h 147099"/>
                <a:gd name="connsiteX8" fmla="*/ 2466 w 45426"/>
                <a:gd name="connsiteY8" fmla="*/ 142506 h 147099"/>
                <a:gd name="connsiteX9" fmla="*/ 10906 w 45426"/>
                <a:gd name="connsiteY9" fmla="*/ 147050 h 147099"/>
                <a:gd name="connsiteX10" fmla="*/ 18372 w 45426"/>
                <a:gd name="connsiteY10" fmla="*/ 146293 h 147099"/>
                <a:gd name="connsiteX11" fmla="*/ 45423 w 45426"/>
                <a:gd name="connsiteY11" fmla="*/ 139800 h 14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426" h="147099">
                  <a:moveTo>
                    <a:pt x="45423" y="139800"/>
                  </a:moveTo>
                  <a:cubicBezTo>
                    <a:pt x="45315" y="138827"/>
                    <a:pt x="34603" y="139584"/>
                    <a:pt x="17398" y="141424"/>
                  </a:cubicBezTo>
                  <a:cubicBezTo>
                    <a:pt x="13070" y="141965"/>
                    <a:pt x="8850" y="142181"/>
                    <a:pt x="7444" y="139368"/>
                  </a:cubicBezTo>
                  <a:cubicBezTo>
                    <a:pt x="5712" y="136554"/>
                    <a:pt x="6361" y="131577"/>
                    <a:pt x="7227" y="126167"/>
                  </a:cubicBezTo>
                  <a:cubicBezTo>
                    <a:pt x="8742" y="115022"/>
                    <a:pt x="10257" y="103228"/>
                    <a:pt x="11988" y="91000"/>
                  </a:cubicBezTo>
                  <a:cubicBezTo>
                    <a:pt x="18264" y="41010"/>
                    <a:pt x="21727" y="325"/>
                    <a:pt x="19779" y="1"/>
                  </a:cubicBezTo>
                  <a:cubicBezTo>
                    <a:pt x="17723" y="-215"/>
                    <a:pt x="11014" y="40145"/>
                    <a:pt x="4738" y="90135"/>
                  </a:cubicBezTo>
                  <a:cubicBezTo>
                    <a:pt x="3332" y="102470"/>
                    <a:pt x="1925" y="114156"/>
                    <a:pt x="627" y="125409"/>
                  </a:cubicBezTo>
                  <a:cubicBezTo>
                    <a:pt x="194" y="130603"/>
                    <a:pt x="-1213" y="136663"/>
                    <a:pt x="2466" y="142506"/>
                  </a:cubicBezTo>
                  <a:cubicBezTo>
                    <a:pt x="4414" y="145427"/>
                    <a:pt x="7984" y="146942"/>
                    <a:pt x="10906" y="147050"/>
                  </a:cubicBezTo>
                  <a:cubicBezTo>
                    <a:pt x="13828" y="147267"/>
                    <a:pt x="16208" y="146726"/>
                    <a:pt x="18372" y="146293"/>
                  </a:cubicBezTo>
                  <a:cubicBezTo>
                    <a:pt x="35144" y="143155"/>
                    <a:pt x="45640" y="140774"/>
                    <a:pt x="45423" y="13980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A627A74-3AA8-4DA2-B5B6-9F9A0B30E257}"/>
                </a:ext>
              </a:extLst>
            </p:cNvPr>
            <p:cNvSpPr/>
            <p:nvPr/>
          </p:nvSpPr>
          <p:spPr>
            <a:xfrm flipH="1">
              <a:off x="1749347" y="4767590"/>
              <a:ext cx="52764" cy="64168"/>
            </a:xfrm>
            <a:custGeom>
              <a:avLst/>
              <a:gdLst>
                <a:gd name="connsiteX0" fmla="*/ 42207 w 47872"/>
                <a:gd name="connsiteY0" fmla="*/ 32 h 58218"/>
                <a:gd name="connsiteX1" fmla="*/ 31494 w 47872"/>
                <a:gd name="connsiteY1" fmla="*/ 34982 h 58218"/>
                <a:gd name="connsiteX2" fmla="*/ 7 w 47872"/>
                <a:gd name="connsiteY2" fmla="*/ 56623 h 58218"/>
                <a:gd name="connsiteX3" fmla="*/ 13208 w 47872"/>
                <a:gd name="connsiteY3" fmla="*/ 57380 h 58218"/>
                <a:gd name="connsiteX4" fmla="*/ 39718 w 47872"/>
                <a:gd name="connsiteY4" fmla="*/ 40284 h 58218"/>
                <a:gd name="connsiteX5" fmla="*/ 47508 w 47872"/>
                <a:gd name="connsiteY5" fmla="*/ 11285 h 58218"/>
                <a:gd name="connsiteX6" fmla="*/ 42207 w 47872"/>
                <a:gd name="connsiteY6" fmla="*/ 32 h 5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872" h="58218">
                  <a:moveTo>
                    <a:pt x="42207" y="32"/>
                  </a:moveTo>
                  <a:cubicBezTo>
                    <a:pt x="39501" y="573"/>
                    <a:pt x="43830" y="18535"/>
                    <a:pt x="31494" y="34982"/>
                  </a:cubicBezTo>
                  <a:cubicBezTo>
                    <a:pt x="19267" y="51429"/>
                    <a:pt x="-426" y="54134"/>
                    <a:pt x="7" y="56623"/>
                  </a:cubicBezTo>
                  <a:cubicBezTo>
                    <a:pt x="7" y="57813"/>
                    <a:pt x="5093" y="59111"/>
                    <a:pt x="13208" y="57380"/>
                  </a:cubicBezTo>
                  <a:cubicBezTo>
                    <a:pt x="21215" y="55757"/>
                    <a:pt x="32144" y="50347"/>
                    <a:pt x="39718" y="40284"/>
                  </a:cubicBezTo>
                  <a:cubicBezTo>
                    <a:pt x="47184" y="30221"/>
                    <a:pt x="48699" y="18751"/>
                    <a:pt x="47508" y="11285"/>
                  </a:cubicBezTo>
                  <a:cubicBezTo>
                    <a:pt x="46427" y="3603"/>
                    <a:pt x="43397" y="-401"/>
                    <a:pt x="42207" y="3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0595CB9-FD76-4DB2-98A9-81B8414E8C78}"/>
                </a:ext>
              </a:extLst>
            </p:cNvPr>
            <p:cNvSpPr/>
            <p:nvPr/>
          </p:nvSpPr>
          <p:spPr>
            <a:xfrm flipH="1">
              <a:off x="1712338" y="4513336"/>
              <a:ext cx="85575" cy="25873"/>
            </a:xfrm>
            <a:custGeom>
              <a:avLst/>
              <a:gdLst>
                <a:gd name="connsiteX0" fmla="*/ 310 w 77640"/>
                <a:gd name="connsiteY0" fmla="*/ 22094 h 23474"/>
                <a:gd name="connsiteX1" fmla="*/ 39047 w 77640"/>
                <a:gd name="connsiteY1" fmla="*/ 17766 h 23474"/>
                <a:gd name="connsiteX2" fmla="*/ 77567 w 77640"/>
                <a:gd name="connsiteY2" fmla="*/ 12247 h 23474"/>
                <a:gd name="connsiteX3" fmla="*/ 67071 w 77640"/>
                <a:gd name="connsiteY3" fmla="*/ 3591 h 23474"/>
                <a:gd name="connsiteX4" fmla="*/ 36774 w 77640"/>
                <a:gd name="connsiteY4" fmla="*/ 562 h 23474"/>
                <a:gd name="connsiteX5" fmla="*/ 8208 w 77640"/>
                <a:gd name="connsiteY5" fmla="*/ 11165 h 23474"/>
                <a:gd name="connsiteX6" fmla="*/ 310 w 77640"/>
                <a:gd name="connsiteY6" fmla="*/ 22094 h 23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640" h="23474">
                  <a:moveTo>
                    <a:pt x="310" y="22094"/>
                  </a:moveTo>
                  <a:cubicBezTo>
                    <a:pt x="3015" y="26206"/>
                    <a:pt x="19029" y="20038"/>
                    <a:pt x="39047" y="17766"/>
                  </a:cubicBezTo>
                  <a:cubicBezTo>
                    <a:pt x="58956" y="15061"/>
                    <a:pt x="76052" y="16900"/>
                    <a:pt x="77567" y="12247"/>
                  </a:cubicBezTo>
                  <a:cubicBezTo>
                    <a:pt x="78216" y="10083"/>
                    <a:pt x="74537" y="6513"/>
                    <a:pt x="67071" y="3591"/>
                  </a:cubicBezTo>
                  <a:cubicBezTo>
                    <a:pt x="59714" y="778"/>
                    <a:pt x="48785" y="-953"/>
                    <a:pt x="36774" y="562"/>
                  </a:cubicBezTo>
                  <a:cubicBezTo>
                    <a:pt x="24764" y="2076"/>
                    <a:pt x="14593" y="6513"/>
                    <a:pt x="8208" y="11165"/>
                  </a:cubicBezTo>
                  <a:cubicBezTo>
                    <a:pt x="1824" y="15710"/>
                    <a:pt x="-989" y="20146"/>
                    <a:pt x="310" y="2209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53AE80BB-0A1A-400C-AD60-8BBAC3DD5A07}"/>
                </a:ext>
              </a:extLst>
            </p:cNvPr>
            <p:cNvSpPr/>
            <p:nvPr/>
          </p:nvSpPr>
          <p:spPr>
            <a:xfrm flipH="1">
              <a:off x="1906921" y="4557289"/>
              <a:ext cx="62433" cy="28837"/>
            </a:xfrm>
            <a:custGeom>
              <a:avLst/>
              <a:gdLst>
                <a:gd name="connsiteX0" fmla="*/ 906 w 56644"/>
                <a:gd name="connsiteY0" fmla="*/ 25389 h 26163"/>
                <a:gd name="connsiteX1" fmla="*/ 28823 w 56644"/>
                <a:gd name="connsiteY1" fmla="*/ 18248 h 26163"/>
                <a:gd name="connsiteX2" fmla="*/ 56523 w 56644"/>
                <a:gd name="connsiteY2" fmla="*/ 10132 h 26163"/>
                <a:gd name="connsiteX3" fmla="*/ 48516 w 56644"/>
                <a:gd name="connsiteY3" fmla="*/ 2234 h 26163"/>
                <a:gd name="connsiteX4" fmla="*/ 24278 w 56644"/>
                <a:gd name="connsiteY4" fmla="*/ 1584 h 26163"/>
                <a:gd name="connsiteX5" fmla="*/ 3720 w 56644"/>
                <a:gd name="connsiteY5" fmla="*/ 14569 h 26163"/>
                <a:gd name="connsiteX6" fmla="*/ 906 w 56644"/>
                <a:gd name="connsiteY6" fmla="*/ 25389 h 2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644" h="26163">
                  <a:moveTo>
                    <a:pt x="906" y="25389"/>
                  </a:moveTo>
                  <a:cubicBezTo>
                    <a:pt x="4694" y="28419"/>
                    <a:pt x="15189" y="21818"/>
                    <a:pt x="28823" y="18248"/>
                  </a:cubicBezTo>
                  <a:cubicBezTo>
                    <a:pt x="42348" y="14244"/>
                    <a:pt x="54792" y="14677"/>
                    <a:pt x="56523" y="10132"/>
                  </a:cubicBezTo>
                  <a:cubicBezTo>
                    <a:pt x="57281" y="7968"/>
                    <a:pt x="54468" y="4614"/>
                    <a:pt x="48516" y="2234"/>
                  </a:cubicBezTo>
                  <a:cubicBezTo>
                    <a:pt x="42673" y="-147"/>
                    <a:pt x="33584" y="-1013"/>
                    <a:pt x="24278" y="1584"/>
                  </a:cubicBezTo>
                  <a:cubicBezTo>
                    <a:pt x="14973" y="4181"/>
                    <a:pt x="7615" y="9483"/>
                    <a:pt x="3720" y="14569"/>
                  </a:cubicBezTo>
                  <a:cubicBezTo>
                    <a:pt x="-176" y="19654"/>
                    <a:pt x="-825" y="23874"/>
                    <a:pt x="906" y="2538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9DB6CCFB-413C-4A45-8483-563BD6CF5D3E}"/>
                </a:ext>
              </a:extLst>
            </p:cNvPr>
            <p:cNvSpPr/>
            <p:nvPr/>
          </p:nvSpPr>
          <p:spPr>
            <a:xfrm flipH="1">
              <a:off x="1475584" y="4620314"/>
              <a:ext cx="95032" cy="130374"/>
            </a:xfrm>
            <a:custGeom>
              <a:avLst/>
              <a:gdLst>
                <a:gd name="connsiteX0" fmla="*/ 0 w 86220"/>
                <a:gd name="connsiteY0" fmla="*/ 11057 h 118285"/>
                <a:gd name="connsiteX1" fmla="*/ 84183 w 86220"/>
                <a:gd name="connsiteY1" fmla="*/ 45466 h 118285"/>
                <a:gd name="connsiteX2" fmla="*/ 21316 w 86220"/>
                <a:gd name="connsiteY2" fmla="*/ 117747 h 118285"/>
                <a:gd name="connsiteX3" fmla="*/ 0 w 86220"/>
                <a:gd name="connsiteY3" fmla="*/ 11057 h 11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220" h="118285">
                  <a:moveTo>
                    <a:pt x="0" y="11057"/>
                  </a:moveTo>
                  <a:cubicBezTo>
                    <a:pt x="1623" y="9867"/>
                    <a:pt x="68710" y="-28653"/>
                    <a:pt x="84183" y="45466"/>
                  </a:cubicBezTo>
                  <a:cubicBezTo>
                    <a:pt x="99656" y="119694"/>
                    <a:pt x="21965" y="119803"/>
                    <a:pt x="21316" y="117747"/>
                  </a:cubicBezTo>
                  <a:cubicBezTo>
                    <a:pt x="20775" y="115691"/>
                    <a:pt x="0" y="11057"/>
                    <a:pt x="0" y="11057"/>
                  </a:cubicBezTo>
                  <a:close/>
                </a:path>
              </a:pathLst>
            </a:custGeom>
            <a:solidFill>
              <a:srgbClr val="B78876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574E7EB-EE8E-4B1B-A27B-07ADF7035011}"/>
                </a:ext>
              </a:extLst>
            </p:cNvPr>
            <p:cNvSpPr/>
            <p:nvPr/>
          </p:nvSpPr>
          <p:spPr>
            <a:xfrm flipH="1">
              <a:off x="1497214" y="4645640"/>
              <a:ext cx="37503" cy="72880"/>
            </a:xfrm>
            <a:custGeom>
              <a:avLst/>
              <a:gdLst>
                <a:gd name="connsiteX0" fmla="*/ 5627 w 34026"/>
                <a:gd name="connsiteY0" fmla="*/ 61983 h 66122"/>
                <a:gd name="connsiteX1" fmla="*/ 9522 w 34026"/>
                <a:gd name="connsiteY1" fmla="*/ 63173 h 66122"/>
                <a:gd name="connsiteX2" fmla="*/ 19261 w 34026"/>
                <a:gd name="connsiteY2" fmla="*/ 61334 h 66122"/>
                <a:gd name="connsiteX3" fmla="*/ 28133 w 34026"/>
                <a:gd name="connsiteY3" fmla="*/ 29522 h 66122"/>
                <a:gd name="connsiteX4" fmla="*/ 20667 w 34026"/>
                <a:gd name="connsiteY4" fmla="*/ 11776 h 66122"/>
                <a:gd name="connsiteX5" fmla="*/ 8873 w 34026"/>
                <a:gd name="connsiteY5" fmla="*/ 3877 h 66122"/>
                <a:gd name="connsiteX6" fmla="*/ 1948 w 34026"/>
                <a:gd name="connsiteY6" fmla="*/ 8963 h 66122"/>
                <a:gd name="connsiteX7" fmla="*/ 1840 w 34026"/>
                <a:gd name="connsiteY7" fmla="*/ 12858 h 66122"/>
                <a:gd name="connsiteX8" fmla="*/ 0 w 34026"/>
                <a:gd name="connsiteY8" fmla="*/ 8747 h 66122"/>
                <a:gd name="connsiteX9" fmla="*/ 1948 w 34026"/>
                <a:gd name="connsiteY9" fmla="*/ 3445 h 66122"/>
                <a:gd name="connsiteX10" fmla="*/ 8657 w 34026"/>
                <a:gd name="connsiteY10" fmla="*/ 90 h 66122"/>
                <a:gd name="connsiteX11" fmla="*/ 24563 w 34026"/>
                <a:gd name="connsiteY11" fmla="*/ 8747 h 66122"/>
                <a:gd name="connsiteX12" fmla="*/ 33327 w 34026"/>
                <a:gd name="connsiteY12" fmla="*/ 28548 h 66122"/>
                <a:gd name="connsiteX13" fmla="*/ 21100 w 34026"/>
                <a:gd name="connsiteY13" fmla="*/ 64472 h 66122"/>
                <a:gd name="connsiteX14" fmla="*/ 8873 w 34026"/>
                <a:gd name="connsiteY14" fmla="*/ 65013 h 66122"/>
                <a:gd name="connsiteX15" fmla="*/ 5627 w 34026"/>
                <a:gd name="connsiteY15" fmla="*/ 61983 h 66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026" h="66122">
                  <a:moveTo>
                    <a:pt x="5627" y="61983"/>
                  </a:moveTo>
                  <a:cubicBezTo>
                    <a:pt x="5951" y="61658"/>
                    <a:pt x="7142" y="62632"/>
                    <a:pt x="9522" y="63173"/>
                  </a:cubicBezTo>
                  <a:cubicBezTo>
                    <a:pt x="11903" y="63714"/>
                    <a:pt x="15690" y="63606"/>
                    <a:pt x="19261" y="61334"/>
                  </a:cubicBezTo>
                  <a:cubicBezTo>
                    <a:pt x="26510" y="56789"/>
                    <a:pt x="30514" y="43047"/>
                    <a:pt x="28133" y="29522"/>
                  </a:cubicBezTo>
                  <a:cubicBezTo>
                    <a:pt x="26943" y="22705"/>
                    <a:pt x="24130" y="16645"/>
                    <a:pt x="20667" y="11776"/>
                  </a:cubicBezTo>
                  <a:cubicBezTo>
                    <a:pt x="17313" y="6799"/>
                    <a:pt x="12985" y="3769"/>
                    <a:pt x="8873" y="3877"/>
                  </a:cubicBezTo>
                  <a:cubicBezTo>
                    <a:pt x="4761" y="3769"/>
                    <a:pt x="2489" y="6691"/>
                    <a:pt x="1948" y="8963"/>
                  </a:cubicBezTo>
                  <a:cubicBezTo>
                    <a:pt x="1407" y="11235"/>
                    <a:pt x="2164" y="12642"/>
                    <a:pt x="1840" y="12858"/>
                  </a:cubicBezTo>
                  <a:cubicBezTo>
                    <a:pt x="1623" y="13075"/>
                    <a:pt x="0" y="11993"/>
                    <a:pt x="0" y="8747"/>
                  </a:cubicBezTo>
                  <a:cubicBezTo>
                    <a:pt x="0" y="7232"/>
                    <a:pt x="541" y="5284"/>
                    <a:pt x="1948" y="3445"/>
                  </a:cubicBezTo>
                  <a:cubicBezTo>
                    <a:pt x="3463" y="1605"/>
                    <a:pt x="5843" y="307"/>
                    <a:pt x="8657" y="90"/>
                  </a:cubicBezTo>
                  <a:cubicBezTo>
                    <a:pt x="14500" y="-667"/>
                    <a:pt x="20667" y="3445"/>
                    <a:pt x="24563" y="8747"/>
                  </a:cubicBezTo>
                  <a:cubicBezTo>
                    <a:pt x="28782" y="14049"/>
                    <a:pt x="32029" y="20865"/>
                    <a:pt x="33327" y="28548"/>
                  </a:cubicBezTo>
                  <a:cubicBezTo>
                    <a:pt x="35924" y="43588"/>
                    <a:pt x="31163" y="59170"/>
                    <a:pt x="21100" y="64472"/>
                  </a:cubicBezTo>
                  <a:cubicBezTo>
                    <a:pt x="16123" y="66960"/>
                    <a:pt x="11470" y="66203"/>
                    <a:pt x="8873" y="65013"/>
                  </a:cubicBezTo>
                  <a:cubicBezTo>
                    <a:pt x="6168" y="63714"/>
                    <a:pt x="5410" y="62199"/>
                    <a:pt x="5627" y="61983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B86B5616-6CD6-431D-B02A-4FFFE1CC1C01}"/>
                </a:ext>
              </a:extLst>
            </p:cNvPr>
            <p:cNvSpPr/>
            <p:nvPr/>
          </p:nvSpPr>
          <p:spPr>
            <a:xfrm flipH="1">
              <a:off x="1543573" y="4324224"/>
              <a:ext cx="432575" cy="374852"/>
            </a:xfrm>
            <a:custGeom>
              <a:avLst/>
              <a:gdLst>
                <a:gd name="connsiteX0" fmla="*/ 3391 w 392466"/>
                <a:gd name="connsiteY0" fmla="*/ 121715 h 340095"/>
                <a:gd name="connsiteX1" fmla="*/ 45266 w 392466"/>
                <a:gd name="connsiteY1" fmla="*/ 52031 h 340095"/>
                <a:gd name="connsiteX2" fmla="*/ 195237 w 392466"/>
                <a:gd name="connsiteY2" fmla="*/ 310 h 340095"/>
                <a:gd name="connsiteX3" fmla="*/ 327571 w 392466"/>
                <a:gd name="connsiteY3" fmla="*/ 61229 h 340095"/>
                <a:gd name="connsiteX4" fmla="*/ 390004 w 392466"/>
                <a:gd name="connsiteY4" fmla="*/ 203950 h 340095"/>
                <a:gd name="connsiteX5" fmla="*/ 388598 w 392466"/>
                <a:gd name="connsiteY5" fmla="*/ 251451 h 340095"/>
                <a:gd name="connsiteX6" fmla="*/ 369013 w 392466"/>
                <a:gd name="connsiteY6" fmla="*/ 306744 h 340095"/>
                <a:gd name="connsiteX7" fmla="*/ 365767 w 392466"/>
                <a:gd name="connsiteY7" fmla="*/ 330981 h 340095"/>
                <a:gd name="connsiteX8" fmla="*/ 325298 w 392466"/>
                <a:gd name="connsiteY8" fmla="*/ 325788 h 340095"/>
                <a:gd name="connsiteX9" fmla="*/ 286345 w 392466"/>
                <a:gd name="connsiteY9" fmla="*/ 232408 h 340095"/>
                <a:gd name="connsiteX10" fmla="*/ 277039 w 392466"/>
                <a:gd name="connsiteY10" fmla="*/ 160777 h 340095"/>
                <a:gd name="connsiteX11" fmla="*/ 282125 w 392466"/>
                <a:gd name="connsiteY11" fmla="*/ 121607 h 340095"/>
                <a:gd name="connsiteX12" fmla="*/ 269465 w 392466"/>
                <a:gd name="connsiteY12" fmla="*/ 85575 h 340095"/>
                <a:gd name="connsiteX13" fmla="*/ 262215 w 392466"/>
                <a:gd name="connsiteY13" fmla="*/ 80705 h 340095"/>
                <a:gd name="connsiteX14" fmla="*/ 182361 w 392466"/>
                <a:gd name="connsiteY14" fmla="*/ 81355 h 340095"/>
                <a:gd name="connsiteX15" fmla="*/ 54897 w 392466"/>
                <a:gd name="connsiteY15" fmla="*/ 130263 h 340095"/>
                <a:gd name="connsiteX16" fmla="*/ 14861 w 392466"/>
                <a:gd name="connsiteY16" fmla="*/ 103104 h 340095"/>
                <a:gd name="connsiteX17" fmla="*/ 3391 w 392466"/>
                <a:gd name="connsiteY17" fmla="*/ 121715 h 34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2466" h="340095">
                  <a:moveTo>
                    <a:pt x="3391" y="121715"/>
                  </a:moveTo>
                  <a:cubicBezTo>
                    <a:pt x="-9918" y="117495"/>
                    <a:pt x="18432" y="71292"/>
                    <a:pt x="45266" y="52031"/>
                  </a:cubicBezTo>
                  <a:cubicBezTo>
                    <a:pt x="85951" y="22925"/>
                    <a:pt x="151631" y="-3153"/>
                    <a:pt x="195237" y="310"/>
                  </a:cubicBezTo>
                  <a:cubicBezTo>
                    <a:pt x="247608" y="4530"/>
                    <a:pt x="293703" y="20977"/>
                    <a:pt x="327571" y="61229"/>
                  </a:cubicBezTo>
                  <a:cubicBezTo>
                    <a:pt x="361438" y="101372"/>
                    <a:pt x="381240" y="152120"/>
                    <a:pt x="390004" y="203950"/>
                  </a:cubicBezTo>
                  <a:cubicBezTo>
                    <a:pt x="392710" y="219748"/>
                    <a:pt x="394333" y="236519"/>
                    <a:pt x="388598" y="251451"/>
                  </a:cubicBezTo>
                  <a:cubicBezTo>
                    <a:pt x="381456" y="269954"/>
                    <a:pt x="363603" y="284237"/>
                    <a:pt x="369013" y="306744"/>
                  </a:cubicBezTo>
                  <a:cubicBezTo>
                    <a:pt x="370960" y="314967"/>
                    <a:pt x="370311" y="323840"/>
                    <a:pt x="365767" y="330981"/>
                  </a:cubicBezTo>
                  <a:cubicBezTo>
                    <a:pt x="355054" y="348186"/>
                    <a:pt x="335686" y="337907"/>
                    <a:pt x="325298" y="325788"/>
                  </a:cubicBezTo>
                  <a:cubicBezTo>
                    <a:pt x="303225" y="299927"/>
                    <a:pt x="294460" y="265518"/>
                    <a:pt x="286345" y="232408"/>
                  </a:cubicBezTo>
                  <a:cubicBezTo>
                    <a:pt x="280610" y="208927"/>
                    <a:pt x="274875" y="184906"/>
                    <a:pt x="277039" y="160777"/>
                  </a:cubicBezTo>
                  <a:cubicBezTo>
                    <a:pt x="278230" y="147684"/>
                    <a:pt x="281692" y="134807"/>
                    <a:pt x="282125" y="121607"/>
                  </a:cubicBezTo>
                  <a:cubicBezTo>
                    <a:pt x="282558" y="108406"/>
                    <a:pt x="279312" y="94231"/>
                    <a:pt x="269465" y="85575"/>
                  </a:cubicBezTo>
                  <a:cubicBezTo>
                    <a:pt x="267842" y="84168"/>
                    <a:pt x="265353" y="82437"/>
                    <a:pt x="262215" y="80705"/>
                  </a:cubicBezTo>
                  <a:cubicBezTo>
                    <a:pt x="237545" y="66423"/>
                    <a:pt x="206923" y="66747"/>
                    <a:pt x="182361" y="81355"/>
                  </a:cubicBezTo>
                  <a:cubicBezTo>
                    <a:pt x="143407" y="104511"/>
                    <a:pt x="76321" y="140759"/>
                    <a:pt x="54897" y="130263"/>
                  </a:cubicBezTo>
                  <a:cubicBezTo>
                    <a:pt x="23950" y="115114"/>
                    <a:pt x="14861" y="103104"/>
                    <a:pt x="14861" y="103104"/>
                  </a:cubicBezTo>
                  <a:lnTo>
                    <a:pt x="3391" y="121715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B12E7B80-F707-4840-9CF9-DC13043FF360}"/>
                </a:ext>
              </a:extLst>
            </p:cNvPr>
            <p:cNvSpPr/>
            <p:nvPr/>
          </p:nvSpPr>
          <p:spPr>
            <a:xfrm flipH="1">
              <a:off x="1636210" y="4312695"/>
              <a:ext cx="307031" cy="161120"/>
            </a:xfrm>
            <a:custGeom>
              <a:avLst/>
              <a:gdLst>
                <a:gd name="connsiteX0" fmla="*/ 159430 w 278562"/>
                <a:gd name="connsiteY0" fmla="*/ 1465 h 146181"/>
                <a:gd name="connsiteX1" fmla="*/ 35212 w 278562"/>
                <a:gd name="connsiteY1" fmla="*/ 33277 h 146181"/>
                <a:gd name="connsiteX2" fmla="*/ 154 w 278562"/>
                <a:gd name="connsiteY2" fmla="*/ 91491 h 146181"/>
                <a:gd name="connsiteX3" fmla="*/ 35969 w 278562"/>
                <a:gd name="connsiteY3" fmla="*/ 144403 h 146181"/>
                <a:gd name="connsiteX4" fmla="*/ 37592 w 278562"/>
                <a:gd name="connsiteY4" fmla="*/ 145052 h 146181"/>
                <a:gd name="connsiteX5" fmla="*/ 120693 w 278562"/>
                <a:gd name="connsiteY5" fmla="*/ 123844 h 146181"/>
                <a:gd name="connsiteX6" fmla="*/ 190701 w 278562"/>
                <a:gd name="connsiteY6" fmla="*/ 73854 h 146181"/>
                <a:gd name="connsiteX7" fmla="*/ 278563 w 278562"/>
                <a:gd name="connsiteY7" fmla="*/ 53728 h 146181"/>
                <a:gd name="connsiteX8" fmla="*/ 159430 w 278562"/>
                <a:gd name="connsiteY8" fmla="*/ 1465 h 146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8562" h="146181">
                  <a:moveTo>
                    <a:pt x="159430" y="1465"/>
                  </a:moveTo>
                  <a:cubicBezTo>
                    <a:pt x="115824" y="-4053"/>
                    <a:pt x="69513" y="5902"/>
                    <a:pt x="35212" y="33277"/>
                  </a:cubicBezTo>
                  <a:cubicBezTo>
                    <a:pt x="17034" y="47885"/>
                    <a:pt x="1993" y="68335"/>
                    <a:pt x="154" y="91491"/>
                  </a:cubicBezTo>
                  <a:cubicBezTo>
                    <a:pt x="-1686" y="114755"/>
                    <a:pt x="13138" y="139966"/>
                    <a:pt x="35969" y="144403"/>
                  </a:cubicBezTo>
                  <a:lnTo>
                    <a:pt x="37592" y="145052"/>
                  </a:lnTo>
                  <a:cubicBezTo>
                    <a:pt x="71460" y="149380"/>
                    <a:pt x="91153" y="141048"/>
                    <a:pt x="120693" y="123844"/>
                  </a:cubicBezTo>
                  <a:cubicBezTo>
                    <a:pt x="145472" y="109345"/>
                    <a:pt x="165922" y="88245"/>
                    <a:pt x="190701" y="73854"/>
                  </a:cubicBezTo>
                  <a:cubicBezTo>
                    <a:pt x="217103" y="58597"/>
                    <a:pt x="248158" y="51455"/>
                    <a:pt x="278563" y="53728"/>
                  </a:cubicBezTo>
                  <a:cubicBezTo>
                    <a:pt x="243829" y="27001"/>
                    <a:pt x="203036" y="6984"/>
                    <a:pt x="159430" y="146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31872898-0D22-47E6-8310-80C4985D09DA}"/>
                </a:ext>
              </a:extLst>
            </p:cNvPr>
            <p:cNvSpPr/>
            <p:nvPr/>
          </p:nvSpPr>
          <p:spPr>
            <a:xfrm flipH="1">
              <a:off x="1647775" y="4355490"/>
              <a:ext cx="253676" cy="118216"/>
            </a:xfrm>
            <a:custGeom>
              <a:avLst/>
              <a:gdLst>
                <a:gd name="connsiteX0" fmla="*/ 230153 w 230155"/>
                <a:gd name="connsiteY0" fmla="*/ 5703 h 107255"/>
                <a:gd name="connsiteX1" fmla="*/ 192606 w 230155"/>
                <a:gd name="connsiteY1" fmla="*/ 5162 h 107255"/>
                <a:gd name="connsiteX2" fmla="*/ 155275 w 230155"/>
                <a:gd name="connsiteY2" fmla="*/ 21392 h 107255"/>
                <a:gd name="connsiteX3" fmla="*/ 116322 w 230155"/>
                <a:gd name="connsiteY3" fmla="*/ 53745 h 107255"/>
                <a:gd name="connsiteX4" fmla="*/ 77044 w 230155"/>
                <a:gd name="connsiteY4" fmla="*/ 87072 h 107255"/>
                <a:gd name="connsiteX5" fmla="*/ 38631 w 230155"/>
                <a:gd name="connsiteY5" fmla="*/ 104926 h 107255"/>
                <a:gd name="connsiteX6" fmla="*/ 10066 w 230155"/>
                <a:gd name="connsiteY6" fmla="*/ 106549 h 107255"/>
                <a:gd name="connsiteX7" fmla="*/ 2 w 230155"/>
                <a:gd name="connsiteY7" fmla="*/ 103627 h 107255"/>
                <a:gd name="connsiteX8" fmla="*/ 37549 w 230155"/>
                <a:gd name="connsiteY8" fmla="*/ 101031 h 107255"/>
                <a:gd name="connsiteX9" fmla="*/ 74014 w 230155"/>
                <a:gd name="connsiteY9" fmla="*/ 82744 h 107255"/>
                <a:gd name="connsiteX10" fmla="*/ 112427 w 230155"/>
                <a:gd name="connsiteY10" fmla="*/ 49525 h 107255"/>
                <a:gd name="connsiteX11" fmla="*/ 152354 w 230155"/>
                <a:gd name="connsiteY11" fmla="*/ 16956 h 107255"/>
                <a:gd name="connsiteX12" fmla="*/ 191740 w 230155"/>
                <a:gd name="connsiteY12" fmla="*/ 1158 h 107255"/>
                <a:gd name="connsiteX13" fmla="*/ 220306 w 230155"/>
                <a:gd name="connsiteY13" fmla="*/ 1807 h 107255"/>
                <a:gd name="connsiteX14" fmla="*/ 230153 w 230155"/>
                <a:gd name="connsiteY14" fmla="*/ 5703 h 10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155" h="107255">
                  <a:moveTo>
                    <a:pt x="230153" y="5703"/>
                  </a:moveTo>
                  <a:cubicBezTo>
                    <a:pt x="230044" y="6785"/>
                    <a:pt x="215653" y="293"/>
                    <a:pt x="192606" y="5162"/>
                  </a:cubicBezTo>
                  <a:cubicBezTo>
                    <a:pt x="181244" y="7542"/>
                    <a:pt x="168152" y="12844"/>
                    <a:pt x="155275" y="21392"/>
                  </a:cubicBezTo>
                  <a:cubicBezTo>
                    <a:pt x="142291" y="29832"/>
                    <a:pt x="129523" y="41302"/>
                    <a:pt x="116322" y="53745"/>
                  </a:cubicBezTo>
                  <a:cubicBezTo>
                    <a:pt x="103121" y="66189"/>
                    <a:pt x="90245" y="78091"/>
                    <a:pt x="77044" y="87072"/>
                  </a:cubicBezTo>
                  <a:cubicBezTo>
                    <a:pt x="63951" y="96161"/>
                    <a:pt x="50426" y="102221"/>
                    <a:pt x="38631" y="104926"/>
                  </a:cubicBezTo>
                  <a:cubicBezTo>
                    <a:pt x="26837" y="107739"/>
                    <a:pt x="16774" y="107631"/>
                    <a:pt x="10066" y="106549"/>
                  </a:cubicBezTo>
                  <a:cubicBezTo>
                    <a:pt x="3357" y="105467"/>
                    <a:pt x="-106" y="103952"/>
                    <a:pt x="2" y="103627"/>
                  </a:cubicBezTo>
                  <a:cubicBezTo>
                    <a:pt x="111" y="102545"/>
                    <a:pt x="14935" y="107523"/>
                    <a:pt x="37549" y="101031"/>
                  </a:cubicBezTo>
                  <a:cubicBezTo>
                    <a:pt x="48803" y="97893"/>
                    <a:pt x="61463" y="91833"/>
                    <a:pt x="74014" y="82744"/>
                  </a:cubicBezTo>
                  <a:cubicBezTo>
                    <a:pt x="86674" y="73763"/>
                    <a:pt x="99226" y="61969"/>
                    <a:pt x="112427" y="49525"/>
                  </a:cubicBezTo>
                  <a:cubicBezTo>
                    <a:pt x="125627" y="37082"/>
                    <a:pt x="138828" y="25504"/>
                    <a:pt x="152354" y="16956"/>
                  </a:cubicBezTo>
                  <a:cubicBezTo>
                    <a:pt x="165879" y="8300"/>
                    <a:pt x="179730" y="3106"/>
                    <a:pt x="191740" y="1158"/>
                  </a:cubicBezTo>
                  <a:cubicBezTo>
                    <a:pt x="203751" y="-898"/>
                    <a:pt x="213814" y="76"/>
                    <a:pt x="220306" y="1807"/>
                  </a:cubicBezTo>
                  <a:cubicBezTo>
                    <a:pt x="227015" y="3539"/>
                    <a:pt x="230261" y="5486"/>
                    <a:pt x="230153" y="5703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AFBD411A-673E-4F03-A708-15EF63BB80A2}"/>
                </a:ext>
              </a:extLst>
            </p:cNvPr>
            <p:cNvSpPr/>
            <p:nvPr/>
          </p:nvSpPr>
          <p:spPr>
            <a:xfrm flipH="1">
              <a:off x="1687728" y="4337773"/>
              <a:ext cx="219451" cy="132912"/>
            </a:xfrm>
            <a:custGeom>
              <a:avLst/>
              <a:gdLst>
                <a:gd name="connsiteX0" fmla="*/ 199101 w 199103"/>
                <a:gd name="connsiteY0" fmla="*/ 3707 h 120588"/>
                <a:gd name="connsiteX1" fmla="*/ 164692 w 199103"/>
                <a:gd name="connsiteY1" fmla="*/ 5330 h 120588"/>
                <a:gd name="connsiteX2" fmla="*/ 130824 w 199103"/>
                <a:gd name="connsiteY2" fmla="*/ 20695 h 120588"/>
                <a:gd name="connsiteX3" fmla="*/ 96091 w 199103"/>
                <a:gd name="connsiteY3" fmla="*/ 50884 h 120588"/>
                <a:gd name="connsiteX4" fmla="*/ 63521 w 199103"/>
                <a:gd name="connsiteY4" fmla="*/ 84536 h 120588"/>
                <a:gd name="connsiteX5" fmla="*/ 33224 w 199103"/>
                <a:gd name="connsiteY5" fmla="*/ 108341 h 120588"/>
                <a:gd name="connsiteX6" fmla="*/ 9419 w 199103"/>
                <a:gd name="connsiteY6" fmla="*/ 118945 h 120588"/>
                <a:gd name="connsiteX7" fmla="*/ 6 w 199103"/>
                <a:gd name="connsiteY7" fmla="*/ 120460 h 120588"/>
                <a:gd name="connsiteX8" fmla="*/ 31060 w 199103"/>
                <a:gd name="connsiteY8" fmla="*/ 104878 h 120588"/>
                <a:gd name="connsiteX9" fmla="*/ 59951 w 199103"/>
                <a:gd name="connsiteY9" fmla="*/ 80749 h 120588"/>
                <a:gd name="connsiteX10" fmla="*/ 92087 w 199103"/>
                <a:gd name="connsiteY10" fmla="*/ 46989 h 120588"/>
                <a:gd name="connsiteX11" fmla="*/ 128011 w 199103"/>
                <a:gd name="connsiteY11" fmla="*/ 16367 h 120588"/>
                <a:gd name="connsiteX12" fmla="*/ 163826 w 199103"/>
                <a:gd name="connsiteY12" fmla="*/ 1543 h 120588"/>
                <a:gd name="connsiteX13" fmla="*/ 189904 w 199103"/>
                <a:gd name="connsiteY13" fmla="*/ 894 h 120588"/>
                <a:gd name="connsiteX14" fmla="*/ 199101 w 199103"/>
                <a:gd name="connsiteY14" fmla="*/ 3707 h 120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9103" h="120588">
                  <a:moveTo>
                    <a:pt x="199101" y="3707"/>
                  </a:moveTo>
                  <a:cubicBezTo>
                    <a:pt x="198993" y="4789"/>
                    <a:pt x="185576" y="137"/>
                    <a:pt x="164692" y="5330"/>
                  </a:cubicBezTo>
                  <a:cubicBezTo>
                    <a:pt x="154413" y="7927"/>
                    <a:pt x="142619" y="12905"/>
                    <a:pt x="130824" y="20695"/>
                  </a:cubicBezTo>
                  <a:cubicBezTo>
                    <a:pt x="119030" y="28486"/>
                    <a:pt x="107561" y="39090"/>
                    <a:pt x="96091" y="50884"/>
                  </a:cubicBezTo>
                  <a:cubicBezTo>
                    <a:pt x="84621" y="62678"/>
                    <a:pt x="74017" y="74473"/>
                    <a:pt x="63521" y="84536"/>
                  </a:cubicBezTo>
                  <a:cubicBezTo>
                    <a:pt x="53026" y="94490"/>
                    <a:pt x="42638" y="102606"/>
                    <a:pt x="33224" y="108341"/>
                  </a:cubicBezTo>
                  <a:cubicBezTo>
                    <a:pt x="23810" y="113967"/>
                    <a:pt x="15371" y="117322"/>
                    <a:pt x="9419" y="118945"/>
                  </a:cubicBezTo>
                  <a:cubicBezTo>
                    <a:pt x="3468" y="120568"/>
                    <a:pt x="114" y="120784"/>
                    <a:pt x="6" y="120460"/>
                  </a:cubicBezTo>
                  <a:cubicBezTo>
                    <a:pt x="-319" y="119486"/>
                    <a:pt x="13207" y="116889"/>
                    <a:pt x="31060" y="104878"/>
                  </a:cubicBezTo>
                  <a:cubicBezTo>
                    <a:pt x="39933" y="98927"/>
                    <a:pt x="49780" y="90812"/>
                    <a:pt x="59951" y="80749"/>
                  </a:cubicBezTo>
                  <a:cubicBezTo>
                    <a:pt x="70122" y="70794"/>
                    <a:pt x="80510" y="58891"/>
                    <a:pt x="92087" y="46989"/>
                  </a:cubicBezTo>
                  <a:cubicBezTo>
                    <a:pt x="103665" y="35086"/>
                    <a:pt x="115568" y="24266"/>
                    <a:pt x="128011" y="16367"/>
                  </a:cubicBezTo>
                  <a:cubicBezTo>
                    <a:pt x="140346" y="8468"/>
                    <a:pt x="152898" y="3707"/>
                    <a:pt x="163826" y="1543"/>
                  </a:cubicBezTo>
                  <a:cubicBezTo>
                    <a:pt x="174755" y="-621"/>
                    <a:pt x="183844" y="-188"/>
                    <a:pt x="189904" y="894"/>
                  </a:cubicBezTo>
                  <a:cubicBezTo>
                    <a:pt x="196071" y="1976"/>
                    <a:pt x="199209" y="3491"/>
                    <a:pt x="199101" y="3707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3F9AB738-5D1E-431F-A174-A8C2841F78C3}"/>
                </a:ext>
              </a:extLst>
            </p:cNvPr>
            <p:cNvSpPr/>
            <p:nvPr/>
          </p:nvSpPr>
          <p:spPr>
            <a:xfrm flipH="1">
              <a:off x="1581076" y="4429273"/>
              <a:ext cx="81768" cy="137569"/>
            </a:xfrm>
            <a:custGeom>
              <a:avLst/>
              <a:gdLst>
                <a:gd name="connsiteX0" fmla="*/ 73723 w 74186"/>
                <a:gd name="connsiteY0" fmla="*/ 4 h 124813"/>
                <a:gd name="connsiteX1" fmla="*/ 72208 w 74186"/>
                <a:gd name="connsiteY1" fmla="*/ 22078 h 124813"/>
                <a:gd name="connsiteX2" fmla="*/ 53164 w 74186"/>
                <a:gd name="connsiteY2" fmla="*/ 71960 h 124813"/>
                <a:gd name="connsiteX3" fmla="*/ 18647 w 74186"/>
                <a:gd name="connsiteY3" fmla="*/ 112753 h 124813"/>
                <a:gd name="connsiteX4" fmla="*/ 36 w 74186"/>
                <a:gd name="connsiteY4" fmla="*/ 124763 h 124813"/>
                <a:gd name="connsiteX5" fmla="*/ 48295 w 74186"/>
                <a:gd name="connsiteY5" fmla="*/ 69146 h 124813"/>
                <a:gd name="connsiteX6" fmla="*/ 73723 w 74186"/>
                <a:gd name="connsiteY6" fmla="*/ 4 h 12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186" h="124813">
                  <a:moveTo>
                    <a:pt x="73723" y="4"/>
                  </a:moveTo>
                  <a:cubicBezTo>
                    <a:pt x="74372" y="4"/>
                    <a:pt x="74696" y="8552"/>
                    <a:pt x="72208" y="22078"/>
                  </a:cubicBezTo>
                  <a:cubicBezTo>
                    <a:pt x="69719" y="35495"/>
                    <a:pt x="63876" y="53890"/>
                    <a:pt x="53164" y="71960"/>
                  </a:cubicBezTo>
                  <a:cubicBezTo>
                    <a:pt x="42452" y="90030"/>
                    <a:pt x="29251" y="104096"/>
                    <a:pt x="18647" y="112753"/>
                  </a:cubicBezTo>
                  <a:cubicBezTo>
                    <a:pt x="8043" y="121517"/>
                    <a:pt x="469" y="125304"/>
                    <a:pt x="36" y="124763"/>
                  </a:cubicBezTo>
                  <a:cubicBezTo>
                    <a:pt x="-1154" y="123357"/>
                    <a:pt x="27628" y="104637"/>
                    <a:pt x="48295" y="69146"/>
                  </a:cubicBezTo>
                  <a:cubicBezTo>
                    <a:pt x="69395" y="33872"/>
                    <a:pt x="71883" y="-429"/>
                    <a:pt x="73723" y="4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61FAE684-D0E3-4231-AC1D-F8AF41F2C891}"/>
                </a:ext>
              </a:extLst>
            </p:cNvPr>
            <p:cNvSpPr/>
            <p:nvPr/>
          </p:nvSpPr>
          <p:spPr>
            <a:xfrm flipH="1">
              <a:off x="1558330" y="4485092"/>
              <a:ext cx="95790" cy="109466"/>
            </a:xfrm>
            <a:custGeom>
              <a:avLst/>
              <a:gdLst>
                <a:gd name="connsiteX0" fmla="*/ 85501 w 86908"/>
                <a:gd name="connsiteY0" fmla="*/ 1 h 99316"/>
                <a:gd name="connsiteX1" fmla="*/ 85609 w 86908"/>
                <a:gd name="connsiteY1" fmla="*/ 20668 h 99316"/>
                <a:gd name="connsiteX2" fmla="*/ 60181 w 86908"/>
                <a:gd name="connsiteY2" fmla="*/ 63625 h 99316"/>
                <a:gd name="connsiteX3" fmla="*/ 18955 w 86908"/>
                <a:gd name="connsiteY3" fmla="*/ 91434 h 99316"/>
                <a:gd name="connsiteX4" fmla="*/ 20 w 86908"/>
                <a:gd name="connsiteY4" fmla="*/ 99224 h 99316"/>
                <a:gd name="connsiteX5" fmla="*/ 17116 w 86908"/>
                <a:gd name="connsiteY5" fmla="*/ 87971 h 99316"/>
                <a:gd name="connsiteX6" fmla="*/ 56394 w 86908"/>
                <a:gd name="connsiteY6" fmla="*/ 59622 h 99316"/>
                <a:gd name="connsiteX7" fmla="*/ 81822 w 86908"/>
                <a:gd name="connsiteY7" fmla="*/ 19802 h 99316"/>
                <a:gd name="connsiteX8" fmla="*/ 85501 w 86908"/>
                <a:gd name="connsiteY8" fmla="*/ 1 h 99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908" h="99316">
                  <a:moveTo>
                    <a:pt x="85501" y="1"/>
                  </a:moveTo>
                  <a:cubicBezTo>
                    <a:pt x="86042" y="-107"/>
                    <a:pt x="88314" y="7900"/>
                    <a:pt x="85609" y="20668"/>
                  </a:cubicBezTo>
                  <a:cubicBezTo>
                    <a:pt x="83120" y="33436"/>
                    <a:pt x="74572" y="49991"/>
                    <a:pt x="60181" y="63625"/>
                  </a:cubicBezTo>
                  <a:cubicBezTo>
                    <a:pt x="45790" y="77151"/>
                    <a:pt x="30209" y="85699"/>
                    <a:pt x="18955" y="91434"/>
                  </a:cubicBezTo>
                  <a:cubicBezTo>
                    <a:pt x="7594" y="97060"/>
                    <a:pt x="344" y="99874"/>
                    <a:pt x="20" y="99224"/>
                  </a:cubicBezTo>
                  <a:cubicBezTo>
                    <a:pt x="-413" y="98467"/>
                    <a:pt x="6295" y="94355"/>
                    <a:pt x="17116" y="87971"/>
                  </a:cubicBezTo>
                  <a:cubicBezTo>
                    <a:pt x="27828" y="81479"/>
                    <a:pt x="42760" y="72606"/>
                    <a:pt x="56394" y="59622"/>
                  </a:cubicBezTo>
                  <a:cubicBezTo>
                    <a:pt x="70028" y="46745"/>
                    <a:pt x="78468" y="31488"/>
                    <a:pt x="81822" y="19802"/>
                  </a:cubicBezTo>
                  <a:cubicBezTo>
                    <a:pt x="85176" y="7900"/>
                    <a:pt x="84527" y="1"/>
                    <a:pt x="85501" y="1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242CD1DE-DC3B-4759-BCDE-38F9B234A33B}"/>
                </a:ext>
              </a:extLst>
            </p:cNvPr>
            <p:cNvSpPr/>
            <p:nvPr/>
          </p:nvSpPr>
          <p:spPr>
            <a:xfrm flipH="1">
              <a:off x="1884540" y="4354113"/>
              <a:ext cx="33534" cy="117057"/>
            </a:xfrm>
            <a:custGeom>
              <a:avLst/>
              <a:gdLst>
                <a:gd name="connsiteX0" fmla="*/ 30341 w 30425"/>
                <a:gd name="connsiteY0" fmla="*/ 27 h 106203"/>
                <a:gd name="connsiteX1" fmla="*/ 22875 w 30425"/>
                <a:gd name="connsiteY1" fmla="*/ 15175 h 106203"/>
                <a:gd name="connsiteX2" fmla="*/ 7618 w 30425"/>
                <a:gd name="connsiteY2" fmla="*/ 51965 h 106203"/>
                <a:gd name="connsiteX3" fmla="*/ 8268 w 30425"/>
                <a:gd name="connsiteY3" fmla="*/ 90810 h 106203"/>
                <a:gd name="connsiteX4" fmla="*/ 14543 w 30425"/>
                <a:gd name="connsiteY4" fmla="*/ 106175 h 106203"/>
                <a:gd name="connsiteX5" fmla="*/ 4480 w 30425"/>
                <a:gd name="connsiteY5" fmla="*/ 92216 h 106203"/>
                <a:gd name="connsiteX6" fmla="*/ 2100 w 30425"/>
                <a:gd name="connsiteY6" fmla="*/ 50774 h 106203"/>
                <a:gd name="connsiteX7" fmla="*/ 19413 w 30425"/>
                <a:gd name="connsiteY7" fmla="*/ 13227 h 106203"/>
                <a:gd name="connsiteX8" fmla="*/ 30341 w 30425"/>
                <a:gd name="connsiteY8" fmla="*/ 27 h 106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25" h="106203">
                  <a:moveTo>
                    <a:pt x="30341" y="27"/>
                  </a:moveTo>
                  <a:cubicBezTo>
                    <a:pt x="30990" y="459"/>
                    <a:pt x="27852" y="6194"/>
                    <a:pt x="22875" y="15175"/>
                  </a:cubicBezTo>
                  <a:cubicBezTo>
                    <a:pt x="18006" y="24264"/>
                    <a:pt x="11297" y="36924"/>
                    <a:pt x="7618" y="51965"/>
                  </a:cubicBezTo>
                  <a:cubicBezTo>
                    <a:pt x="4047" y="67005"/>
                    <a:pt x="5238" y="81288"/>
                    <a:pt x="8268" y="90810"/>
                  </a:cubicBezTo>
                  <a:cubicBezTo>
                    <a:pt x="11297" y="100440"/>
                    <a:pt x="15301" y="105634"/>
                    <a:pt x="14543" y="106175"/>
                  </a:cubicBezTo>
                  <a:cubicBezTo>
                    <a:pt x="14110" y="106608"/>
                    <a:pt x="8808" y="102171"/>
                    <a:pt x="4480" y="92216"/>
                  </a:cubicBezTo>
                  <a:cubicBezTo>
                    <a:pt x="152" y="82370"/>
                    <a:pt x="-1796" y="66788"/>
                    <a:pt x="2100" y="50774"/>
                  </a:cubicBezTo>
                  <a:cubicBezTo>
                    <a:pt x="5995" y="34760"/>
                    <a:pt x="13569" y="21884"/>
                    <a:pt x="19413" y="13227"/>
                  </a:cubicBezTo>
                  <a:cubicBezTo>
                    <a:pt x="25472" y="4463"/>
                    <a:pt x="29800" y="-406"/>
                    <a:pt x="30341" y="27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E0D64DE0-A3F2-4C1C-A0E7-75DCAA5E606A}"/>
                </a:ext>
              </a:extLst>
            </p:cNvPr>
            <p:cNvSpPr/>
            <p:nvPr/>
          </p:nvSpPr>
          <p:spPr>
            <a:xfrm flipH="1">
              <a:off x="1902827" y="4404589"/>
              <a:ext cx="34016" cy="69057"/>
            </a:xfrm>
            <a:custGeom>
              <a:avLst/>
              <a:gdLst>
                <a:gd name="connsiteX0" fmla="*/ 2897 w 30862"/>
                <a:gd name="connsiteY0" fmla="*/ 2 h 62654"/>
                <a:gd name="connsiteX1" fmla="*/ 10255 w 30862"/>
                <a:gd name="connsiteY1" fmla="*/ 34195 h 62654"/>
                <a:gd name="connsiteX2" fmla="*/ 30813 w 30862"/>
                <a:gd name="connsiteY2" fmla="*/ 62544 h 62654"/>
                <a:gd name="connsiteX3" fmla="*/ 21075 w 30862"/>
                <a:gd name="connsiteY3" fmla="*/ 57459 h 62654"/>
                <a:gd name="connsiteX4" fmla="*/ 5061 w 30862"/>
                <a:gd name="connsiteY4" fmla="*/ 36467 h 62654"/>
                <a:gd name="connsiteX5" fmla="*/ 84 w 30862"/>
                <a:gd name="connsiteY5" fmla="*/ 10498 h 62654"/>
                <a:gd name="connsiteX6" fmla="*/ 2897 w 30862"/>
                <a:gd name="connsiteY6" fmla="*/ 2 h 6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62" h="62654">
                  <a:moveTo>
                    <a:pt x="2897" y="2"/>
                  </a:moveTo>
                  <a:cubicBezTo>
                    <a:pt x="4520" y="219"/>
                    <a:pt x="2139" y="16558"/>
                    <a:pt x="10255" y="34195"/>
                  </a:cubicBezTo>
                  <a:cubicBezTo>
                    <a:pt x="17937" y="52048"/>
                    <a:pt x="31787" y="61246"/>
                    <a:pt x="30813" y="62544"/>
                  </a:cubicBezTo>
                  <a:cubicBezTo>
                    <a:pt x="30489" y="63085"/>
                    <a:pt x="26485" y="61679"/>
                    <a:pt x="21075" y="57459"/>
                  </a:cubicBezTo>
                  <a:cubicBezTo>
                    <a:pt x="15773" y="53239"/>
                    <a:pt x="9389" y="45989"/>
                    <a:pt x="5061" y="36467"/>
                  </a:cubicBezTo>
                  <a:cubicBezTo>
                    <a:pt x="841" y="26945"/>
                    <a:pt x="-349" y="17315"/>
                    <a:pt x="84" y="10498"/>
                  </a:cubicBezTo>
                  <a:cubicBezTo>
                    <a:pt x="516" y="3789"/>
                    <a:pt x="2248" y="-106"/>
                    <a:pt x="2897" y="2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DF288C20-9B59-4B6E-A052-C1EECAF9B588}"/>
                </a:ext>
              </a:extLst>
            </p:cNvPr>
            <p:cNvSpPr/>
            <p:nvPr/>
          </p:nvSpPr>
          <p:spPr>
            <a:xfrm flipH="1">
              <a:off x="693022" y="6156554"/>
              <a:ext cx="639426" cy="673849"/>
            </a:xfrm>
            <a:custGeom>
              <a:avLst/>
              <a:gdLst>
                <a:gd name="connsiteX0" fmla="*/ 444719 w 580137"/>
                <a:gd name="connsiteY0" fmla="*/ 0 h 611368"/>
                <a:gd name="connsiteX1" fmla="*/ 580082 w 580137"/>
                <a:gd name="connsiteY1" fmla="*/ 461166 h 611368"/>
                <a:gd name="connsiteX2" fmla="*/ 530741 w 580137"/>
                <a:gd name="connsiteY2" fmla="*/ 611353 h 611368"/>
                <a:gd name="connsiteX3" fmla="*/ 212729 w 580137"/>
                <a:gd name="connsiteY3" fmla="*/ 586574 h 611368"/>
                <a:gd name="connsiteX4" fmla="*/ 36465 w 580137"/>
                <a:gd name="connsiteY4" fmla="*/ 539830 h 611368"/>
                <a:gd name="connsiteX5" fmla="*/ 0 w 580137"/>
                <a:gd name="connsiteY5" fmla="*/ 218789 h 611368"/>
                <a:gd name="connsiteX6" fmla="*/ 444719 w 580137"/>
                <a:gd name="connsiteY6" fmla="*/ 0 h 61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0137" h="611368">
                  <a:moveTo>
                    <a:pt x="444719" y="0"/>
                  </a:moveTo>
                  <a:cubicBezTo>
                    <a:pt x="444719" y="0"/>
                    <a:pt x="583328" y="401329"/>
                    <a:pt x="580082" y="461166"/>
                  </a:cubicBezTo>
                  <a:cubicBezTo>
                    <a:pt x="576944" y="521002"/>
                    <a:pt x="564176" y="612759"/>
                    <a:pt x="530741" y="611353"/>
                  </a:cubicBezTo>
                  <a:cubicBezTo>
                    <a:pt x="497306" y="609946"/>
                    <a:pt x="212729" y="586574"/>
                    <a:pt x="212729" y="586574"/>
                  </a:cubicBezTo>
                  <a:lnTo>
                    <a:pt x="36465" y="539830"/>
                  </a:lnTo>
                  <a:lnTo>
                    <a:pt x="0" y="218789"/>
                  </a:lnTo>
                  <a:lnTo>
                    <a:pt x="444719" y="0"/>
                  </a:ln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91205BBE-80B0-4086-B361-3C37A732BC31}"/>
                </a:ext>
              </a:extLst>
            </p:cNvPr>
            <p:cNvSpPr/>
            <p:nvPr/>
          </p:nvSpPr>
          <p:spPr>
            <a:xfrm flipH="1">
              <a:off x="737747" y="6175397"/>
              <a:ext cx="594701" cy="651190"/>
            </a:xfrm>
            <a:custGeom>
              <a:avLst/>
              <a:gdLst>
                <a:gd name="connsiteX0" fmla="*/ 409985 w 539559"/>
                <a:gd name="connsiteY0" fmla="*/ 0 h 590810"/>
                <a:gd name="connsiteX1" fmla="*/ 539505 w 539559"/>
                <a:gd name="connsiteY1" fmla="*/ 444069 h 590810"/>
                <a:gd name="connsiteX2" fmla="*/ 496440 w 539559"/>
                <a:gd name="connsiteY2" fmla="*/ 590794 h 590810"/>
                <a:gd name="connsiteX3" fmla="*/ 212729 w 539559"/>
                <a:gd name="connsiteY3" fmla="*/ 569478 h 590810"/>
                <a:gd name="connsiteX4" fmla="*/ 36465 w 539559"/>
                <a:gd name="connsiteY4" fmla="*/ 522734 h 590810"/>
                <a:gd name="connsiteX5" fmla="*/ 0 w 539559"/>
                <a:gd name="connsiteY5" fmla="*/ 201692 h 590810"/>
                <a:gd name="connsiteX6" fmla="*/ 409985 w 539559"/>
                <a:gd name="connsiteY6" fmla="*/ 0 h 59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9559" h="590810">
                  <a:moveTo>
                    <a:pt x="409985" y="0"/>
                  </a:moveTo>
                  <a:cubicBezTo>
                    <a:pt x="409985" y="0"/>
                    <a:pt x="542643" y="384233"/>
                    <a:pt x="539505" y="444069"/>
                  </a:cubicBezTo>
                  <a:cubicBezTo>
                    <a:pt x="536367" y="503906"/>
                    <a:pt x="529875" y="592201"/>
                    <a:pt x="496440" y="590794"/>
                  </a:cubicBezTo>
                  <a:cubicBezTo>
                    <a:pt x="463005" y="589387"/>
                    <a:pt x="212729" y="569478"/>
                    <a:pt x="212729" y="569478"/>
                  </a:cubicBezTo>
                  <a:lnTo>
                    <a:pt x="36465" y="522734"/>
                  </a:lnTo>
                  <a:lnTo>
                    <a:pt x="0" y="201692"/>
                  </a:lnTo>
                  <a:lnTo>
                    <a:pt x="409985" y="0"/>
                  </a:lnTo>
                  <a:close/>
                </a:path>
              </a:pathLst>
            </a:custGeom>
            <a:solidFill>
              <a:srgbClr val="000000">
                <a:alpha val="40000"/>
              </a:srgbClr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2F832CA3-7D33-49F5-B25E-ADD08385BDB4}"/>
                </a:ext>
              </a:extLst>
            </p:cNvPr>
            <p:cNvSpPr/>
            <p:nvPr/>
          </p:nvSpPr>
          <p:spPr>
            <a:xfrm flipH="1">
              <a:off x="818409" y="6232853"/>
              <a:ext cx="39038" cy="13725"/>
            </a:xfrm>
            <a:custGeom>
              <a:avLst/>
              <a:gdLst>
                <a:gd name="connsiteX0" fmla="*/ 35401 w 35418"/>
                <a:gd name="connsiteY0" fmla="*/ 567 h 12452"/>
                <a:gd name="connsiteX1" fmla="*/ 18521 w 35418"/>
                <a:gd name="connsiteY1" fmla="*/ 8899 h 12452"/>
                <a:gd name="connsiteX2" fmla="*/ 18 w 35418"/>
                <a:gd name="connsiteY2" fmla="*/ 11820 h 12452"/>
                <a:gd name="connsiteX3" fmla="*/ 16898 w 35418"/>
                <a:gd name="connsiteY3" fmla="*/ 3488 h 12452"/>
                <a:gd name="connsiteX4" fmla="*/ 35401 w 35418"/>
                <a:gd name="connsiteY4" fmla="*/ 567 h 1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18" h="12452">
                  <a:moveTo>
                    <a:pt x="35401" y="567"/>
                  </a:moveTo>
                  <a:cubicBezTo>
                    <a:pt x="35834" y="2082"/>
                    <a:pt x="28368" y="5761"/>
                    <a:pt x="18521" y="8899"/>
                  </a:cubicBezTo>
                  <a:cubicBezTo>
                    <a:pt x="8782" y="12037"/>
                    <a:pt x="451" y="13335"/>
                    <a:pt x="18" y="11820"/>
                  </a:cubicBezTo>
                  <a:cubicBezTo>
                    <a:pt x="-415" y="10305"/>
                    <a:pt x="7051" y="6626"/>
                    <a:pt x="16898" y="3488"/>
                  </a:cubicBezTo>
                  <a:cubicBezTo>
                    <a:pt x="26636" y="459"/>
                    <a:pt x="34968" y="-840"/>
                    <a:pt x="35401" y="56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C296C63-E46C-44CB-A463-F4A0335EA8CB}"/>
                </a:ext>
              </a:extLst>
            </p:cNvPr>
            <p:cNvSpPr/>
            <p:nvPr/>
          </p:nvSpPr>
          <p:spPr>
            <a:xfrm flipH="1">
              <a:off x="778098" y="6349611"/>
              <a:ext cx="39038" cy="13725"/>
            </a:xfrm>
            <a:custGeom>
              <a:avLst/>
              <a:gdLst>
                <a:gd name="connsiteX0" fmla="*/ 35400 w 35418"/>
                <a:gd name="connsiteY0" fmla="*/ 567 h 12452"/>
                <a:gd name="connsiteX1" fmla="*/ 18520 w 35418"/>
                <a:gd name="connsiteY1" fmla="*/ 8899 h 12452"/>
                <a:gd name="connsiteX2" fmla="*/ 18 w 35418"/>
                <a:gd name="connsiteY2" fmla="*/ 11820 h 12452"/>
                <a:gd name="connsiteX3" fmla="*/ 16898 w 35418"/>
                <a:gd name="connsiteY3" fmla="*/ 3489 h 12452"/>
                <a:gd name="connsiteX4" fmla="*/ 35400 w 35418"/>
                <a:gd name="connsiteY4" fmla="*/ 567 h 1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18" h="12452">
                  <a:moveTo>
                    <a:pt x="35400" y="567"/>
                  </a:moveTo>
                  <a:cubicBezTo>
                    <a:pt x="35833" y="2082"/>
                    <a:pt x="28367" y="5761"/>
                    <a:pt x="18520" y="8899"/>
                  </a:cubicBezTo>
                  <a:cubicBezTo>
                    <a:pt x="8782" y="12037"/>
                    <a:pt x="451" y="13335"/>
                    <a:pt x="18" y="11820"/>
                  </a:cubicBezTo>
                  <a:cubicBezTo>
                    <a:pt x="-415" y="10305"/>
                    <a:pt x="7051" y="6626"/>
                    <a:pt x="16898" y="3489"/>
                  </a:cubicBezTo>
                  <a:cubicBezTo>
                    <a:pt x="26527" y="459"/>
                    <a:pt x="34859" y="-840"/>
                    <a:pt x="35400" y="56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35518D25-70C4-40A3-B73F-48A32D2DF5EF}"/>
                </a:ext>
              </a:extLst>
            </p:cNvPr>
            <p:cNvSpPr/>
            <p:nvPr/>
          </p:nvSpPr>
          <p:spPr>
            <a:xfrm flipH="1">
              <a:off x="725384" y="6521348"/>
              <a:ext cx="39038" cy="13725"/>
            </a:xfrm>
            <a:custGeom>
              <a:avLst/>
              <a:gdLst>
                <a:gd name="connsiteX0" fmla="*/ 35400 w 35418"/>
                <a:gd name="connsiteY0" fmla="*/ 567 h 12452"/>
                <a:gd name="connsiteX1" fmla="*/ 18520 w 35418"/>
                <a:gd name="connsiteY1" fmla="*/ 8899 h 12452"/>
                <a:gd name="connsiteX2" fmla="*/ 18 w 35418"/>
                <a:gd name="connsiteY2" fmla="*/ 11820 h 12452"/>
                <a:gd name="connsiteX3" fmla="*/ 16898 w 35418"/>
                <a:gd name="connsiteY3" fmla="*/ 3489 h 12452"/>
                <a:gd name="connsiteX4" fmla="*/ 35400 w 35418"/>
                <a:gd name="connsiteY4" fmla="*/ 567 h 1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18" h="12452">
                  <a:moveTo>
                    <a:pt x="35400" y="567"/>
                  </a:moveTo>
                  <a:cubicBezTo>
                    <a:pt x="35833" y="2082"/>
                    <a:pt x="28367" y="5761"/>
                    <a:pt x="18520" y="8899"/>
                  </a:cubicBezTo>
                  <a:cubicBezTo>
                    <a:pt x="8782" y="12037"/>
                    <a:pt x="451" y="13335"/>
                    <a:pt x="18" y="11820"/>
                  </a:cubicBezTo>
                  <a:cubicBezTo>
                    <a:pt x="-415" y="10306"/>
                    <a:pt x="7051" y="6627"/>
                    <a:pt x="16898" y="3489"/>
                  </a:cubicBezTo>
                  <a:cubicBezTo>
                    <a:pt x="26636" y="459"/>
                    <a:pt x="34968" y="-839"/>
                    <a:pt x="35400" y="56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16FEFA1F-194A-4F5B-AAE4-C7681B9F0A49}"/>
                </a:ext>
              </a:extLst>
            </p:cNvPr>
            <p:cNvSpPr/>
            <p:nvPr/>
          </p:nvSpPr>
          <p:spPr>
            <a:xfrm flipH="1">
              <a:off x="692964" y="6641599"/>
              <a:ext cx="46989" cy="6429"/>
            </a:xfrm>
            <a:custGeom>
              <a:avLst/>
              <a:gdLst>
                <a:gd name="connsiteX0" fmla="*/ 42632 w 42632"/>
                <a:gd name="connsiteY0" fmla="*/ 2159 h 5833"/>
                <a:gd name="connsiteX1" fmla="*/ 21424 w 42632"/>
                <a:gd name="connsiteY1" fmla="*/ 5730 h 5833"/>
                <a:gd name="connsiteX2" fmla="*/ 0 w 42632"/>
                <a:gd name="connsiteY2" fmla="*/ 3674 h 5833"/>
                <a:gd name="connsiteX3" fmla="*/ 21208 w 42632"/>
                <a:gd name="connsiteY3" fmla="*/ 103 h 5833"/>
                <a:gd name="connsiteX4" fmla="*/ 42632 w 42632"/>
                <a:gd name="connsiteY4" fmla="*/ 2159 h 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32" h="5833">
                  <a:moveTo>
                    <a:pt x="42632" y="2159"/>
                  </a:moveTo>
                  <a:cubicBezTo>
                    <a:pt x="42632" y="3674"/>
                    <a:pt x="33110" y="5297"/>
                    <a:pt x="21424" y="5730"/>
                  </a:cubicBezTo>
                  <a:cubicBezTo>
                    <a:pt x="9630" y="6163"/>
                    <a:pt x="0" y="5189"/>
                    <a:pt x="0" y="3674"/>
                  </a:cubicBezTo>
                  <a:cubicBezTo>
                    <a:pt x="0" y="2159"/>
                    <a:pt x="9414" y="536"/>
                    <a:pt x="21208" y="103"/>
                  </a:cubicBezTo>
                  <a:cubicBezTo>
                    <a:pt x="33002" y="-330"/>
                    <a:pt x="42632" y="645"/>
                    <a:pt x="42632" y="2159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468E100F-9163-4F54-87DA-5B19439A4F99}"/>
                </a:ext>
              </a:extLst>
            </p:cNvPr>
            <p:cNvSpPr/>
            <p:nvPr/>
          </p:nvSpPr>
          <p:spPr>
            <a:xfrm flipH="1">
              <a:off x="703097" y="6750137"/>
              <a:ext cx="44613" cy="8080"/>
            </a:xfrm>
            <a:custGeom>
              <a:avLst/>
              <a:gdLst>
                <a:gd name="connsiteX0" fmla="*/ 40473 w 40476"/>
                <a:gd name="connsiteY0" fmla="*/ 6046 h 7331"/>
                <a:gd name="connsiteX1" fmla="*/ 19914 w 40476"/>
                <a:gd name="connsiteY1" fmla="*/ 6479 h 7331"/>
                <a:gd name="connsiteX2" fmla="*/ 4 w 40476"/>
                <a:gd name="connsiteY2" fmla="*/ 1285 h 7331"/>
                <a:gd name="connsiteX3" fmla="*/ 20563 w 40476"/>
                <a:gd name="connsiteY3" fmla="*/ 853 h 7331"/>
                <a:gd name="connsiteX4" fmla="*/ 40473 w 40476"/>
                <a:gd name="connsiteY4" fmla="*/ 6046 h 7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76" h="7331">
                  <a:moveTo>
                    <a:pt x="40473" y="6046"/>
                  </a:moveTo>
                  <a:cubicBezTo>
                    <a:pt x="40256" y="7561"/>
                    <a:pt x="31058" y="7777"/>
                    <a:pt x="19914" y="6479"/>
                  </a:cubicBezTo>
                  <a:cubicBezTo>
                    <a:pt x="8768" y="5181"/>
                    <a:pt x="-212" y="2800"/>
                    <a:pt x="4" y="1285"/>
                  </a:cubicBezTo>
                  <a:cubicBezTo>
                    <a:pt x="220" y="-230"/>
                    <a:pt x="9418" y="-446"/>
                    <a:pt x="20563" y="853"/>
                  </a:cubicBezTo>
                  <a:cubicBezTo>
                    <a:pt x="31816" y="2151"/>
                    <a:pt x="40689" y="4532"/>
                    <a:pt x="40473" y="604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3A00829C-6A74-4CEE-846C-A7945A2A132C}"/>
                </a:ext>
              </a:extLst>
            </p:cNvPr>
            <p:cNvSpPr/>
            <p:nvPr/>
          </p:nvSpPr>
          <p:spPr>
            <a:xfrm flipH="1">
              <a:off x="716162" y="6199484"/>
              <a:ext cx="135793" cy="628182"/>
            </a:xfrm>
            <a:custGeom>
              <a:avLst/>
              <a:gdLst>
                <a:gd name="connsiteX0" fmla="*/ 13 w 123202"/>
                <a:gd name="connsiteY0" fmla="*/ 4 h 569936"/>
                <a:gd name="connsiteX1" fmla="*/ 2719 w 123202"/>
                <a:gd name="connsiteY1" fmla="*/ 5414 h 569936"/>
                <a:gd name="connsiteX2" fmla="*/ 9427 w 123202"/>
                <a:gd name="connsiteY2" fmla="*/ 21428 h 569936"/>
                <a:gd name="connsiteX3" fmla="*/ 31176 w 123202"/>
                <a:gd name="connsiteY3" fmla="*/ 81590 h 569936"/>
                <a:gd name="connsiteX4" fmla="*/ 90797 w 123202"/>
                <a:gd name="connsiteY4" fmla="*/ 283932 h 569936"/>
                <a:gd name="connsiteX5" fmla="*/ 116333 w 123202"/>
                <a:gd name="connsiteY5" fmla="*/ 397329 h 569936"/>
                <a:gd name="connsiteX6" fmla="*/ 121094 w 123202"/>
                <a:gd name="connsiteY6" fmla="*/ 492224 h 569936"/>
                <a:gd name="connsiteX7" fmla="*/ 98912 w 123202"/>
                <a:gd name="connsiteY7" fmla="*/ 552277 h 569936"/>
                <a:gd name="connsiteX8" fmla="*/ 87983 w 123202"/>
                <a:gd name="connsiteY8" fmla="*/ 565911 h 569936"/>
                <a:gd name="connsiteX9" fmla="*/ 83439 w 123202"/>
                <a:gd name="connsiteY9" fmla="*/ 569915 h 569936"/>
                <a:gd name="connsiteX10" fmla="*/ 97073 w 123202"/>
                <a:gd name="connsiteY10" fmla="*/ 551087 h 569936"/>
                <a:gd name="connsiteX11" fmla="*/ 117199 w 123202"/>
                <a:gd name="connsiteY11" fmla="*/ 491683 h 569936"/>
                <a:gd name="connsiteX12" fmla="*/ 111247 w 123202"/>
                <a:gd name="connsiteY12" fmla="*/ 398195 h 569936"/>
                <a:gd name="connsiteX13" fmla="*/ 85387 w 123202"/>
                <a:gd name="connsiteY13" fmla="*/ 285338 h 569936"/>
                <a:gd name="connsiteX14" fmla="*/ 27498 w 123202"/>
                <a:gd name="connsiteY14" fmla="*/ 82889 h 569936"/>
                <a:gd name="connsiteX15" fmla="*/ 7480 w 123202"/>
                <a:gd name="connsiteY15" fmla="*/ 22294 h 569936"/>
                <a:gd name="connsiteX16" fmla="*/ 1745 w 123202"/>
                <a:gd name="connsiteY16" fmla="*/ 5955 h 569936"/>
                <a:gd name="connsiteX17" fmla="*/ 13 w 123202"/>
                <a:gd name="connsiteY17" fmla="*/ 4 h 56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3202" h="569936">
                  <a:moveTo>
                    <a:pt x="13" y="4"/>
                  </a:moveTo>
                  <a:cubicBezTo>
                    <a:pt x="230" y="-104"/>
                    <a:pt x="1096" y="1844"/>
                    <a:pt x="2719" y="5414"/>
                  </a:cubicBezTo>
                  <a:cubicBezTo>
                    <a:pt x="4342" y="9093"/>
                    <a:pt x="6722" y="14395"/>
                    <a:pt x="9427" y="21428"/>
                  </a:cubicBezTo>
                  <a:cubicBezTo>
                    <a:pt x="15054" y="35495"/>
                    <a:pt x="22520" y="55946"/>
                    <a:pt x="31176" y="81590"/>
                  </a:cubicBezTo>
                  <a:cubicBezTo>
                    <a:pt x="48381" y="132771"/>
                    <a:pt x="70022" y="204185"/>
                    <a:pt x="90797" y="283932"/>
                  </a:cubicBezTo>
                  <a:cubicBezTo>
                    <a:pt x="101076" y="323751"/>
                    <a:pt x="110057" y="362163"/>
                    <a:pt x="116333" y="397329"/>
                  </a:cubicBezTo>
                  <a:cubicBezTo>
                    <a:pt x="122933" y="432496"/>
                    <a:pt x="125314" y="465173"/>
                    <a:pt x="121094" y="492224"/>
                  </a:cubicBezTo>
                  <a:cubicBezTo>
                    <a:pt x="117090" y="519275"/>
                    <a:pt x="107460" y="539834"/>
                    <a:pt x="98912" y="552277"/>
                  </a:cubicBezTo>
                  <a:cubicBezTo>
                    <a:pt x="94692" y="558662"/>
                    <a:pt x="90688" y="562990"/>
                    <a:pt x="87983" y="565911"/>
                  </a:cubicBezTo>
                  <a:cubicBezTo>
                    <a:pt x="85170" y="568725"/>
                    <a:pt x="83547" y="570131"/>
                    <a:pt x="83439" y="569915"/>
                  </a:cubicBezTo>
                  <a:cubicBezTo>
                    <a:pt x="83006" y="569482"/>
                    <a:pt x="89282" y="563855"/>
                    <a:pt x="97073" y="551087"/>
                  </a:cubicBezTo>
                  <a:cubicBezTo>
                    <a:pt x="104971" y="538427"/>
                    <a:pt x="113844" y="518193"/>
                    <a:pt x="117199" y="491683"/>
                  </a:cubicBezTo>
                  <a:cubicBezTo>
                    <a:pt x="120878" y="465173"/>
                    <a:pt x="118064" y="433145"/>
                    <a:pt x="111247" y="398195"/>
                  </a:cubicBezTo>
                  <a:cubicBezTo>
                    <a:pt x="104647" y="363137"/>
                    <a:pt x="95666" y="325157"/>
                    <a:pt x="85387" y="285338"/>
                  </a:cubicBezTo>
                  <a:cubicBezTo>
                    <a:pt x="64720" y="205700"/>
                    <a:pt x="43620" y="134286"/>
                    <a:pt x="27498" y="82889"/>
                  </a:cubicBezTo>
                  <a:cubicBezTo>
                    <a:pt x="19382" y="57244"/>
                    <a:pt x="12457" y="36469"/>
                    <a:pt x="7480" y="22294"/>
                  </a:cubicBezTo>
                  <a:cubicBezTo>
                    <a:pt x="5207" y="15694"/>
                    <a:pt x="3260" y="10283"/>
                    <a:pt x="1745" y="5955"/>
                  </a:cubicBezTo>
                  <a:cubicBezTo>
                    <a:pt x="446" y="2168"/>
                    <a:pt x="-95" y="112"/>
                    <a:pt x="13" y="4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89033317-259A-4B35-9A27-5C0A540255C1}"/>
                </a:ext>
              </a:extLst>
            </p:cNvPr>
            <p:cNvSpPr/>
            <p:nvPr/>
          </p:nvSpPr>
          <p:spPr>
            <a:xfrm flipH="1">
              <a:off x="955700" y="6451728"/>
              <a:ext cx="356593" cy="447233"/>
            </a:xfrm>
            <a:custGeom>
              <a:avLst/>
              <a:gdLst>
                <a:gd name="connsiteX0" fmla="*/ 1839 w 323529"/>
                <a:gd name="connsiteY0" fmla="*/ 0 h 405765"/>
                <a:gd name="connsiteX1" fmla="*/ 323530 w 323529"/>
                <a:gd name="connsiteY1" fmla="*/ 5519 h 405765"/>
                <a:gd name="connsiteX2" fmla="*/ 318769 w 323529"/>
                <a:gd name="connsiteY2" fmla="*/ 405765 h 405765"/>
                <a:gd name="connsiteX3" fmla="*/ 206237 w 323529"/>
                <a:gd name="connsiteY3" fmla="*/ 194984 h 405765"/>
                <a:gd name="connsiteX4" fmla="*/ 0 w 323529"/>
                <a:gd name="connsiteY4" fmla="*/ 199961 h 405765"/>
                <a:gd name="connsiteX5" fmla="*/ 1839 w 323529"/>
                <a:gd name="connsiteY5" fmla="*/ 0 h 40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529" h="405765">
                  <a:moveTo>
                    <a:pt x="1839" y="0"/>
                  </a:moveTo>
                  <a:lnTo>
                    <a:pt x="323530" y="5519"/>
                  </a:lnTo>
                  <a:lnTo>
                    <a:pt x="318769" y="405765"/>
                  </a:lnTo>
                  <a:cubicBezTo>
                    <a:pt x="280573" y="402952"/>
                    <a:pt x="206237" y="194984"/>
                    <a:pt x="206237" y="194984"/>
                  </a:cubicBezTo>
                  <a:lnTo>
                    <a:pt x="0" y="199961"/>
                  </a:lnTo>
                  <a:lnTo>
                    <a:pt x="1839" y="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A2D3D5F4-BE9F-4AD8-83AA-A0318D616D4C}"/>
                </a:ext>
              </a:extLst>
            </p:cNvPr>
            <p:cNvSpPr/>
            <p:nvPr/>
          </p:nvSpPr>
          <p:spPr>
            <a:xfrm flipH="1">
              <a:off x="1068872" y="6517353"/>
              <a:ext cx="34187" cy="34329"/>
            </a:xfrm>
            <a:custGeom>
              <a:avLst/>
              <a:gdLst>
                <a:gd name="connsiteX0" fmla="*/ 606 w 31017"/>
                <a:gd name="connsiteY0" fmla="*/ 11442 h 31146"/>
                <a:gd name="connsiteX1" fmla="*/ 19434 w 31017"/>
                <a:gd name="connsiteY1" fmla="*/ 405 h 31146"/>
                <a:gd name="connsiteX2" fmla="*/ 30579 w 31017"/>
                <a:gd name="connsiteY2" fmla="*/ 18908 h 31146"/>
                <a:gd name="connsiteX3" fmla="*/ 10669 w 31017"/>
                <a:gd name="connsiteY3" fmla="*/ 30486 h 31146"/>
                <a:gd name="connsiteX4" fmla="*/ 1256 w 31017"/>
                <a:gd name="connsiteY4" fmla="*/ 9927 h 3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17" h="31146">
                  <a:moveTo>
                    <a:pt x="606" y="11442"/>
                  </a:moveTo>
                  <a:cubicBezTo>
                    <a:pt x="2770" y="3760"/>
                    <a:pt x="11535" y="-1543"/>
                    <a:pt x="19434" y="405"/>
                  </a:cubicBezTo>
                  <a:cubicBezTo>
                    <a:pt x="27225" y="2244"/>
                    <a:pt x="32635" y="11117"/>
                    <a:pt x="30579" y="18908"/>
                  </a:cubicBezTo>
                  <a:cubicBezTo>
                    <a:pt x="28523" y="26699"/>
                    <a:pt x="18136" y="33299"/>
                    <a:pt x="10669" y="30486"/>
                  </a:cubicBezTo>
                  <a:cubicBezTo>
                    <a:pt x="3095" y="27781"/>
                    <a:pt x="-2640" y="16960"/>
                    <a:pt x="1256" y="9927"/>
                  </a:cubicBezTo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F33B17E4-7990-4C4C-8F67-6DC6193BB1C3}"/>
                </a:ext>
              </a:extLst>
            </p:cNvPr>
            <p:cNvSpPr/>
            <p:nvPr/>
          </p:nvSpPr>
          <p:spPr>
            <a:xfrm flipH="1">
              <a:off x="955699" y="6457691"/>
              <a:ext cx="35778" cy="441314"/>
            </a:xfrm>
            <a:custGeom>
              <a:avLst/>
              <a:gdLst>
                <a:gd name="connsiteX0" fmla="*/ 32461 w 32461"/>
                <a:gd name="connsiteY0" fmla="*/ 0 h 400394"/>
                <a:gd name="connsiteX1" fmla="*/ 0 w 32461"/>
                <a:gd name="connsiteY1" fmla="*/ 758 h 400394"/>
                <a:gd name="connsiteX2" fmla="*/ 7574 w 32461"/>
                <a:gd name="connsiteY2" fmla="*/ 384233 h 400394"/>
                <a:gd name="connsiteX3" fmla="*/ 27700 w 32461"/>
                <a:gd name="connsiteY3" fmla="*/ 400247 h 400394"/>
                <a:gd name="connsiteX4" fmla="*/ 32461 w 32461"/>
                <a:gd name="connsiteY4" fmla="*/ 0 h 40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61" h="400394">
                  <a:moveTo>
                    <a:pt x="32461" y="0"/>
                  </a:moveTo>
                  <a:lnTo>
                    <a:pt x="0" y="758"/>
                  </a:lnTo>
                  <a:lnTo>
                    <a:pt x="7574" y="384233"/>
                  </a:lnTo>
                  <a:cubicBezTo>
                    <a:pt x="7574" y="384233"/>
                    <a:pt x="15148" y="402194"/>
                    <a:pt x="27700" y="400247"/>
                  </a:cubicBezTo>
                  <a:lnTo>
                    <a:pt x="32461" y="0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67F97FD7-390E-4DA9-85EE-631F01F625B0}"/>
                </a:ext>
              </a:extLst>
            </p:cNvPr>
            <p:cNvSpPr/>
            <p:nvPr/>
          </p:nvSpPr>
          <p:spPr>
            <a:xfrm flipH="1">
              <a:off x="1061553" y="6633749"/>
              <a:ext cx="27627" cy="39938"/>
            </a:xfrm>
            <a:custGeom>
              <a:avLst/>
              <a:gdLst>
                <a:gd name="connsiteX0" fmla="*/ 1755 w 25065"/>
                <a:gd name="connsiteY0" fmla="*/ 36224 h 36235"/>
                <a:gd name="connsiteX1" fmla="*/ 11060 w 25065"/>
                <a:gd name="connsiteY1" fmla="*/ 16856 h 36235"/>
                <a:gd name="connsiteX2" fmla="*/ 25018 w 25065"/>
                <a:gd name="connsiteY2" fmla="*/ 517 h 36235"/>
                <a:gd name="connsiteX3" fmla="*/ 5433 w 25065"/>
                <a:gd name="connsiteY3" fmla="*/ 13177 h 36235"/>
                <a:gd name="connsiteX4" fmla="*/ 1755 w 25065"/>
                <a:gd name="connsiteY4" fmla="*/ 36224 h 3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65" h="36235">
                  <a:moveTo>
                    <a:pt x="1755" y="36224"/>
                  </a:moveTo>
                  <a:cubicBezTo>
                    <a:pt x="3702" y="36224"/>
                    <a:pt x="4676" y="26378"/>
                    <a:pt x="11060" y="16856"/>
                  </a:cubicBezTo>
                  <a:cubicBezTo>
                    <a:pt x="17228" y="7117"/>
                    <a:pt x="25776" y="2248"/>
                    <a:pt x="25018" y="517"/>
                  </a:cubicBezTo>
                  <a:cubicBezTo>
                    <a:pt x="24694" y="-1323"/>
                    <a:pt x="12900" y="1490"/>
                    <a:pt x="5433" y="13177"/>
                  </a:cubicBezTo>
                  <a:cubicBezTo>
                    <a:pt x="-2249" y="24754"/>
                    <a:pt x="-85" y="36657"/>
                    <a:pt x="1755" y="3622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09E6883D-F440-4720-9CA7-6896E1A3CD67}"/>
                </a:ext>
              </a:extLst>
            </p:cNvPr>
            <p:cNvSpPr/>
            <p:nvPr/>
          </p:nvSpPr>
          <p:spPr>
            <a:xfrm flipH="1">
              <a:off x="1034763" y="6691286"/>
              <a:ext cx="34773" cy="28918"/>
            </a:xfrm>
            <a:custGeom>
              <a:avLst/>
              <a:gdLst>
                <a:gd name="connsiteX0" fmla="*/ 813 w 31549"/>
                <a:gd name="connsiteY0" fmla="*/ 26222 h 26237"/>
                <a:gd name="connsiteX1" fmla="*/ 14446 w 31549"/>
                <a:gd name="connsiteY1" fmla="*/ 11722 h 26237"/>
                <a:gd name="connsiteX2" fmla="*/ 31542 w 31549"/>
                <a:gd name="connsiteY2" fmla="*/ 1443 h 26237"/>
                <a:gd name="connsiteX3" fmla="*/ 10226 w 31549"/>
                <a:gd name="connsiteY3" fmla="*/ 6420 h 26237"/>
                <a:gd name="connsiteX4" fmla="*/ 813 w 31549"/>
                <a:gd name="connsiteY4" fmla="*/ 26222 h 2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49" h="26237">
                  <a:moveTo>
                    <a:pt x="813" y="26222"/>
                  </a:moveTo>
                  <a:cubicBezTo>
                    <a:pt x="2652" y="26654"/>
                    <a:pt x="6114" y="18214"/>
                    <a:pt x="14446" y="11722"/>
                  </a:cubicBezTo>
                  <a:cubicBezTo>
                    <a:pt x="22562" y="4905"/>
                    <a:pt x="31542" y="3390"/>
                    <a:pt x="31542" y="1443"/>
                  </a:cubicBezTo>
                  <a:cubicBezTo>
                    <a:pt x="31867" y="-397"/>
                    <a:pt x="20397" y="-1912"/>
                    <a:pt x="10226" y="6420"/>
                  </a:cubicBezTo>
                  <a:cubicBezTo>
                    <a:pt x="-161" y="14644"/>
                    <a:pt x="-1135" y="26113"/>
                    <a:pt x="813" y="2622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4577688A-0FDA-4D2A-9FEE-8C47E2493796}"/>
                </a:ext>
              </a:extLst>
            </p:cNvPr>
            <p:cNvSpPr/>
            <p:nvPr/>
          </p:nvSpPr>
          <p:spPr>
            <a:xfrm flipH="1">
              <a:off x="1013646" y="6744451"/>
              <a:ext cx="37350" cy="19531"/>
            </a:xfrm>
            <a:custGeom>
              <a:avLst/>
              <a:gdLst>
                <a:gd name="connsiteX0" fmla="*/ 33874 w 33887"/>
                <a:gd name="connsiteY0" fmla="*/ 2441 h 17720"/>
                <a:gd name="connsiteX1" fmla="*/ 13856 w 33887"/>
                <a:gd name="connsiteY1" fmla="*/ 2765 h 17720"/>
                <a:gd name="connsiteX2" fmla="*/ 331 w 33887"/>
                <a:gd name="connsiteY2" fmla="*/ 17589 h 17720"/>
                <a:gd name="connsiteX3" fmla="*/ 16669 w 33887"/>
                <a:gd name="connsiteY3" fmla="*/ 8933 h 17720"/>
                <a:gd name="connsiteX4" fmla="*/ 33874 w 33887"/>
                <a:gd name="connsiteY4" fmla="*/ 2441 h 1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87" h="17720">
                  <a:moveTo>
                    <a:pt x="33874" y="2441"/>
                  </a:moveTo>
                  <a:cubicBezTo>
                    <a:pt x="34307" y="709"/>
                    <a:pt x="24568" y="-2212"/>
                    <a:pt x="13856" y="2765"/>
                  </a:cubicBezTo>
                  <a:cubicBezTo>
                    <a:pt x="3036" y="7635"/>
                    <a:pt x="-1293" y="16724"/>
                    <a:pt x="331" y="17589"/>
                  </a:cubicBezTo>
                  <a:cubicBezTo>
                    <a:pt x="1954" y="18671"/>
                    <a:pt x="7689" y="12829"/>
                    <a:pt x="16669" y="8933"/>
                  </a:cubicBezTo>
                  <a:cubicBezTo>
                    <a:pt x="25434" y="4821"/>
                    <a:pt x="33657" y="4389"/>
                    <a:pt x="33874" y="244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FEC077FD-4367-4BC0-876E-DE4B70136B30}"/>
                </a:ext>
              </a:extLst>
            </p:cNvPr>
            <p:cNvSpPr/>
            <p:nvPr/>
          </p:nvSpPr>
          <p:spPr>
            <a:xfrm flipH="1">
              <a:off x="1135582" y="6623222"/>
              <a:ext cx="11149" cy="45998"/>
            </a:xfrm>
            <a:custGeom>
              <a:avLst/>
              <a:gdLst>
                <a:gd name="connsiteX0" fmla="*/ 6793 w 10115"/>
                <a:gd name="connsiteY0" fmla="*/ 41663 h 41733"/>
                <a:gd name="connsiteX1" fmla="*/ 6901 w 10115"/>
                <a:gd name="connsiteY1" fmla="*/ 20780 h 41733"/>
                <a:gd name="connsiteX2" fmla="*/ 9714 w 10115"/>
                <a:gd name="connsiteY2" fmla="*/ 113 h 41733"/>
                <a:gd name="connsiteX3" fmla="*/ 84 w 10115"/>
                <a:gd name="connsiteY3" fmla="*/ 20239 h 41733"/>
                <a:gd name="connsiteX4" fmla="*/ 6793 w 10115"/>
                <a:gd name="connsiteY4" fmla="*/ 41663 h 4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15" h="41733">
                  <a:moveTo>
                    <a:pt x="6793" y="41663"/>
                  </a:moveTo>
                  <a:cubicBezTo>
                    <a:pt x="8632" y="40906"/>
                    <a:pt x="6036" y="31817"/>
                    <a:pt x="6901" y="20780"/>
                  </a:cubicBezTo>
                  <a:cubicBezTo>
                    <a:pt x="7550" y="9743"/>
                    <a:pt x="11337" y="1195"/>
                    <a:pt x="9714" y="113"/>
                  </a:cubicBezTo>
                  <a:cubicBezTo>
                    <a:pt x="8308" y="-1077"/>
                    <a:pt x="950" y="7254"/>
                    <a:pt x="84" y="20239"/>
                  </a:cubicBezTo>
                  <a:cubicBezTo>
                    <a:pt x="-781" y="33331"/>
                    <a:pt x="5278" y="42637"/>
                    <a:pt x="6793" y="4166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4A31CBB1-2CE1-4B10-A16D-0B6AA47E2BAB}"/>
                </a:ext>
              </a:extLst>
            </p:cNvPr>
            <p:cNvSpPr/>
            <p:nvPr/>
          </p:nvSpPr>
          <p:spPr>
            <a:xfrm flipH="1">
              <a:off x="1189639" y="6590723"/>
              <a:ext cx="36562" cy="67328"/>
            </a:xfrm>
            <a:custGeom>
              <a:avLst/>
              <a:gdLst>
                <a:gd name="connsiteX0" fmla="*/ 31609 w 33172"/>
                <a:gd name="connsiteY0" fmla="*/ 61086 h 61085"/>
                <a:gd name="connsiteX1" fmla="*/ 31718 w 33172"/>
                <a:gd name="connsiteY1" fmla="*/ 41068 h 61085"/>
                <a:gd name="connsiteX2" fmla="*/ 25550 w 33172"/>
                <a:gd name="connsiteY2" fmla="*/ 19968 h 61085"/>
                <a:gd name="connsiteX3" fmla="*/ 19599 w 33172"/>
                <a:gd name="connsiteY3" fmla="*/ 8390 h 61085"/>
                <a:gd name="connsiteX4" fmla="*/ 14946 w 33172"/>
                <a:gd name="connsiteY4" fmla="*/ 2331 h 61085"/>
                <a:gd name="connsiteX5" fmla="*/ 4558 w 33172"/>
                <a:gd name="connsiteY5" fmla="*/ 1357 h 61085"/>
                <a:gd name="connsiteX6" fmla="*/ 14 w 33172"/>
                <a:gd name="connsiteY6" fmla="*/ 9905 h 61085"/>
                <a:gd name="connsiteX7" fmla="*/ 988 w 33172"/>
                <a:gd name="connsiteY7" fmla="*/ 17480 h 61085"/>
                <a:gd name="connsiteX8" fmla="*/ 5100 w 33172"/>
                <a:gd name="connsiteY8" fmla="*/ 30031 h 61085"/>
                <a:gd name="connsiteX9" fmla="*/ 17002 w 33172"/>
                <a:gd name="connsiteY9" fmla="*/ 48642 h 61085"/>
                <a:gd name="connsiteX10" fmla="*/ 33124 w 33172"/>
                <a:gd name="connsiteY10" fmla="*/ 60653 h 61085"/>
                <a:gd name="connsiteX11" fmla="*/ 20681 w 33172"/>
                <a:gd name="connsiteY11" fmla="*/ 45613 h 61085"/>
                <a:gd name="connsiteX12" fmla="*/ 10834 w 33172"/>
                <a:gd name="connsiteY12" fmla="*/ 27651 h 61085"/>
                <a:gd name="connsiteX13" fmla="*/ 7372 w 33172"/>
                <a:gd name="connsiteY13" fmla="*/ 16073 h 61085"/>
                <a:gd name="connsiteX14" fmla="*/ 8237 w 33172"/>
                <a:gd name="connsiteY14" fmla="*/ 7200 h 61085"/>
                <a:gd name="connsiteX15" fmla="*/ 10510 w 33172"/>
                <a:gd name="connsiteY15" fmla="*/ 7633 h 61085"/>
                <a:gd name="connsiteX16" fmla="*/ 13864 w 33172"/>
                <a:gd name="connsiteY16" fmla="*/ 12178 h 61085"/>
                <a:gd name="connsiteX17" fmla="*/ 19815 w 33172"/>
                <a:gd name="connsiteY17" fmla="*/ 22890 h 61085"/>
                <a:gd name="connsiteX18" fmla="*/ 27065 w 33172"/>
                <a:gd name="connsiteY18" fmla="*/ 42367 h 61085"/>
                <a:gd name="connsiteX19" fmla="*/ 31609 w 33172"/>
                <a:gd name="connsiteY19" fmla="*/ 61086 h 61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172" h="61085">
                  <a:moveTo>
                    <a:pt x="31609" y="61086"/>
                  </a:moveTo>
                  <a:cubicBezTo>
                    <a:pt x="32367" y="61086"/>
                    <a:pt x="33665" y="53403"/>
                    <a:pt x="31718" y="41068"/>
                  </a:cubicBezTo>
                  <a:cubicBezTo>
                    <a:pt x="30744" y="34901"/>
                    <a:pt x="28796" y="27651"/>
                    <a:pt x="25550" y="19968"/>
                  </a:cubicBezTo>
                  <a:cubicBezTo>
                    <a:pt x="23927" y="16181"/>
                    <a:pt x="21979" y="12286"/>
                    <a:pt x="19599" y="8390"/>
                  </a:cubicBezTo>
                  <a:cubicBezTo>
                    <a:pt x="18408" y="6551"/>
                    <a:pt x="17218" y="4279"/>
                    <a:pt x="14946" y="2331"/>
                  </a:cubicBezTo>
                  <a:cubicBezTo>
                    <a:pt x="12890" y="167"/>
                    <a:pt x="7805" y="-1132"/>
                    <a:pt x="4558" y="1357"/>
                  </a:cubicBezTo>
                  <a:cubicBezTo>
                    <a:pt x="1420" y="3413"/>
                    <a:pt x="122" y="6984"/>
                    <a:pt x="14" y="9905"/>
                  </a:cubicBezTo>
                  <a:cubicBezTo>
                    <a:pt x="-94" y="12827"/>
                    <a:pt x="447" y="15207"/>
                    <a:pt x="988" y="17480"/>
                  </a:cubicBezTo>
                  <a:cubicBezTo>
                    <a:pt x="1962" y="21916"/>
                    <a:pt x="3476" y="26136"/>
                    <a:pt x="5100" y="30031"/>
                  </a:cubicBezTo>
                  <a:cubicBezTo>
                    <a:pt x="8454" y="37714"/>
                    <a:pt x="12782" y="43990"/>
                    <a:pt x="17002" y="48642"/>
                  </a:cubicBezTo>
                  <a:cubicBezTo>
                    <a:pt x="25442" y="58056"/>
                    <a:pt x="32800" y="61302"/>
                    <a:pt x="33124" y="60653"/>
                  </a:cubicBezTo>
                  <a:cubicBezTo>
                    <a:pt x="33774" y="59787"/>
                    <a:pt x="27714" y="55135"/>
                    <a:pt x="20681" y="45613"/>
                  </a:cubicBezTo>
                  <a:cubicBezTo>
                    <a:pt x="17218" y="40852"/>
                    <a:pt x="13647" y="34792"/>
                    <a:pt x="10834" y="27651"/>
                  </a:cubicBezTo>
                  <a:cubicBezTo>
                    <a:pt x="9428" y="24080"/>
                    <a:pt x="8237" y="20185"/>
                    <a:pt x="7372" y="16073"/>
                  </a:cubicBezTo>
                  <a:cubicBezTo>
                    <a:pt x="6290" y="11853"/>
                    <a:pt x="6290" y="8174"/>
                    <a:pt x="8237" y="7200"/>
                  </a:cubicBezTo>
                  <a:cubicBezTo>
                    <a:pt x="8995" y="6767"/>
                    <a:pt x="9211" y="6767"/>
                    <a:pt x="10510" y="7633"/>
                  </a:cubicBezTo>
                  <a:cubicBezTo>
                    <a:pt x="11592" y="8607"/>
                    <a:pt x="12782" y="10338"/>
                    <a:pt x="13864" y="12178"/>
                  </a:cubicBezTo>
                  <a:cubicBezTo>
                    <a:pt x="16136" y="15748"/>
                    <a:pt x="18084" y="19319"/>
                    <a:pt x="19815" y="22890"/>
                  </a:cubicBezTo>
                  <a:cubicBezTo>
                    <a:pt x="23169" y="29923"/>
                    <a:pt x="25442" y="36632"/>
                    <a:pt x="27065" y="42367"/>
                  </a:cubicBezTo>
                  <a:cubicBezTo>
                    <a:pt x="30095" y="53512"/>
                    <a:pt x="30527" y="61086"/>
                    <a:pt x="31609" y="6108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B2F030E8-234F-4365-A77C-DFA7BF4D2A4D}"/>
                </a:ext>
              </a:extLst>
            </p:cNvPr>
            <p:cNvSpPr/>
            <p:nvPr/>
          </p:nvSpPr>
          <p:spPr>
            <a:xfrm flipH="1">
              <a:off x="1188248" y="6649076"/>
              <a:ext cx="70270" cy="34680"/>
            </a:xfrm>
            <a:custGeom>
              <a:avLst/>
              <a:gdLst>
                <a:gd name="connsiteX0" fmla="*/ 63743 w 63754"/>
                <a:gd name="connsiteY0" fmla="*/ 5654 h 31464"/>
                <a:gd name="connsiteX1" fmla="*/ 44483 w 63754"/>
                <a:gd name="connsiteY1" fmla="*/ 136 h 31464"/>
                <a:gd name="connsiteX2" fmla="*/ 22518 w 63754"/>
                <a:gd name="connsiteY2" fmla="*/ 2625 h 31464"/>
                <a:gd name="connsiteX3" fmla="*/ 10290 w 63754"/>
                <a:gd name="connsiteY3" fmla="*/ 7602 h 31464"/>
                <a:gd name="connsiteX4" fmla="*/ 11 w 63754"/>
                <a:gd name="connsiteY4" fmla="*/ 20262 h 31464"/>
                <a:gd name="connsiteX5" fmla="*/ 5529 w 63754"/>
                <a:gd name="connsiteY5" fmla="*/ 28702 h 31464"/>
                <a:gd name="connsiteX6" fmla="*/ 12887 w 63754"/>
                <a:gd name="connsiteY6" fmla="*/ 30866 h 31464"/>
                <a:gd name="connsiteX7" fmla="*/ 26413 w 63754"/>
                <a:gd name="connsiteY7" fmla="*/ 31082 h 31464"/>
                <a:gd name="connsiteX8" fmla="*/ 47188 w 63754"/>
                <a:gd name="connsiteY8" fmla="*/ 22751 h 31464"/>
                <a:gd name="connsiteX9" fmla="*/ 59415 w 63754"/>
                <a:gd name="connsiteY9" fmla="*/ 6736 h 31464"/>
                <a:gd name="connsiteX10" fmla="*/ 44591 w 63754"/>
                <a:gd name="connsiteY10" fmla="*/ 18747 h 31464"/>
                <a:gd name="connsiteX11" fmla="*/ 25656 w 63754"/>
                <a:gd name="connsiteY11" fmla="*/ 24915 h 31464"/>
                <a:gd name="connsiteX12" fmla="*/ 14078 w 63754"/>
                <a:gd name="connsiteY12" fmla="*/ 24374 h 31464"/>
                <a:gd name="connsiteX13" fmla="*/ 6828 w 63754"/>
                <a:gd name="connsiteY13" fmla="*/ 20478 h 31464"/>
                <a:gd name="connsiteX14" fmla="*/ 13428 w 63754"/>
                <a:gd name="connsiteY14" fmla="*/ 13553 h 31464"/>
                <a:gd name="connsiteX15" fmla="*/ 24357 w 63754"/>
                <a:gd name="connsiteY15" fmla="*/ 8684 h 31464"/>
                <a:gd name="connsiteX16" fmla="*/ 44375 w 63754"/>
                <a:gd name="connsiteY16" fmla="*/ 5005 h 31464"/>
                <a:gd name="connsiteX17" fmla="*/ 63743 w 63754"/>
                <a:gd name="connsiteY17" fmla="*/ 5654 h 3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754" h="31464">
                  <a:moveTo>
                    <a:pt x="63743" y="5654"/>
                  </a:moveTo>
                  <a:cubicBezTo>
                    <a:pt x="64068" y="5005"/>
                    <a:pt x="57143" y="1001"/>
                    <a:pt x="44483" y="136"/>
                  </a:cubicBezTo>
                  <a:cubicBezTo>
                    <a:pt x="38207" y="-297"/>
                    <a:pt x="30633" y="244"/>
                    <a:pt x="22518" y="2625"/>
                  </a:cubicBezTo>
                  <a:cubicBezTo>
                    <a:pt x="18514" y="3815"/>
                    <a:pt x="14402" y="5438"/>
                    <a:pt x="10290" y="7602"/>
                  </a:cubicBezTo>
                  <a:cubicBezTo>
                    <a:pt x="6287" y="9874"/>
                    <a:pt x="985" y="12688"/>
                    <a:pt x="11" y="20262"/>
                  </a:cubicBezTo>
                  <a:cubicBezTo>
                    <a:pt x="-205" y="24266"/>
                    <a:pt x="2824" y="27512"/>
                    <a:pt x="5529" y="28702"/>
                  </a:cubicBezTo>
                  <a:cubicBezTo>
                    <a:pt x="8235" y="30108"/>
                    <a:pt x="10507" y="30325"/>
                    <a:pt x="12887" y="30866"/>
                  </a:cubicBezTo>
                  <a:cubicBezTo>
                    <a:pt x="17540" y="31623"/>
                    <a:pt x="22085" y="31623"/>
                    <a:pt x="26413" y="31082"/>
                  </a:cubicBezTo>
                  <a:cubicBezTo>
                    <a:pt x="34961" y="29892"/>
                    <a:pt x="42102" y="26538"/>
                    <a:pt x="47188" y="22751"/>
                  </a:cubicBezTo>
                  <a:cubicBezTo>
                    <a:pt x="57684" y="15068"/>
                    <a:pt x="60064" y="6953"/>
                    <a:pt x="59415" y="6736"/>
                  </a:cubicBezTo>
                  <a:cubicBezTo>
                    <a:pt x="58441" y="6087"/>
                    <a:pt x="54546" y="12796"/>
                    <a:pt x="44591" y="18747"/>
                  </a:cubicBezTo>
                  <a:cubicBezTo>
                    <a:pt x="39614" y="21668"/>
                    <a:pt x="33121" y="24157"/>
                    <a:pt x="25656" y="24915"/>
                  </a:cubicBezTo>
                  <a:cubicBezTo>
                    <a:pt x="21976" y="25239"/>
                    <a:pt x="17973" y="25131"/>
                    <a:pt x="14078" y="24374"/>
                  </a:cubicBezTo>
                  <a:cubicBezTo>
                    <a:pt x="9858" y="23724"/>
                    <a:pt x="6395" y="22101"/>
                    <a:pt x="6828" y="20478"/>
                  </a:cubicBezTo>
                  <a:cubicBezTo>
                    <a:pt x="6828" y="18531"/>
                    <a:pt x="10074" y="15176"/>
                    <a:pt x="13428" y="13553"/>
                  </a:cubicBezTo>
                  <a:cubicBezTo>
                    <a:pt x="16999" y="11497"/>
                    <a:pt x="20786" y="9983"/>
                    <a:pt x="24357" y="8684"/>
                  </a:cubicBezTo>
                  <a:cubicBezTo>
                    <a:pt x="31607" y="6304"/>
                    <a:pt x="38532" y="5222"/>
                    <a:pt x="44375" y="5005"/>
                  </a:cubicBezTo>
                  <a:cubicBezTo>
                    <a:pt x="56061" y="4464"/>
                    <a:pt x="63419" y="6628"/>
                    <a:pt x="63743" y="565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B1BE2FFD-0B9A-4CD8-95C3-04D1DAAE5200}"/>
                </a:ext>
              </a:extLst>
            </p:cNvPr>
            <p:cNvSpPr/>
            <p:nvPr/>
          </p:nvSpPr>
          <p:spPr>
            <a:xfrm flipH="1">
              <a:off x="1264113" y="6242423"/>
              <a:ext cx="985116" cy="604829"/>
            </a:xfrm>
            <a:custGeom>
              <a:avLst/>
              <a:gdLst>
                <a:gd name="connsiteX0" fmla="*/ 601299 w 893774"/>
                <a:gd name="connsiteY0" fmla="*/ 0 h 548748"/>
                <a:gd name="connsiteX1" fmla="*/ 39829 w 893774"/>
                <a:gd name="connsiteY1" fmla="*/ 226471 h 548748"/>
                <a:gd name="connsiteX2" fmla="*/ 61578 w 893774"/>
                <a:gd name="connsiteY2" fmla="*/ 505854 h 548748"/>
                <a:gd name="connsiteX3" fmla="*/ 318021 w 893774"/>
                <a:gd name="connsiteY3" fmla="*/ 537341 h 548748"/>
                <a:gd name="connsiteX4" fmla="*/ 890853 w 893774"/>
                <a:gd name="connsiteY4" fmla="*/ 446774 h 548748"/>
                <a:gd name="connsiteX5" fmla="*/ 893775 w 893774"/>
                <a:gd name="connsiteY5" fmla="*/ 53345 h 548748"/>
                <a:gd name="connsiteX6" fmla="*/ 601299 w 893774"/>
                <a:gd name="connsiteY6" fmla="*/ 0 h 548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3774" h="548748">
                  <a:moveTo>
                    <a:pt x="601299" y="0"/>
                  </a:moveTo>
                  <a:cubicBezTo>
                    <a:pt x="601299" y="0"/>
                    <a:pt x="141865" y="143911"/>
                    <a:pt x="39829" y="226471"/>
                  </a:cubicBezTo>
                  <a:cubicBezTo>
                    <a:pt x="-12001" y="268454"/>
                    <a:pt x="-21523" y="437144"/>
                    <a:pt x="61578" y="505854"/>
                  </a:cubicBezTo>
                  <a:cubicBezTo>
                    <a:pt x="144679" y="574563"/>
                    <a:pt x="254397" y="541020"/>
                    <a:pt x="318021" y="537341"/>
                  </a:cubicBezTo>
                  <a:cubicBezTo>
                    <a:pt x="381645" y="533662"/>
                    <a:pt x="890853" y="446774"/>
                    <a:pt x="890853" y="446774"/>
                  </a:cubicBezTo>
                  <a:lnTo>
                    <a:pt x="893775" y="53345"/>
                  </a:lnTo>
                  <a:lnTo>
                    <a:pt x="601299" y="0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CABC01B9-4F6B-4764-8A59-1EA9B7E952A8}"/>
                </a:ext>
              </a:extLst>
            </p:cNvPr>
            <p:cNvSpPr/>
            <p:nvPr/>
          </p:nvSpPr>
          <p:spPr>
            <a:xfrm flipH="1">
              <a:off x="1705373" y="6544901"/>
              <a:ext cx="319035" cy="174212"/>
            </a:xfrm>
            <a:custGeom>
              <a:avLst/>
              <a:gdLst>
                <a:gd name="connsiteX0" fmla="*/ 289446 w 289453"/>
                <a:gd name="connsiteY0" fmla="*/ 82 h 158059"/>
                <a:gd name="connsiteX1" fmla="*/ 277111 w 289453"/>
                <a:gd name="connsiteY1" fmla="*/ 6791 h 158059"/>
                <a:gd name="connsiteX2" fmla="*/ 261854 w 289453"/>
                <a:gd name="connsiteY2" fmla="*/ 12958 h 158059"/>
                <a:gd name="connsiteX3" fmla="*/ 240971 w 289453"/>
                <a:gd name="connsiteY3" fmla="*/ 19234 h 158059"/>
                <a:gd name="connsiteX4" fmla="*/ 185462 w 289453"/>
                <a:gd name="connsiteY4" fmla="*/ 30487 h 158059"/>
                <a:gd name="connsiteX5" fmla="*/ 118267 w 289453"/>
                <a:gd name="connsiteY5" fmla="*/ 44770 h 158059"/>
                <a:gd name="connsiteX6" fmla="*/ 68385 w 289453"/>
                <a:gd name="connsiteY6" fmla="*/ 67818 h 158059"/>
                <a:gd name="connsiteX7" fmla="*/ 34409 w 289453"/>
                <a:gd name="connsiteY7" fmla="*/ 101145 h 158059"/>
                <a:gd name="connsiteX8" fmla="*/ 1948 w 289453"/>
                <a:gd name="connsiteY8" fmla="*/ 154814 h 158059"/>
                <a:gd name="connsiteX9" fmla="*/ 0 w 289453"/>
                <a:gd name="connsiteY9" fmla="*/ 158060 h 158059"/>
                <a:gd name="connsiteX10" fmla="*/ 325 w 289453"/>
                <a:gd name="connsiteY10" fmla="*/ 154489 h 158059"/>
                <a:gd name="connsiteX11" fmla="*/ 1623 w 289453"/>
                <a:gd name="connsiteY11" fmla="*/ 144534 h 158059"/>
                <a:gd name="connsiteX12" fmla="*/ 1948 w 289453"/>
                <a:gd name="connsiteY12" fmla="*/ 154597 h 158059"/>
                <a:gd name="connsiteX13" fmla="*/ 325 w 289453"/>
                <a:gd name="connsiteY13" fmla="*/ 154165 h 158059"/>
                <a:gd name="connsiteX14" fmla="*/ 30838 w 289453"/>
                <a:gd name="connsiteY14" fmla="*/ 98764 h 158059"/>
                <a:gd name="connsiteX15" fmla="*/ 65355 w 289453"/>
                <a:gd name="connsiteY15" fmla="*/ 63814 h 158059"/>
                <a:gd name="connsiteX16" fmla="*/ 116536 w 289453"/>
                <a:gd name="connsiteY16" fmla="*/ 39901 h 158059"/>
                <a:gd name="connsiteX17" fmla="*/ 184488 w 289453"/>
                <a:gd name="connsiteY17" fmla="*/ 25943 h 158059"/>
                <a:gd name="connsiteX18" fmla="*/ 239888 w 289453"/>
                <a:gd name="connsiteY18" fmla="*/ 15880 h 158059"/>
                <a:gd name="connsiteX19" fmla="*/ 289446 w 289453"/>
                <a:gd name="connsiteY19" fmla="*/ 82 h 158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9453" h="158059">
                  <a:moveTo>
                    <a:pt x="289446" y="82"/>
                  </a:moveTo>
                  <a:cubicBezTo>
                    <a:pt x="289662" y="407"/>
                    <a:pt x="285226" y="2787"/>
                    <a:pt x="277111" y="6791"/>
                  </a:cubicBezTo>
                  <a:cubicBezTo>
                    <a:pt x="272999" y="8738"/>
                    <a:pt x="267805" y="10578"/>
                    <a:pt x="261854" y="12958"/>
                  </a:cubicBezTo>
                  <a:cubicBezTo>
                    <a:pt x="255686" y="14798"/>
                    <a:pt x="248869" y="17394"/>
                    <a:pt x="240971" y="19234"/>
                  </a:cubicBezTo>
                  <a:cubicBezTo>
                    <a:pt x="225389" y="23454"/>
                    <a:pt x="206453" y="26916"/>
                    <a:pt x="185462" y="30487"/>
                  </a:cubicBezTo>
                  <a:cubicBezTo>
                    <a:pt x="164579" y="34058"/>
                    <a:pt x="141423" y="37737"/>
                    <a:pt x="118267" y="44770"/>
                  </a:cubicBezTo>
                  <a:cubicBezTo>
                    <a:pt x="99764" y="50289"/>
                    <a:pt x="82668" y="57971"/>
                    <a:pt x="68385" y="67818"/>
                  </a:cubicBezTo>
                  <a:cubicBezTo>
                    <a:pt x="53994" y="77448"/>
                    <a:pt x="43065" y="89567"/>
                    <a:pt x="34409" y="101145"/>
                  </a:cubicBezTo>
                  <a:cubicBezTo>
                    <a:pt x="17313" y="124517"/>
                    <a:pt x="7791" y="144967"/>
                    <a:pt x="1948" y="154814"/>
                  </a:cubicBezTo>
                  <a:lnTo>
                    <a:pt x="0" y="158060"/>
                  </a:lnTo>
                  <a:lnTo>
                    <a:pt x="325" y="154489"/>
                  </a:lnTo>
                  <a:cubicBezTo>
                    <a:pt x="866" y="147781"/>
                    <a:pt x="1299" y="144534"/>
                    <a:pt x="1623" y="144534"/>
                  </a:cubicBezTo>
                  <a:cubicBezTo>
                    <a:pt x="1948" y="144534"/>
                    <a:pt x="2056" y="147781"/>
                    <a:pt x="1948" y="154597"/>
                  </a:cubicBezTo>
                  <a:lnTo>
                    <a:pt x="325" y="154165"/>
                  </a:lnTo>
                  <a:cubicBezTo>
                    <a:pt x="5194" y="143885"/>
                    <a:pt x="13850" y="123002"/>
                    <a:pt x="30838" y="98764"/>
                  </a:cubicBezTo>
                  <a:cubicBezTo>
                    <a:pt x="39386" y="86753"/>
                    <a:pt x="50531" y="73985"/>
                    <a:pt x="65355" y="63814"/>
                  </a:cubicBezTo>
                  <a:cubicBezTo>
                    <a:pt x="79963" y="53427"/>
                    <a:pt x="97600" y="45528"/>
                    <a:pt x="116536" y="39901"/>
                  </a:cubicBezTo>
                  <a:cubicBezTo>
                    <a:pt x="140233" y="32760"/>
                    <a:pt x="163605" y="29189"/>
                    <a:pt x="184488" y="25943"/>
                  </a:cubicBezTo>
                  <a:cubicBezTo>
                    <a:pt x="205480" y="22697"/>
                    <a:pt x="224307" y="19559"/>
                    <a:pt x="239888" y="15880"/>
                  </a:cubicBezTo>
                  <a:cubicBezTo>
                    <a:pt x="271484" y="8847"/>
                    <a:pt x="289013" y="-1000"/>
                    <a:pt x="289446" y="82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66886B13-06A9-410F-8538-1697D7D77C33}"/>
                </a:ext>
              </a:extLst>
            </p:cNvPr>
            <p:cNvSpPr/>
            <p:nvPr/>
          </p:nvSpPr>
          <p:spPr>
            <a:xfrm flipH="1">
              <a:off x="1946408" y="6614732"/>
              <a:ext cx="100624" cy="60538"/>
            </a:xfrm>
            <a:custGeom>
              <a:avLst/>
              <a:gdLst>
                <a:gd name="connsiteX0" fmla="*/ 91291 w 91294"/>
                <a:gd name="connsiteY0" fmla="*/ 458 h 54925"/>
                <a:gd name="connsiteX1" fmla="*/ 41301 w 91294"/>
                <a:gd name="connsiteY1" fmla="*/ 20368 h 54925"/>
                <a:gd name="connsiteX2" fmla="*/ 76 w 91294"/>
                <a:gd name="connsiteY2" fmla="*/ 54885 h 54925"/>
                <a:gd name="connsiteX3" fmla="*/ 38704 w 91294"/>
                <a:gd name="connsiteY3" fmla="*/ 15931 h 54925"/>
                <a:gd name="connsiteX4" fmla="*/ 91291 w 91294"/>
                <a:gd name="connsiteY4" fmla="*/ 458 h 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294" h="54925">
                  <a:moveTo>
                    <a:pt x="91291" y="458"/>
                  </a:moveTo>
                  <a:cubicBezTo>
                    <a:pt x="91616" y="2081"/>
                    <a:pt x="66837" y="4895"/>
                    <a:pt x="41301" y="20368"/>
                  </a:cubicBezTo>
                  <a:cubicBezTo>
                    <a:pt x="15549" y="35516"/>
                    <a:pt x="1266" y="55967"/>
                    <a:pt x="76" y="54885"/>
                  </a:cubicBezTo>
                  <a:cubicBezTo>
                    <a:pt x="-1115" y="54452"/>
                    <a:pt x="11761" y="31729"/>
                    <a:pt x="38704" y="15931"/>
                  </a:cubicBezTo>
                  <a:cubicBezTo>
                    <a:pt x="65323" y="-407"/>
                    <a:pt x="91508" y="-840"/>
                    <a:pt x="91291" y="458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4905EE4A-C8ED-4D38-8B78-CBE9BB359002}"/>
                </a:ext>
              </a:extLst>
            </p:cNvPr>
            <p:cNvSpPr/>
            <p:nvPr/>
          </p:nvSpPr>
          <p:spPr>
            <a:xfrm flipH="1">
              <a:off x="1125052" y="6520184"/>
              <a:ext cx="390226" cy="552303"/>
            </a:xfrm>
            <a:custGeom>
              <a:avLst/>
              <a:gdLst>
                <a:gd name="connsiteX0" fmla="*/ 157112 w 354043"/>
                <a:gd name="connsiteY0" fmla="*/ 0 h 501092"/>
                <a:gd name="connsiteX1" fmla="*/ 354044 w 354043"/>
                <a:gd name="connsiteY1" fmla="*/ 254388 h 501092"/>
                <a:gd name="connsiteX2" fmla="*/ 38845 w 354043"/>
                <a:gd name="connsiteY2" fmla="*/ 501093 h 501092"/>
                <a:gd name="connsiteX3" fmla="*/ 132875 w 354043"/>
                <a:gd name="connsiteY3" fmla="*/ 281439 h 501092"/>
                <a:gd name="connsiteX4" fmla="*/ 0 w 354043"/>
                <a:gd name="connsiteY4" fmla="*/ 123677 h 501092"/>
                <a:gd name="connsiteX5" fmla="*/ 157112 w 354043"/>
                <a:gd name="connsiteY5" fmla="*/ 0 h 50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4043" h="501092">
                  <a:moveTo>
                    <a:pt x="157112" y="0"/>
                  </a:moveTo>
                  <a:lnTo>
                    <a:pt x="354044" y="254388"/>
                  </a:lnTo>
                  <a:lnTo>
                    <a:pt x="38845" y="501093"/>
                  </a:lnTo>
                  <a:cubicBezTo>
                    <a:pt x="17096" y="469497"/>
                    <a:pt x="132875" y="281439"/>
                    <a:pt x="132875" y="281439"/>
                  </a:cubicBezTo>
                  <a:lnTo>
                    <a:pt x="0" y="123677"/>
                  </a:lnTo>
                  <a:lnTo>
                    <a:pt x="157112" y="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895C8511-776C-4468-89D6-75AE10D35C89}"/>
                </a:ext>
              </a:extLst>
            </p:cNvPr>
            <p:cNvSpPr/>
            <p:nvPr/>
          </p:nvSpPr>
          <p:spPr>
            <a:xfrm flipH="1">
              <a:off x="1249338" y="6730020"/>
              <a:ext cx="34163" cy="33296"/>
            </a:xfrm>
            <a:custGeom>
              <a:avLst/>
              <a:gdLst>
                <a:gd name="connsiteX0" fmla="*/ 9368 w 30995"/>
                <a:gd name="connsiteY0" fmla="*/ 1143 h 30209"/>
                <a:gd name="connsiteX1" fmla="*/ 29711 w 30995"/>
                <a:gd name="connsiteY1" fmla="*/ 8825 h 30209"/>
                <a:gd name="connsiteX2" fmla="*/ 22245 w 30995"/>
                <a:gd name="connsiteY2" fmla="*/ 29060 h 30209"/>
                <a:gd name="connsiteX3" fmla="*/ 712 w 30995"/>
                <a:gd name="connsiteY3" fmla="*/ 20728 h 30209"/>
                <a:gd name="connsiteX4" fmla="*/ 10883 w 30995"/>
                <a:gd name="connsiteY4" fmla="*/ 494 h 30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95" h="30209">
                  <a:moveTo>
                    <a:pt x="9368" y="1143"/>
                  </a:moveTo>
                  <a:cubicBezTo>
                    <a:pt x="16726" y="-1995"/>
                    <a:pt x="26356" y="1576"/>
                    <a:pt x="29711" y="8825"/>
                  </a:cubicBezTo>
                  <a:cubicBezTo>
                    <a:pt x="33065" y="16075"/>
                    <a:pt x="29602" y="25922"/>
                    <a:pt x="22245" y="29060"/>
                  </a:cubicBezTo>
                  <a:cubicBezTo>
                    <a:pt x="14887" y="32306"/>
                    <a:pt x="3309" y="28410"/>
                    <a:pt x="712" y="20728"/>
                  </a:cubicBezTo>
                  <a:cubicBezTo>
                    <a:pt x="-1885" y="13154"/>
                    <a:pt x="2876" y="1901"/>
                    <a:pt x="10883" y="494"/>
                  </a:cubicBezTo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09492499-35FC-41CB-AE17-E3B1D164CF54}"/>
                </a:ext>
              </a:extLst>
            </p:cNvPr>
            <p:cNvSpPr/>
            <p:nvPr/>
          </p:nvSpPr>
          <p:spPr>
            <a:xfrm flipH="1">
              <a:off x="1125052" y="6773140"/>
              <a:ext cx="352053" cy="299347"/>
            </a:xfrm>
            <a:custGeom>
              <a:avLst/>
              <a:gdLst>
                <a:gd name="connsiteX0" fmla="*/ 319410 w 319410"/>
                <a:gd name="connsiteY0" fmla="*/ 24887 h 271591"/>
                <a:gd name="connsiteX1" fmla="*/ 298527 w 319410"/>
                <a:gd name="connsiteY1" fmla="*/ 0 h 271591"/>
                <a:gd name="connsiteX2" fmla="*/ 4104 w 319410"/>
                <a:gd name="connsiteY2" fmla="*/ 245839 h 271591"/>
                <a:gd name="connsiteX3" fmla="*/ 4212 w 319410"/>
                <a:gd name="connsiteY3" fmla="*/ 271592 h 271591"/>
                <a:gd name="connsiteX4" fmla="*/ 319410 w 319410"/>
                <a:gd name="connsiteY4" fmla="*/ 24887 h 27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9410" h="271591">
                  <a:moveTo>
                    <a:pt x="319410" y="24887"/>
                  </a:moveTo>
                  <a:lnTo>
                    <a:pt x="298527" y="0"/>
                  </a:lnTo>
                  <a:lnTo>
                    <a:pt x="4104" y="245839"/>
                  </a:lnTo>
                  <a:cubicBezTo>
                    <a:pt x="4104" y="245839"/>
                    <a:pt x="-5202" y="262936"/>
                    <a:pt x="4212" y="271592"/>
                  </a:cubicBezTo>
                  <a:lnTo>
                    <a:pt x="319410" y="24887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7B424A6F-C0BA-4A93-B6C3-DE1F86D06C30}"/>
                </a:ext>
              </a:extLst>
            </p:cNvPr>
            <p:cNvSpPr/>
            <p:nvPr/>
          </p:nvSpPr>
          <p:spPr>
            <a:xfrm flipH="1">
              <a:off x="1328880" y="6820172"/>
              <a:ext cx="47158" cy="13135"/>
            </a:xfrm>
            <a:custGeom>
              <a:avLst/>
              <a:gdLst>
                <a:gd name="connsiteX0" fmla="*/ 161 w 42785"/>
                <a:gd name="connsiteY0" fmla="*/ 11647 h 11917"/>
                <a:gd name="connsiteX1" fmla="*/ 21153 w 42785"/>
                <a:gd name="connsiteY1" fmla="*/ 6886 h 11917"/>
                <a:gd name="connsiteX2" fmla="*/ 42685 w 42785"/>
                <a:gd name="connsiteY2" fmla="*/ 7536 h 11917"/>
                <a:gd name="connsiteX3" fmla="*/ 20503 w 42785"/>
                <a:gd name="connsiteY3" fmla="*/ 178 h 11917"/>
                <a:gd name="connsiteX4" fmla="*/ 161 w 42785"/>
                <a:gd name="connsiteY4" fmla="*/ 11647 h 11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5" h="11917">
                  <a:moveTo>
                    <a:pt x="161" y="11647"/>
                  </a:moveTo>
                  <a:cubicBezTo>
                    <a:pt x="1459" y="13162"/>
                    <a:pt x="9683" y="7860"/>
                    <a:pt x="21153" y="6886"/>
                  </a:cubicBezTo>
                  <a:cubicBezTo>
                    <a:pt x="32622" y="5588"/>
                    <a:pt x="41711" y="9267"/>
                    <a:pt x="42685" y="7536"/>
                  </a:cubicBezTo>
                  <a:cubicBezTo>
                    <a:pt x="43875" y="6129"/>
                    <a:pt x="34353" y="-1229"/>
                    <a:pt x="20503" y="178"/>
                  </a:cubicBezTo>
                  <a:cubicBezTo>
                    <a:pt x="6653" y="1368"/>
                    <a:pt x="-1246" y="10457"/>
                    <a:pt x="161" y="1164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506E2F60-4D30-4F8C-8B4B-1A24D9F32EB5}"/>
                </a:ext>
              </a:extLst>
            </p:cNvPr>
            <p:cNvSpPr/>
            <p:nvPr/>
          </p:nvSpPr>
          <p:spPr>
            <a:xfrm flipH="1">
              <a:off x="1357683" y="6870155"/>
              <a:ext cx="42838" cy="15889"/>
            </a:xfrm>
            <a:custGeom>
              <a:avLst/>
              <a:gdLst>
                <a:gd name="connsiteX0" fmla="*/ 84 w 38866"/>
                <a:gd name="connsiteY0" fmla="*/ 5793 h 14416"/>
                <a:gd name="connsiteX1" fmla="*/ 19885 w 38866"/>
                <a:gd name="connsiteY1" fmla="*/ 7416 h 14416"/>
                <a:gd name="connsiteX2" fmla="*/ 38604 w 38866"/>
                <a:gd name="connsiteY2" fmla="*/ 14233 h 14416"/>
                <a:gd name="connsiteX3" fmla="*/ 21400 w 38866"/>
                <a:gd name="connsiteY3" fmla="*/ 707 h 14416"/>
                <a:gd name="connsiteX4" fmla="*/ 84 w 38866"/>
                <a:gd name="connsiteY4" fmla="*/ 5793 h 1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66" h="14416">
                  <a:moveTo>
                    <a:pt x="84" y="5793"/>
                  </a:moveTo>
                  <a:cubicBezTo>
                    <a:pt x="950" y="7524"/>
                    <a:pt x="9606" y="4928"/>
                    <a:pt x="19885" y="7416"/>
                  </a:cubicBezTo>
                  <a:cubicBezTo>
                    <a:pt x="30273" y="9580"/>
                    <a:pt x="37090" y="15531"/>
                    <a:pt x="38604" y="14233"/>
                  </a:cubicBezTo>
                  <a:cubicBezTo>
                    <a:pt x="40227" y="13367"/>
                    <a:pt x="34276" y="3521"/>
                    <a:pt x="21400" y="707"/>
                  </a:cubicBezTo>
                  <a:cubicBezTo>
                    <a:pt x="8524" y="-2106"/>
                    <a:pt x="-998" y="4278"/>
                    <a:pt x="84" y="579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35B9722-8F19-4ED4-A6FA-D3E836A50184}"/>
                </a:ext>
              </a:extLst>
            </p:cNvPr>
            <p:cNvSpPr/>
            <p:nvPr/>
          </p:nvSpPr>
          <p:spPr>
            <a:xfrm flipH="1">
              <a:off x="1386680" y="6915672"/>
              <a:ext cx="36536" cy="20852"/>
            </a:xfrm>
            <a:custGeom>
              <a:avLst/>
              <a:gdLst>
                <a:gd name="connsiteX0" fmla="*/ 32794 w 33148"/>
                <a:gd name="connsiteY0" fmla="*/ 18815 h 18919"/>
                <a:gd name="connsiteX1" fmla="*/ 20026 w 33148"/>
                <a:gd name="connsiteY1" fmla="*/ 3342 h 18919"/>
                <a:gd name="connsiteX2" fmla="*/ 8 w 33148"/>
                <a:gd name="connsiteY2" fmla="*/ 2044 h 18919"/>
                <a:gd name="connsiteX3" fmla="*/ 16888 w 33148"/>
                <a:gd name="connsiteY3" fmla="*/ 9402 h 18919"/>
                <a:gd name="connsiteX4" fmla="*/ 32794 w 33148"/>
                <a:gd name="connsiteY4" fmla="*/ 18815 h 18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8" h="18919">
                  <a:moveTo>
                    <a:pt x="32794" y="18815"/>
                  </a:moveTo>
                  <a:cubicBezTo>
                    <a:pt x="34417" y="18058"/>
                    <a:pt x="30521" y="8644"/>
                    <a:pt x="20026" y="3342"/>
                  </a:cubicBezTo>
                  <a:cubicBezTo>
                    <a:pt x="9530" y="-2068"/>
                    <a:pt x="-317" y="313"/>
                    <a:pt x="8" y="2044"/>
                  </a:cubicBezTo>
                  <a:cubicBezTo>
                    <a:pt x="116" y="3991"/>
                    <a:pt x="8340" y="4857"/>
                    <a:pt x="16888" y="9402"/>
                  </a:cubicBezTo>
                  <a:cubicBezTo>
                    <a:pt x="25652" y="13730"/>
                    <a:pt x="31171" y="19789"/>
                    <a:pt x="32794" y="1881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843118BC-9F36-4645-B043-DE8651F22C46}"/>
                </a:ext>
              </a:extLst>
            </p:cNvPr>
            <p:cNvSpPr/>
            <p:nvPr/>
          </p:nvSpPr>
          <p:spPr>
            <a:xfrm flipH="1">
              <a:off x="1367150" y="6762191"/>
              <a:ext cx="38117" cy="27481"/>
            </a:xfrm>
            <a:custGeom>
              <a:avLst/>
              <a:gdLst>
                <a:gd name="connsiteX0" fmla="*/ 387 w 34583"/>
                <a:gd name="connsiteY0" fmla="*/ 24866 h 24933"/>
                <a:gd name="connsiteX1" fmla="*/ 16726 w 34583"/>
                <a:gd name="connsiteY1" fmla="*/ 11881 h 24933"/>
                <a:gd name="connsiteX2" fmla="*/ 34580 w 34583"/>
                <a:gd name="connsiteY2" fmla="*/ 1169 h 24933"/>
                <a:gd name="connsiteX3" fmla="*/ 12831 w 34583"/>
                <a:gd name="connsiteY3" fmla="*/ 6255 h 24933"/>
                <a:gd name="connsiteX4" fmla="*/ 387 w 34583"/>
                <a:gd name="connsiteY4" fmla="*/ 24866 h 24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83" h="24933">
                  <a:moveTo>
                    <a:pt x="387" y="24866"/>
                  </a:moveTo>
                  <a:cubicBezTo>
                    <a:pt x="2118" y="25731"/>
                    <a:pt x="7529" y="18157"/>
                    <a:pt x="16726" y="11881"/>
                  </a:cubicBezTo>
                  <a:cubicBezTo>
                    <a:pt x="25815" y="5497"/>
                    <a:pt x="34796" y="3117"/>
                    <a:pt x="34580" y="1169"/>
                  </a:cubicBezTo>
                  <a:cubicBezTo>
                    <a:pt x="34580" y="-670"/>
                    <a:pt x="23543" y="-1212"/>
                    <a:pt x="12831" y="6255"/>
                  </a:cubicBezTo>
                  <a:cubicBezTo>
                    <a:pt x="2118" y="13721"/>
                    <a:pt x="-1236" y="24325"/>
                    <a:pt x="387" y="2486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82EB0E75-24BB-4AF3-AA71-195D03F65DE4}"/>
                </a:ext>
              </a:extLst>
            </p:cNvPr>
            <p:cNvSpPr/>
            <p:nvPr/>
          </p:nvSpPr>
          <p:spPr>
            <a:xfrm flipH="1">
              <a:off x="1389753" y="6676962"/>
              <a:ext cx="39322" cy="65886"/>
            </a:xfrm>
            <a:custGeom>
              <a:avLst/>
              <a:gdLst>
                <a:gd name="connsiteX0" fmla="*/ 239 w 35676"/>
                <a:gd name="connsiteY0" fmla="*/ 59019 h 59777"/>
                <a:gd name="connsiteX1" fmla="*/ 15928 w 35676"/>
                <a:gd name="connsiteY1" fmla="*/ 46575 h 59777"/>
                <a:gd name="connsiteX2" fmla="*/ 28480 w 35676"/>
                <a:gd name="connsiteY2" fmla="*/ 28613 h 59777"/>
                <a:gd name="connsiteX3" fmla="*/ 33782 w 35676"/>
                <a:gd name="connsiteY3" fmla="*/ 16711 h 59777"/>
                <a:gd name="connsiteX4" fmla="*/ 35622 w 35676"/>
                <a:gd name="connsiteY4" fmla="*/ 9245 h 59777"/>
                <a:gd name="connsiteX5" fmla="*/ 29887 w 35676"/>
                <a:gd name="connsiteY5" fmla="*/ 480 h 59777"/>
                <a:gd name="connsiteX6" fmla="*/ 20365 w 35676"/>
                <a:gd name="connsiteY6" fmla="*/ 2212 h 59777"/>
                <a:gd name="connsiteX7" fmla="*/ 15063 w 35676"/>
                <a:gd name="connsiteY7" fmla="*/ 7622 h 59777"/>
                <a:gd name="connsiteX8" fmla="*/ 7921 w 35676"/>
                <a:gd name="connsiteY8" fmla="*/ 18658 h 59777"/>
                <a:gd name="connsiteX9" fmla="*/ 888 w 35676"/>
                <a:gd name="connsiteY9" fmla="*/ 39650 h 59777"/>
                <a:gd name="connsiteX10" fmla="*/ 1645 w 35676"/>
                <a:gd name="connsiteY10" fmla="*/ 59776 h 59777"/>
                <a:gd name="connsiteX11" fmla="*/ 5541 w 35676"/>
                <a:gd name="connsiteY11" fmla="*/ 40732 h 59777"/>
                <a:gd name="connsiteX12" fmla="*/ 13440 w 35676"/>
                <a:gd name="connsiteY12" fmla="*/ 21796 h 59777"/>
                <a:gd name="connsiteX13" fmla="*/ 20365 w 35676"/>
                <a:gd name="connsiteY13" fmla="*/ 11950 h 59777"/>
                <a:gd name="connsiteX14" fmla="*/ 27831 w 35676"/>
                <a:gd name="connsiteY14" fmla="*/ 7081 h 59777"/>
                <a:gd name="connsiteX15" fmla="*/ 28913 w 35676"/>
                <a:gd name="connsiteY15" fmla="*/ 9137 h 59777"/>
                <a:gd name="connsiteX16" fmla="*/ 27506 w 35676"/>
                <a:gd name="connsiteY16" fmla="*/ 14547 h 59777"/>
                <a:gd name="connsiteX17" fmla="*/ 22853 w 35676"/>
                <a:gd name="connsiteY17" fmla="*/ 25800 h 59777"/>
                <a:gd name="connsiteX18" fmla="*/ 12141 w 35676"/>
                <a:gd name="connsiteY18" fmla="*/ 43546 h 59777"/>
                <a:gd name="connsiteX19" fmla="*/ 239 w 35676"/>
                <a:gd name="connsiteY19" fmla="*/ 59019 h 5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676" h="59777">
                  <a:moveTo>
                    <a:pt x="239" y="59019"/>
                  </a:moveTo>
                  <a:cubicBezTo>
                    <a:pt x="672" y="59668"/>
                    <a:pt x="7597" y="55881"/>
                    <a:pt x="15928" y="46575"/>
                  </a:cubicBezTo>
                  <a:cubicBezTo>
                    <a:pt x="20148" y="41923"/>
                    <a:pt x="24585" y="35863"/>
                    <a:pt x="28480" y="28613"/>
                  </a:cubicBezTo>
                  <a:cubicBezTo>
                    <a:pt x="30428" y="24934"/>
                    <a:pt x="32267" y="20931"/>
                    <a:pt x="33782" y="16711"/>
                  </a:cubicBezTo>
                  <a:cubicBezTo>
                    <a:pt x="34540" y="14655"/>
                    <a:pt x="35513" y="12383"/>
                    <a:pt x="35622" y="9245"/>
                  </a:cubicBezTo>
                  <a:cubicBezTo>
                    <a:pt x="36054" y="6323"/>
                    <a:pt x="33890" y="1454"/>
                    <a:pt x="29887" y="480"/>
                  </a:cubicBezTo>
                  <a:cubicBezTo>
                    <a:pt x="26424" y="-710"/>
                    <a:pt x="22745" y="480"/>
                    <a:pt x="20365" y="2212"/>
                  </a:cubicBezTo>
                  <a:cubicBezTo>
                    <a:pt x="17984" y="3943"/>
                    <a:pt x="16469" y="5890"/>
                    <a:pt x="15063" y="7622"/>
                  </a:cubicBezTo>
                  <a:cubicBezTo>
                    <a:pt x="12250" y="11192"/>
                    <a:pt x="9869" y="14980"/>
                    <a:pt x="7921" y="18658"/>
                  </a:cubicBezTo>
                  <a:cubicBezTo>
                    <a:pt x="4026" y="26125"/>
                    <a:pt x="1862" y="33374"/>
                    <a:pt x="888" y="39650"/>
                  </a:cubicBezTo>
                  <a:cubicBezTo>
                    <a:pt x="-1168" y="52094"/>
                    <a:pt x="888" y="59884"/>
                    <a:pt x="1645" y="59776"/>
                  </a:cubicBezTo>
                  <a:cubicBezTo>
                    <a:pt x="2728" y="59776"/>
                    <a:pt x="2511" y="52094"/>
                    <a:pt x="5541" y="40732"/>
                  </a:cubicBezTo>
                  <a:cubicBezTo>
                    <a:pt x="7056" y="34997"/>
                    <a:pt x="9544" y="28505"/>
                    <a:pt x="13440" y="21796"/>
                  </a:cubicBezTo>
                  <a:cubicBezTo>
                    <a:pt x="15388" y="18442"/>
                    <a:pt x="17660" y="15088"/>
                    <a:pt x="20365" y="11950"/>
                  </a:cubicBezTo>
                  <a:cubicBezTo>
                    <a:pt x="23070" y="8487"/>
                    <a:pt x="25883" y="6215"/>
                    <a:pt x="27831" y="7081"/>
                  </a:cubicBezTo>
                  <a:cubicBezTo>
                    <a:pt x="28588" y="7405"/>
                    <a:pt x="28805" y="7622"/>
                    <a:pt x="28913" y="9137"/>
                  </a:cubicBezTo>
                  <a:cubicBezTo>
                    <a:pt x="28913" y="10651"/>
                    <a:pt x="28264" y="12491"/>
                    <a:pt x="27506" y="14547"/>
                  </a:cubicBezTo>
                  <a:cubicBezTo>
                    <a:pt x="26100" y="18550"/>
                    <a:pt x="24585" y="22338"/>
                    <a:pt x="22853" y="25800"/>
                  </a:cubicBezTo>
                  <a:cubicBezTo>
                    <a:pt x="19499" y="32833"/>
                    <a:pt x="15712" y="38785"/>
                    <a:pt x="12141" y="43546"/>
                  </a:cubicBezTo>
                  <a:cubicBezTo>
                    <a:pt x="5216" y="53068"/>
                    <a:pt x="-410" y="58153"/>
                    <a:pt x="239" y="5901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529F4B7E-685E-428D-A57D-92CAC350BE1B}"/>
                </a:ext>
              </a:extLst>
            </p:cNvPr>
            <p:cNvSpPr/>
            <p:nvPr/>
          </p:nvSpPr>
          <p:spPr>
            <a:xfrm flipH="1">
              <a:off x="1424430" y="6695505"/>
              <a:ext cx="60513" cy="47123"/>
            </a:xfrm>
            <a:custGeom>
              <a:avLst/>
              <a:gdLst>
                <a:gd name="connsiteX0" fmla="*/ 54713 w 54902"/>
                <a:gd name="connsiteY0" fmla="*/ 42735 h 42754"/>
                <a:gd name="connsiteX1" fmla="*/ 46922 w 54902"/>
                <a:gd name="connsiteY1" fmla="*/ 24233 h 42754"/>
                <a:gd name="connsiteX2" fmla="*/ 31232 w 54902"/>
                <a:gd name="connsiteY2" fmla="*/ 8651 h 42754"/>
                <a:gd name="connsiteX3" fmla="*/ 19763 w 54902"/>
                <a:gd name="connsiteY3" fmla="*/ 2267 h 42754"/>
                <a:gd name="connsiteX4" fmla="*/ 3424 w 54902"/>
                <a:gd name="connsiteY4" fmla="*/ 2159 h 42754"/>
                <a:gd name="connsiteX5" fmla="*/ 286 w 54902"/>
                <a:gd name="connsiteY5" fmla="*/ 11681 h 42754"/>
                <a:gd name="connsiteX6" fmla="*/ 3207 w 54902"/>
                <a:gd name="connsiteY6" fmla="*/ 18714 h 42754"/>
                <a:gd name="connsiteX7" fmla="*/ 11539 w 54902"/>
                <a:gd name="connsiteY7" fmla="*/ 29318 h 42754"/>
                <a:gd name="connsiteX8" fmla="*/ 31016 w 54902"/>
                <a:gd name="connsiteY8" fmla="*/ 40355 h 42754"/>
                <a:gd name="connsiteX9" fmla="*/ 51142 w 54902"/>
                <a:gd name="connsiteY9" fmla="*/ 39922 h 42754"/>
                <a:gd name="connsiteX10" fmla="*/ 32531 w 54902"/>
                <a:gd name="connsiteY10" fmla="*/ 35810 h 42754"/>
                <a:gd name="connsiteX11" fmla="*/ 15976 w 54902"/>
                <a:gd name="connsiteY11" fmla="*/ 24882 h 42754"/>
                <a:gd name="connsiteX12" fmla="*/ 9159 w 54902"/>
                <a:gd name="connsiteY12" fmla="*/ 15576 h 42754"/>
                <a:gd name="connsiteX13" fmla="*/ 7644 w 54902"/>
                <a:gd name="connsiteY13" fmla="*/ 7461 h 42754"/>
                <a:gd name="connsiteX14" fmla="*/ 17166 w 54902"/>
                <a:gd name="connsiteY14" fmla="*/ 8327 h 42754"/>
                <a:gd name="connsiteX15" fmla="*/ 27770 w 54902"/>
                <a:gd name="connsiteY15" fmla="*/ 13845 h 42754"/>
                <a:gd name="connsiteX16" fmla="*/ 43135 w 54902"/>
                <a:gd name="connsiteY16" fmla="*/ 27154 h 42754"/>
                <a:gd name="connsiteX17" fmla="*/ 54713 w 54902"/>
                <a:gd name="connsiteY17" fmla="*/ 42735 h 4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4902" h="42754">
                  <a:moveTo>
                    <a:pt x="54713" y="42735"/>
                  </a:moveTo>
                  <a:cubicBezTo>
                    <a:pt x="55470" y="42519"/>
                    <a:pt x="54172" y="34620"/>
                    <a:pt x="46922" y="24233"/>
                  </a:cubicBezTo>
                  <a:cubicBezTo>
                    <a:pt x="43351" y="19039"/>
                    <a:pt x="38157" y="13520"/>
                    <a:pt x="31232" y="8651"/>
                  </a:cubicBezTo>
                  <a:cubicBezTo>
                    <a:pt x="27770" y="6271"/>
                    <a:pt x="23983" y="3998"/>
                    <a:pt x="19763" y="2267"/>
                  </a:cubicBezTo>
                  <a:cubicBezTo>
                    <a:pt x="15434" y="644"/>
                    <a:pt x="9916" y="-1845"/>
                    <a:pt x="3424" y="2159"/>
                  </a:cubicBezTo>
                  <a:cubicBezTo>
                    <a:pt x="178" y="4431"/>
                    <a:pt x="-472" y="8976"/>
                    <a:pt x="286" y="11681"/>
                  </a:cubicBezTo>
                  <a:cubicBezTo>
                    <a:pt x="935" y="14603"/>
                    <a:pt x="2126" y="16658"/>
                    <a:pt x="3207" y="18714"/>
                  </a:cubicBezTo>
                  <a:cubicBezTo>
                    <a:pt x="5480" y="22826"/>
                    <a:pt x="8401" y="26397"/>
                    <a:pt x="11539" y="29318"/>
                  </a:cubicBezTo>
                  <a:cubicBezTo>
                    <a:pt x="17815" y="35270"/>
                    <a:pt x="24848" y="38732"/>
                    <a:pt x="31016" y="40355"/>
                  </a:cubicBezTo>
                  <a:cubicBezTo>
                    <a:pt x="43568" y="43709"/>
                    <a:pt x="51467" y="40463"/>
                    <a:pt x="51142" y="39922"/>
                  </a:cubicBezTo>
                  <a:cubicBezTo>
                    <a:pt x="51034" y="38732"/>
                    <a:pt x="43351" y="39922"/>
                    <a:pt x="32531" y="35810"/>
                  </a:cubicBezTo>
                  <a:cubicBezTo>
                    <a:pt x="27229" y="33755"/>
                    <a:pt x="21169" y="30292"/>
                    <a:pt x="15976" y="24882"/>
                  </a:cubicBezTo>
                  <a:cubicBezTo>
                    <a:pt x="13379" y="22177"/>
                    <a:pt x="10998" y="19039"/>
                    <a:pt x="9159" y="15576"/>
                  </a:cubicBezTo>
                  <a:cubicBezTo>
                    <a:pt x="6995" y="11789"/>
                    <a:pt x="6129" y="8110"/>
                    <a:pt x="7644" y="7461"/>
                  </a:cubicBezTo>
                  <a:cubicBezTo>
                    <a:pt x="9159" y="6163"/>
                    <a:pt x="13811" y="6704"/>
                    <a:pt x="17166" y="8327"/>
                  </a:cubicBezTo>
                  <a:cubicBezTo>
                    <a:pt x="20953" y="9842"/>
                    <a:pt x="24524" y="11789"/>
                    <a:pt x="27770" y="13845"/>
                  </a:cubicBezTo>
                  <a:cubicBezTo>
                    <a:pt x="34154" y="17957"/>
                    <a:pt x="39348" y="22826"/>
                    <a:pt x="43135" y="27154"/>
                  </a:cubicBezTo>
                  <a:cubicBezTo>
                    <a:pt x="50817" y="36135"/>
                    <a:pt x="53630" y="43168"/>
                    <a:pt x="54713" y="4273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3EB03617-81BB-484F-9E39-A9CF2D20F6E5}"/>
                </a:ext>
              </a:extLst>
            </p:cNvPr>
            <p:cNvSpPr/>
            <p:nvPr/>
          </p:nvSpPr>
          <p:spPr>
            <a:xfrm flipH="1">
              <a:off x="861370" y="5855173"/>
              <a:ext cx="1210272" cy="884931"/>
            </a:xfrm>
            <a:custGeom>
              <a:avLst/>
              <a:gdLst>
                <a:gd name="connsiteX0" fmla="*/ 271382 w 1098053"/>
                <a:gd name="connsiteY0" fmla="*/ 11691 h 802878"/>
                <a:gd name="connsiteX1" fmla="*/ 124225 w 1098053"/>
                <a:gd name="connsiteY1" fmla="*/ 9419 h 802878"/>
                <a:gd name="connsiteX2" fmla="*/ 56813 w 1098053"/>
                <a:gd name="connsiteY2" fmla="*/ 54864 h 802878"/>
                <a:gd name="connsiteX3" fmla="*/ 26516 w 1098053"/>
                <a:gd name="connsiteY3" fmla="*/ 319423 h 802878"/>
                <a:gd name="connsiteX4" fmla="*/ 508024 w 1098053"/>
                <a:gd name="connsiteY4" fmla="*/ 802879 h 802878"/>
                <a:gd name="connsiteX5" fmla="*/ 741745 w 1098053"/>
                <a:gd name="connsiteY5" fmla="*/ 674549 h 802878"/>
                <a:gd name="connsiteX6" fmla="*/ 635597 w 1098053"/>
                <a:gd name="connsiteY6" fmla="*/ 532693 h 802878"/>
                <a:gd name="connsiteX7" fmla="*/ 903077 w 1098053"/>
                <a:gd name="connsiteY7" fmla="*/ 580411 h 802878"/>
                <a:gd name="connsiteX8" fmla="*/ 1096654 w 1098053"/>
                <a:gd name="connsiteY8" fmla="*/ 362705 h 802878"/>
                <a:gd name="connsiteX9" fmla="*/ 1074905 w 1098053"/>
                <a:gd name="connsiteY9" fmla="*/ 323968 h 802878"/>
                <a:gd name="connsiteX10" fmla="*/ 899506 w 1098053"/>
                <a:gd name="connsiteY10" fmla="*/ 186440 h 802878"/>
                <a:gd name="connsiteX11" fmla="*/ 271382 w 1098053"/>
                <a:gd name="connsiteY11" fmla="*/ 11691 h 80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8053" h="802878">
                  <a:moveTo>
                    <a:pt x="271382" y="11691"/>
                  </a:moveTo>
                  <a:cubicBezTo>
                    <a:pt x="223664" y="-1402"/>
                    <a:pt x="171401" y="-5297"/>
                    <a:pt x="124225" y="9419"/>
                  </a:cubicBezTo>
                  <a:cubicBezTo>
                    <a:pt x="97931" y="17642"/>
                    <a:pt x="72395" y="32791"/>
                    <a:pt x="56813" y="54864"/>
                  </a:cubicBezTo>
                  <a:cubicBezTo>
                    <a:pt x="6607" y="125954"/>
                    <a:pt x="-25422" y="241733"/>
                    <a:pt x="26516" y="319423"/>
                  </a:cubicBezTo>
                  <a:cubicBezTo>
                    <a:pt x="70339" y="384995"/>
                    <a:pt x="508024" y="802879"/>
                    <a:pt x="508024" y="802879"/>
                  </a:cubicBezTo>
                  <a:lnTo>
                    <a:pt x="741745" y="674549"/>
                  </a:lnTo>
                  <a:lnTo>
                    <a:pt x="635597" y="532693"/>
                  </a:lnTo>
                  <a:cubicBezTo>
                    <a:pt x="635597" y="532693"/>
                    <a:pt x="823655" y="596534"/>
                    <a:pt x="903077" y="580411"/>
                  </a:cubicBezTo>
                  <a:cubicBezTo>
                    <a:pt x="982499" y="564289"/>
                    <a:pt x="1112993" y="487464"/>
                    <a:pt x="1096654" y="362705"/>
                  </a:cubicBezTo>
                  <a:lnTo>
                    <a:pt x="1074905" y="323968"/>
                  </a:lnTo>
                  <a:cubicBezTo>
                    <a:pt x="1037034" y="256665"/>
                    <a:pt x="973951" y="207107"/>
                    <a:pt x="899506" y="186440"/>
                  </a:cubicBezTo>
                  <a:lnTo>
                    <a:pt x="271382" y="11691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D865D92E-7558-4EDD-B746-A38D8A60B4EB}"/>
                </a:ext>
              </a:extLst>
            </p:cNvPr>
            <p:cNvSpPr/>
            <p:nvPr/>
          </p:nvSpPr>
          <p:spPr>
            <a:xfrm flipH="1">
              <a:off x="1254922" y="6290839"/>
              <a:ext cx="712602" cy="451769"/>
            </a:xfrm>
            <a:custGeom>
              <a:avLst/>
              <a:gdLst>
                <a:gd name="connsiteX0" fmla="*/ 646523 w 646528"/>
                <a:gd name="connsiteY0" fmla="*/ 279603 h 409880"/>
                <a:gd name="connsiteX1" fmla="*/ 642303 w 646528"/>
                <a:gd name="connsiteY1" fmla="*/ 282417 h 409880"/>
                <a:gd name="connsiteX2" fmla="*/ 629644 w 646528"/>
                <a:gd name="connsiteY2" fmla="*/ 289775 h 409880"/>
                <a:gd name="connsiteX3" fmla="*/ 581817 w 646528"/>
                <a:gd name="connsiteY3" fmla="*/ 316609 h 409880"/>
                <a:gd name="connsiteX4" fmla="*/ 413993 w 646528"/>
                <a:gd name="connsiteY4" fmla="*/ 409015 h 409880"/>
                <a:gd name="connsiteX5" fmla="*/ 412370 w 646528"/>
                <a:gd name="connsiteY5" fmla="*/ 409881 h 409880"/>
                <a:gd name="connsiteX6" fmla="*/ 411071 w 646528"/>
                <a:gd name="connsiteY6" fmla="*/ 408582 h 409880"/>
                <a:gd name="connsiteX7" fmla="*/ 299297 w 646528"/>
                <a:gd name="connsiteY7" fmla="*/ 298647 h 409880"/>
                <a:gd name="connsiteX8" fmla="*/ 86892 w 646528"/>
                <a:gd name="connsiteY8" fmla="*/ 88191 h 409880"/>
                <a:gd name="connsiteX9" fmla="*/ 22943 w 646528"/>
                <a:gd name="connsiteY9" fmla="*/ 24026 h 409880"/>
                <a:gd name="connsiteX10" fmla="*/ 5739 w 646528"/>
                <a:gd name="connsiteY10" fmla="*/ 6388 h 409880"/>
                <a:gd name="connsiteX11" fmla="*/ 4 w 646528"/>
                <a:gd name="connsiteY11" fmla="*/ 4 h 409880"/>
                <a:gd name="connsiteX12" fmla="*/ 6497 w 646528"/>
                <a:gd name="connsiteY12" fmla="*/ 5631 h 409880"/>
                <a:gd name="connsiteX13" fmla="*/ 24350 w 646528"/>
                <a:gd name="connsiteY13" fmla="*/ 22619 h 409880"/>
                <a:gd name="connsiteX14" fmla="*/ 89489 w 646528"/>
                <a:gd name="connsiteY14" fmla="*/ 85593 h 409880"/>
                <a:gd name="connsiteX15" fmla="*/ 302976 w 646528"/>
                <a:gd name="connsiteY15" fmla="*/ 294968 h 409880"/>
                <a:gd name="connsiteX16" fmla="*/ 414426 w 646528"/>
                <a:gd name="connsiteY16" fmla="*/ 405120 h 409880"/>
                <a:gd name="connsiteX17" fmla="*/ 411504 w 646528"/>
                <a:gd name="connsiteY17" fmla="*/ 404687 h 409880"/>
                <a:gd name="connsiteX18" fmla="*/ 580194 w 646528"/>
                <a:gd name="connsiteY18" fmla="*/ 314012 h 409880"/>
                <a:gd name="connsiteX19" fmla="*/ 628778 w 646528"/>
                <a:gd name="connsiteY19" fmla="*/ 288368 h 409880"/>
                <a:gd name="connsiteX20" fmla="*/ 641762 w 646528"/>
                <a:gd name="connsiteY20" fmla="*/ 281767 h 409880"/>
                <a:gd name="connsiteX21" fmla="*/ 646523 w 646528"/>
                <a:gd name="connsiteY21" fmla="*/ 279603 h 40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46528" h="409880">
                  <a:moveTo>
                    <a:pt x="646523" y="279603"/>
                  </a:moveTo>
                  <a:cubicBezTo>
                    <a:pt x="646631" y="279711"/>
                    <a:pt x="645117" y="280686"/>
                    <a:pt x="642303" y="282417"/>
                  </a:cubicBezTo>
                  <a:cubicBezTo>
                    <a:pt x="639057" y="284256"/>
                    <a:pt x="634837" y="286745"/>
                    <a:pt x="629644" y="289775"/>
                  </a:cubicBezTo>
                  <a:cubicBezTo>
                    <a:pt x="618066" y="296267"/>
                    <a:pt x="601943" y="305356"/>
                    <a:pt x="581817" y="316609"/>
                  </a:cubicBezTo>
                  <a:cubicBezTo>
                    <a:pt x="540159" y="339548"/>
                    <a:pt x="482053" y="371469"/>
                    <a:pt x="413993" y="409015"/>
                  </a:cubicBezTo>
                  <a:lnTo>
                    <a:pt x="412370" y="409881"/>
                  </a:lnTo>
                  <a:lnTo>
                    <a:pt x="411071" y="408582"/>
                  </a:lnTo>
                  <a:cubicBezTo>
                    <a:pt x="376662" y="374715"/>
                    <a:pt x="338899" y="337601"/>
                    <a:pt x="299297" y="298647"/>
                  </a:cubicBezTo>
                  <a:cubicBezTo>
                    <a:pt x="216520" y="216629"/>
                    <a:pt x="141643" y="142400"/>
                    <a:pt x="86892" y="88191"/>
                  </a:cubicBezTo>
                  <a:cubicBezTo>
                    <a:pt x="60166" y="61356"/>
                    <a:pt x="38417" y="39499"/>
                    <a:pt x="22943" y="24026"/>
                  </a:cubicBezTo>
                  <a:cubicBezTo>
                    <a:pt x="15694" y="16667"/>
                    <a:pt x="9959" y="10716"/>
                    <a:pt x="5739" y="6388"/>
                  </a:cubicBezTo>
                  <a:cubicBezTo>
                    <a:pt x="1844" y="2276"/>
                    <a:pt x="-104" y="112"/>
                    <a:pt x="4" y="4"/>
                  </a:cubicBezTo>
                  <a:cubicBezTo>
                    <a:pt x="112" y="-104"/>
                    <a:pt x="2385" y="1844"/>
                    <a:pt x="6497" y="5631"/>
                  </a:cubicBezTo>
                  <a:cubicBezTo>
                    <a:pt x="10933" y="9851"/>
                    <a:pt x="16884" y="15477"/>
                    <a:pt x="24350" y="22619"/>
                  </a:cubicBezTo>
                  <a:cubicBezTo>
                    <a:pt x="40040" y="37876"/>
                    <a:pt x="62222" y="59300"/>
                    <a:pt x="89489" y="85593"/>
                  </a:cubicBezTo>
                  <a:cubicBezTo>
                    <a:pt x="144457" y="139479"/>
                    <a:pt x="219767" y="213383"/>
                    <a:pt x="302976" y="294968"/>
                  </a:cubicBezTo>
                  <a:cubicBezTo>
                    <a:pt x="342470" y="333922"/>
                    <a:pt x="380125" y="371144"/>
                    <a:pt x="414426" y="405120"/>
                  </a:cubicBezTo>
                  <a:lnTo>
                    <a:pt x="411504" y="404687"/>
                  </a:lnTo>
                  <a:cubicBezTo>
                    <a:pt x="479889" y="367898"/>
                    <a:pt x="538319" y="336519"/>
                    <a:pt x="580194" y="314012"/>
                  </a:cubicBezTo>
                  <a:cubicBezTo>
                    <a:pt x="600645" y="303192"/>
                    <a:pt x="616983" y="294536"/>
                    <a:pt x="628778" y="288368"/>
                  </a:cubicBezTo>
                  <a:cubicBezTo>
                    <a:pt x="634188" y="285663"/>
                    <a:pt x="638408" y="283391"/>
                    <a:pt x="641762" y="281767"/>
                  </a:cubicBezTo>
                  <a:cubicBezTo>
                    <a:pt x="644900" y="280253"/>
                    <a:pt x="646523" y="279495"/>
                    <a:pt x="646523" y="279603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EB315144-AE87-456D-A165-9E1BCBB95C97}"/>
                </a:ext>
              </a:extLst>
            </p:cNvPr>
            <p:cNvSpPr/>
            <p:nvPr/>
          </p:nvSpPr>
          <p:spPr>
            <a:xfrm flipH="1">
              <a:off x="1255877" y="6042778"/>
              <a:ext cx="623151" cy="553501"/>
            </a:xfrm>
            <a:custGeom>
              <a:avLst/>
              <a:gdLst>
                <a:gd name="connsiteX0" fmla="*/ 0 w 565371"/>
                <a:gd name="connsiteY0" fmla="*/ 3030 h 502179"/>
                <a:gd name="connsiteX1" fmla="*/ 8007 w 565371"/>
                <a:gd name="connsiteY1" fmla="*/ 1840 h 502179"/>
                <a:gd name="connsiteX2" fmla="*/ 31055 w 565371"/>
                <a:gd name="connsiteY2" fmla="*/ 217 h 502179"/>
                <a:gd name="connsiteX3" fmla="*/ 115778 w 565371"/>
                <a:gd name="connsiteY3" fmla="*/ 8224 h 502179"/>
                <a:gd name="connsiteX4" fmla="*/ 171071 w 565371"/>
                <a:gd name="connsiteY4" fmla="*/ 28891 h 502179"/>
                <a:gd name="connsiteX5" fmla="*/ 225714 w 565371"/>
                <a:gd name="connsiteY5" fmla="*/ 68926 h 502179"/>
                <a:gd name="connsiteX6" fmla="*/ 320609 w 565371"/>
                <a:gd name="connsiteY6" fmla="*/ 190764 h 502179"/>
                <a:gd name="connsiteX7" fmla="*/ 414530 w 565371"/>
                <a:gd name="connsiteY7" fmla="*/ 312926 h 502179"/>
                <a:gd name="connsiteX8" fmla="*/ 493086 w 565371"/>
                <a:gd name="connsiteY8" fmla="*/ 411392 h 502179"/>
                <a:gd name="connsiteX9" fmla="*/ 546214 w 565371"/>
                <a:gd name="connsiteY9" fmla="*/ 477613 h 502179"/>
                <a:gd name="connsiteX10" fmla="*/ 560605 w 565371"/>
                <a:gd name="connsiteY10" fmla="*/ 495683 h 502179"/>
                <a:gd name="connsiteX11" fmla="*/ 565366 w 565371"/>
                <a:gd name="connsiteY11" fmla="*/ 502175 h 502179"/>
                <a:gd name="connsiteX12" fmla="*/ 559848 w 565371"/>
                <a:gd name="connsiteY12" fmla="*/ 496332 h 502179"/>
                <a:gd name="connsiteX13" fmla="*/ 544699 w 565371"/>
                <a:gd name="connsiteY13" fmla="*/ 478911 h 502179"/>
                <a:gd name="connsiteX14" fmla="*/ 490272 w 565371"/>
                <a:gd name="connsiteY14" fmla="*/ 413664 h 502179"/>
                <a:gd name="connsiteX15" fmla="*/ 410851 w 565371"/>
                <a:gd name="connsiteY15" fmla="*/ 315848 h 502179"/>
                <a:gd name="connsiteX16" fmla="*/ 316389 w 565371"/>
                <a:gd name="connsiteY16" fmla="*/ 193685 h 502179"/>
                <a:gd name="connsiteX17" fmla="*/ 222467 w 565371"/>
                <a:gd name="connsiteY17" fmla="*/ 72280 h 502179"/>
                <a:gd name="connsiteX18" fmla="*/ 169123 w 565371"/>
                <a:gd name="connsiteY18" fmla="*/ 32570 h 502179"/>
                <a:gd name="connsiteX19" fmla="*/ 115021 w 565371"/>
                <a:gd name="connsiteY19" fmla="*/ 11686 h 502179"/>
                <a:gd name="connsiteX20" fmla="*/ 31271 w 565371"/>
                <a:gd name="connsiteY20" fmla="*/ 2164 h 502179"/>
                <a:gd name="connsiteX21" fmla="*/ 8224 w 565371"/>
                <a:gd name="connsiteY21" fmla="*/ 2813 h 502179"/>
                <a:gd name="connsiteX22" fmla="*/ 0 w 565371"/>
                <a:gd name="connsiteY22" fmla="*/ 3030 h 50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65371" h="502179">
                  <a:moveTo>
                    <a:pt x="0" y="3030"/>
                  </a:moveTo>
                  <a:cubicBezTo>
                    <a:pt x="0" y="2813"/>
                    <a:pt x="2705" y="2489"/>
                    <a:pt x="8007" y="1840"/>
                  </a:cubicBezTo>
                  <a:cubicBezTo>
                    <a:pt x="13309" y="1298"/>
                    <a:pt x="20992" y="541"/>
                    <a:pt x="31055" y="217"/>
                  </a:cubicBezTo>
                  <a:cubicBezTo>
                    <a:pt x="51072" y="-433"/>
                    <a:pt x="80504" y="-108"/>
                    <a:pt x="115778" y="8224"/>
                  </a:cubicBezTo>
                  <a:cubicBezTo>
                    <a:pt x="133307" y="12552"/>
                    <a:pt x="152135" y="18936"/>
                    <a:pt x="171071" y="28891"/>
                  </a:cubicBezTo>
                  <a:cubicBezTo>
                    <a:pt x="189790" y="38954"/>
                    <a:pt x="208509" y="52263"/>
                    <a:pt x="225714" y="68926"/>
                  </a:cubicBezTo>
                  <a:cubicBezTo>
                    <a:pt x="260555" y="101928"/>
                    <a:pt x="289229" y="146184"/>
                    <a:pt x="320609" y="190764"/>
                  </a:cubicBezTo>
                  <a:cubicBezTo>
                    <a:pt x="352421" y="235019"/>
                    <a:pt x="385315" y="275596"/>
                    <a:pt x="414530" y="312926"/>
                  </a:cubicBezTo>
                  <a:cubicBezTo>
                    <a:pt x="443961" y="349932"/>
                    <a:pt x="470580" y="383259"/>
                    <a:pt x="493086" y="411392"/>
                  </a:cubicBezTo>
                  <a:cubicBezTo>
                    <a:pt x="515267" y="439092"/>
                    <a:pt x="533338" y="461598"/>
                    <a:pt x="546214" y="477613"/>
                  </a:cubicBezTo>
                  <a:cubicBezTo>
                    <a:pt x="552165" y="485187"/>
                    <a:pt x="557034" y="491138"/>
                    <a:pt x="560605" y="495683"/>
                  </a:cubicBezTo>
                  <a:cubicBezTo>
                    <a:pt x="563851" y="499794"/>
                    <a:pt x="565474" y="502067"/>
                    <a:pt x="565366" y="502175"/>
                  </a:cubicBezTo>
                  <a:cubicBezTo>
                    <a:pt x="565258" y="502283"/>
                    <a:pt x="563310" y="500227"/>
                    <a:pt x="559848" y="496332"/>
                  </a:cubicBezTo>
                  <a:cubicBezTo>
                    <a:pt x="556061" y="492004"/>
                    <a:pt x="551083" y="486161"/>
                    <a:pt x="544699" y="478911"/>
                  </a:cubicBezTo>
                  <a:cubicBezTo>
                    <a:pt x="531715" y="463654"/>
                    <a:pt x="513104" y="441364"/>
                    <a:pt x="490272" y="413664"/>
                  </a:cubicBezTo>
                  <a:cubicBezTo>
                    <a:pt x="467441" y="385964"/>
                    <a:pt x="440499" y="352854"/>
                    <a:pt x="410851" y="315848"/>
                  </a:cubicBezTo>
                  <a:cubicBezTo>
                    <a:pt x="381311" y="278734"/>
                    <a:pt x="348417" y="238266"/>
                    <a:pt x="316389" y="193685"/>
                  </a:cubicBezTo>
                  <a:cubicBezTo>
                    <a:pt x="284901" y="148889"/>
                    <a:pt x="256552" y="104958"/>
                    <a:pt x="222467" y="72280"/>
                  </a:cubicBezTo>
                  <a:cubicBezTo>
                    <a:pt x="205696" y="55833"/>
                    <a:pt x="187409" y="42632"/>
                    <a:pt x="169123" y="32570"/>
                  </a:cubicBezTo>
                  <a:cubicBezTo>
                    <a:pt x="150728" y="22723"/>
                    <a:pt x="132225" y="16231"/>
                    <a:pt x="115021" y="11686"/>
                  </a:cubicBezTo>
                  <a:cubicBezTo>
                    <a:pt x="80396" y="3030"/>
                    <a:pt x="51181" y="2164"/>
                    <a:pt x="31271" y="2164"/>
                  </a:cubicBezTo>
                  <a:cubicBezTo>
                    <a:pt x="21316" y="2164"/>
                    <a:pt x="13526" y="2489"/>
                    <a:pt x="8224" y="2813"/>
                  </a:cubicBezTo>
                  <a:cubicBezTo>
                    <a:pt x="2813" y="3138"/>
                    <a:pt x="0" y="3246"/>
                    <a:pt x="0" y="3030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F60E109B-2902-4B1A-B242-A582094DEB45}"/>
                </a:ext>
              </a:extLst>
            </p:cNvPr>
            <p:cNvSpPr/>
            <p:nvPr/>
          </p:nvSpPr>
          <p:spPr>
            <a:xfrm flipH="1">
              <a:off x="1636739" y="6008482"/>
              <a:ext cx="110763" cy="111121"/>
            </a:xfrm>
            <a:custGeom>
              <a:avLst/>
              <a:gdLst>
                <a:gd name="connsiteX0" fmla="*/ 100432 w 100493"/>
                <a:gd name="connsiteY0" fmla="*/ 100799 h 100818"/>
                <a:gd name="connsiteX1" fmla="*/ 55961 w 100493"/>
                <a:gd name="connsiteY1" fmla="*/ 44750 h 100818"/>
                <a:gd name="connsiteX2" fmla="*/ 19 w 100493"/>
                <a:gd name="connsiteY2" fmla="*/ 61 h 100818"/>
                <a:gd name="connsiteX3" fmla="*/ 19171 w 100493"/>
                <a:gd name="connsiteY3" fmla="*/ 9259 h 100818"/>
                <a:gd name="connsiteX4" fmla="*/ 59531 w 100493"/>
                <a:gd name="connsiteY4" fmla="*/ 41071 h 100818"/>
                <a:gd name="connsiteX5" fmla="*/ 91127 w 100493"/>
                <a:gd name="connsiteY5" fmla="*/ 81539 h 100818"/>
                <a:gd name="connsiteX6" fmla="*/ 100432 w 100493"/>
                <a:gd name="connsiteY6" fmla="*/ 100799 h 100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493" h="100818">
                  <a:moveTo>
                    <a:pt x="100432" y="100799"/>
                  </a:moveTo>
                  <a:cubicBezTo>
                    <a:pt x="99026" y="101665"/>
                    <a:pt x="83985" y="72666"/>
                    <a:pt x="55961" y="44750"/>
                  </a:cubicBezTo>
                  <a:cubicBezTo>
                    <a:pt x="28152" y="16508"/>
                    <a:pt x="-847" y="1468"/>
                    <a:pt x="19" y="61"/>
                  </a:cubicBezTo>
                  <a:cubicBezTo>
                    <a:pt x="344" y="-479"/>
                    <a:pt x="7918" y="2550"/>
                    <a:pt x="19171" y="9259"/>
                  </a:cubicBezTo>
                  <a:cubicBezTo>
                    <a:pt x="30533" y="15967"/>
                    <a:pt x="45356" y="26788"/>
                    <a:pt x="59531" y="41071"/>
                  </a:cubicBezTo>
                  <a:cubicBezTo>
                    <a:pt x="73706" y="55354"/>
                    <a:pt x="84526" y="70286"/>
                    <a:pt x="91127" y="81539"/>
                  </a:cubicBezTo>
                  <a:cubicBezTo>
                    <a:pt x="97944" y="93009"/>
                    <a:pt x="100973" y="100583"/>
                    <a:pt x="100432" y="100799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46BF9456-C71C-4E82-B3B2-66D151D75E14}"/>
                </a:ext>
              </a:extLst>
            </p:cNvPr>
            <p:cNvSpPr/>
            <p:nvPr/>
          </p:nvSpPr>
          <p:spPr>
            <a:xfrm flipH="1">
              <a:off x="2413561" y="5216409"/>
              <a:ext cx="162656" cy="64401"/>
            </a:xfrm>
            <a:custGeom>
              <a:avLst/>
              <a:gdLst>
                <a:gd name="connsiteX0" fmla="*/ 1932 w 147574"/>
                <a:gd name="connsiteY0" fmla="*/ 34517 h 58430"/>
                <a:gd name="connsiteX1" fmla="*/ 6260 w 147574"/>
                <a:gd name="connsiteY1" fmla="*/ 19477 h 58430"/>
                <a:gd name="connsiteX2" fmla="*/ 96069 w 147574"/>
                <a:gd name="connsiteY2" fmla="*/ 0 h 58430"/>
                <a:gd name="connsiteX3" fmla="*/ 147574 w 147574"/>
                <a:gd name="connsiteY3" fmla="*/ 37980 h 58430"/>
                <a:gd name="connsiteX4" fmla="*/ 78757 w 147574"/>
                <a:gd name="connsiteY4" fmla="*/ 58430 h 58430"/>
                <a:gd name="connsiteX5" fmla="*/ 57224 w 147574"/>
                <a:gd name="connsiteY5" fmla="*/ 37547 h 58430"/>
                <a:gd name="connsiteX6" fmla="*/ 1932 w 147574"/>
                <a:gd name="connsiteY6" fmla="*/ 34517 h 58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574" h="58430">
                  <a:moveTo>
                    <a:pt x="1932" y="34517"/>
                  </a:moveTo>
                  <a:cubicBezTo>
                    <a:pt x="1932" y="34517"/>
                    <a:pt x="-4561" y="26077"/>
                    <a:pt x="6260" y="19477"/>
                  </a:cubicBezTo>
                  <a:lnTo>
                    <a:pt x="96069" y="0"/>
                  </a:lnTo>
                  <a:cubicBezTo>
                    <a:pt x="102453" y="3679"/>
                    <a:pt x="147574" y="37980"/>
                    <a:pt x="147574" y="37980"/>
                  </a:cubicBezTo>
                  <a:lnTo>
                    <a:pt x="78757" y="58430"/>
                  </a:lnTo>
                  <a:lnTo>
                    <a:pt x="57224" y="37547"/>
                  </a:lnTo>
                  <a:cubicBezTo>
                    <a:pt x="57116" y="37439"/>
                    <a:pt x="16539" y="45554"/>
                    <a:pt x="1932" y="34517"/>
                  </a:cubicBezTo>
                  <a:close/>
                </a:path>
              </a:pathLst>
            </a:custGeom>
            <a:solidFill>
              <a:srgbClr val="B78876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C11E1B07-E176-48E5-8CD4-50429AD92029}"/>
                </a:ext>
              </a:extLst>
            </p:cNvPr>
            <p:cNvSpPr/>
            <p:nvPr/>
          </p:nvSpPr>
          <p:spPr>
            <a:xfrm flipH="1">
              <a:off x="2254705" y="5252740"/>
              <a:ext cx="353993" cy="277329"/>
            </a:xfrm>
            <a:custGeom>
              <a:avLst/>
              <a:gdLst>
                <a:gd name="connsiteX0" fmla="*/ 321171 w 321170"/>
                <a:gd name="connsiteY0" fmla="*/ 104024 h 251614"/>
                <a:gd name="connsiteX1" fmla="*/ 177043 w 321170"/>
                <a:gd name="connsiteY1" fmla="*/ 4909 h 251614"/>
                <a:gd name="connsiteX2" fmla="*/ 88640 w 321170"/>
                <a:gd name="connsiteY2" fmla="*/ 20815 h 251614"/>
                <a:gd name="connsiteX3" fmla="*/ 72626 w 321170"/>
                <a:gd name="connsiteY3" fmla="*/ 19409 h 251614"/>
                <a:gd name="connsiteX4" fmla="*/ 17550 w 321170"/>
                <a:gd name="connsiteY4" fmla="*/ 905 h 251614"/>
                <a:gd name="connsiteX5" fmla="*/ 2618 w 321170"/>
                <a:gd name="connsiteY5" fmla="*/ 38777 h 251614"/>
                <a:gd name="connsiteX6" fmla="*/ 25341 w 321170"/>
                <a:gd name="connsiteY6" fmla="*/ 63231 h 251614"/>
                <a:gd name="connsiteX7" fmla="*/ 12898 w 321170"/>
                <a:gd name="connsiteY7" fmla="*/ 98181 h 251614"/>
                <a:gd name="connsiteX8" fmla="*/ 21121 w 321170"/>
                <a:gd name="connsiteY8" fmla="*/ 112247 h 251614"/>
                <a:gd name="connsiteX9" fmla="*/ 27613 w 321170"/>
                <a:gd name="connsiteY9" fmla="*/ 152175 h 251614"/>
                <a:gd name="connsiteX10" fmla="*/ 42870 w 321170"/>
                <a:gd name="connsiteY10" fmla="*/ 191453 h 251614"/>
                <a:gd name="connsiteX11" fmla="*/ 117856 w 321170"/>
                <a:gd name="connsiteY11" fmla="*/ 225862 h 251614"/>
                <a:gd name="connsiteX12" fmla="*/ 199333 w 321170"/>
                <a:gd name="connsiteY12" fmla="*/ 232787 h 251614"/>
                <a:gd name="connsiteX13" fmla="*/ 284923 w 321170"/>
                <a:gd name="connsiteY13" fmla="*/ 251614 h 25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1170" h="251614">
                  <a:moveTo>
                    <a:pt x="321171" y="104024"/>
                  </a:moveTo>
                  <a:cubicBezTo>
                    <a:pt x="321171" y="104024"/>
                    <a:pt x="179856" y="6424"/>
                    <a:pt x="177043" y="4909"/>
                  </a:cubicBezTo>
                  <a:cubicBezTo>
                    <a:pt x="174230" y="3503"/>
                    <a:pt x="88640" y="20815"/>
                    <a:pt x="88640" y="20815"/>
                  </a:cubicBezTo>
                  <a:lnTo>
                    <a:pt x="72626" y="19409"/>
                  </a:lnTo>
                  <a:cubicBezTo>
                    <a:pt x="72626" y="19409"/>
                    <a:pt x="28587" y="-4937"/>
                    <a:pt x="17550" y="905"/>
                  </a:cubicBezTo>
                  <a:cubicBezTo>
                    <a:pt x="6514" y="6749"/>
                    <a:pt x="-5389" y="27956"/>
                    <a:pt x="2618" y="38777"/>
                  </a:cubicBezTo>
                  <a:cubicBezTo>
                    <a:pt x="10625" y="49597"/>
                    <a:pt x="25341" y="63231"/>
                    <a:pt x="25341" y="63231"/>
                  </a:cubicBezTo>
                  <a:cubicBezTo>
                    <a:pt x="25341" y="63231"/>
                    <a:pt x="671" y="75674"/>
                    <a:pt x="12898" y="98181"/>
                  </a:cubicBezTo>
                  <a:lnTo>
                    <a:pt x="21121" y="112247"/>
                  </a:lnTo>
                  <a:cubicBezTo>
                    <a:pt x="21121" y="112247"/>
                    <a:pt x="-1926" y="132157"/>
                    <a:pt x="27613" y="152175"/>
                  </a:cubicBezTo>
                  <a:cubicBezTo>
                    <a:pt x="27613" y="152175"/>
                    <a:pt x="14304" y="170245"/>
                    <a:pt x="42870" y="191453"/>
                  </a:cubicBezTo>
                  <a:cubicBezTo>
                    <a:pt x="71436" y="212661"/>
                    <a:pt x="108983" y="224347"/>
                    <a:pt x="117856" y="225862"/>
                  </a:cubicBezTo>
                  <a:cubicBezTo>
                    <a:pt x="126728" y="227377"/>
                    <a:pt x="193382" y="232679"/>
                    <a:pt x="199333" y="232787"/>
                  </a:cubicBezTo>
                  <a:cubicBezTo>
                    <a:pt x="205393" y="232895"/>
                    <a:pt x="284923" y="251614"/>
                    <a:pt x="284923" y="251614"/>
                  </a:cubicBezTo>
                </a:path>
              </a:pathLst>
            </a:custGeom>
            <a:solidFill>
              <a:srgbClr val="B78876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46896800-0382-477E-AF4F-59621D57EB66}"/>
                </a:ext>
              </a:extLst>
            </p:cNvPr>
            <p:cNvSpPr/>
            <p:nvPr/>
          </p:nvSpPr>
          <p:spPr>
            <a:xfrm flipH="1">
              <a:off x="2230229" y="5152930"/>
              <a:ext cx="318575" cy="127283"/>
            </a:xfrm>
            <a:custGeom>
              <a:avLst/>
              <a:gdLst>
                <a:gd name="connsiteX0" fmla="*/ 278517 w 289036"/>
                <a:gd name="connsiteY0" fmla="*/ 461 h 115481"/>
                <a:gd name="connsiteX1" fmla="*/ 0 w 289036"/>
                <a:gd name="connsiteY1" fmla="*/ 100874 h 115481"/>
                <a:gd name="connsiteX2" fmla="*/ 23372 w 289036"/>
                <a:gd name="connsiteY2" fmla="*/ 115482 h 115481"/>
                <a:gd name="connsiteX3" fmla="*/ 284036 w 289036"/>
                <a:gd name="connsiteY3" fmla="*/ 15068 h 115481"/>
                <a:gd name="connsiteX4" fmla="*/ 288147 w 289036"/>
                <a:gd name="connsiteY4" fmla="*/ 4140 h 115481"/>
                <a:gd name="connsiteX5" fmla="*/ 288147 w 289036"/>
                <a:gd name="connsiteY5" fmla="*/ 4140 h 115481"/>
                <a:gd name="connsiteX6" fmla="*/ 278517 w 289036"/>
                <a:gd name="connsiteY6" fmla="*/ 461 h 11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9036" h="115481">
                  <a:moveTo>
                    <a:pt x="278517" y="461"/>
                  </a:moveTo>
                  <a:lnTo>
                    <a:pt x="0" y="100874"/>
                  </a:lnTo>
                  <a:lnTo>
                    <a:pt x="23372" y="115482"/>
                  </a:lnTo>
                  <a:lnTo>
                    <a:pt x="284036" y="15068"/>
                  </a:lnTo>
                  <a:cubicBezTo>
                    <a:pt x="288364" y="13337"/>
                    <a:pt x="290312" y="8251"/>
                    <a:pt x="288147" y="4140"/>
                  </a:cubicBezTo>
                  <a:lnTo>
                    <a:pt x="288147" y="4140"/>
                  </a:lnTo>
                  <a:cubicBezTo>
                    <a:pt x="286308" y="677"/>
                    <a:pt x="282196" y="-838"/>
                    <a:pt x="278517" y="46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D5ED28DD-1447-496D-8F75-4DF062E180AE}"/>
                </a:ext>
              </a:extLst>
            </p:cNvPr>
            <p:cNvSpPr/>
            <p:nvPr/>
          </p:nvSpPr>
          <p:spPr>
            <a:xfrm flipH="1">
              <a:off x="2540671" y="5319174"/>
              <a:ext cx="43351" cy="27298"/>
            </a:xfrm>
            <a:custGeom>
              <a:avLst/>
              <a:gdLst>
                <a:gd name="connsiteX0" fmla="*/ 39309 w 39331"/>
                <a:gd name="connsiteY0" fmla="*/ 24274 h 24767"/>
                <a:gd name="connsiteX1" fmla="*/ 19941 w 39331"/>
                <a:gd name="connsiteY1" fmla="*/ 11830 h 24767"/>
                <a:gd name="connsiteX2" fmla="*/ 140 w 39331"/>
                <a:gd name="connsiteY2" fmla="*/ 144 h 24767"/>
                <a:gd name="connsiteX3" fmla="*/ 16803 w 39331"/>
                <a:gd name="connsiteY3" fmla="*/ 16916 h 24767"/>
                <a:gd name="connsiteX4" fmla="*/ 39309 w 39331"/>
                <a:gd name="connsiteY4" fmla="*/ 24274 h 2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31" h="24767">
                  <a:moveTo>
                    <a:pt x="39309" y="24274"/>
                  </a:moveTo>
                  <a:cubicBezTo>
                    <a:pt x="39850" y="22651"/>
                    <a:pt x="30437" y="18431"/>
                    <a:pt x="19941" y="11830"/>
                  </a:cubicBezTo>
                  <a:cubicBezTo>
                    <a:pt x="9337" y="5338"/>
                    <a:pt x="1330" y="-1046"/>
                    <a:pt x="140" y="144"/>
                  </a:cubicBezTo>
                  <a:cubicBezTo>
                    <a:pt x="-1051" y="1226"/>
                    <a:pt x="5442" y="9991"/>
                    <a:pt x="16803" y="16916"/>
                  </a:cubicBezTo>
                  <a:cubicBezTo>
                    <a:pt x="28056" y="23949"/>
                    <a:pt x="38877" y="25788"/>
                    <a:pt x="39309" y="24274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75F940BA-E6A7-41BF-A36D-5F4B87F3A22A}"/>
                </a:ext>
              </a:extLst>
            </p:cNvPr>
            <p:cNvSpPr/>
            <p:nvPr/>
          </p:nvSpPr>
          <p:spPr>
            <a:xfrm flipH="1">
              <a:off x="2568002" y="5373953"/>
              <a:ext cx="19684" cy="16518"/>
            </a:xfrm>
            <a:custGeom>
              <a:avLst/>
              <a:gdLst>
                <a:gd name="connsiteX0" fmla="*/ 17640 w 17859"/>
                <a:gd name="connsiteY0" fmla="*/ 14610 h 14986"/>
                <a:gd name="connsiteX1" fmla="*/ 10823 w 17859"/>
                <a:gd name="connsiteY1" fmla="*/ 5196 h 14986"/>
                <a:gd name="connsiteX2" fmla="*/ 219 w 17859"/>
                <a:gd name="connsiteY2" fmla="*/ 327 h 14986"/>
                <a:gd name="connsiteX3" fmla="*/ 7036 w 17859"/>
                <a:gd name="connsiteY3" fmla="*/ 9740 h 14986"/>
                <a:gd name="connsiteX4" fmla="*/ 17640 w 17859"/>
                <a:gd name="connsiteY4" fmla="*/ 14610 h 14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9" h="14986">
                  <a:moveTo>
                    <a:pt x="17640" y="14610"/>
                  </a:moveTo>
                  <a:cubicBezTo>
                    <a:pt x="18722" y="13311"/>
                    <a:pt x="15692" y="9091"/>
                    <a:pt x="10823" y="5196"/>
                  </a:cubicBezTo>
                  <a:cubicBezTo>
                    <a:pt x="6062" y="1300"/>
                    <a:pt x="1301" y="-864"/>
                    <a:pt x="219" y="327"/>
                  </a:cubicBezTo>
                  <a:cubicBezTo>
                    <a:pt x="-863" y="1625"/>
                    <a:pt x="2167" y="5845"/>
                    <a:pt x="7036" y="9740"/>
                  </a:cubicBezTo>
                  <a:cubicBezTo>
                    <a:pt x="11905" y="13744"/>
                    <a:pt x="16558" y="15908"/>
                    <a:pt x="17640" y="14610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D0391868-0D14-4AEC-8A97-3489496BC7A0}"/>
                </a:ext>
              </a:extLst>
            </p:cNvPr>
            <p:cNvSpPr/>
            <p:nvPr/>
          </p:nvSpPr>
          <p:spPr>
            <a:xfrm flipH="1">
              <a:off x="2558582" y="5416190"/>
              <a:ext cx="24733" cy="11562"/>
            </a:xfrm>
            <a:custGeom>
              <a:avLst/>
              <a:gdLst>
                <a:gd name="connsiteX0" fmla="*/ 22438 w 22440"/>
                <a:gd name="connsiteY0" fmla="*/ 8966 h 10490"/>
                <a:gd name="connsiteX1" fmla="*/ 11834 w 22440"/>
                <a:gd name="connsiteY1" fmla="*/ 3231 h 10490"/>
                <a:gd name="connsiteX2" fmla="*/ 148 w 22440"/>
                <a:gd name="connsiteY2" fmla="*/ 418 h 10490"/>
                <a:gd name="connsiteX3" fmla="*/ 9778 w 22440"/>
                <a:gd name="connsiteY3" fmla="*/ 8750 h 10490"/>
                <a:gd name="connsiteX4" fmla="*/ 22438 w 22440"/>
                <a:gd name="connsiteY4" fmla="*/ 8966 h 10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40" h="10490">
                  <a:moveTo>
                    <a:pt x="22438" y="8966"/>
                  </a:moveTo>
                  <a:cubicBezTo>
                    <a:pt x="22546" y="7343"/>
                    <a:pt x="17677" y="5504"/>
                    <a:pt x="11834" y="3231"/>
                  </a:cubicBezTo>
                  <a:cubicBezTo>
                    <a:pt x="5991" y="1067"/>
                    <a:pt x="1122" y="-880"/>
                    <a:pt x="148" y="418"/>
                  </a:cubicBezTo>
                  <a:cubicBezTo>
                    <a:pt x="-826" y="1716"/>
                    <a:pt x="3070" y="6261"/>
                    <a:pt x="9778" y="8750"/>
                  </a:cubicBezTo>
                  <a:cubicBezTo>
                    <a:pt x="16379" y="11455"/>
                    <a:pt x="22330" y="10589"/>
                    <a:pt x="22438" y="8966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4A976193-2ED1-48E3-BCD2-448458E0C51B}"/>
                </a:ext>
              </a:extLst>
            </p:cNvPr>
            <p:cNvSpPr/>
            <p:nvPr/>
          </p:nvSpPr>
          <p:spPr>
            <a:xfrm flipH="1">
              <a:off x="2477348" y="5254004"/>
              <a:ext cx="96742" cy="34076"/>
            </a:xfrm>
            <a:custGeom>
              <a:avLst/>
              <a:gdLst>
                <a:gd name="connsiteX0" fmla="*/ 2 w 87772"/>
                <a:gd name="connsiteY0" fmla="*/ 408 h 30916"/>
                <a:gd name="connsiteX1" fmla="*/ 12445 w 87772"/>
                <a:gd name="connsiteY1" fmla="*/ 7117 h 30916"/>
                <a:gd name="connsiteX2" fmla="*/ 41552 w 87772"/>
                <a:gd name="connsiteY2" fmla="*/ 24429 h 30916"/>
                <a:gd name="connsiteX3" fmla="*/ 50533 w 87772"/>
                <a:gd name="connsiteY3" fmla="*/ 29407 h 30916"/>
                <a:gd name="connsiteX4" fmla="*/ 60704 w 87772"/>
                <a:gd name="connsiteY4" fmla="*/ 30813 h 30916"/>
                <a:gd name="connsiteX5" fmla="*/ 75961 w 87772"/>
                <a:gd name="connsiteY5" fmla="*/ 25403 h 30916"/>
                <a:gd name="connsiteX6" fmla="*/ 87755 w 87772"/>
                <a:gd name="connsiteY6" fmla="*/ 17180 h 30916"/>
                <a:gd name="connsiteX7" fmla="*/ 74122 w 87772"/>
                <a:gd name="connsiteY7" fmla="*/ 21508 h 30916"/>
                <a:gd name="connsiteX8" fmla="*/ 60271 w 87772"/>
                <a:gd name="connsiteY8" fmla="*/ 25187 h 30916"/>
                <a:gd name="connsiteX9" fmla="*/ 44690 w 87772"/>
                <a:gd name="connsiteY9" fmla="*/ 19236 h 30916"/>
                <a:gd name="connsiteX10" fmla="*/ 14176 w 87772"/>
                <a:gd name="connsiteY10" fmla="*/ 3221 h 30916"/>
                <a:gd name="connsiteX11" fmla="*/ 2 w 87772"/>
                <a:gd name="connsiteY11" fmla="*/ 408 h 30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772" h="30916">
                  <a:moveTo>
                    <a:pt x="2" y="408"/>
                  </a:moveTo>
                  <a:cubicBezTo>
                    <a:pt x="-106" y="1274"/>
                    <a:pt x="4871" y="3005"/>
                    <a:pt x="12445" y="7117"/>
                  </a:cubicBezTo>
                  <a:cubicBezTo>
                    <a:pt x="20020" y="11120"/>
                    <a:pt x="30299" y="17396"/>
                    <a:pt x="41552" y="24429"/>
                  </a:cubicBezTo>
                  <a:cubicBezTo>
                    <a:pt x="44474" y="26161"/>
                    <a:pt x="46962" y="28000"/>
                    <a:pt x="50533" y="29407"/>
                  </a:cubicBezTo>
                  <a:cubicBezTo>
                    <a:pt x="53887" y="30705"/>
                    <a:pt x="57458" y="31138"/>
                    <a:pt x="60704" y="30813"/>
                  </a:cubicBezTo>
                  <a:cubicBezTo>
                    <a:pt x="67197" y="30056"/>
                    <a:pt x="72066" y="27459"/>
                    <a:pt x="75961" y="25403"/>
                  </a:cubicBezTo>
                  <a:cubicBezTo>
                    <a:pt x="83644" y="20967"/>
                    <a:pt x="88080" y="17937"/>
                    <a:pt x="87755" y="17180"/>
                  </a:cubicBezTo>
                  <a:cubicBezTo>
                    <a:pt x="87431" y="16422"/>
                    <a:pt x="82129" y="18154"/>
                    <a:pt x="74122" y="21508"/>
                  </a:cubicBezTo>
                  <a:cubicBezTo>
                    <a:pt x="70118" y="23023"/>
                    <a:pt x="65357" y="24971"/>
                    <a:pt x="60271" y="25187"/>
                  </a:cubicBezTo>
                  <a:cubicBezTo>
                    <a:pt x="54970" y="25620"/>
                    <a:pt x="50641" y="23131"/>
                    <a:pt x="44690" y="19236"/>
                  </a:cubicBezTo>
                  <a:cubicBezTo>
                    <a:pt x="33329" y="12203"/>
                    <a:pt x="22508" y="6359"/>
                    <a:pt x="14176" y="3221"/>
                  </a:cubicBezTo>
                  <a:cubicBezTo>
                    <a:pt x="5845" y="-133"/>
                    <a:pt x="110" y="-457"/>
                    <a:pt x="2" y="408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20225A25-00A7-41E8-8B99-6078DB2363C8}"/>
                </a:ext>
              </a:extLst>
            </p:cNvPr>
            <p:cNvSpPr/>
            <p:nvPr/>
          </p:nvSpPr>
          <p:spPr>
            <a:xfrm flipH="1">
              <a:off x="2604902" y="5268050"/>
              <a:ext cx="61495" cy="55471"/>
            </a:xfrm>
            <a:custGeom>
              <a:avLst/>
              <a:gdLst>
                <a:gd name="connsiteX0" fmla="*/ 17421 w 55793"/>
                <a:gd name="connsiteY0" fmla="*/ 1515 h 50328"/>
                <a:gd name="connsiteX1" fmla="*/ 37222 w 55793"/>
                <a:gd name="connsiteY1" fmla="*/ 21208 h 50328"/>
                <a:gd name="connsiteX2" fmla="*/ 52371 w 55793"/>
                <a:gd name="connsiteY2" fmla="*/ 26726 h 50328"/>
                <a:gd name="connsiteX3" fmla="*/ 53345 w 55793"/>
                <a:gd name="connsiteY3" fmla="*/ 43282 h 50328"/>
                <a:gd name="connsiteX4" fmla="*/ 37547 w 55793"/>
                <a:gd name="connsiteY4" fmla="*/ 50315 h 50328"/>
                <a:gd name="connsiteX5" fmla="*/ 20883 w 55793"/>
                <a:gd name="connsiteY5" fmla="*/ 44039 h 50328"/>
                <a:gd name="connsiteX6" fmla="*/ 0 w 55793"/>
                <a:gd name="connsiteY6" fmla="*/ 18611 h 50328"/>
                <a:gd name="connsiteX7" fmla="*/ 5951 w 55793"/>
                <a:gd name="connsiteY7" fmla="*/ 14608 h 50328"/>
                <a:gd name="connsiteX8" fmla="*/ 14608 w 55793"/>
                <a:gd name="connsiteY8" fmla="*/ 22615 h 50328"/>
                <a:gd name="connsiteX9" fmla="*/ 9089 w 55793"/>
                <a:gd name="connsiteY9" fmla="*/ 7574 h 50328"/>
                <a:gd name="connsiteX10" fmla="*/ 17962 w 55793"/>
                <a:gd name="connsiteY10" fmla="*/ 0 h 5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93" h="50328">
                  <a:moveTo>
                    <a:pt x="17421" y="1515"/>
                  </a:moveTo>
                  <a:cubicBezTo>
                    <a:pt x="20234" y="10820"/>
                    <a:pt x="27916" y="18503"/>
                    <a:pt x="37222" y="21208"/>
                  </a:cubicBezTo>
                  <a:cubicBezTo>
                    <a:pt x="42416" y="22723"/>
                    <a:pt x="48367" y="23048"/>
                    <a:pt x="52371" y="26726"/>
                  </a:cubicBezTo>
                  <a:cubicBezTo>
                    <a:pt x="56699" y="30838"/>
                    <a:pt x="56807" y="38304"/>
                    <a:pt x="53345" y="43282"/>
                  </a:cubicBezTo>
                  <a:cubicBezTo>
                    <a:pt x="49882" y="48151"/>
                    <a:pt x="43498" y="50531"/>
                    <a:pt x="37547" y="50315"/>
                  </a:cubicBezTo>
                  <a:cubicBezTo>
                    <a:pt x="31487" y="50099"/>
                    <a:pt x="25861" y="47501"/>
                    <a:pt x="20883" y="44039"/>
                  </a:cubicBezTo>
                  <a:cubicBezTo>
                    <a:pt x="11686" y="37763"/>
                    <a:pt x="4653" y="28674"/>
                    <a:pt x="0" y="18611"/>
                  </a:cubicBezTo>
                  <a:cubicBezTo>
                    <a:pt x="2381" y="18070"/>
                    <a:pt x="4545" y="16664"/>
                    <a:pt x="5951" y="14608"/>
                  </a:cubicBezTo>
                  <a:cubicBezTo>
                    <a:pt x="8873" y="17313"/>
                    <a:pt x="11686" y="19910"/>
                    <a:pt x="14608" y="22615"/>
                  </a:cubicBezTo>
                  <a:cubicBezTo>
                    <a:pt x="12768" y="17637"/>
                    <a:pt x="10929" y="12552"/>
                    <a:pt x="9089" y="7574"/>
                  </a:cubicBezTo>
                  <a:cubicBezTo>
                    <a:pt x="12443" y="5626"/>
                    <a:pt x="15473" y="3030"/>
                    <a:pt x="17962" y="0"/>
                  </a:cubicBezTo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896F90A3-ABD4-46A7-A22A-74BBCE2431F1}"/>
                </a:ext>
              </a:extLst>
            </p:cNvPr>
            <p:cNvSpPr/>
            <p:nvPr/>
          </p:nvSpPr>
          <p:spPr>
            <a:xfrm flipH="1">
              <a:off x="2586969" y="5295480"/>
              <a:ext cx="23494" cy="23255"/>
            </a:xfrm>
            <a:custGeom>
              <a:avLst/>
              <a:gdLst>
                <a:gd name="connsiteX0" fmla="*/ 4112 w 21316"/>
                <a:gd name="connsiteY0" fmla="*/ 0 h 21099"/>
                <a:gd name="connsiteX1" fmla="*/ 0 w 21316"/>
                <a:gd name="connsiteY1" fmla="*/ 1515 h 21099"/>
                <a:gd name="connsiteX2" fmla="*/ 216 w 21316"/>
                <a:gd name="connsiteY2" fmla="*/ 21100 h 21099"/>
                <a:gd name="connsiteX3" fmla="*/ 21316 w 21316"/>
                <a:gd name="connsiteY3" fmla="*/ 18611 h 2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16" h="21099">
                  <a:moveTo>
                    <a:pt x="4112" y="0"/>
                  </a:moveTo>
                  <a:lnTo>
                    <a:pt x="0" y="1515"/>
                  </a:lnTo>
                  <a:lnTo>
                    <a:pt x="216" y="21100"/>
                  </a:lnTo>
                  <a:lnTo>
                    <a:pt x="21316" y="18611"/>
                  </a:ln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D0B0573E-0EB3-47D5-B138-77DF931AE5A6}"/>
                </a:ext>
              </a:extLst>
            </p:cNvPr>
            <p:cNvSpPr/>
            <p:nvPr/>
          </p:nvSpPr>
          <p:spPr>
            <a:xfrm flipH="1">
              <a:off x="2316597" y="5424998"/>
              <a:ext cx="45529" cy="82999"/>
            </a:xfrm>
            <a:custGeom>
              <a:avLst/>
              <a:gdLst>
                <a:gd name="connsiteX0" fmla="*/ 25289 w 41307"/>
                <a:gd name="connsiteY0" fmla="*/ 40252 h 75303"/>
                <a:gd name="connsiteX1" fmla="*/ 78 w 41307"/>
                <a:gd name="connsiteY1" fmla="*/ 75202 h 75303"/>
                <a:gd name="connsiteX2" fmla="*/ 30591 w 41307"/>
                <a:gd name="connsiteY2" fmla="*/ 43174 h 75303"/>
                <a:gd name="connsiteX3" fmla="*/ 40546 w 41307"/>
                <a:gd name="connsiteY3" fmla="*/ 0 h 7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307" h="75303">
                  <a:moveTo>
                    <a:pt x="25289" y="40252"/>
                  </a:moveTo>
                  <a:cubicBezTo>
                    <a:pt x="14036" y="61136"/>
                    <a:pt x="-1221" y="73687"/>
                    <a:pt x="78" y="75202"/>
                  </a:cubicBezTo>
                  <a:cubicBezTo>
                    <a:pt x="727" y="76501"/>
                    <a:pt x="18581" y="65356"/>
                    <a:pt x="30591" y="43174"/>
                  </a:cubicBezTo>
                  <a:cubicBezTo>
                    <a:pt x="42710" y="20884"/>
                    <a:pt x="41953" y="-108"/>
                    <a:pt x="40546" y="0"/>
                  </a:cubicBezTo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0B111F58-B2CA-4B26-9EB4-9FD498ACF465}"/>
                </a:ext>
              </a:extLst>
            </p:cNvPr>
            <p:cNvSpPr/>
            <p:nvPr/>
          </p:nvSpPr>
          <p:spPr>
            <a:xfrm flipH="1">
              <a:off x="1730784" y="5299297"/>
              <a:ext cx="914503" cy="599451"/>
            </a:xfrm>
            <a:custGeom>
              <a:avLst/>
              <a:gdLst>
                <a:gd name="connsiteX0" fmla="*/ 640568 w 829708"/>
                <a:gd name="connsiteY0" fmla="*/ 0 h 543869"/>
                <a:gd name="connsiteX1" fmla="*/ 406523 w 829708"/>
                <a:gd name="connsiteY1" fmla="*/ 320825 h 543869"/>
                <a:gd name="connsiteX2" fmla="*/ 80612 w 829708"/>
                <a:gd name="connsiteY2" fmla="*/ 228419 h 543869"/>
                <a:gd name="connsiteX3" fmla="*/ 0 w 829708"/>
                <a:gd name="connsiteY3" fmla="*/ 365838 h 543869"/>
                <a:gd name="connsiteX4" fmla="*/ 475448 w 829708"/>
                <a:gd name="connsiteY4" fmla="*/ 542751 h 543869"/>
                <a:gd name="connsiteX5" fmla="*/ 829709 w 829708"/>
                <a:gd name="connsiteY5" fmla="*/ 100846 h 543869"/>
                <a:gd name="connsiteX6" fmla="*/ 640568 w 829708"/>
                <a:gd name="connsiteY6" fmla="*/ 0 h 54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708" h="543869">
                  <a:moveTo>
                    <a:pt x="640568" y="0"/>
                  </a:moveTo>
                  <a:lnTo>
                    <a:pt x="406523" y="320825"/>
                  </a:lnTo>
                  <a:lnTo>
                    <a:pt x="80612" y="228419"/>
                  </a:lnTo>
                  <a:cubicBezTo>
                    <a:pt x="46420" y="269103"/>
                    <a:pt x="19152" y="314874"/>
                    <a:pt x="0" y="365838"/>
                  </a:cubicBezTo>
                  <a:cubicBezTo>
                    <a:pt x="0" y="365838"/>
                    <a:pt x="444610" y="560280"/>
                    <a:pt x="475448" y="542751"/>
                  </a:cubicBezTo>
                  <a:cubicBezTo>
                    <a:pt x="506287" y="525222"/>
                    <a:pt x="829709" y="100846"/>
                    <a:pt x="829709" y="100846"/>
                  </a:cubicBezTo>
                  <a:lnTo>
                    <a:pt x="640568" y="0"/>
                  </a:lnTo>
                  <a:close/>
                </a:path>
              </a:pathLst>
            </a:custGeom>
            <a:solidFill>
              <a:srgbClr val="B78876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A3652DB9-6D01-453E-AC56-68A9FD296414}"/>
                </a:ext>
              </a:extLst>
            </p:cNvPr>
            <p:cNvSpPr/>
            <p:nvPr/>
          </p:nvSpPr>
          <p:spPr>
            <a:xfrm flipH="1">
              <a:off x="1747362" y="5131733"/>
              <a:ext cx="310440" cy="452481"/>
            </a:xfrm>
            <a:custGeom>
              <a:avLst/>
              <a:gdLst>
                <a:gd name="connsiteX0" fmla="*/ 191629 w 281655"/>
                <a:gd name="connsiteY0" fmla="*/ 0 h 410526"/>
                <a:gd name="connsiteX1" fmla="*/ 51289 w 281655"/>
                <a:gd name="connsiteY1" fmla="*/ 213703 h 410526"/>
                <a:gd name="connsiteX2" fmla="*/ 0 w 281655"/>
                <a:gd name="connsiteY2" fmla="*/ 317687 h 410526"/>
                <a:gd name="connsiteX3" fmla="*/ 244649 w 281655"/>
                <a:gd name="connsiteY3" fmla="*/ 410526 h 410526"/>
                <a:gd name="connsiteX4" fmla="*/ 281655 w 281655"/>
                <a:gd name="connsiteY4" fmla="*/ 341275 h 410526"/>
                <a:gd name="connsiteX5" fmla="*/ 191629 w 281655"/>
                <a:gd name="connsiteY5" fmla="*/ 0 h 410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655" h="410526">
                  <a:moveTo>
                    <a:pt x="191629" y="0"/>
                  </a:moveTo>
                  <a:cubicBezTo>
                    <a:pt x="191629" y="0"/>
                    <a:pt x="134173" y="19368"/>
                    <a:pt x="51289" y="213703"/>
                  </a:cubicBezTo>
                  <a:lnTo>
                    <a:pt x="0" y="317687"/>
                  </a:lnTo>
                  <a:lnTo>
                    <a:pt x="244649" y="410526"/>
                  </a:lnTo>
                  <a:lnTo>
                    <a:pt x="281655" y="341275"/>
                  </a:lnTo>
                  <a:lnTo>
                    <a:pt x="191629" y="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0C58D344-7652-40C5-8524-C6DAA7FCEF58}"/>
                </a:ext>
              </a:extLst>
            </p:cNvPr>
            <p:cNvSpPr/>
            <p:nvPr/>
          </p:nvSpPr>
          <p:spPr>
            <a:xfrm flipH="1">
              <a:off x="844905" y="4919327"/>
              <a:ext cx="1022196" cy="1325848"/>
            </a:xfrm>
            <a:custGeom>
              <a:avLst/>
              <a:gdLst>
                <a:gd name="connsiteX0" fmla="*/ 804930 w 927416"/>
                <a:gd name="connsiteY0" fmla="*/ 536043 h 1202912"/>
                <a:gd name="connsiteX1" fmla="*/ 571209 w 927416"/>
                <a:gd name="connsiteY1" fmla="*/ 36789 h 1202912"/>
                <a:gd name="connsiteX2" fmla="*/ 321799 w 927416"/>
                <a:gd name="connsiteY2" fmla="*/ 0 h 1202912"/>
                <a:gd name="connsiteX3" fmla="*/ 85589 w 927416"/>
                <a:gd name="connsiteY3" fmla="*/ 152892 h 1202912"/>
                <a:gd name="connsiteX4" fmla="*/ 0 w 927416"/>
                <a:gd name="connsiteY4" fmla="*/ 209699 h 1202912"/>
                <a:gd name="connsiteX5" fmla="*/ 173559 w 927416"/>
                <a:gd name="connsiteY5" fmla="*/ 885217 h 1202912"/>
                <a:gd name="connsiteX6" fmla="*/ 628774 w 927416"/>
                <a:gd name="connsiteY6" fmla="*/ 1037244 h 1202912"/>
                <a:gd name="connsiteX7" fmla="*/ 850267 w 927416"/>
                <a:gd name="connsiteY7" fmla="*/ 1192841 h 1202912"/>
                <a:gd name="connsiteX8" fmla="*/ 927417 w 927416"/>
                <a:gd name="connsiteY8" fmla="*/ 1165033 h 1202912"/>
                <a:gd name="connsiteX9" fmla="*/ 804930 w 927416"/>
                <a:gd name="connsiteY9" fmla="*/ 536043 h 1202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7416" h="1202912">
                  <a:moveTo>
                    <a:pt x="804930" y="536043"/>
                  </a:moveTo>
                  <a:cubicBezTo>
                    <a:pt x="737952" y="159601"/>
                    <a:pt x="631154" y="73903"/>
                    <a:pt x="571209" y="36789"/>
                  </a:cubicBezTo>
                  <a:cubicBezTo>
                    <a:pt x="511372" y="-325"/>
                    <a:pt x="373304" y="4436"/>
                    <a:pt x="321799" y="0"/>
                  </a:cubicBezTo>
                  <a:cubicBezTo>
                    <a:pt x="255362" y="105824"/>
                    <a:pt x="185786" y="149538"/>
                    <a:pt x="85589" y="152892"/>
                  </a:cubicBezTo>
                  <a:cubicBezTo>
                    <a:pt x="64490" y="153542"/>
                    <a:pt x="27592" y="183514"/>
                    <a:pt x="0" y="209699"/>
                  </a:cubicBezTo>
                  <a:lnTo>
                    <a:pt x="173559" y="885217"/>
                  </a:lnTo>
                  <a:cubicBezTo>
                    <a:pt x="173559" y="885217"/>
                    <a:pt x="521760" y="1010626"/>
                    <a:pt x="628774" y="1037244"/>
                  </a:cubicBezTo>
                  <a:cubicBezTo>
                    <a:pt x="735787" y="1063862"/>
                    <a:pt x="786968" y="1151291"/>
                    <a:pt x="850267" y="1192841"/>
                  </a:cubicBezTo>
                  <a:cubicBezTo>
                    <a:pt x="901448" y="1226493"/>
                    <a:pt x="927417" y="1165033"/>
                    <a:pt x="927417" y="1165033"/>
                  </a:cubicBezTo>
                  <a:cubicBezTo>
                    <a:pt x="927417" y="1165033"/>
                    <a:pt x="871908" y="912376"/>
                    <a:pt x="804930" y="536043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F5FD1814-34E6-448A-8677-0D36298A2ACA}"/>
                </a:ext>
              </a:extLst>
            </p:cNvPr>
            <p:cNvSpPr/>
            <p:nvPr/>
          </p:nvSpPr>
          <p:spPr>
            <a:xfrm flipH="1">
              <a:off x="891372" y="5965881"/>
              <a:ext cx="533862" cy="177797"/>
            </a:xfrm>
            <a:custGeom>
              <a:avLst/>
              <a:gdLst>
                <a:gd name="connsiteX0" fmla="*/ 484321 w 484361"/>
                <a:gd name="connsiteY0" fmla="*/ 161307 h 161311"/>
                <a:gd name="connsiteX1" fmla="*/ 473933 w 484361"/>
                <a:gd name="connsiteY1" fmla="*/ 143562 h 161311"/>
                <a:gd name="connsiteX2" fmla="*/ 434223 w 484361"/>
                <a:gd name="connsiteY2" fmla="*/ 104716 h 161311"/>
                <a:gd name="connsiteX3" fmla="*/ 358155 w 484361"/>
                <a:gd name="connsiteY3" fmla="*/ 72688 h 161311"/>
                <a:gd name="connsiteX4" fmla="*/ 257958 w 484361"/>
                <a:gd name="connsiteY4" fmla="*/ 52346 h 161311"/>
                <a:gd name="connsiteX5" fmla="*/ 75310 w 484361"/>
                <a:gd name="connsiteY5" fmla="*/ 16422 h 161311"/>
                <a:gd name="connsiteX6" fmla="*/ 20126 w 484361"/>
                <a:gd name="connsiteY6" fmla="*/ 4952 h 161311"/>
                <a:gd name="connsiteX7" fmla="*/ 5194 w 484361"/>
                <a:gd name="connsiteY7" fmla="*/ 1598 h 161311"/>
                <a:gd name="connsiteX8" fmla="*/ 0 w 484361"/>
                <a:gd name="connsiteY8" fmla="*/ 83 h 161311"/>
                <a:gd name="connsiteX9" fmla="*/ 5302 w 484361"/>
                <a:gd name="connsiteY9" fmla="*/ 624 h 161311"/>
                <a:gd name="connsiteX10" fmla="*/ 20450 w 484361"/>
                <a:gd name="connsiteY10" fmla="*/ 3005 h 161311"/>
                <a:gd name="connsiteX11" fmla="*/ 75959 w 484361"/>
                <a:gd name="connsiteY11" fmla="*/ 12851 h 161311"/>
                <a:gd name="connsiteX12" fmla="*/ 258824 w 484361"/>
                <a:gd name="connsiteY12" fmla="*/ 47260 h 161311"/>
                <a:gd name="connsiteX13" fmla="*/ 359237 w 484361"/>
                <a:gd name="connsiteY13" fmla="*/ 68035 h 161311"/>
                <a:gd name="connsiteX14" fmla="*/ 436170 w 484361"/>
                <a:gd name="connsiteY14" fmla="*/ 101687 h 161311"/>
                <a:gd name="connsiteX15" fmla="*/ 475448 w 484361"/>
                <a:gd name="connsiteY15" fmla="*/ 142479 h 161311"/>
                <a:gd name="connsiteX16" fmla="*/ 482482 w 484361"/>
                <a:gd name="connsiteY16" fmla="*/ 156222 h 161311"/>
                <a:gd name="connsiteX17" fmla="*/ 484321 w 484361"/>
                <a:gd name="connsiteY17" fmla="*/ 161307 h 161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4361" h="161311">
                  <a:moveTo>
                    <a:pt x="484321" y="161307"/>
                  </a:moveTo>
                  <a:cubicBezTo>
                    <a:pt x="483888" y="161523"/>
                    <a:pt x="481183" y="154598"/>
                    <a:pt x="473933" y="143562"/>
                  </a:cubicBezTo>
                  <a:cubicBezTo>
                    <a:pt x="466576" y="132633"/>
                    <a:pt x="453916" y="117917"/>
                    <a:pt x="434223" y="104716"/>
                  </a:cubicBezTo>
                  <a:cubicBezTo>
                    <a:pt x="414854" y="91299"/>
                    <a:pt x="388561" y="80370"/>
                    <a:pt x="358155" y="72688"/>
                  </a:cubicBezTo>
                  <a:cubicBezTo>
                    <a:pt x="327858" y="65005"/>
                    <a:pt x="293558" y="59487"/>
                    <a:pt x="257958" y="52346"/>
                  </a:cubicBezTo>
                  <a:cubicBezTo>
                    <a:pt x="186544" y="38603"/>
                    <a:pt x="122054" y="25944"/>
                    <a:pt x="75310" y="16422"/>
                  </a:cubicBezTo>
                  <a:cubicBezTo>
                    <a:pt x="52587" y="11661"/>
                    <a:pt x="33868" y="7766"/>
                    <a:pt x="20126" y="4952"/>
                  </a:cubicBezTo>
                  <a:cubicBezTo>
                    <a:pt x="14066" y="3545"/>
                    <a:pt x="9197" y="2463"/>
                    <a:pt x="5194" y="1598"/>
                  </a:cubicBezTo>
                  <a:cubicBezTo>
                    <a:pt x="1731" y="732"/>
                    <a:pt x="0" y="299"/>
                    <a:pt x="0" y="83"/>
                  </a:cubicBezTo>
                  <a:cubicBezTo>
                    <a:pt x="0" y="-133"/>
                    <a:pt x="1839" y="83"/>
                    <a:pt x="5302" y="624"/>
                  </a:cubicBezTo>
                  <a:cubicBezTo>
                    <a:pt x="9305" y="1273"/>
                    <a:pt x="14391" y="2031"/>
                    <a:pt x="20450" y="3005"/>
                  </a:cubicBezTo>
                  <a:cubicBezTo>
                    <a:pt x="34300" y="5493"/>
                    <a:pt x="53128" y="8739"/>
                    <a:pt x="75959" y="12851"/>
                  </a:cubicBezTo>
                  <a:cubicBezTo>
                    <a:pt x="122812" y="21399"/>
                    <a:pt x="187517" y="33518"/>
                    <a:pt x="258824" y="47260"/>
                  </a:cubicBezTo>
                  <a:cubicBezTo>
                    <a:pt x="294423" y="54402"/>
                    <a:pt x="328616" y="60028"/>
                    <a:pt x="359237" y="68035"/>
                  </a:cubicBezTo>
                  <a:cubicBezTo>
                    <a:pt x="389859" y="76042"/>
                    <a:pt x="416585" y="87512"/>
                    <a:pt x="436170" y="101687"/>
                  </a:cubicBezTo>
                  <a:cubicBezTo>
                    <a:pt x="455972" y="115537"/>
                    <a:pt x="468523" y="131010"/>
                    <a:pt x="475448" y="142479"/>
                  </a:cubicBezTo>
                  <a:cubicBezTo>
                    <a:pt x="478911" y="148214"/>
                    <a:pt x="481183" y="152975"/>
                    <a:pt x="482482" y="156222"/>
                  </a:cubicBezTo>
                  <a:cubicBezTo>
                    <a:pt x="483888" y="159468"/>
                    <a:pt x="484538" y="161307"/>
                    <a:pt x="484321" y="16130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E2D307F9-48BE-4E7E-895F-072DDD09E574}"/>
                </a:ext>
              </a:extLst>
            </p:cNvPr>
            <p:cNvSpPr/>
            <p:nvPr/>
          </p:nvSpPr>
          <p:spPr>
            <a:xfrm flipH="1">
              <a:off x="830641" y="5952595"/>
              <a:ext cx="664481" cy="313176"/>
            </a:xfrm>
            <a:custGeom>
              <a:avLst/>
              <a:gdLst>
                <a:gd name="connsiteX0" fmla="*/ 0 w 602869"/>
                <a:gd name="connsiteY0" fmla="*/ 10514 h 284138"/>
                <a:gd name="connsiteX1" fmla="*/ 465710 w 602869"/>
                <a:gd name="connsiteY1" fmla="*/ 82578 h 284138"/>
                <a:gd name="connsiteX2" fmla="*/ 560280 w 602869"/>
                <a:gd name="connsiteY2" fmla="*/ 141333 h 284138"/>
                <a:gd name="connsiteX3" fmla="*/ 602588 w 602869"/>
                <a:gd name="connsiteY3" fmla="*/ 241205 h 284138"/>
                <a:gd name="connsiteX4" fmla="*/ 562769 w 602869"/>
                <a:gd name="connsiteY4" fmla="*/ 283405 h 284138"/>
                <a:gd name="connsiteX5" fmla="*/ 542427 w 602869"/>
                <a:gd name="connsiteY5" fmla="*/ 269555 h 284138"/>
                <a:gd name="connsiteX6" fmla="*/ 0 w 602869"/>
                <a:gd name="connsiteY6" fmla="*/ 10514 h 284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2869" h="284138">
                  <a:moveTo>
                    <a:pt x="0" y="10514"/>
                  </a:moveTo>
                  <a:cubicBezTo>
                    <a:pt x="153650" y="-19350"/>
                    <a:pt x="318336" y="17439"/>
                    <a:pt x="465710" y="82578"/>
                  </a:cubicBezTo>
                  <a:cubicBezTo>
                    <a:pt x="499794" y="97618"/>
                    <a:pt x="533771" y="115039"/>
                    <a:pt x="560280" y="141333"/>
                  </a:cubicBezTo>
                  <a:cubicBezTo>
                    <a:pt x="586791" y="167518"/>
                    <a:pt x="605402" y="203983"/>
                    <a:pt x="602588" y="241205"/>
                  </a:cubicBezTo>
                  <a:cubicBezTo>
                    <a:pt x="600965" y="263279"/>
                    <a:pt x="584194" y="288815"/>
                    <a:pt x="562769" y="283405"/>
                  </a:cubicBezTo>
                  <a:cubicBezTo>
                    <a:pt x="554762" y="281349"/>
                    <a:pt x="548378" y="275289"/>
                    <a:pt x="542427" y="269555"/>
                  </a:cubicBezTo>
                  <a:cubicBezTo>
                    <a:pt x="395594" y="128781"/>
                    <a:pt x="219871" y="70892"/>
                    <a:pt x="0" y="10514"/>
                  </a:cubicBezTo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55C4F70-6C30-42EA-94C5-8ADF1377D4F7}"/>
                </a:ext>
              </a:extLst>
            </p:cNvPr>
            <p:cNvSpPr/>
            <p:nvPr/>
          </p:nvSpPr>
          <p:spPr>
            <a:xfrm flipH="1">
              <a:off x="1222476" y="5966793"/>
              <a:ext cx="86290" cy="50086"/>
            </a:xfrm>
            <a:custGeom>
              <a:avLst/>
              <a:gdLst>
                <a:gd name="connsiteX0" fmla="*/ 78278 w 78289"/>
                <a:gd name="connsiteY0" fmla="*/ 230 h 45442"/>
                <a:gd name="connsiteX1" fmla="*/ 38459 w 78289"/>
                <a:gd name="connsiteY1" fmla="*/ 21547 h 45442"/>
                <a:gd name="connsiteX2" fmla="*/ 47 w 78289"/>
                <a:gd name="connsiteY2" fmla="*/ 45352 h 45442"/>
                <a:gd name="connsiteX3" fmla="*/ 35646 w 78289"/>
                <a:gd name="connsiteY3" fmla="*/ 16678 h 45442"/>
                <a:gd name="connsiteX4" fmla="*/ 78278 w 78289"/>
                <a:gd name="connsiteY4" fmla="*/ 230 h 45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89" h="45442">
                  <a:moveTo>
                    <a:pt x="78278" y="230"/>
                  </a:moveTo>
                  <a:cubicBezTo>
                    <a:pt x="78819" y="1854"/>
                    <a:pt x="59883" y="9103"/>
                    <a:pt x="38459" y="21547"/>
                  </a:cubicBezTo>
                  <a:cubicBezTo>
                    <a:pt x="16926" y="33882"/>
                    <a:pt x="1129" y="46650"/>
                    <a:pt x="47" y="45352"/>
                  </a:cubicBezTo>
                  <a:cubicBezTo>
                    <a:pt x="-927" y="44270"/>
                    <a:pt x="13464" y="29337"/>
                    <a:pt x="35646" y="16678"/>
                  </a:cubicBezTo>
                  <a:cubicBezTo>
                    <a:pt x="57719" y="3801"/>
                    <a:pt x="77954" y="-1176"/>
                    <a:pt x="78278" y="230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9C9A2EE-9095-4A9C-A928-A89B9DAA3477}"/>
                </a:ext>
              </a:extLst>
            </p:cNvPr>
            <p:cNvSpPr/>
            <p:nvPr/>
          </p:nvSpPr>
          <p:spPr>
            <a:xfrm flipH="1">
              <a:off x="1089258" y="6000385"/>
              <a:ext cx="110004" cy="58707"/>
            </a:xfrm>
            <a:custGeom>
              <a:avLst/>
              <a:gdLst>
                <a:gd name="connsiteX0" fmla="*/ 99791 w 99804"/>
                <a:gd name="connsiteY0" fmla="*/ 157 h 53264"/>
                <a:gd name="connsiteX1" fmla="*/ 49909 w 99804"/>
                <a:gd name="connsiteY1" fmla="*/ 26667 h 53264"/>
                <a:gd name="connsiteX2" fmla="*/ 27 w 99804"/>
                <a:gd name="connsiteY2" fmla="*/ 53177 h 53264"/>
                <a:gd name="connsiteX3" fmla="*/ 47204 w 99804"/>
                <a:gd name="connsiteY3" fmla="*/ 21690 h 53264"/>
                <a:gd name="connsiteX4" fmla="*/ 99791 w 99804"/>
                <a:gd name="connsiteY4" fmla="*/ 157 h 53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4" h="53264">
                  <a:moveTo>
                    <a:pt x="99791" y="157"/>
                  </a:moveTo>
                  <a:cubicBezTo>
                    <a:pt x="100440" y="1672"/>
                    <a:pt x="77393" y="12059"/>
                    <a:pt x="49909" y="26667"/>
                  </a:cubicBezTo>
                  <a:cubicBezTo>
                    <a:pt x="22425" y="41166"/>
                    <a:pt x="1000" y="54476"/>
                    <a:pt x="27" y="53177"/>
                  </a:cubicBezTo>
                  <a:cubicBezTo>
                    <a:pt x="-839" y="51987"/>
                    <a:pt x="19504" y="36405"/>
                    <a:pt x="47204" y="21690"/>
                  </a:cubicBezTo>
                  <a:cubicBezTo>
                    <a:pt x="75120" y="6866"/>
                    <a:pt x="99358" y="-1249"/>
                    <a:pt x="99791" y="15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1D9FEE35-DF2E-4042-98F4-FB017724BBC5}"/>
                </a:ext>
              </a:extLst>
            </p:cNvPr>
            <p:cNvSpPr/>
            <p:nvPr/>
          </p:nvSpPr>
          <p:spPr>
            <a:xfrm flipH="1">
              <a:off x="965777" y="6051190"/>
              <a:ext cx="87995" cy="78729"/>
            </a:xfrm>
            <a:custGeom>
              <a:avLst/>
              <a:gdLst>
                <a:gd name="connsiteX0" fmla="*/ 79783 w 79836"/>
                <a:gd name="connsiteY0" fmla="*/ 50 h 71429"/>
                <a:gd name="connsiteX1" fmla="*/ 43210 w 79836"/>
                <a:gd name="connsiteY1" fmla="*/ 39328 h 71429"/>
                <a:gd name="connsiteX2" fmla="*/ 37 w 79836"/>
                <a:gd name="connsiteY2" fmla="*/ 71357 h 71429"/>
                <a:gd name="connsiteX3" fmla="*/ 39423 w 79836"/>
                <a:gd name="connsiteY3" fmla="*/ 35108 h 71429"/>
                <a:gd name="connsiteX4" fmla="*/ 79783 w 79836"/>
                <a:gd name="connsiteY4" fmla="*/ 50 h 7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836" h="71429">
                  <a:moveTo>
                    <a:pt x="79783" y="50"/>
                  </a:moveTo>
                  <a:cubicBezTo>
                    <a:pt x="80865" y="1024"/>
                    <a:pt x="65392" y="19527"/>
                    <a:pt x="43210" y="39328"/>
                  </a:cubicBezTo>
                  <a:cubicBezTo>
                    <a:pt x="21028" y="59130"/>
                    <a:pt x="902" y="72547"/>
                    <a:pt x="37" y="71357"/>
                  </a:cubicBezTo>
                  <a:cubicBezTo>
                    <a:pt x="-937" y="70058"/>
                    <a:pt x="17566" y="54801"/>
                    <a:pt x="39423" y="35108"/>
                  </a:cubicBezTo>
                  <a:cubicBezTo>
                    <a:pt x="61388" y="15631"/>
                    <a:pt x="78593" y="-1032"/>
                    <a:pt x="79783" y="50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8D91EF19-9B28-47FC-8697-35D4BA1D3081}"/>
                </a:ext>
              </a:extLst>
            </p:cNvPr>
            <p:cNvSpPr/>
            <p:nvPr/>
          </p:nvSpPr>
          <p:spPr>
            <a:xfrm flipH="1">
              <a:off x="871829" y="6114809"/>
              <a:ext cx="61387" cy="101930"/>
            </a:xfrm>
            <a:custGeom>
              <a:avLst/>
              <a:gdLst>
                <a:gd name="connsiteX0" fmla="*/ 55344 w 55695"/>
                <a:gd name="connsiteY0" fmla="*/ 3 h 92479"/>
                <a:gd name="connsiteX1" fmla="*/ 38356 w 55695"/>
                <a:gd name="connsiteY1" fmla="*/ 52590 h 92479"/>
                <a:gd name="connsiteX2" fmla="*/ 52 w 55695"/>
                <a:gd name="connsiteY2" fmla="*/ 92410 h 92479"/>
                <a:gd name="connsiteX3" fmla="*/ 33595 w 55695"/>
                <a:gd name="connsiteY3" fmla="*/ 49669 h 92479"/>
                <a:gd name="connsiteX4" fmla="*/ 55344 w 55695"/>
                <a:gd name="connsiteY4" fmla="*/ 3 h 9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95" h="92479">
                  <a:moveTo>
                    <a:pt x="55344" y="3"/>
                  </a:moveTo>
                  <a:cubicBezTo>
                    <a:pt x="56751" y="3"/>
                    <a:pt x="54479" y="25864"/>
                    <a:pt x="38356" y="52590"/>
                  </a:cubicBezTo>
                  <a:cubicBezTo>
                    <a:pt x="22342" y="79533"/>
                    <a:pt x="593" y="93600"/>
                    <a:pt x="52" y="92410"/>
                  </a:cubicBezTo>
                  <a:cubicBezTo>
                    <a:pt x="-1138" y="91111"/>
                    <a:pt x="18339" y="75530"/>
                    <a:pt x="33595" y="49669"/>
                  </a:cubicBezTo>
                  <a:cubicBezTo>
                    <a:pt x="49068" y="24133"/>
                    <a:pt x="53613" y="-321"/>
                    <a:pt x="55344" y="3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0D867942-115D-4DE3-999C-AE3BC87EC21C}"/>
                </a:ext>
              </a:extLst>
            </p:cNvPr>
            <p:cNvSpPr/>
            <p:nvPr/>
          </p:nvSpPr>
          <p:spPr>
            <a:xfrm flipH="1">
              <a:off x="838783" y="5966639"/>
              <a:ext cx="648588" cy="274237"/>
            </a:xfrm>
            <a:custGeom>
              <a:avLst/>
              <a:gdLst>
                <a:gd name="connsiteX0" fmla="*/ 588414 w 588449"/>
                <a:gd name="connsiteY0" fmla="*/ 248806 h 248809"/>
                <a:gd name="connsiteX1" fmla="*/ 575537 w 588449"/>
                <a:gd name="connsiteY1" fmla="*/ 226408 h 248809"/>
                <a:gd name="connsiteX2" fmla="*/ 526088 w 588449"/>
                <a:gd name="connsiteY2" fmla="*/ 177283 h 248809"/>
                <a:gd name="connsiteX3" fmla="*/ 319743 w 588449"/>
                <a:gd name="connsiteY3" fmla="*/ 71351 h 248809"/>
                <a:gd name="connsiteX4" fmla="*/ 198230 w 588449"/>
                <a:gd name="connsiteY4" fmla="*/ 30991 h 248809"/>
                <a:gd name="connsiteX5" fmla="*/ 95977 w 588449"/>
                <a:gd name="connsiteY5" fmla="*/ 9459 h 248809"/>
                <a:gd name="connsiteX6" fmla="*/ 25861 w 588449"/>
                <a:gd name="connsiteY6" fmla="*/ 2209 h 248809"/>
                <a:gd name="connsiteX7" fmla="*/ 6709 w 588449"/>
                <a:gd name="connsiteY7" fmla="*/ 1235 h 248809"/>
                <a:gd name="connsiteX8" fmla="*/ 0 w 588449"/>
                <a:gd name="connsiteY8" fmla="*/ 586 h 248809"/>
                <a:gd name="connsiteX9" fmla="*/ 6709 w 588449"/>
                <a:gd name="connsiteY9" fmla="*/ 153 h 248809"/>
                <a:gd name="connsiteX10" fmla="*/ 25969 w 588449"/>
                <a:gd name="connsiteY10" fmla="*/ 45 h 248809"/>
                <a:gd name="connsiteX11" fmla="*/ 96518 w 588449"/>
                <a:gd name="connsiteY11" fmla="*/ 5563 h 248809"/>
                <a:gd name="connsiteX12" fmla="*/ 199528 w 588449"/>
                <a:gd name="connsiteY12" fmla="*/ 26122 h 248809"/>
                <a:gd name="connsiteX13" fmla="*/ 321799 w 588449"/>
                <a:gd name="connsiteY13" fmla="*/ 66158 h 248809"/>
                <a:gd name="connsiteX14" fmla="*/ 528469 w 588449"/>
                <a:gd name="connsiteY14" fmla="*/ 174145 h 248809"/>
                <a:gd name="connsiteX15" fmla="*/ 577377 w 588449"/>
                <a:gd name="connsiteY15" fmla="*/ 225326 h 248809"/>
                <a:gd name="connsiteX16" fmla="*/ 586141 w 588449"/>
                <a:gd name="connsiteY16" fmla="*/ 242530 h 248809"/>
                <a:gd name="connsiteX17" fmla="*/ 588414 w 588449"/>
                <a:gd name="connsiteY17" fmla="*/ 248806 h 24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88449" h="248809">
                  <a:moveTo>
                    <a:pt x="588414" y="248806"/>
                  </a:moveTo>
                  <a:cubicBezTo>
                    <a:pt x="587873" y="249022"/>
                    <a:pt x="584518" y="240366"/>
                    <a:pt x="575537" y="226408"/>
                  </a:cubicBezTo>
                  <a:cubicBezTo>
                    <a:pt x="566448" y="212558"/>
                    <a:pt x="550434" y="194379"/>
                    <a:pt x="526088" y="177283"/>
                  </a:cubicBezTo>
                  <a:cubicBezTo>
                    <a:pt x="477613" y="142874"/>
                    <a:pt x="404791" y="103488"/>
                    <a:pt x="319743" y="71351"/>
                  </a:cubicBezTo>
                  <a:cubicBezTo>
                    <a:pt x="277327" y="54904"/>
                    <a:pt x="236210" y="41379"/>
                    <a:pt x="198230" y="30991"/>
                  </a:cubicBezTo>
                  <a:cubicBezTo>
                    <a:pt x="160250" y="20712"/>
                    <a:pt x="125409" y="13787"/>
                    <a:pt x="95977" y="9459"/>
                  </a:cubicBezTo>
                  <a:cubicBezTo>
                    <a:pt x="66546" y="5130"/>
                    <a:pt x="42524" y="3183"/>
                    <a:pt x="25861" y="2209"/>
                  </a:cubicBezTo>
                  <a:cubicBezTo>
                    <a:pt x="18070" y="1776"/>
                    <a:pt x="11686" y="1451"/>
                    <a:pt x="6709" y="1235"/>
                  </a:cubicBezTo>
                  <a:cubicBezTo>
                    <a:pt x="2273" y="1019"/>
                    <a:pt x="0" y="694"/>
                    <a:pt x="0" y="586"/>
                  </a:cubicBezTo>
                  <a:cubicBezTo>
                    <a:pt x="0" y="369"/>
                    <a:pt x="2273" y="261"/>
                    <a:pt x="6709" y="153"/>
                  </a:cubicBezTo>
                  <a:cubicBezTo>
                    <a:pt x="11145" y="45"/>
                    <a:pt x="17637" y="-63"/>
                    <a:pt x="25969" y="45"/>
                  </a:cubicBezTo>
                  <a:cubicBezTo>
                    <a:pt x="42632" y="478"/>
                    <a:pt x="66870" y="1668"/>
                    <a:pt x="96518" y="5563"/>
                  </a:cubicBezTo>
                  <a:cubicBezTo>
                    <a:pt x="126166" y="9459"/>
                    <a:pt x="161224" y="16059"/>
                    <a:pt x="199528" y="26122"/>
                  </a:cubicBezTo>
                  <a:cubicBezTo>
                    <a:pt x="237833" y="36185"/>
                    <a:pt x="279275" y="49602"/>
                    <a:pt x="321799" y="66158"/>
                  </a:cubicBezTo>
                  <a:cubicBezTo>
                    <a:pt x="407172" y="98510"/>
                    <a:pt x="480209" y="138654"/>
                    <a:pt x="528469" y="174145"/>
                  </a:cubicBezTo>
                  <a:cubicBezTo>
                    <a:pt x="552815" y="191891"/>
                    <a:pt x="568829" y="210935"/>
                    <a:pt x="577377" y="225326"/>
                  </a:cubicBezTo>
                  <a:cubicBezTo>
                    <a:pt x="581597" y="232575"/>
                    <a:pt x="584518" y="238418"/>
                    <a:pt x="586141" y="242530"/>
                  </a:cubicBezTo>
                  <a:cubicBezTo>
                    <a:pt x="587873" y="246533"/>
                    <a:pt x="588630" y="248806"/>
                    <a:pt x="588414" y="24880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3E17D8A5-62BA-4999-9AA6-A9F2ABB633C8}"/>
                </a:ext>
              </a:extLst>
            </p:cNvPr>
            <p:cNvSpPr/>
            <p:nvPr/>
          </p:nvSpPr>
          <p:spPr>
            <a:xfrm flipH="1">
              <a:off x="1316944" y="5204417"/>
              <a:ext cx="996198" cy="543559"/>
            </a:xfrm>
            <a:custGeom>
              <a:avLst/>
              <a:gdLst>
                <a:gd name="connsiteX0" fmla="*/ 38954 w 903828"/>
                <a:gd name="connsiteY0" fmla="*/ 138236 h 493159"/>
                <a:gd name="connsiteX1" fmla="*/ 556710 w 903828"/>
                <a:gd name="connsiteY1" fmla="*/ 256070 h 493159"/>
                <a:gd name="connsiteX2" fmla="*/ 691640 w 903828"/>
                <a:gd name="connsiteY2" fmla="*/ 16074 h 493159"/>
                <a:gd name="connsiteX3" fmla="*/ 834794 w 903828"/>
                <a:gd name="connsiteY3" fmla="*/ 14451 h 493159"/>
                <a:gd name="connsiteX4" fmla="*/ 903828 w 903828"/>
                <a:gd name="connsiteY4" fmla="*/ 127416 h 493159"/>
                <a:gd name="connsiteX5" fmla="*/ 755913 w 903828"/>
                <a:gd name="connsiteY5" fmla="*/ 363517 h 493159"/>
                <a:gd name="connsiteX6" fmla="*/ 536259 w 903828"/>
                <a:gd name="connsiteY6" fmla="*/ 484705 h 493159"/>
                <a:gd name="connsiteX7" fmla="*/ 0 w 903828"/>
                <a:gd name="connsiteY7" fmla="*/ 289180 h 493159"/>
                <a:gd name="connsiteX8" fmla="*/ 38954 w 903828"/>
                <a:gd name="connsiteY8" fmla="*/ 138236 h 493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3828" h="493159">
                  <a:moveTo>
                    <a:pt x="38954" y="138236"/>
                  </a:moveTo>
                  <a:lnTo>
                    <a:pt x="556710" y="256070"/>
                  </a:lnTo>
                  <a:lnTo>
                    <a:pt x="691640" y="16074"/>
                  </a:lnTo>
                  <a:cubicBezTo>
                    <a:pt x="691640" y="16074"/>
                    <a:pt x="777879" y="-18984"/>
                    <a:pt x="834794" y="14451"/>
                  </a:cubicBezTo>
                  <a:cubicBezTo>
                    <a:pt x="891818" y="47777"/>
                    <a:pt x="903828" y="127416"/>
                    <a:pt x="903828" y="127416"/>
                  </a:cubicBezTo>
                  <a:lnTo>
                    <a:pt x="755913" y="363517"/>
                  </a:lnTo>
                  <a:cubicBezTo>
                    <a:pt x="711225" y="434823"/>
                    <a:pt x="637105" y="520629"/>
                    <a:pt x="536259" y="484705"/>
                  </a:cubicBezTo>
                  <a:lnTo>
                    <a:pt x="0" y="289180"/>
                  </a:lnTo>
                  <a:lnTo>
                    <a:pt x="38954" y="138236"/>
                  </a:lnTo>
                  <a:close/>
                </a:path>
              </a:pathLst>
            </a:custGeom>
            <a:solidFill>
              <a:srgbClr val="B78876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A3AA18D1-A62B-493E-BA21-5254C7F869A6}"/>
                </a:ext>
              </a:extLst>
            </p:cNvPr>
            <p:cNvSpPr/>
            <p:nvPr/>
          </p:nvSpPr>
          <p:spPr>
            <a:xfrm flipH="1">
              <a:off x="1188064" y="4949784"/>
              <a:ext cx="408193" cy="466715"/>
            </a:xfrm>
            <a:custGeom>
              <a:avLst/>
              <a:gdLst>
                <a:gd name="connsiteX0" fmla="*/ 366379 w 370344"/>
                <a:gd name="connsiteY0" fmla="*/ 175898 h 423440"/>
                <a:gd name="connsiteX1" fmla="*/ 189465 w 370344"/>
                <a:gd name="connsiteY1" fmla="*/ 7966 h 423440"/>
                <a:gd name="connsiteX2" fmla="*/ 89918 w 370344"/>
                <a:gd name="connsiteY2" fmla="*/ 105674 h 423440"/>
                <a:gd name="connsiteX3" fmla="*/ 0 w 370344"/>
                <a:gd name="connsiteY3" fmla="*/ 285076 h 423440"/>
                <a:gd name="connsiteX4" fmla="*/ 193685 w 370344"/>
                <a:gd name="connsiteY4" fmla="*/ 415029 h 423440"/>
                <a:gd name="connsiteX5" fmla="*/ 263693 w 370344"/>
                <a:gd name="connsiteY5" fmla="*/ 398907 h 423440"/>
                <a:gd name="connsiteX6" fmla="*/ 366379 w 370344"/>
                <a:gd name="connsiteY6" fmla="*/ 175898 h 42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344" h="423440">
                  <a:moveTo>
                    <a:pt x="366379" y="175898"/>
                  </a:moveTo>
                  <a:cubicBezTo>
                    <a:pt x="392564" y="77324"/>
                    <a:pt x="284036" y="-30447"/>
                    <a:pt x="189465" y="7966"/>
                  </a:cubicBezTo>
                  <a:cubicBezTo>
                    <a:pt x="152351" y="23006"/>
                    <a:pt x="105824" y="77541"/>
                    <a:pt x="89918" y="105674"/>
                  </a:cubicBezTo>
                  <a:cubicBezTo>
                    <a:pt x="50206" y="175898"/>
                    <a:pt x="0" y="285076"/>
                    <a:pt x="0" y="285076"/>
                  </a:cubicBezTo>
                  <a:lnTo>
                    <a:pt x="193685" y="415029"/>
                  </a:lnTo>
                  <a:cubicBezTo>
                    <a:pt x="217274" y="430935"/>
                    <a:pt x="249410" y="423577"/>
                    <a:pt x="263693" y="398907"/>
                  </a:cubicBezTo>
                  <a:cubicBezTo>
                    <a:pt x="295721" y="343723"/>
                    <a:pt x="347010" y="248612"/>
                    <a:pt x="366379" y="175898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5669BB36-58B4-484A-AF20-0A7C960B91C6}"/>
                </a:ext>
              </a:extLst>
            </p:cNvPr>
            <p:cNvSpPr/>
            <p:nvPr/>
          </p:nvSpPr>
          <p:spPr>
            <a:xfrm flipH="1">
              <a:off x="1214288" y="5141751"/>
              <a:ext cx="386268" cy="293928"/>
            </a:xfrm>
            <a:custGeom>
              <a:avLst/>
              <a:gdLst>
                <a:gd name="connsiteX0" fmla="*/ 350370 w 350452"/>
                <a:gd name="connsiteY0" fmla="*/ 0 h 266674"/>
                <a:gd name="connsiteX1" fmla="*/ 349829 w 350452"/>
                <a:gd name="connsiteY1" fmla="*/ 5843 h 266674"/>
                <a:gd name="connsiteX2" fmla="*/ 347015 w 350452"/>
                <a:gd name="connsiteY2" fmla="*/ 22506 h 266674"/>
                <a:gd name="connsiteX3" fmla="*/ 329703 w 350452"/>
                <a:gd name="connsiteY3" fmla="*/ 82019 h 266674"/>
                <a:gd name="connsiteX4" fmla="*/ 294212 w 350452"/>
                <a:gd name="connsiteY4" fmla="*/ 166742 h 266674"/>
                <a:gd name="connsiteX5" fmla="*/ 273437 w 350452"/>
                <a:gd name="connsiteY5" fmla="*/ 216624 h 266674"/>
                <a:gd name="connsiteX6" fmla="*/ 264131 w 350452"/>
                <a:gd name="connsiteY6" fmla="*/ 243675 h 266674"/>
                <a:gd name="connsiteX7" fmla="*/ 257639 w 350452"/>
                <a:gd name="connsiteY7" fmla="*/ 257525 h 266674"/>
                <a:gd name="connsiteX8" fmla="*/ 243789 w 350452"/>
                <a:gd name="connsiteY8" fmla="*/ 266615 h 266674"/>
                <a:gd name="connsiteX9" fmla="*/ 228424 w 350452"/>
                <a:gd name="connsiteY9" fmla="*/ 261854 h 266674"/>
                <a:gd name="connsiteX10" fmla="*/ 215764 w 350452"/>
                <a:gd name="connsiteY10" fmla="*/ 254171 h 266674"/>
                <a:gd name="connsiteX11" fmla="*/ 191959 w 350452"/>
                <a:gd name="connsiteY11" fmla="*/ 238157 h 266674"/>
                <a:gd name="connsiteX12" fmla="*/ 146622 w 350452"/>
                <a:gd name="connsiteY12" fmla="*/ 208617 h 266674"/>
                <a:gd name="connsiteX13" fmla="*/ 69905 w 350452"/>
                <a:gd name="connsiteY13" fmla="*/ 158303 h 266674"/>
                <a:gd name="connsiteX14" fmla="*/ 18508 w 350452"/>
                <a:gd name="connsiteY14" fmla="*/ 124002 h 266674"/>
                <a:gd name="connsiteX15" fmla="*/ 4658 w 350452"/>
                <a:gd name="connsiteY15" fmla="*/ 114480 h 266674"/>
                <a:gd name="connsiteX16" fmla="*/ 5 w 350452"/>
                <a:gd name="connsiteY16" fmla="*/ 110801 h 266674"/>
                <a:gd name="connsiteX17" fmla="*/ 5199 w 350452"/>
                <a:gd name="connsiteY17" fmla="*/ 113506 h 266674"/>
                <a:gd name="connsiteX18" fmla="*/ 19590 w 350452"/>
                <a:gd name="connsiteY18" fmla="*/ 122270 h 266674"/>
                <a:gd name="connsiteX19" fmla="*/ 71961 w 350452"/>
                <a:gd name="connsiteY19" fmla="*/ 155165 h 266674"/>
                <a:gd name="connsiteX20" fmla="*/ 149219 w 350452"/>
                <a:gd name="connsiteY20" fmla="*/ 204614 h 266674"/>
                <a:gd name="connsiteX21" fmla="*/ 194772 w 350452"/>
                <a:gd name="connsiteY21" fmla="*/ 233937 h 266674"/>
                <a:gd name="connsiteX22" fmla="*/ 218577 w 350452"/>
                <a:gd name="connsiteY22" fmla="*/ 249843 h 266674"/>
                <a:gd name="connsiteX23" fmla="*/ 230912 w 350452"/>
                <a:gd name="connsiteY23" fmla="*/ 257309 h 266674"/>
                <a:gd name="connsiteX24" fmla="*/ 243356 w 350452"/>
                <a:gd name="connsiteY24" fmla="*/ 261529 h 266674"/>
                <a:gd name="connsiteX25" fmla="*/ 259262 w 350452"/>
                <a:gd name="connsiteY25" fmla="*/ 242052 h 266674"/>
                <a:gd name="connsiteX26" fmla="*/ 268676 w 350452"/>
                <a:gd name="connsiteY26" fmla="*/ 214893 h 266674"/>
                <a:gd name="connsiteX27" fmla="*/ 289884 w 350452"/>
                <a:gd name="connsiteY27" fmla="*/ 164903 h 266674"/>
                <a:gd name="connsiteX28" fmla="*/ 326348 w 350452"/>
                <a:gd name="connsiteY28" fmla="*/ 80828 h 266674"/>
                <a:gd name="connsiteX29" fmla="*/ 345068 w 350452"/>
                <a:gd name="connsiteY29" fmla="*/ 22182 h 266674"/>
                <a:gd name="connsiteX30" fmla="*/ 350370 w 350452"/>
                <a:gd name="connsiteY30" fmla="*/ 0 h 266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0452" h="266674">
                  <a:moveTo>
                    <a:pt x="350370" y="0"/>
                  </a:moveTo>
                  <a:cubicBezTo>
                    <a:pt x="350586" y="0"/>
                    <a:pt x="350370" y="2056"/>
                    <a:pt x="349829" y="5843"/>
                  </a:cubicBezTo>
                  <a:cubicBezTo>
                    <a:pt x="349288" y="9630"/>
                    <a:pt x="348638" y="15365"/>
                    <a:pt x="347015" y="22506"/>
                  </a:cubicBezTo>
                  <a:cubicBezTo>
                    <a:pt x="344202" y="36898"/>
                    <a:pt x="338792" y="57456"/>
                    <a:pt x="329703" y="82019"/>
                  </a:cubicBezTo>
                  <a:cubicBezTo>
                    <a:pt x="320830" y="106689"/>
                    <a:pt x="308062" y="135147"/>
                    <a:pt x="294212" y="166742"/>
                  </a:cubicBezTo>
                  <a:cubicBezTo>
                    <a:pt x="287287" y="182540"/>
                    <a:pt x="280145" y="199095"/>
                    <a:pt x="273437" y="216624"/>
                  </a:cubicBezTo>
                  <a:cubicBezTo>
                    <a:pt x="269866" y="225389"/>
                    <a:pt x="267269" y="234153"/>
                    <a:pt x="264131" y="243675"/>
                  </a:cubicBezTo>
                  <a:cubicBezTo>
                    <a:pt x="262508" y="248328"/>
                    <a:pt x="260561" y="253089"/>
                    <a:pt x="257639" y="257525"/>
                  </a:cubicBezTo>
                  <a:cubicBezTo>
                    <a:pt x="254717" y="261746"/>
                    <a:pt x="249956" y="266290"/>
                    <a:pt x="243789" y="266615"/>
                  </a:cubicBezTo>
                  <a:cubicBezTo>
                    <a:pt x="237296" y="267156"/>
                    <a:pt x="232860" y="263909"/>
                    <a:pt x="228424" y="261854"/>
                  </a:cubicBezTo>
                  <a:cubicBezTo>
                    <a:pt x="223988" y="259473"/>
                    <a:pt x="219767" y="256768"/>
                    <a:pt x="215764" y="254171"/>
                  </a:cubicBezTo>
                  <a:cubicBezTo>
                    <a:pt x="207540" y="248869"/>
                    <a:pt x="199966" y="243242"/>
                    <a:pt x="191959" y="238157"/>
                  </a:cubicBezTo>
                  <a:cubicBezTo>
                    <a:pt x="176270" y="227878"/>
                    <a:pt x="161013" y="218031"/>
                    <a:pt x="146622" y="208617"/>
                  </a:cubicBezTo>
                  <a:cubicBezTo>
                    <a:pt x="117947" y="189790"/>
                    <a:pt x="91979" y="172694"/>
                    <a:pt x="69905" y="158303"/>
                  </a:cubicBezTo>
                  <a:cubicBezTo>
                    <a:pt x="48589" y="144128"/>
                    <a:pt x="31168" y="132442"/>
                    <a:pt x="18508" y="124002"/>
                  </a:cubicBezTo>
                  <a:cubicBezTo>
                    <a:pt x="12881" y="120107"/>
                    <a:pt x="8337" y="116969"/>
                    <a:pt x="4658" y="114480"/>
                  </a:cubicBezTo>
                  <a:cubicBezTo>
                    <a:pt x="1520" y="112208"/>
                    <a:pt x="-103" y="111017"/>
                    <a:pt x="5" y="110801"/>
                  </a:cubicBezTo>
                  <a:cubicBezTo>
                    <a:pt x="113" y="110693"/>
                    <a:pt x="1845" y="111558"/>
                    <a:pt x="5199" y="113506"/>
                  </a:cubicBezTo>
                  <a:cubicBezTo>
                    <a:pt x="8986" y="115778"/>
                    <a:pt x="13747" y="118700"/>
                    <a:pt x="19590" y="122270"/>
                  </a:cubicBezTo>
                  <a:cubicBezTo>
                    <a:pt x="32575" y="130386"/>
                    <a:pt x="50320" y="141639"/>
                    <a:pt x="71961" y="155165"/>
                  </a:cubicBezTo>
                  <a:cubicBezTo>
                    <a:pt x="94143" y="169339"/>
                    <a:pt x="120328" y="186111"/>
                    <a:pt x="149219" y="204614"/>
                  </a:cubicBezTo>
                  <a:cubicBezTo>
                    <a:pt x="163718" y="214028"/>
                    <a:pt x="178975" y="223766"/>
                    <a:pt x="194772" y="233937"/>
                  </a:cubicBezTo>
                  <a:cubicBezTo>
                    <a:pt x="202779" y="238914"/>
                    <a:pt x="210570" y="244649"/>
                    <a:pt x="218577" y="249843"/>
                  </a:cubicBezTo>
                  <a:cubicBezTo>
                    <a:pt x="222581" y="252440"/>
                    <a:pt x="226693" y="255037"/>
                    <a:pt x="230912" y="257309"/>
                  </a:cubicBezTo>
                  <a:cubicBezTo>
                    <a:pt x="235133" y="259365"/>
                    <a:pt x="239569" y="262070"/>
                    <a:pt x="243356" y="261529"/>
                  </a:cubicBezTo>
                  <a:cubicBezTo>
                    <a:pt x="251796" y="260772"/>
                    <a:pt x="256232" y="250709"/>
                    <a:pt x="259262" y="242052"/>
                  </a:cubicBezTo>
                  <a:cubicBezTo>
                    <a:pt x="262184" y="233072"/>
                    <a:pt x="265105" y="223550"/>
                    <a:pt x="268676" y="214893"/>
                  </a:cubicBezTo>
                  <a:cubicBezTo>
                    <a:pt x="275492" y="197364"/>
                    <a:pt x="282851" y="180701"/>
                    <a:pt x="289884" y="164903"/>
                  </a:cubicBezTo>
                  <a:cubicBezTo>
                    <a:pt x="304058" y="133415"/>
                    <a:pt x="317043" y="105174"/>
                    <a:pt x="326348" y="80828"/>
                  </a:cubicBezTo>
                  <a:cubicBezTo>
                    <a:pt x="335762" y="56590"/>
                    <a:pt x="341714" y="36356"/>
                    <a:pt x="345068" y="22182"/>
                  </a:cubicBezTo>
                  <a:cubicBezTo>
                    <a:pt x="348530" y="8007"/>
                    <a:pt x="349829" y="0"/>
                    <a:pt x="350370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5EB7BE3F-6C89-4BF3-B68F-5A89A46C75B4}"/>
                </a:ext>
              </a:extLst>
            </p:cNvPr>
            <p:cNvSpPr/>
            <p:nvPr/>
          </p:nvSpPr>
          <p:spPr>
            <a:xfrm flipH="1">
              <a:off x="1650896" y="5483527"/>
              <a:ext cx="49675" cy="129071"/>
            </a:xfrm>
            <a:custGeom>
              <a:avLst/>
              <a:gdLst>
                <a:gd name="connsiteX0" fmla="*/ 43895 w 45069"/>
                <a:gd name="connsiteY0" fmla="*/ 117104 h 117103"/>
                <a:gd name="connsiteX1" fmla="*/ 30369 w 45069"/>
                <a:gd name="connsiteY1" fmla="*/ 55428 h 117103"/>
                <a:gd name="connsiteX2" fmla="*/ 72 w 45069"/>
                <a:gd name="connsiteY2" fmla="*/ 27 h 117103"/>
                <a:gd name="connsiteX3" fmla="*/ 13165 w 45069"/>
                <a:gd name="connsiteY3" fmla="*/ 13553 h 117103"/>
                <a:gd name="connsiteX4" fmla="*/ 35238 w 45069"/>
                <a:gd name="connsiteY4" fmla="*/ 53480 h 117103"/>
                <a:gd name="connsiteX5" fmla="*/ 44868 w 45069"/>
                <a:gd name="connsiteY5" fmla="*/ 98060 h 117103"/>
                <a:gd name="connsiteX6" fmla="*/ 43895 w 45069"/>
                <a:gd name="connsiteY6" fmla="*/ 117104 h 117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69" h="117103">
                  <a:moveTo>
                    <a:pt x="43895" y="117104"/>
                  </a:moveTo>
                  <a:cubicBezTo>
                    <a:pt x="42163" y="117212"/>
                    <a:pt x="42813" y="88213"/>
                    <a:pt x="30369" y="55428"/>
                  </a:cubicBezTo>
                  <a:cubicBezTo>
                    <a:pt x="18250" y="22533"/>
                    <a:pt x="-1335" y="1109"/>
                    <a:pt x="72" y="27"/>
                  </a:cubicBezTo>
                  <a:cubicBezTo>
                    <a:pt x="505" y="-406"/>
                    <a:pt x="6023" y="4355"/>
                    <a:pt x="13165" y="13553"/>
                  </a:cubicBezTo>
                  <a:cubicBezTo>
                    <a:pt x="20414" y="22750"/>
                    <a:pt x="28962" y="36708"/>
                    <a:pt x="35238" y="53480"/>
                  </a:cubicBezTo>
                  <a:cubicBezTo>
                    <a:pt x="41514" y="70251"/>
                    <a:pt x="44219" y="86374"/>
                    <a:pt x="44868" y="98060"/>
                  </a:cubicBezTo>
                  <a:cubicBezTo>
                    <a:pt x="45518" y="109962"/>
                    <a:pt x="44436" y="117104"/>
                    <a:pt x="43895" y="117104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A1227265-98CA-454F-A2B3-1A772D625F74}"/>
                </a:ext>
              </a:extLst>
            </p:cNvPr>
            <p:cNvSpPr/>
            <p:nvPr/>
          </p:nvSpPr>
          <p:spPr>
            <a:xfrm flipH="1">
              <a:off x="1846587" y="5533125"/>
              <a:ext cx="439365" cy="160259"/>
            </a:xfrm>
            <a:custGeom>
              <a:avLst/>
              <a:gdLst>
                <a:gd name="connsiteX0" fmla="*/ 398625 w 398626"/>
                <a:gd name="connsiteY0" fmla="*/ 145359 h 145399"/>
                <a:gd name="connsiteX1" fmla="*/ 382611 w 398626"/>
                <a:gd name="connsiteY1" fmla="*/ 140706 h 145399"/>
                <a:gd name="connsiteX2" fmla="*/ 339546 w 398626"/>
                <a:gd name="connsiteY2" fmla="*/ 125990 h 145399"/>
                <a:gd name="connsiteX3" fmla="*/ 198340 w 398626"/>
                <a:gd name="connsiteY3" fmla="*/ 75351 h 145399"/>
                <a:gd name="connsiteX4" fmla="*/ 57675 w 398626"/>
                <a:gd name="connsiteY4" fmla="*/ 23196 h 145399"/>
                <a:gd name="connsiteX5" fmla="*/ 15258 w 398626"/>
                <a:gd name="connsiteY5" fmla="*/ 6749 h 145399"/>
                <a:gd name="connsiteX6" fmla="*/ 2 w 398626"/>
                <a:gd name="connsiteY6" fmla="*/ 41 h 145399"/>
                <a:gd name="connsiteX7" fmla="*/ 16016 w 398626"/>
                <a:gd name="connsiteY7" fmla="*/ 4693 h 145399"/>
                <a:gd name="connsiteX8" fmla="*/ 59081 w 398626"/>
                <a:gd name="connsiteY8" fmla="*/ 19409 h 145399"/>
                <a:gd name="connsiteX9" fmla="*/ 200287 w 398626"/>
                <a:gd name="connsiteY9" fmla="*/ 70049 h 145399"/>
                <a:gd name="connsiteX10" fmla="*/ 340953 w 398626"/>
                <a:gd name="connsiteY10" fmla="*/ 122203 h 145399"/>
                <a:gd name="connsiteX11" fmla="*/ 383368 w 398626"/>
                <a:gd name="connsiteY11" fmla="*/ 138650 h 145399"/>
                <a:gd name="connsiteX12" fmla="*/ 398625 w 398626"/>
                <a:gd name="connsiteY12" fmla="*/ 145359 h 14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8626" h="145399">
                  <a:moveTo>
                    <a:pt x="398625" y="145359"/>
                  </a:moveTo>
                  <a:cubicBezTo>
                    <a:pt x="398517" y="145683"/>
                    <a:pt x="392782" y="144060"/>
                    <a:pt x="382611" y="140706"/>
                  </a:cubicBezTo>
                  <a:cubicBezTo>
                    <a:pt x="371466" y="136919"/>
                    <a:pt x="357075" y="131941"/>
                    <a:pt x="339546" y="125990"/>
                  </a:cubicBezTo>
                  <a:cubicBezTo>
                    <a:pt x="303297" y="113330"/>
                    <a:pt x="253416" y="95476"/>
                    <a:pt x="198340" y="75351"/>
                  </a:cubicBezTo>
                  <a:cubicBezTo>
                    <a:pt x="143264" y="55224"/>
                    <a:pt x="93598" y="36830"/>
                    <a:pt x="57675" y="23196"/>
                  </a:cubicBezTo>
                  <a:cubicBezTo>
                    <a:pt x="40470" y="16596"/>
                    <a:pt x="26187" y="11077"/>
                    <a:pt x="15258" y="6749"/>
                  </a:cubicBezTo>
                  <a:cubicBezTo>
                    <a:pt x="5303" y="2746"/>
                    <a:pt x="-107" y="365"/>
                    <a:pt x="2" y="41"/>
                  </a:cubicBezTo>
                  <a:cubicBezTo>
                    <a:pt x="110" y="-284"/>
                    <a:pt x="5845" y="1339"/>
                    <a:pt x="16016" y="4693"/>
                  </a:cubicBezTo>
                  <a:cubicBezTo>
                    <a:pt x="27161" y="8481"/>
                    <a:pt x="41552" y="13458"/>
                    <a:pt x="59081" y="19409"/>
                  </a:cubicBezTo>
                  <a:cubicBezTo>
                    <a:pt x="95329" y="32069"/>
                    <a:pt x="145212" y="49923"/>
                    <a:pt x="200287" y="70049"/>
                  </a:cubicBezTo>
                  <a:cubicBezTo>
                    <a:pt x="255255" y="90066"/>
                    <a:pt x="305029" y="108569"/>
                    <a:pt x="340953" y="122203"/>
                  </a:cubicBezTo>
                  <a:cubicBezTo>
                    <a:pt x="358157" y="128803"/>
                    <a:pt x="372440" y="134322"/>
                    <a:pt x="383368" y="138650"/>
                  </a:cubicBezTo>
                  <a:cubicBezTo>
                    <a:pt x="393323" y="142654"/>
                    <a:pt x="398733" y="145034"/>
                    <a:pt x="398625" y="145359"/>
                  </a:cubicBezTo>
                  <a:close/>
                </a:path>
              </a:pathLst>
            </a:custGeom>
            <a:solidFill>
              <a:srgbClr val="995037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BEAE7BEF-D75C-424E-89C9-D47F38319784}"/>
                </a:ext>
              </a:extLst>
            </p:cNvPr>
            <p:cNvSpPr/>
            <p:nvPr/>
          </p:nvSpPr>
          <p:spPr>
            <a:xfrm flipH="1">
              <a:off x="4437364" y="6388758"/>
              <a:ext cx="395553" cy="464645"/>
            </a:xfrm>
            <a:custGeom>
              <a:avLst/>
              <a:gdLst>
                <a:gd name="connsiteX0" fmla="*/ 284144 w 358876"/>
                <a:gd name="connsiteY0" fmla="*/ 66870 h 421562"/>
                <a:gd name="connsiteX1" fmla="*/ 209050 w 358876"/>
                <a:gd name="connsiteY1" fmla="*/ 248978 h 421562"/>
                <a:gd name="connsiteX2" fmla="*/ 358372 w 358876"/>
                <a:gd name="connsiteY2" fmla="*/ 421563 h 421562"/>
                <a:gd name="connsiteX3" fmla="*/ 0 w 358876"/>
                <a:gd name="connsiteY3" fmla="*/ 288580 h 421562"/>
                <a:gd name="connsiteX4" fmla="*/ 105391 w 358876"/>
                <a:gd name="connsiteY4" fmla="*/ 0 h 421562"/>
                <a:gd name="connsiteX5" fmla="*/ 284144 w 358876"/>
                <a:gd name="connsiteY5" fmla="*/ 66870 h 42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876" h="421562">
                  <a:moveTo>
                    <a:pt x="284144" y="66870"/>
                  </a:moveTo>
                  <a:lnTo>
                    <a:pt x="209050" y="248978"/>
                  </a:lnTo>
                  <a:cubicBezTo>
                    <a:pt x="209050" y="248978"/>
                    <a:pt x="368976" y="386505"/>
                    <a:pt x="358372" y="421563"/>
                  </a:cubicBezTo>
                  <a:lnTo>
                    <a:pt x="0" y="288580"/>
                  </a:lnTo>
                  <a:lnTo>
                    <a:pt x="105391" y="0"/>
                  </a:lnTo>
                  <a:lnTo>
                    <a:pt x="284144" y="66870"/>
                  </a:lnTo>
                  <a:close/>
                </a:path>
              </a:pathLst>
            </a:custGeom>
            <a:solidFill>
              <a:srgbClr val="FF725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79DC2D44-F34E-4F77-BC63-D4C90FF70E94}"/>
                </a:ext>
              </a:extLst>
            </p:cNvPr>
            <p:cNvSpPr/>
            <p:nvPr/>
          </p:nvSpPr>
          <p:spPr>
            <a:xfrm flipH="1">
              <a:off x="4437364" y="6388758"/>
              <a:ext cx="395553" cy="464645"/>
            </a:xfrm>
            <a:custGeom>
              <a:avLst/>
              <a:gdLst>
                <a:gd name="connsiteX0" fmla="*/ 284144 w 358876"/>
                <a:gd name="connsiteY0" fmla="*/ 66870 h 421562"/>
                <a:gd name="connsiteX1" fmla="*/ 209050 w 358876"/>
                <a:gd name="connsiteY1" fmla="*/ 248978 h 421562"/>
                <a:gd name="connsiteX2" fmla="*/ 358372 w 358876"/>
                <a:gd name="connsiteY2" fmla="*/ 421563 h 421562"/>
                <a:gd name="connsiteX3" fmla="*/ 0 w 358876"/>
                <a:gd name="connsiteY3" fmla="*/ 288580 h 421562"/>
                <a:gd name="connsiteX4" fmla="*/ 105391 w 358876"/>
                <a:gd name="connsiteY4" fmla="*/ 0 h 421562"/>
                <a:gd name="connsiteX5" fmla="*/ 284144 w 358876"/>
                <a:gd name="connsiteY5" fmla="*/ 66870 h 42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876" h="421562">
                  <a:moveTo>
                    <a:pt x="284144" y="66870"/>
                  </a:moveTo>
                  <a:lnTo>
                    <a:pt x="209050" y="248978"/>
                  </a:lnTo>
                  <a:cubicBezTo>
                    <a:pt x="209050" y="248978"/>
                    <a:pt x="368976" y="386505"/>
                    <a:pt x="358372" y="421563"/>
                  </a:cubicBezTo>
                  <a:lnTo>
                    <a:pt x="0" y="288580"/>
                  </a:lnTo>
                  <a:lnTo>
                    <a:pt x="105391" y="0"/>
                  </a:lnTo>
                  <a:lnTo>
                    <a:pt x="284144" y="66870"/>
                  </a:lnTo>
                  <a:close/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AEAF839F-9C38-4C3C-A467-75FCC919D648}"/>
                </a:ext>
              </a:extLst>
            </p:cNvPr>
            <p:cNvSpPr/>
            <p:nvPr/>
          </p:nvSpPr>
          <p:spPr>
            <a:xfrm flipH="1">
              <a:off x="4703396" y="6600706"/>
              <a:ext cx="33031" cy="32498"/>
            </a:xfrm>
            <a:custGeom>
              <a:avLst/>
              <a:gdLst>
                <a:gd name="connsiteX0" fmla="*/ 16442 w 29968"/>
                <a:gd name="connsiteY0" fmla="*/ 90 h 29485"/>
                <a:gd name="connsiteX1" fmla="*/ 103 w 29968"/>
                <a:gd name="connsiteY1" fmla="*/ 13075 h 29485"/>
                <a:gd name="connsiteX2" fmla="*/ 12763 w 29968"/>
                <a:gd name="connsiteY2" fmla="*/ 29413 h 29485"/>
                <a:gd name="connsiteX3" fmla="*/ 29967 w 29968"/>
                <a:gd name="connsiteY3" fmla="*/ 15563 h 29485"/>
                <a:gd name="connsiteX4" fmla="*/ 14927 w 29968"/>
                <a:gd name="connsiteY4" fmla="*/ 90 h 29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68" h="29485">
                  <a:moveTo>
                    <a:pt x="16442" y="90"/>
                  </a:moveTo>
                  <a:cubicBezTo>
                    <a:pt x="8759" y="-559"/>
                    <a:pt x="1077" y="5392"/>
                    <a:pt x="103" y="13075"/>
                  </a:cubicBezTo>
                  <a:cubicBezTo>
                    <a:pt x="-871" y="20649"/>
                    <a:pt x="5189" y="28548"/>
                    <a:pt x="12763" y="29413"/>
                  </a:cubicBezTo>
                  <a:cubicBezTo>
                    <a:pt x="20337" y="30279"/>
                    <a:pt x="29859" y="23246"/>
                    <a:pt x="29967" y="15563"/>
                  </a:cubicBezTo>
                  <a:cubicBezTo>
                    <a:pt x="30075" y="7881"/>
                    <a:pt x="22501" y="-992"/>
                    <a:pt x="14927" y="90"/>
                  </a:cubicBezTo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22917EDE-E219-46E3-8E54-CA9869930392}"/>
                </a:ext>
              </a:extLst>
            </p:cNvPr>
            <p:cNvSpPr/>
            <p:nvPr/>
          </p:nvSpPr>
          <p:spPr>
            <a:xfrm flipH="1">
              <a:off x="4436188" y="6675226"/>
              <a:ext cx="396729" cy="178177"/>
            </a:xfrm>
            <a:custGeom>
              <a:avLst/>
              <a:gdLst>
                <a:gd name="connsiteX0" fmla="*/ 0 w 359943"/>
                <a:gd name="connsiteY0" fmla="*/ 28674 h 161656"/>
                <a:gd name="connsiteX1" fmla="*/ 11794 w 359943"/>
                <a:gd name="connsiteY1" fmla="*/ 0 h 161656"/>
                <a:gd name="connsiteX2" fmla="*/ 351014 w 359943"/>
                <a:gd name="connsiteY2" fmla="*/ 138177 h 161656"/>
                <a:gd name="connsiteX3" fmla="*/ 358372 w 359943"/>
                <a:gd name="connsiteY3" fmla="*/ 161657 h 161656"/>
                <a:gd name="connsiteX4" fmla="*/ 0 w 359943"/>
                <a:gd name="connsiteY4" fmla="*/ 28674 h 161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943" h="161656">
                  <a:moveTo>
                    <a:pt x="0" y="28674"/>
                  </a:moveTo>
                  <a:lnTo>
                    <a:pt x="11794" y="0"/>
                  </a:lnTo>
                  <a:lnTo>
                    <a:pt x="351014" y="138177"/>
                  </a:lnTo>
                  <a:cubicBezTo>
                    <a:pt x="351014" y="138177"/>
                    <a:pt x="364431" y="151053"/>
                    <a:pt x="358372" y="161657"/>
                  </a:cubicBezTo>
                  <a:lnTo>
                    <a:pt x="0" y="28674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1865A18C-2B97-4686-A4D1-AFDF00FC34D7}"/>
                </a:ext>
              </a:extLst>
            </p:cNvPr>
            <p:cNvSpPr/>
            <p:nvPr/>
          </p:nvSpPr>
          <p:spPr>
            <a:xfrm flipH="1">
              <a:off x="4595271" y="6657599"/>
              <a:ext cx="44200" cy="15563"/>
            </a:xfrm>
            <a:custGeom>
              <a:avLst/>
              <a:gdLst>
                <a:gd name="connsiteX0" fmla="*/ 40035 w 40102"/>
                <a:gd name="connsiteY0" fmla="*/ 5389 h 14120"/>
                <a:gd name="connsiteX1" fmla="*/ 19585 w 40102"/>
                <a:gd name="connsiteY1" fmla="*/ 7120 h 14120"/>
                <a:gd name="connsiteX2" fmla="*/ 216 w 40102"/>
                <a:gd name="connsiteY2" fmla="*/ 13937 h 14120"/>
                <a:gd name="connsiteX3" fmla="*/ 18178 w 40102"/>
                <a:gd name="connsiteY3" fmla="*/ 736 h 14120"/>
                <a:gd name="connsiteX4" fmla="*/ 40035 w 40102"/>
                <a:gd name="connsiteY4" fmla="*/ 5389 h 14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02" h="14120">
                  <a:moveTo>
                    <a:pt x="40035" y="5389"/>
                  </a:moveTo>
                  <a:cubicBezTo>
                    <a:pt x="39278" y="7120"/>
                    <a:pt x="30297" y="4631"/>
                    <a:pt x="19585" y="7120"/>
                  </a:cubicBezTo>
                  <a:cubicBezTo>
                    <a:pt x="8873" y="9284"/>
                    <a:pt x="1623" y="15235"/>
                    <a:pt x="216" y="13937"/>
                  </a:cubicBezTo>
                  <a:cubicBezTo>
                    <a:pt x="-1299" y="12963"/>
                    <a:pt x="5194" y="3549"/>
                    <a:pt x="18178" y="736"/>
                  </a:cubicBezTo>
                  <a:cubicBezTo>
                    <a:pt x="31271" y="-2077"/>
                    <a:pt x="41009" y="3982"/>
                    <a:pt x="40035" y="538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EBD7A484-A2E7-4426-BD31-475BB2077449}"/>
                </a:ext>
              </a:extLst>
            </p:cNvPr>
            <p:cNvSpPr/>
            <p:nvPr/>
          </p:nvSpPr>
          <p:spPr>
            <a:xfrm flipH="1">
              <a:off x="4560251" y="6693653"/>
              <a:ext cx="36590" cy="23358"/>
            </a:xfrm>
            <a:custGeom>
              <a:avLst/>
              <a:gdLst>
                <a:gd name="connsiteX0" fmla="*/ 33169 w 33197"/>
                <a:gd name="connsiteY0" fmla="*/ 2217 h 21192"/>
                <a:gd name="connsiteX1" fmla="*/ 15531 w 33197"/>
                <a:gd name="connsiteY1" fmla="*/ 9467 h 21192"/>
                <a:gd name="connsiteX2" fmla="*/ 491 w 33197"/>
                <a:gd name="connsiteY2" fmla="*/ 21153 h 21192"/>
                <a:gd name="connsiteX3" fmla="*/ 12285 w 33197"/>
                <a:gd name="connsiteY3" fmla="*/ 3840 h 21192"/>
                <a:gd name="connsiteX4" fmla="*/ 33169 w 33197"/>
                <a:gd name="connsiteY4" fmla="*/ 2217 h 2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97" h="21192">
                  <a:moveTo>
                    <a:pt x="33169" y="2217"/>
                  </a:moveTo>
                  <a:cubicBezTo>
                    <a:pt x="32952" y="4057"/>
                    <a:pt x="24296" y="4273"/>
                    <a:pt x="15531" y="9467"/>
                  </a:cubicBezTo>
                  <a:cubicBezTo>
                    <a:pt x="6659" y="14444"/>
                    <a:pt x="2222" y="21802"/>
                    <a:pt x="491" y="21153"/>
                  </a:cubicBezTo>
                  <a:cubicBezTo>
                    <a:pt x="-1240" y="20828"/>
                    <a:pt x="1357" y="10116"/>
                    <a:pt x="12285" y="3840"/>
                  </a:cubicBezTo>
                  <a:cubicBezTo>
                    <a:pt x="23214" y="-2544"/>
                    <a:pt x="33818" y="594"/>
                    <a:pt x="33169" y="221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A908C730-E6C3-46B9-ADEF-9DA9B6564C5B}"/>
                </a:ext>
              </a:extLst>
            </p:cNvPr>
            <p:cNvSpPr/>
            <p:nvPr/>
          </p:nvSpPr>
          <p:spPr>
            <a:xfrm flipH="1">
              <a:off x="4527584" y="6726358"/>
              <a:ext cx="28410" cy="28077"/>
            </a:xfrm>
            <a:custGeom>
              <a:avLst/>
              <a:gdLst>
                <a:gd name="connsiteX0" fmla="*/ 762 w 25776"/>
                <a:gd name="connsiteY0" fmla="*/ 25456 h 25474"/>
                <a:gd name="connsiteX1" fmla="*/ 7904 w 25776"/>
                <a:gd name="connsiteY1" fmla="*/ 7710 h 25474"/>
                <a:gd name="connsiteX2" fmla="*/ 25758 w 25776"/>
                <a:gd name="connsiteY2" fmla="*/ 785 h 25474"/>
                <a:gd name="connsiteX3" fmla="*/ 12448 w 25776"/>
                <a:gd name="connsiteY3" fmla="*/ 12363 h 25474"/>
                <a:gd name="connsiteX4" fmla="*/ 762 w 25776"/>
                <a:gd name="connsiteY4" fmla="*/ 25456 h 2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" h="25474">
                  <a:moveTo>
                    <a:pt x="762" y="25456"/>
                  </a:moveTo>
                  <a:cubicBezTo>
                    <a:pt x="-969" y="25239"/>
                    <a:pt x="-212" y="15609"/>
                    <a:pt x="7904" y="7710"/>
                  </a:cubicBezTo>
                  <a:cubicBezTo>
                    <a:pt x="15911" y="-297"/>
                    <a:pt x="25541" y="-946"/>
                    <a:pt x="25758" y="785"/>
                  </a:cubicBezTo>
                  <a:cubicBezTo>
                    <a:pt x="26190" y="2624"/>
                    <a:pt x="18941" y="5762"/>
                    <a:pt x="12448" y="12363"/>
                  </a:cubicBezTo>
                  <a:cubicBezTo>
                    <a:pt x="5848" y="18747"/>
                    <a:pt x="2602" y="25888"/>
                    <a:pt x="762" y="2545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F27C90B4-C591-4563-888F-C9F876A49BA8}"/>
                </a:ext>
              </a:extLst>
            </p:cNvPr>
            <p:cNvSpPr/>
            <p:nvPr/>
          </p:nvSpPr>
          <p:spPr>
            <a:xfrm flipH="1">
              <a:off x="4581321" y="6599421"/>
              <a:ext cx="42074" cy="16510"/>
            </a:xfrm>
            <a:custGeom>
              <a:avLst/>
              <a:gdLst>
                <a:gd name="connsiteX0" fmla="*/ 38001 w 38173"/>
                <a:gd name="connsiteY0" fmla="*/ 14782 h 14979"/>
                <a:gd name="connsiteX1" fmla="*/ 19390 w 38173"/>
                <a:gd name="connsiteY1" fmla="*/ 7748 h 14979"/>
                <a:gd name="connsiteX2" fmla="*/ 21 w 38173"/>
                <a:gd name="connsiteY2" fmla="*/ 3204 h 14979"/>
                <a:gd name="connsiteX3" fmla="*/ 21337 w 38173"/>
                <a:gd name="connsiteY3" fmla="*/ 1581 h 14979"/>
                <a:gd name="connsiteX4" fmla="*/ 38001 w 38173"/>
                <a:gd name="connsiteY4" fmla="*/ 14782 h 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73" h="14979">
                  <a:moveTo>
                    <a:pt x="38001" y="14782"/>
                  </a:moveTo>
                  <a:cubicBezTo>
                    <a:pt x="36702" y="16080"/>
                    <a:pt x="29561" y="10670"/>
                    <a:pt x="19390" y="7748"/>
                  </a:cubicBezTo>
                  <a:cubicBezTo>
                    <a:pt x="9327" y="4502"/>
                    <a:pt x="346" y="5043"/>
                    <a:pt x="21" y="3204"/>
                  </a:cubicBezTo>
                  <a:cubicBezTo>
                    <a:pt x="-520" y="1581"/>
                    <a:pt x="9435" y="-2098"/>
                    <a:pt x="21337" y="1581"/>
                  </a:cubicBezTo>
                  <a:cubicBezTo>
                    <a:pt x="33240" y="5151"/>
                    <a:pt x="39299" y="13808"/>
                    <a:pt x="38001" y="1478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8D85A68F-E252-4572-BB3D-1F2B2123C05E}"/>
                </a:ext>
              </a:extLst>
            </p:cNvPr>
            <p:cNvSpPr/>
            <p:nvPr/>
          </p:nvSpPr>
          <p:spPr>
            <a:xfrm flipH="1">
              <a:off x="4493138" y="6496690"/>
              <a:ext cx="448545" cy="358025"/>
            </a:xfrm>
            <a:custGeom>
              <a:avLst/>
              <a:gdLst>
                <a:gd name="connsiteX0" fmla="*/ 201259 w 406955"/>
                <a:gd name="connsiteY0" fmla="*/ 0 h 324828"/>
                <a:gd name="connsiteX1" fmla="*/ 195308 w 406955"/>
                <a:gd name="connsiteY1" fmla="*/ 207644 h 324828"/>
                <a:gd name="connsiteX2" fmla="*/ 406955 w 406955"/>
                <a:gd name="connsiteY2" fmla="*/ 321907 h 324828"/>
                <a:gd name="connsiteX3" fmla="*/ 4003 w 406955"/>
                <a:gd name="connsiteY3" fmla="*/ 324829 h 324828"/>
                <a:gd name="connsiteX4" fmla="*/ 0 w 406955"/>
                <a:gd name="connsiteY4" fmla="*/ 974 h 324828"/>
                <a:gd name="connsiteX5" fmla="*/ 201259 w 406955"/>
                <a:gd name="connsiteY5" fmla="*/ 0 h 32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6955" h="324828">
                  <a:moveTo>
                    <a:pt x="201259" y="0"/>
                  </a:moveTo>
                  <a:lnTo>
                    <a:pt x="195308" y="207644"/>
                  </a:lnTo>
                  <a:cubicBezTo>
                    <a:pt x="195308" y="207644"/>
                    <a:pt x="404358" y="283386"/>
                    <a:pt x="406955" y="321907"/>
                  </a:cubicBezTo>
                  <a:lnTo>
                    <a:pt x="4003" y="324829"/>
                  </a:lnTo>
                  <a:lnTo>
                    <a:pt x="0" y="974"/>
                  </a:lnTo>
                  <a:lnTo>
                    <a:pt x="201259" y="0"/>
                  </a:lnTo>
                  <a:close/>
                </a:path>
              </a:pathLst>
            </a:custGeom>
            <a:solidFill>
              <a:srgbClr val="FF725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988CF198-7519-4F4E-A940-EB8B630175A4}"/>
                </a:ext>
              </a:extLst>
            </p:cNvPr>
            <p:cNvSpPr/>
            <p:nvPr/>
          </p:nvSpPr>
          <p:spPr>
            <a:xfrm flipH="1">
              <a:off x="4842143" y="6706429"/>
              <a:ext cx="34588" cy="34515"/>
            </a:xfrm>
            <a:custGeom>
              <a:avLst/>
              <a:gdLst>
                <a:gd name="connsiteX0" fmla="*/ 11619 w 31381"/>
                <a:gd name="connsiteY0" fmla="*/ 796 h 31315"/>
                <a:gd name="connsiteX1" fmla="*/ 366 w 31381"/>
                <a:gd name="connsiteY1" fmla="*/ 19623 h 31315"/>
                <a:gd name="connsiteX2" fmla="*/ 18977 w 31381"/>
                <a:gd name="connsiteY2" fmla="*/ 30877 h 31315"/>
                <a:gd name="connsiteX3" fmla="*/ 30771 w 31381"/>
                <a:gd name="connsiteY3" fmla="*/ 10859 h 31315"/>
                <a:gd name="connsiteX4" fmla="*/ 10104 w 31381"/>
                <a:gd name="connsiteY4" fmla="*/ 1229 h 3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81" h="31315">
                  <a:moveTo>
                    <a:pt x="11619" y="796"/>
                  </a:moveTo>
                  <a:cubicBezTo>
                    <a:pt x="3829" y="2960"/>
                    <a:pt x="-1473" y="11833"/>
                    <a:pt x="366" y="19623"/>
                  </a:cubicBezTo>
                  <a:cubicBezTo>
                    <a:pt x="2205" y="27522"/>
                    <a:pt x="11186" y="32933"/>
                    <a:pt x="18977" y="30877"/>
                  </a:cubicBezTo>
                  <a:cubicBezTo>
                    <a:pt x="26768" y="28821"/>
                    <a:pt x="33476" y="18433"/>
                    <a:pt x="30771" y="10859"/>
                  </a:cubicBezTo>
                  <a:cubicBezTo>
                    <a:pt x="28066" y="3285"/>
                    <a:pt x="17246" y="-2667"/>
                    <a:pt x="10104" y="1229"/>
                  </a:cubicBezTo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74EB99F6-CDDA-4AA9-B628-FBB347CAEF70}"/>
                </a:ext>
              </a:extLst>
            </p:cNvPr>
            <p:cNvSpPr/>
            <p:nvPr/>
          </p:nvSpPr>
          <p:spPr>
            <a:xfrm flipH="1">
              <a:off x="4493094" y="6828955"/>
              <a:ext cx="444891" cy="35063"/>
            </a:xfrm>
            <a:custGeom>
              <a:avLst/>
              <a:gdLst>
                <a:gd name="connsiteX0" fmla="*/ 433 w 403640"/>
                <a:gd name="connsiteY0" fmla="*/ 31812 h 31812"/>
                <a:gd name="connsiteX1" fmla="*/ 0 w 403640"/>
                <a:gd name="connsiteY1" fmla="*/ 433 h 31812"/>
                <a:gd name="connsiteX2" fmla="*/ 387479 w 403640"/>
                <a:gd name="connsiteY2" fmla="*/ 0 h 31812"/>
                <a:gd name="connsiteX3" fmla="*/ 403493 w 403640"/>
                <a:gd name="connsiteY3" fmla="*/ 20342 h 31812"/>
                <a:gd name="connsiteX4" fmla="*/ 433 w 403640"/>
                <a:gd name="connsiteY4" fmla="*/ 31812 h 3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640" h="31812">
                  <a:moveTo>
                    <a:pt x="433" y="31812"/>
                  </a:moveTo>
                  <a:lnTo>
                    <a:pt x="0" y="433"/>
                  </a:lnTo>
                  <a:lnTo>
                    <a:pt x="387479" y="0"/>
                  </a:lnTo>
                  <a:cubicBezTo>
                    <a:pt x="387479" y="0"/>
                    <a:pt x="405440" y="7682"/>
                    <a:pt x="403493" y="20342"/>
                  </a:cubicBezTo>
                  <a:lnTo>
                    <a:pt x="433" y="31812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48C08F90-555F-4C67-911D-7F81AD3A3B55}"/>
                </a:ext>
              </a:extLst>
            </p:cNvPr>
            <p:cNvSpPr/>
            <p:nvPr/>
          </p:nvSpPr>
          <p:spPr>
            <a:xfrm flipH="1">
              <a:off x="4719248" y="6721182"/>
              <a:ext cx="40284" cy="27680"/>
            </a:xfrm>
            <a:custGeom>
              <a:avLst/>
              <a:gdLst>
                <a:gd name="connsiteX0" fmla="*/ 36539 w 36549"/>
                <a:gd name="connsiteY0" fmla="*/ 1802 h 25113"/>
                <a:gd name="connsiteX1" fmla="*/ 17062 w 36549"/>
                <a:gd name="connsiteY1" fmla="*/ 11108 h 25113"/>
                <a:gd name="connsiteX2" fmla="*/ 507 w 36549"/>
                <a:gd name="connsiteY2" fmla="*/ 25066 h 25113"/>
                <a:gd name="connsiteX3" fmla="*/ 13383 w 36549"/>
                <a:gd name="connsiteY3" fmla="*/ 5373 h 25113"/>
                <a:gd name="connsiteX4" fmla="*/ 36539 w 36549"/>
                <a:gd name="connsiteY4" fmla="*/ 1802 h 2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49" h="25113">
                  <a:moveTo>
                    <a:pt x="36539" y="1802"/>
                  </a:moveTo>
                  <a:cubicBezTo>
                    <a:pt x="36539" y="3750"/>
                    <a:pt x="26692" y="4724"/>
                    <a:pt x="17062" y="11108"/>
                  </a:cubicBezTo>
                  <a:cubicBezTo>
                    <a:pt x="7215" y="17276"/>
                    <a:pt x="2346" y="25824"/>
                    <a:pt x="507" y="25066"/>
                  </a:cubicBezTo>
                  <a:cubicBezTo>
                    <a:pt x="-1333" y="24742"/>
                    <a:pt x="1589" y="12947"/>
                    <a:pt x="13383" y="5373"/>
                  </a:cubicBezTo>
                  <a:cubicBezTo>
                    <a:pt x="25069" y="-2309"/>
                    <a:pt x="36971" y="-37"/>
                    <a:pt x="36539" y="180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5F0DD0E7-F5B0-435C-8D84-EF4257142B3D}"/>
                </a:ext>
              </a:extLst>
            </p:cNvPr>
            <p:cNvSpPr/>
            <p:nvPr/>
          </p:nvSpPr>
          <p:spPr>
            <a:xfrm flipH="1">
              <a:off x="4672491" y="6741235"/>
              <a:ext cx="29234" cy="34775"/>
            </a:xfrm>
            <a:custGeom>
              <a:avLst/>
              <a:gdLst>
                <a:gd name="connsiteX0" fmla="*/ 26507 w 26523"/>
                <a:gd name="connsiteY0" fmla="*/ 815 h 31551"/>
                <a:gd name="connsiteX1" fmla="*/ 11900 w 26523"/>
                <a:gd name="connsiteY1" fmla="*/ 14448 h 31551"/>
                <a:gd name="connsiteX2" fmla="*/ 1404 w 26523"/>
                <a:gd name="connsiteY2" fmla="*/ 31545 h 31551"/>
                <a:gd name="connsiteX3" fmla="*/ 6490 w 26523"/>
                <a:gd name="connsiteY3" fmla="*/ 10120 h 31551"/>
                <a:gd name="connsiteX4" fmla="*/ 26507 w 26523"/>
                <a:gd name="connsiteY4" fmla="*/ 815 h 3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23" h="31551">
                  <a:moveTo>
                    <a:pt x="26507" y="815"/>
                  </a:moveTo>
                  <a:cubicBezTo>
                    <a:pt x="26940" y="2762"/>
                    <a:pt x="18500" y="6116"/>
                    <a:pt x="11900" y="14448"/>
                  </a:cubicBezTo>
                  <a:cubicBezTo>
                    <a:pt x="5083" y="22672"/>
                    <a:pt x="3460" y="31653"/>
                    <a:pt x="1404" y="31545"/>
                  </a:cubicBezTo>
                  <a:cubicBezTo>
                    <a:pt x="-435" y="31869"/>
                    <a:pt x="-1842" y="20400"/>
                    <a:pt x="6490" y="10120"/>
                  </a:cubicBezTo>
                  <a:cubicBezTo>
                    <a:pt x="14821" y="-159"/>
                    <a:pt x="26399" y="-1133"/>
                    <a:pt x="26507" y="81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608C982D-FC75-4898-97AB-3BF967E28AC2}"/>
                </a:ext>
              </a:extLst>
            </p:cNvPr>
            <p:cNvSpPr/>
            <p:nvPr/>
          </p:nvSpPr>
          <p:spPr>
            <a:xfrm flipH="1">
              <a:off x="4628595" y="6760134"/>
              <a:ext cx="19718" cy="37589"/>
            </a:xfrm>
            <a:custGeom>
              <a:avLst/>
              <a:gdLst>
                <a:gd name="connsiteX0" fmla="*/ 2395 w 17890"/>
                <a:gd name="connsiteY0" fmla="*/ 34091 h 34104"/>
                <a:gd name="connsiteX1" fmla="*/ 2719 w 17890"/>
                <a:gd name="connsiteY1" fmla="*/ 13856 h 34104"/>
                <a:gd name="connsiteX2" fmla="*/ 17760 w 17890"/>
                <a:gd name="connsiteY2" fmla="*/ 331 h 34104"/>
                <a:gd name="connsiteX3" fmla="*/ 8995 w 17890"/>
                <a:gd name="connsiteY3" fmla="*/ 16670 h 34104"/>
                <a:gd name="connsiteX4" fmla="*/ 2395 w 17890"/>
                <a:gd name="connsiteY4" fmla="*/ 34091 h 34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90" h="34104">
                  <a:moveTo>
                    <a:pt x="2395" y="34091"/>
                  </a:moveTo>
                  <a:cubicBezTo>
                    <a:pt x="663" y="34523"/>
                    <a:pt x="-2150" y="24677"/>
                    <a:pt x="2719" y="13856"/>
                  </a:cubicBezTo>
                  <a:cubicBezTo>
                    <a:pt x="7588" y="3036"/>
                    <a:pt x="16894" y="-1292"/>
                    <a:pt x="17760" y="331"/>
                  </a:cubicBezTo>
                  <a:cubicBezTo>
                    <a:pt x="18842" y="1954"/>
                    <a:pt x="12999" y="7797"/>
                    <a:pt x="8995" y="16670"/>
                  </a:cubicBezTo>
                  <a:cubicBezTo>
                    <a:pt x="4883" y="25542"/>
                    <a:pt x="4342" y="33874"/>
                    <a:pt x="2395" y="3409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F4FA4C34-AA05-41CF-A445-AA63F3E88F14}"/>
                </a:ext>
              </a:extLst>
            </p:cNvPr>
            <p:cNvSpPr/>
            <p:nvPr/>
          </p:nvSpPr>
          <p:spPr>
            <a:xfrm flipH="1">
              <a:off x="4723476" y="6663208"/>
              <a:ext cx="46235" cy="11080"/>
            </a:xfrm>
            <a:custGeom>
              <a:avLst/>
              <a:gdLst>
                <a:gd name="connsiteX0" fmla="*/ 41878 w 41948"/>
                <a:gd name="connsiteY0" fmla="*/ 6900 h 10053"/>
                <a:gd name="connsiteX1" fmla="*/ 20887 w 41948"/>
                <a:gd name="connsiteY1" fmla="*/ 6900 h 10053"/>
                <a:gd name="connsiteX2" fmla="*/ 112 w 41948"/>
                <a:gd name="connsiteY2" fmla="*/ 9605 h 10053"/>
                <a:gd name="connsiteX3" fmla="*/ 20454 w 41948"/>
                <a:gd name="connsiteY3" fmla="*/ 83 h 10053"/>
                <a:gd name="connsiteX4" fmla="*/ 41878 w 41948"/>
                <a:gd name="connsiteY4" fmla="*/ 6900 h 1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48" h="10053">
                  <a:moveTo>
                    <a:pt x="41878" y="6900"/>
                  </a:moveTo>
                  <a:cubicBezTo>
                    <a:pt x="41121" y="8739"/>
                    <a:pt x="32032" y="6034"/>
                    <a:pt x="20887" y="6900"/>
                  </a:cubicBezTo>
                  <a:cubicBezTo>
                    <a:pt x="9742" y="7549"/>
                    <a:pt x="1085" y="11336"/>
                    <a:pt x="112" y="9605"/>
                  </a:cubicBezTo>
                  <a:cubicBezTo>
                    <a:pt x="-1079" y="8198"/>
                    <a:pt x="7361" y="840"/>
                    <a:pt x="20454" y="83"/>
                  </a:cubicBezTo>
                  <a:cubicBezTo>
                    <a:pt x="33547" y="-783"/>
                    <a:pt x="42852" y="5385"/>
                    <a:pt x="41878" y="690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6BCA1A6E-8218-4FA0-AE06-F6AF2D20C386}"/>
                </a:ext>
              </a:extLst>
            </p:cNvPr>
            <p:cNvSpPr/>
            <p:nvPr/>
          </p:nvSpPr>
          <p:spPr>
            <a:xfrm flipH="1">
              <a:off x="4086257" y="4615566"/>
              <a:ext cx="815831" cy="1974625"/>
            </a:xfrm>
            <a:custGeom>
              <a:avLst/>
              <a:gdLst>
                <a:gd name="connsiteX0" fmla="*/ 575754 w 740185"/>
                <a:gd name="connsiteY0" fmla="*/ 0 h 1791533"/>
                <a:gd name="connsiteX1" fmla="*/ 734814 w 740185"/>
                <a:gd name="connsiteY1" fmla="*/ 789998 h 1791533"/>
                <a:gd name="connsiteX2" fmla="*/ 711658 w 740185"/>
                <a:gd name="connsiteY2" fmla="*/ 1070571 h 1791533"/>
                <a:gd name="connsiteX3" fmla="*/ 701703 w 740185"/>
                <a:gd name="connsiteY3" fmla="*/ 1099461 h 1791533"/>
                <a:gd name="connsiteX4" fmla="*/ 313251 w 740185"/>
                <a:gd name="connsiteY4" fmla="*/ 1791534 h 1791533"/>
                <a:gd name="connsiteX5" fmla="*/ 90242 w 740185"/>
                <a:gd name="connsiteY5" fmla="*/ 1714168 h 1791533"/>
                <a:gd name="connsiteX6" fmla="*/ 318445 w 740185"/>
                <a:gd name="connsiteY6" fmla="*/ 1057586 h 1791533"/>
                <a:gd name="connsiteX7" fmla="*/ 364539 w 740185"/>
                <a:gd name="connsiteY7" fmla="*/ 975676 h 1791533"/>
                <a:gd name="connsiteX8" fmla="*/ 0 w 740185"/>
                <a:gd name="connsiteY8" fmla="*/ 52479 h 1791533"/>
                <a:gd name="connsiteX9" fmla="*/ 575754 w 740185"/>
                <a:gd name="connsiteY9" fmla="*/ 0 h 1791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0185" h="1791533">
                  <a:moveTo>
                    <a:pt x="575754" y="0"/>
                  </a:moveTo>
                  <a:cubicBezTo>
                    <a:pt x="575754" y="0"/>
                    <a:pt x="707221" y="573157"/>
                    <a:pt x="734814" y="789998"/>
                  </a:cubicBezTo>
                  <a:cubicBezTo>
                    <a:pt x="753966" y="941051"/>
                    <a:pt x="716094" y="1040382"/>
                    <a:pt x="711658" y="1070571"/>
                  </a:cubicBezTo>
                  <a:cubicBezTo>
                    <a:pt x="710143" y="1080742"/>
                    <a:pt x="706789" y="1090480"/>
                    <a:pt x="701703" y="1099461"/>
                  </a:cubicBezTo>
                  <a:lnTo>
                    <a:pt x="313251" y="1791534"/>
                  </a:lnTo>
                  <a:lnTo>
                    <a:pt x="90242" y="1714168"/>
                  </a:lnTo>
                  <a:cubicBezTo>
                    <a:pt x="90242" y="1714168"/>
                    <a:pt x="277543" y="1148586"/>
                    <a:pt x="318445" y="1057586"/>
                  </a:cubicBezTo>
                  <a:lnTo>
                    <a:pt x="364539" y="975676"/>
                  </a:lnTo>
                  <a:lnTo>
                    <a:pt x="0" y="52479"/>
                  </a:lnTo>
                  <a:lnTo>
                    <a:pt x="575754" y="0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32087A24-77EA-493E-8C07-9DE534B3B14F}"/>
                </a:ext>
              </a:extLst>
            </p:cNvPr>
            <p:cNvSpPr/>
            <p:nvPr/>
          </p:nvSpPr>
          <p:spPr>
            <a:xfrm flipH="1">
              <a:off x="4503436" y="4352951"/>
              <a:ext cx="699953" cy="2319293"/>
            </a:xfrm>
            <a:custGeom>
              <a:avLst/>
              <a:gdLst>
                <a:gd name="connsiteX0" fmla="*/ 634982 w 635052"/>
                <a:gd name="connsiteY0" fmla="*/ 248328 h 2104243"/>
                <a:gd name="connsiteX1" fmla="*/ 423876 w 635052"/>
                <a:gd name="connsiteY1" fmla="*/ 1333614 h 2104243"/>
                <a:gd name="connsiteX2" fmla="*/ 451576 w 635052"/>
                <a:gd name="connsiteY2" fmla="*/ 2098076 h 2104243"/>
                <a:gd name="connsiteX3" fmla="*/ 224780 w 635052"/>
                <a:gd name="connsiteY3" fmla="*/ 2104244 h 2104243"/>
                <a:gd name="connsiteX4" fmla="*/ 104133 w 635052"/>
                <a:gd name="connsiteY4" fmla="*/ 1442035 h 2104243"/>
                <a:gd name="connsiteX5" fmla="*/ 107271 w 635052"/>
                <a:gd name="connsiteY5" fmla="*/ 1000887 h 2104243"/>
                <a:gd name="connsiteX6" fmla="*/ 15189 w 635052"/>
                <a:gd name="connsiteY6" fmla="*/ 279924 h 2104243"/>
                <a:gd name="connsiteX7" fmla="*/ 191237 w 635052"/>
                <a:gd name="connsiteY7" fmla="*/ 0 h 2104243"/>
                <a:gd name="connsiteX8" fmla="*/ 634982 w 635052"/>
                <a:gd name="connsiteY8" fmla="*/ 248328 h 210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5052" h="2104243">
                  <a:moveTo>
                    <a:pt x="634982" y="248328"/>
                  </a:moveTo>
                  <a:cubicBezTo>
                    <a:pt x="639526" y="266506"/>
                    <a:pt x="423876" y="1333614"/>
                    <a:pt x="423876" y="1333614"/>
                  </a:cubicBezTo>
                  <a:lnTo>
                    <a:pt x="451576" y="2098076"/>
                  </a:lnTo>
                  <a:lnTo>
                    <a:pt x="224780" y="2104244"/>
                  </a:lnTo>
                  <a:cubicBezTo>
                    <a:pt x="224780" y="2104244"/>
                    <a:pt x="108677" y="1687766"/>
                    <a:pt x="104133" y="1442035"/>
                  </a:cubicBezTo>
                  <a:cubicBezTo>
                    <a:pt x="99588" y="1196304"/>
                    <a:pt x="127288" y="1154321"/>
                    <a:pt x="107271" y="1000887"/>
                  </a:cubicBezTo>
                  <a:cubicBezTo>
                    <a:pt x="86063" y="839122"/>
                    <a:pt x="-43674" y="505962"/>
                    <a:pt x="15189" y="279924"/>
                  </a:cubicBezTo>
                  <a:cubicBezTo>
                    <a:pt x="64422" y="90891"/>
                    <a:pt x="191237" y="0"/>
                    <a:pt x="191237" y="0"/>
                  </a:cubicBezTo>
                  <a:lnTo>
                    <a:pt x="634982" y="248328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633B845C-62F7-42E1-B4CF-A1CD230AB369}"/>
                </a:ext>
              </a:extLst>
            </p:cNvPr>
            <p:cNvSpPr/>
            <p:nvPr/>
          </p:nvSpPr>
          <p:spPr>
            <a:xfrm flipH="1">
              <a:off x="4533776" y="4800661"/>
              <a:ext cx="205280" cy="1871821"/>
            </a:xfrm>
            <a:custGeom>
              <a:avLst/>
              <a:gdLst>
                <a:gd name="connsiteX0" fmla="*/ 30405 w 186246"/>
                <a:gd name="connsiteY0" fmla="*/ 1698262 h 1698262"/>
                <a:gd name="connsiteX1" fmla="*/ 30514 w 186246"/>
                <a:gd name="connsiteY1" fmla="*/ 1694367 h 1698262"/>
                <a:gd name="connsiteX2" fmla="*/ 30405 w 186246"/>
                <a:gd name="connsiteY2" fmla="*/ 1682897 h 1698262"/>
                <a:gd name="connsiteX3" fmla="*/ 29432 w 186246"/>
                <a:gd name="connsiteY3" fmla="*/ 1638534 h 1698262"/>
                <a:gd name="connsiteX4" fmla="*/ 24562 w 186246"/>
                <a:gd name="connsiteY4" fmla="*/ 1474280 h 1698262"/>
                <a:gd name="connsiteX5" fmla="*/ 6168 w 186246"/>
                <a:gd name="connsiteY5" fmla="*/ 923846 h 1698262"/>
                <a:gd name="connsiteX6" fmla="*/ 6060 w 186246"/>
                <a:gd name="connsiteY6" fmla="*/ 924495 h 1698262"/>
                <a:gd name="connsiteX7" fmla="*/ 22398 w 186246"/>
                <a:gd name="connsiteY7" fmla="*/ 842585 h 1698262"/>
                <a:gd name="connsiteX8" fmla="*/ 139475 w 186246"/>
                <a:gd name="connsiteY8" fmla="*/ 246922 h 1698262"/>
                <a:gd name="connsiteX9" fmla="*/ 174209 w 186246"/>
                <a:gd name="connsiteY9" fmla="*/ 66329 h 1698262"/>
                <a:gd name="connsiteX10" fmla="*/ 183406 w 186246"/>
                <a:gd name="connsiteY10" fmla="*/ 17204 h 1698262"/>
                <a:gd name="connsiteX11" fmla="*/ 185678 w 186246"/>
                <a:gd name="connsiteY11" fmla="*/ 4436 h 1698262"/>
                <a:gd name="connsiteX12" fmla="*/ 186219 w 186246"/>
                <a:gd name="connsiteY12" fmla="*/ 0 h 1698262"/>
                <a:gd name="connsiteX13" fmla="*/ 185029 w 186246"/>
                <a:gd name="connsiteY13" fmla="*/ 4328 h 1698262"/>
                <a:gd name="connsiteX14" fmla="*/ 182216 w 186246"/>
                <a:gd name="connsiteY14" fmla="*/ 16988 h 1698262"/>
                <a:gd name="connsiteX15" fmla="*/ 171936 w 186246"/>
                <a:gd name="connsiteY15" fmla="*/ 65896 h 1698262"/>
                <a:gd name="connsiteX16" fmla="*/ 135255 w 186246"/>
                <a:gd name="connsiteY16" fmla="*/ 246164 h 1698262"/>
                <a:gd name="connsiteX17" fmla="*/ 16447 w 186246"/>
                <a:gd name="connsiteY17" fmla="*/ 841503 h 1698262"/>
                <a:gd name="connsiteX18" fmla="*/ 108 w 186246"/>
                <a:gd name="connsiteY18" fmla="*/ 923413 h 1698262"/>
                <a:gd name="connsiteX19" fmla="*/ 0 w 186246"/>
                <a:gd name="connsiteY19" fmla="*/ 923738 h 1698262"/>
                <a:gd name="connsiteX20" fmla="*/ 0 w 186246"/>
                <a:gd name="connsiteY20" fmla="*/ 924062 h 1698262"/>
                <a:gd name="connsiteX21" fmla="*/ 20342 w 186246"/>
                <a:gd name="connsiteY21" fmla="*/ 1474388 h 1698262"/>
                <a:gd name="connsiteX22" fmla="*/ 27051 w 186246"/>
                <a:gd name="connsiteY22" fmla="*/ 1638534 h 1698262"/>
                <a:gd name="connsiteX23" fmla="*/ 29107 w 186246"/>
                <a:gd name="connsiteY23" fmla="*/ 1682897 h 1698262"/>
                <a:gd name="connsiteX24" fmla="*/ 29756 w 186246"/>
                <a:gd name="connsiteY24" fmla="*/ 1694367 h 1698262"/>
                <a:gd name="connsiteX25" fmla="*/ 30405 w 186246"/>
                <a:gd name="connsiteY25" fmla="*/ 1698262 h 1698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6246" h="1698262">
                  <a:moveTo>
                    <a:pt x="30405" y="1698262"/>
                  </a:moveTo>
                  <a:cubicBezTo>
                    <a:pt x="30514" y="1698262"/>
                    <a:pt x="30514" y="1696964"/>
                    <a:pt x="30514" y="1694367"/>
                  </a:cubicBezTo>
                  <a:cubicBezTo>
                    <a:pt x="30514" y="1691445"/>
                    <a:pt x="30405" y="1687658"/>
                    <a:pt x="30405" y="1682897"/>
                  </a:cubicBezTo>
                  <a:cubicBezTo>
                    <a:pt x="30189" y="1672401"/>
                    <a:pt x="29864" y="1657578"/>
                    <a:pt x="29432" y="1638534"/>
                  </a:cubicBezTo>
                  <a:cubicBezTo>
                    <a:pt x="28241" y="1599580"/>
                    <a:pt x="26618" y="1543639"/>
                    <a:pt x="24562" y="1474280"/>
                  </a:cubicBezTo>
                  <a:cubicBezTo>
                    <a:pt x="19910" y="1334805"/>
                    <a:pt x="13417" y="1141336"/>
                    <a:pt x="6168" y="923846"/>
                  </a:cubicBezTo>
                  <a:lnTo>
                    <a:pt x="6060" y="924495"/>
                  </a:lnTo>
                  <a:cubicBezTo>
                    <a:pt x="11253" y="898418"/>
                    <a:pt x="16772" y="870610"/>
                    <a:pt x="22398" y="842585"/>
                  </a:cubicBezTo>
                  <a:cubicBezTo>
                    <a:pt x="68060" y="610054"/>
                    <a:pt x="109394" y="399706"/>
                    <a:pt x="139475" y="246922"/>
                  </a:cubicBezTo>
                  <a:cubicBezTo>
                    <a:pt x="154083" y="170854"/>
                    <a:pt x="165985" y="109286"/>
                    <a:pt x="174209" y="66329"/>
                  </a:cubicBezTo>
                  <a:cubicBezTo>
                    <a:pt x="178104" y="45229"/>
                    <a:pt x="181242" y="28782"/>
                    <a:pt x="183406" y="17204"/>
                  </a:cubicBezTo>
                  <a:cubicBezTo>
                    <a:pt x="184380" y="11794"/>
                    <a:pt x="185029" y="7574"/>
                    <a:pt x="185678" y="4436"/>
                  </a:cubicBezTo>
                  <a:cubicBezTo>
                    <a:pt x="186111" y="1515"/>
                    <a:pt x="186327" y="0"/>
                    <a:pt x="186219" y="0"/>
                  </a:cubicBezTo>
                  <a:cubicBezTo>
                    <a:pt x="186111" y="0"/>
                    <a:pt x="185678" y="1407"/>
                    <a:pt x="185029" y="4328"/>
                  </a:cubicBezTo>
                  <a:cubicBezTo>
                    <a:pt x="184380" y="7466"/>
                    <a:pt x="183406" y="11686"/>
                    <a:pt x="182216" y="16988"/>
                  </a:cubicBezTo>
                  <a:cubicBezTo>
                    <a:pt x="179835" y="28566"/>
                    <a:pt x="176373" y="44905"/>
                    <a:pt x="171936" y="65896"/>
                  </a:cubicBezTo>
                  <a:cubicBezTo>
                    <a:pt x="163172" y="108745"/>
                    <a:pt x="150728" y="170313"/>
                    <a:pt x="135255" y="246164"/>
                  </a:cubicBezTo>
                  <a:cubicBezTo>
                    <a:pt x="104850" y="398732"/>
                    <a:pt x="62867" y="609081"/>
                    <a:pt x="16447" y="841503"/>
                  </a:cubicBezTo>
                  <a:cubicBezTo>
                    <a:pt x="10820" y="869527"/>
                    <a:pt x="5302" y="897228"/>
                    <a:pt x="108" y="923413"/>
                  </a:cubicBezTo>
                  <a:lnTo>
                    <a:pt x="0" y="923738"/>
                  </a:lnTo>
                  <a:lnTo>
                    <a:pt x="0" y="924062"/>
                  </a:lnTo>
                  <a:cubicBezTo>
                    <a:pt x="8007" y="1141444"/>
                    <a:pt x="15149" y="1334913"/>
                    <a:pt x="20342" y="1474388"/>
                  </a:cubicBezTo>
                  <a:cubicBezTo>
                    <a:pt x="23156" y="1543747"/>
                    <a:pt x="25428" y="1599580"/>
                    <a:pt x="27051" y="1638534"/>
                  </a:cubicBezTo>
                  <a:cubicBezTo>
                    <a:pt x="27917" y="1657578"/>
                    <a:pt x="28674" y="1672401"/>
                    <a:pt x="29107" y="1682897"/>
                  </a:cubicBezTo>
                  <a:cubicBezTo>
                    <a:pt x="29432" y="1687767"/>
                    <a:pt x="29648" y="1691553"/>
                    <a:pt x="29756" y="1694367"/>
                  </a:cubicBezTo>
                  <a:cubicBezTo>
                    <a:pt x="30189" y="1696964"/>
                    <a:pt x="30297" y="1698262"/>
                    <a:pt x="30405" y="1698262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432D6846-80A4-4B56-B49A-6EBD27FEC349}"/>
                </a:ext>
              </a:extLst>
            </p:cNvPr>
            <p:cNvSpPr/>
            <p:nvPr/>
          </p:nvSpPr>
          <p:spPr>
            <a:xfrm flipH="1">
              <a:off x="4417748" y="5692692"/>
              <a:ext cx="85780" cy="65335"/>
            </a:xfrm>
            <a:custGeom>
              <a:avLst/>
              <a:gdLst>
                <a:gd name="connsiteX0" fmla="*/ 121 w 77826"/>
                <a:gd name="connsiteY0" fmla="*/ 45 h 59277"/>
                <a:gd name="connsiteX1" fmla="*/ 32150 w 77826"/>
                <a:gd name="connsiteY1" fmla="*/ 38458 h 59277"/>
                <a:gd name="connsiteX2" fmla="*/ 77812 w 77826"/>
                <a:gd name="connsiteY2" fmla="*/ 59017 h 59277"/>
                <a:gd name="connsiteX3" fmla="*/ 35829 w 77826"/>
                <a:gd name="connsiteY3" fmla="*/ 33589 h 59277"/>
                <a:gd name="connsiteX4" fmla="*/ 121 w 77826"/>
                <a:gd name="connsiteY4" fmla="*/ 45 h 59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26" h="59277">
                  <a:moveTo>
                    <a:pt x="121" y="45"/>
                  </a:moveTo>
                  <a:cubicBezTo>
                    <a:pt x="-1285" y="694"/>
                    <a:pt x="9535" y="21470"/>
                    <a:pt x="32150" y="38458"/>
                  </a:cubicBezTo>
                  <a:cubicBezTo>
                    <a:pt x="54656" y="55662"/>
                    <a:pt x="77596" y="60532"/>
                    <a:pt x="77812" y="59017"/>
                  </a:cubicBezTo>
                  <a:cubicBezTo>
                    <a:pt x="78461" y="57285"/>
                    <a:pt x="57253" y="50036"/>
                    <a:pt x="35829" y="33589"/>
                  </a:cubicBezTo>
                  <a:cubicBezTo>
                    <a:pt x="14296" y="17466"/>
                    <a:pt x="1744" y="-1036"/>
                    <a:pt x="121" y="45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85CCB05E-92D5-4B6E-8167-AEED9BD8D9CE}"/>
                </a:ext>
              </a:extLst>
            </p:cNvPr>
            <p:cNvSpPr/>
            <p:nvPr/>
          </p:nvSpPr>
          <p:spPr>
            <a:xfrm flipH="1">
              <a:off x="4267476" y="2952095"/>
              <a:ext cx="835010" cy="993480"/>
            </a:xfrm>
            <a:custGeom>
              <a:avLst/>
              <a:gdLst>
                <a:gd name="connsiteX0" fmla="*/ 106831 w 757586"/>
                <a:gd name="connsiteY0" fmla="*/ 0 h 901362"/>
                <a:gd name="connsiteX1" fmla="*/ 567348 w 757586"/>
                <a:gd name="connsiteY1" fmla="*/ 12552 h 901362"/>
                <a:gd name="connsiteX2" fmla="*/ 694596 w 757586"/>
                <a:gd name="connsiteY2" fmla="*/ 599559 h 901362"/>
                <a:gd name="connsiteX3" fmla="*/ 746750 w 757586"/>
                <a:gd name="connsiteY3" fmla="*/ 740224 h 901362"/>
                <a:gd name="connsiteX4" fmla="*/ 744153 w 757586"/>
                <a:gd name="connsiteY4" fmla="*/ 891168 h 901362"/>
                <a:gd name="connsiteX5" fmla="*/ 582280 w 757586"/>
                <a:gd name="connsiteY5" fmla="*/ 889437 h 901362"/>
                <a:gd name="connsiteX6" fmla="*/ 581198 w 757586"/>
                <a:gd name="connsiteY6" fmla="*/ 844316 h 901362"/>
                <a:gd name="connsiteX7" fmla="*/ 551658 w 757586"/>
                <a:gd name="connsiteY7" fmla="*/ 890627 h 901362"/>
                <a:gd name="connsiteX8" fmla="*/ 489657 w 757586"/>
                <a:gd name="connsiteY8" fmla="*/ 901015 h 901362"/>
                <a:gd name="connsiteX9" fmla="*/ 127823 w 757586"/>
                <a:gd name="connsiteY9" fmla="*/ 839339 h 901362"/>
                <a:gd name="connsiteX10" fmla="*/ 17671 w 757586"/>
                <a:gd name="connsiteY10" fmla="*/ 861088 h 901362"/>
                <a:gd name="connsiteX11" fmla="*/ 106831 w 757586"/>
                <a:gd name="connsiteY11" fmla="*/ 0 h 90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7586" h="901362">
                  <a:moveTo>
                    <a:pt x="106831" y="0"/>
                  </a:moveTo>
                  <a:lnTo>
                    <a:pt x="567348" y="12552"/>
                  </a:lnTo>
                  <a:cubicBezTo>
                    <a:pt x="569945" y="234695"/>
                    <a:pt x="627076" y="414421"/>
                    <a:pt x="694596" y="599559"/>
                  </a:cubicBezTo>
                  <a:cubicBezTo>
                    <a:pt x="711800" y="646627"/>
                    <a:pt x="733549" y="691207"/>
                    <a:pt x="746750" y="740224"/>
                  </a:cubicBezTo>
                  <a:cubicBezTo>
                    <a:pt x="759843" y="789240"/>
                    <a:pt x="763413" y="845398"/>
                    <a:pt x="744153" y="891168"/>
                  </a:cubicBezTo>
                  <a:cubicBezTo>
                    <a:pt x="705091" y="880023"/>
                    <a:pt x="621342" y="900582"/>
                    <a:pt x="582280" y="889437"/>
                  </a:cubicBezTo>
                  <a:cubicBezTo>
                    <a:pt x="581955" y="874397"/>
                    <a:pt x="581631" y="859356"/>
                    <a:pt x="581198" y="844316"/>
                  </a:cubicBezTo>
                  <a:cubicBezTo>
                    <a:pt x="578709" y="863901"/>
                    <a:pt x="566374" y="881755"/>
                    <a:pt x="551658" y="890627"/>
                  </a:cubicBezTo>
                  <a:cubicBezTo>
                    <a:pt x="532614" y="901989"/>
                    <a:pt x="510757" y="901881"/>
                    <a:pt x="489657" y="901015"/>
                  </a:cubicBezTo>
                  <a:cubicBezTo>
                    <a:pt x="367819" y="896146"/>
                    <a:pt x="246306" y="875479"/>
                    <a:pt x="127823" y="839339"/>
                  </a:cubicBezTo>
                  <a:cubicBezTo>
                    <a:pt x="112025" y="834578"/>
                    <a:pt x="17671" y="861088"/>
                    <a:pt x="17671" y="861088"/>
                  </a:cubicBezTo>
                  <a:cubicBezTo>
                    <a:pt x="-34375" y="635807"/>
                    <a:pt x="38555" y="246272"/>
                    <a:pt x="106831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4034CACB-B197-4CF2-A406-B2EDECEF4406}"/>
                </a:ext>
              </a:extLst>
            </p:cNvPr>
            <p:cNvSpPr/>
            <p:nvPr/>
          </p:nvSpPr>
          <p:spPr>
            <a:xfrm flipH="1">
              <a:off x="4240130" y="3410540"/>
              <a:ext cx="920519" cy="1277355"/>
            </a:xfrm>
            <a:custGeom>
              <a:avLst/>
              <a:gdLst>
                <a:gd name="connsiteX0" fmla="*/ 664048 w 835166"/>
                <a:gd name="connsiteY0" fmla="*/ 29756 h 1158916"/>
                <a:gd name="connsiteX1" fmla="*/ 739899 w 835166"/>
                <a:gd name="connsiteY1" fmla="*/ 280681 h 1158916"/>
                <a:gd name="connsiteX2" fmla="*/ 739899 w 835166"/>
                <a:gd name="connsiteY2" fmla="*/ 280681 h 1158916"/>
                <a:gd name="connsiteX3" fmla="*/ 748447 w 835166"/>
                <a:gd name="connsiteY3" fmla="*/ 613084 h 1158916"/>
                <a:gd name="connsiteX4" fmla="*/ 733299 w 835166"/>
                <a:gd name="connsiteY4" fmla="*/ 752884 h 1158916"/>
                <a:gd name="connsiteX5" fmla="*/ 835119 w 835166"/>
                <a:gd name="connsiteY5" fmla="*/ 1109524 h 1158916"/>
                <a:gd name="connsiteX6" fmla="*/ 0 w 835166"/>
                <a:gd name="connsiteY6" fmla="*/ 1063754 h 1158916"/>
                <a:gd name="connsiteX7" fmla="*/ 107447 w 835166"/>
                <a:gd name="connsiteY7" fmla="*/ 734273 h 1158916"/>
                <a:gd name="connsiteX8" fmla="*/ 100413 w 835166"/>
                <a:gd name="connsiteY8" fmla="*/ 313467 h 1158916"/>
                <a:gd name="connsiteX9" fmla="*/ 101712 w 835166"/>
                <a:gd name="connsiteY9" fmla="*/ 28349 h 1158916"/>
                <a:gd name="connsiteX10" fmla="*/ 297886 w 835166"/>
                <a:gd name="connsiteY10" fmla="*/ 0 h 1158916"/>
                <a:gd name="connsiteX11" fmla="*/ 498820 w 835166"/>
                <a:gd name="connsiteY11" fmla="*/ 14716 h 1158916"/>
                <a:gd name="connsiteX12" fmla="*/ 664048 w 835166"/>
                <a:gd name="connsiteY12" fmla="*/ 29756 h 115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35166" h="1158916">
                  <a:moveTo>
                    <a:pt x="664048" y="29756"/>
                  </a:moveTo>
                  <a:lnTo>
                    <a:pt x="739899" y="280681"/>
                  </a:lnTo>
                  <a:cubicBezTo>
                    <a:pt x="739899" y="280681"/>
                    <a:pt x="737302" y="260772"/>
                    <a:pt x="739899" y="280681"/>
                  </a:cubicBezTo>
                  <a:cubicBezTo>
                    <a:pt x="752992" y="379580"/>
                    <a:pt x="804930" y="498280"/>
                    <a:pt x="748447" y="613084"/>
                  </a:cubicBezTo>
                  <a:lnTo>
                    <a:pt x="733299" y="752884"/>
                  </a:lnTo>
                  <a:cubicBezTo>
                    <a:pt x="733299" y="752884"/>
                    <a:pt x="825380" y="1063321"/>
                    <a:pt x="835119" y="1109524"/>
                  </a:cubicBezTo>
                  <a:cubicBezTo>
                    <a:pt x="842368" y="1207016"/>
                    <a:pt x="24562" y="1143284"/>
                    <a:pt x="0" y="1063754"/>
                  </a:cubicBezTo>
                  <a:lnTo>
                    <a:pt x="107447" y="734273"/>
                  </a:lnTo>
                  <a:lnTo>
                    <a:pt x="100413" y="313467"/>
                  </a:lnTo>
                  <a:cubicBezTo>
                    <a:pt x="94462" y="173559"/>
                    <a:pt x="101712" y="28349"/>
                    <a:pt x="101712" y="28349"/>
                  </a:cubicBezTo>
                  <a:lnTo>
                    <a:pt x="297886" y="0"/>
                  </a:lnTo>
                  <a:lnTo>
                    <a:pt x="498820" y="14716"/>
                  </a:lnTo>
                  <a:lnTo>
                    <a:pt x="664048" y="29756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6664C3F6-FBAA-49E4-AE10-ADF5EA4818AA}"/>
                </a:ext>
              </a:extLst>
            </p:cNvPr>
            <p:cNvSpPr/>
            <p:nvPr/>
          </p:nvSpPr>
          <p:spPr>
            <a:xfrm flipH="1">
              <a:off x="3994384" y="3443337"/>
              <a:ext cx="443536" cy="362557"/>
            </a:xfrm>
            <a:custGeom>
              <a:avLst/>
              <a:gdLst>
                <a:gd name="connsiteX0" fmla="*/ 0 w 402410"/>
                <a:gd name="connsiteY0" fmla="*/ 0 h 328940"/>
                <a:gd name="connsiteX1" fmla="*/ 402411 w 402410"/>
                <a:gd name="connsiteY1" fmla="*/ 0 h 328940"/>
                <a:gd name="connsiteX2" fmla="*/ 395486 w 402410"/>
                <a:gd name="connsiteY2" fmla="*/ 255361 h 328940"/>
                <a:gd name="connsiteX3" fmla="*/ 72172 w 402410"/>
                <a:gd name="connsiteY3" fmla="*/ 328940 h 32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410" h="328940">
                  <a:moveTo>
                    <a:pt x="0" y="0"/>
                  </a:moveTo>
                  <a:lnTo>
                    <a:pt x="402411" y="0"/>
                  </a:lnTo>
                  <a:lnTo>
                    <a:pt x="395486" y="255361"/>
                  </a:lnTo>
                  <a:lnTo>
                    <a:pt x="72172" y="32894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8B5D5D0D-5457-45EF-A9D1-710435208FBA}"/>
                </a:ext>
              </a:extLst>
            </p:cNvPr>
            <p:cNvSpPr/>
            <p:nvPr/>
          </p:nvSpPr>
          <p:spPr>
            <a:xfrm flipH="1">
              <a:off x="4564992" y="3965209"/>
              <a:ext cx="220709" cy="94030"/>
            </a:xfrm>
            <a:custGeom>
              <a:avLst/>
              <a:gdLst>
                <a:gd name="connsiteX0" fmla="*/ 12 w 200244"/>
                <a:gd name="connsiteY0" fmla="*/ 67970 h 85311"/>
                <a:gd name="connsiteX1" fmla="*/ 8019 w 200244"/>
                <a:gd name="connsiteY1" fmla="*/ 72731 h 85311"/>
                <a:gd name="connsiteX2" fmla="*/ 31932 w 200244"/>
                <a:gd name="connsiteY2" fmla="*/ 81063 h 85311"/>
                <a:gd name="connsiteX3" fmla="*/ 114924 w 200244"/>
                <a:gd name="connsiteY3" fmla="*/ 77600 h 85311"/>
                <a:gd name="connsiteX4" fmla="*/ 182876 w 200244"/>
                <a:gd name="connsiteY4" fmla="*/ 29882 h 85311"/>
                <a:gd name="connsiteX5" fmla="*/ 196726 w 200244"/>
                <a:gd name="connsiteY5" fmla="*/ 8674 h 85311"/>
                <a:gd name="connsiteX6" fmla="*/ 200189 w 200244"/>
                <a:gd name="connsiteY6" fmla="*/ 18 h 85311"/>
                <a:gd name="connsiteX7" fmla="*/ 179630 w 200244"/>
                <a:gd name="connsiteY7" fmla="*/ 27069 h 85311"/>
                <a:gd name="connsiteX8" fmla="*/ 112977 w 200244"/>
                <a:gd name="connsiteY8" fmla="*/ 71757 h 85311"/>
                <a:gd name="connsiteX9" fmla="*/ 32906 w 200244"/>
                <a:gd name="connsiteY9" fmla="*/ 76843 h 85311"/>
                <a:gd name="connsiteX10" fmla="*/ 12 w 200244"/>
                <a:gd name="connsiteY10" fmla="*/ 67970 h 8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0244" h="85311">
                  <a:moveTo>
                    <a:pt x="12" y="67970"/>
                  </a:moveTo>
                  <a:cubicBezTo>
                    <a:pt x="-205" y="68294"/>
                    <a:pt x="2608" y="70134"/>
                    <a:pt x="8019" y="72731"/>
                  </a:cubicBezTo>
                  <a:cubicBezTo>
                    <a:pt x="13429" y="75328"/>
                    <a:pt x="21544" y="78466"/>
                    <a:pt x="31932" y="81063"/>
                  </a:cubicBezTo>
                  <a:cubicBezTo>
                    <a:pt x="52599" y="86365"/>
                    <a:pt x="83437" y="88204"/>
                    <a:pt x="114924" y="77600"/>
                  </a:cubicBezTo>
                  <a:cubicBezTo>
                    <a:pt x="146303" y="66888"/>
                    <a:pt x="169784" y="46654"/>
                    <a:pt x="182876" y="29882"/>
                  </a:cubicBezTo>
                  <a:cubicBezTo>
                    <a:pt x="189585" y="21442"/>
                    <a:pt x="194130" y="14084"/>
                    <a:pt x="196726" y="8674"/>
                  </a:cubicBezTo>
                  <a:cubicBezTo>
                    <a:pt x="199432" y="3372"/>
                    <a:pt x="200514" y="234"/>
                    <a:pt x="200189" y="18"/>
                  </a:cubicBezTo>
                  <a:cubicBezTo>
                    <a:pt x="199215" y="-523"/>
                    <a:pt x="193480" y="11379"/>
                    <a:pt x="179630" y="27069"/>
                  </a:cubicBezTo>
                  <a:cubicBezTo>
                    <a:pt x="165997" y="42650"/>
                    <a:pt x="143057" y="61586"/>
                    <a:pt x="112977" y="71757"/>
                  </a:cubicBezTo>
                  <a:cubicBezTo>
                    <a:pt x="82896" y="81928"/>
                    <a:pt x="53248" y="80954"/>
                    <a:pt x="32906" y="76843"/>
                  </a:cubicBezTo>
                  <a:cubicBezTo>
                    <a:pt x="12239" y="72839"/>
                    <a:pt x="444" y="66996"/>
                    <a:pt x="12" y="6797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727593FD-4834-4610-B070-7DE933B98318}"/>
                </a:ext>
              </a:extLst>
            </p:cNvPr>
            <p:cNvSpPr/>
            <p:nvPr/>
          </p:nvSpPr>
          <p:spPr>
            <a:xfrm flipH="1">
              <a:off x="4344165" y="3517515"/>
              <a:ext cx="42029" cy="246518"/>
            </a:xfrm>
            <a:custGeom>
              <a:avLst/>
              <a:gdLst>
                <a:gd name="connsiteX0" fmla="*/ 140 w 38132"/>
                <a:gd name="connsiteY0" fmla="*/ 3 h 223660"/>
                <a:gd name="connsiteX1" fmla="*/ 7389 w 38132"/>
                <a:gd name="connsiteY1" fmla="*/ 32572 h 223660"/>
                <a:gd name="connsiteX2" fmla="*/ 23620 w 38132"/>
                <a:gd name="connsiteY2" fmla="*/ 111020 h 223660"/>
                <a:gd name="connsiteX3" fmla="*/ 33575 w 38132"/>
                <a:gd name="connsiteY3" fmla="*/ 190550 h 223660"/>
                <a:gd name="connsiteX4" fmla="*/ 37145 w 38132"/>
                <a:gd name="connsiteY4" fmla="*/ 223661 h 223660"/>
                <a:gd name="connsiteX5" fmla="*/ 37795 w 38132"/>
                <a:gd name="connsiteY5" fmla="*/ 190226 h 223660"/>
                <a:gd name="connsiteX6" fmla="*/ 29463 w 38132"/>
                <a:gd name="connsiteY6" fmla="*/ 110046 h 223660"/>
                <a:gd name="connsiteX7" fmla="*/ 11393 w 38132"/>
                <a:gd name="connsiteY7" fmla="*/ 31490 h 223660"/>
                <a:gd name="connsiteX8" fmla="*/ 140 w 38132"/>
                <a:gd name="connsiteY8" fmla="*/ 3 h 22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32" h="223660">
                  <a:moveTo>
                    <a:pt x="140" y="3"/>
                  </a:moveTo>
                  <a:cubicBezTo>
                    <a:pt x="-726" y="328"/>
                    <a:pt x="2520" y="12555"/>
                    <a:pt x="7389" y="32572"/>
                  </a:cubicBezTo>
                  <a:cubicBezTo>
                    <a:pt x="12259" y="52482"/>
                    <a:pt x="18426" y="80182"/>
                    <a:pt x="23620" y="111020"/>
                  </a:cubicBezTo>
                  <a:cubicBezTo>
                    <a:pt x="28706" y="141858"/>
                    <a:pt x="31735" y="170100"/>
                    <a:pt x="33575" y="190550"/>
                  </a:cubicBezTo>
                  <a:cubicBezTo>
                    <a:pt x="35414" y="211001"/>
                    <a:pt x="36280" y="223661"/>
                    <a:pt x="37145" y="223661"/>
                  </a:cubicBezTo>
                  <a:cubicBezTo>
                    <a:pt x="37903" y="223661"/>
                    <a:pt x="38552" y="210892"/>
                    <a:pt x="37795" y="190226"/>
                  </a:cubicBezTo>
                  <a:cubicBezTo>
                    <a:pt x="37037" y="169559"/>
                    <a:pt x="34657" y="141101"/>
                    <a:pt x="29463" y="110046"/>
                  </a:cubicBezTo>
                  <a:cubicBezTo>
                    <a:pt x="24269" y="78992"/>
                    <a:pt x="17344" y="51183"/>
                    <a:pt x="11393" y="31490"/>
                  </a:cubicBezTo>
                  <a:cubicBezTo>
                    <a:pt x="5658" y="11581"/>
                    <a:pt x="897" y="-214"/>
                    <a:pt x="140" y="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509BA5E8-1A4D-4202-AB50-1CDA6F78D45E}"/>
                </a:ext>
              </a:extLst>
            </p:cNvPr>
            <p:cNvSpPr/>
            <p:nvPr/>
          </p:nvSpPr>
          <p:spPr>
            <a:xfrm flipH="1">
              <a:off x="4574832" y="3982880"/>
              <a:ext cx="208828" cy="103882"/>
            </a:xfrm>
            <a:custGeom>
              <a:avLst/>
              <a:gdLst>
                <a:gd name="connsiteX0" fmla="*/ 103768 w 189465"/>
                <a:gd name="connsiteY0" fmla="*/ 59621 h 94250"/>
                <a:gd name="connsiteX1" fmla="*/ 188816 w 189465"/>
                <a:gd name="connsiteY1" fmla="*/ 0 h 94250"/>
                <a:gd name="connsiteX2" fmla="*/ 189465 w 189465"/>
                <a:gd name="connsiteY2" fmla="*/ 1840 h 94250"/>
                <a:gd name="connsiteX3" fmla="*/ 108204 w 189465"/>
                <a:gd name="connsiteY3" fmla="*/ 91108 h 94250"/>
                <a:gd name="connsiteX4" fmla="*/ 0 w 189465"/>
                <a:gd name="connsiteY4" fmla="*/ 52804 h 94250"/>
                <a:gd name="connsiteX5" fmla="*/ 103768 w 189465"/>
                <a:gd name="connsiteY5" fmla="*/ 59621 h 9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465" h="94250">
                  <a:moveTo>
                    <a:pt x="103768" y="59621"/>
                  </a:moveTo>
                  <a:cubicBezTo>
                    <a:pt x="138717" y="49990"/>
                    <a:pt x="171071" y="31487"/>
                    <a:pt x="188816" y="0"/>
                  </a:cubicBezTo>
                  <a:lnTo>
                    <a:pt x="189465" y="1840"/>
                  </a:lnTo>
                  <a:cubicBezTo>
                    <a:pt x="182757" y="42632"/>
                    <a:pt x="148239" y="80612"/>
                    <a:pt x="108204" y="91108"/>
                  </a:cubicBezTo>
                  <a:cubicBezTo>
                    <a:pt x="68277" y="101604"/>
                    <a:pt x="25861" y="85048"/>
                    <a:pt x="0" y="52804"/>
                  </a:cubicBezTo>
                  <a:cubicBezTo>
                    <a:pt x="34193" y="64706"/>
                    <a:pt x="68818" y="69251"/>
                    <a:pt x="103768" y="59621"/>
                  </a:cubicBezTo>
                  <a:close/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6AA5FFFE-ACFF-4BC0-88FD-DDB3E44C56EB}"/>
                </a:ext>
              </a:extLst>
            </p:cNvPr>
            <p:cNvSpPr/>
            <p:nvPr/>
          </p:nvSpPr>
          <p:spPr>
            <a:xfrm flipH="1">
              <a:off x="3361696" y="3125384"/>
              <a:ext cx="127610" cy="219442"/>
            </a:xfrm>
            <a:custGeom>
              <a:avLst/>
              <a:gdLst>
                <a:gd name="connsiteX0" fmla="*/ 0 w 115778"/>
                <a:gd name="connsiteY0" fmla="*/ 99764 h 199095"/>
                <a:gd name="connsiteX1" fmla="*/ 3138 w 115778"/>
                <a:gd name="connsiteY1" fmla="*/ 45987 h 199095"/>
                <a:gd name="connsiteX2" fmla="*/ 59728 w 115778"/>
                <a:gd name="connsiteY2" fmla="*/ 0 h 199095"/>
                <a:gd name="connsiteX3" fmla="*/ 115778 w 115778"/>
                <a:gd name="connsiteY3" fmla="*/ 75094 h 199095"/>
                <a:gd name="connsiteX4" fmla="*/ 80937 w 115778"/>
                <a:gd name="connsiteY4" fmla="*/ 199095 h 199095"/>
                <a:gd name="connsiteX5" fmla="*/ 0 w 115778"/>
                <a:gd name="connsiteY5" fmla="*/ 99764 h 199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778" h="199095">
                  <a:moveTo>
                    <a:pt x="0" y="99764"/>
                  </a:moveTo>
                  <a:cubicBezTo>
                    <a:pt x="4545" y="94787"/>
                    <a:pt x="3138" y="45987"/>
                    <a:pt x="3138" y="45987"/>
                  </a:cubicBezTo>
                  <a:lnTo>
                    <a:pt x="59728" y="0"/>
                  </a:lnTo>
                  <a:lnTo>
                    <a:pt x="115778" y="75094"/>
                  </a:lnTo>
                  <a:lnTo>
                    <a:pt x="80937" y="199095"/>
                  </a:lnTo>
                  <a:lnTo>
                    <a:pt x="0" y="99764"/>
                  </a:lnTo>
                  <a:close/>
                </a:path>
              </a:pathLst>
            </a:custGeom>
            <a:solidFill>
              <a:srgbClr val="D08979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D8B3B11E-6F84-4797-AB20-802E1D9219B6}"/>
                </a:ext>
              </a:extLst>
            </p:cNvPr>
            <p:cNvSpPr/>
            <p:nvPr/>
          </p:nvSpPr>
          <p:spPr>
            <a:xfrm flipH="1">
              <a:off x="3400098" y="3229738"/>
              <a:ext cx="669300" cy="537349"/>
            </a:xfrm>
            <a:custGeom>
              <a:avLst/>
              <a:gdLst>
                <a:gd name="connsiteX0" fmla="*/ 52804 w 607241"/>
                <a:gd name="connsiteY0" fmla="*/ 275163 h 487525"/>
                <a:gd name="connsiteX1" fmla="*/ 276245 w 607241"/>
                <a:gd name="connsiteY1" fmla="*/ 279383 h 487525"/>
                <a:gd name="connsiteX2" fmla="*/ 530849 w 607241"/>
                <a:gd name="connsiteY2" fmla="*/ 0 h 487525"/>
                <a:gd name="connsiteX3" fmla="*/ 607241 w 607241"/>
                <a:gd name="connsiteY3" fmla="*/ 104309 h 487525"/>
                <a:gd name="connsiteX4" fmla="*/ 408795 w 607241"/>
                <a:gd name="connsiteY4" fmla="*/ 462464 h 487525"/>
                <a:gd name="connsiteX5" fmla="*/ 0 w 607241"/>
                <a:gd name="connsiteY5" fmla="*/ 486918 h 487525"/>
                <a:gd name="connsiteX6" fmla="*/ 52804 w 607241"/>
                <a:gd name="connsiteY6" fmla="*/ 275163 h 48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7241" h="487525">
                  <a:moveTo>
                    <a:pt x="52804" y="275163"/>
                  </a:moveTo>
                  <a:lnTo>
                    <a:pt x="276245" y="279383"/>
                  </a:lnTo>
                  <a:lnTo>
                    <a:pt x="530849" y="0"/>
                  </a:lnTo>
                  <a:lnTo>
                    <a:pt x="607241" y="104309"/>
                  </a:lnTo>
                  <a:cubicBezTo>
                    <a:pt x="607241" y="104309"/>
                    <a:pt x="435413" y="431301"/>
                    <a:pt x="408795" y="462464"/>
                  </a:cubicBezTo>
                  <a:cubicBezTo>
                    <a:pt x="382177" y="493627"/>
                    <a:pt x="0" y="486918"/>
                    <a:pt x="0" y="486918"/>
                  </a:cubicBezTo>
                  <a:lnTo>
                    <a:pt x="52804" y="275163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3981E184-4753-4A07-9190-C15A84D3FBD3}"/>
                </a:ext>
              </a:extLst>
            </p:cNvPr>
            <p:cNvSpPr/>
            <p:nvPr/>
          </p:nvSpPr>
          <p:spPr>
            <a:xfrm flipH="1">
              <a:off x="3220132" y="2863841"/>
              <a:ext cx="1243671" cy="1797576"/>
            </a:xfrm>
            <a:custGeom>
              <a:avLst/>
              <a:gdLst>
                <a:gd name="connsiteX0" fmla="*/ 877430 w 1128355"/>
                <a:gd name="connsiteY0" fmla="*/ 471012 h 1630901"/>
                <a:gd name="connsiteX1" fmla="*/ 1006734 w 1128355"/>
                <a:gd name="connsiteY1" fmla="*/ 500768 h 1630901"/>
                <a:gd name="connsiteX2" fmla="*/ 1010305 w 1128355"/>
                <a:gd name="connsiteY2" fmla="*/ 503365 h 1630901"/>
                <a:gd name="connsiteX3" fmla="*/ 930883 w 1128355"/>
                <a:gd name="connsiteY3" fmla="*/ 0 h 1630901"/>
                <a:gd name="connsiteX4" fmla="*/ 930883 w 1128355"/>
                <a:gd name="connsiteY4" fmla="*/ 0 h 1630901"/>
                <a:gd name="connsiteX5" fmla="*/ 881758 w 1128355"/>
                <a:gd name="connsiteY5" fmla="*/ 7791 h 1630901"/>
                <a:gd name="connsiteX6" fmla="*/ 94898 w 1128355"/>
                <a:gd name="connsiteY6" fmla="*/ 639594 h 1630901"/>
                <a:gd name="connsiteX7" fmla="*/ 62221 w 1128355"/>
                <a:gd name="connsiteY7" fmla="*/ 1420611 h 1630901"/>
                <a:gd name="connsiteX8" fmla="*/ 114592 w 1128355"/>
                <a:gd name="connsiteY8" fmla="*/ 1412387 h 1630901"/>
                <a:gd name="connsiteX9" fmla="*/ 522521 w 1128355"/>
                <a:gd name="connsiteY9" fmla="*/ 1348006 h 1630901"/>
                <a:gd name="connsiteX10" fmla="*/ 519924 w 1128355"/>
                <a:gd name="connsiteY10" fmla="*/ 1351576 h 1630901"/>
                <a:gd name="connsiteX11" fmla="*/ 490168 w 1128355"/>
                <a:gd name="connsiteY11" fmla="*/ 1480880 h 1630901"/>
                <a:gd name="connsiteX12" fmla="*/ 693375 w 1128355"/>
                <a:gd name="connsiteY12" fmla="*/ 1628687 h 1630901"/>
                <a:gd name="connsiteX13" fmla="*/ 841182 w 1128355"/>
                <a:gd name="connsiteY13" fmla="*/ 1425480 h 1630901"/>
                <a:gd name="connsiteX14" fmla="*/ 770524 w 1128355"/>
                <a:gd name="connsiteY14" fmla="*/ 1310675 h 1630901"/>
                <a:gd name="connsiteX15" fmla="*/ 768252 w 1128355"/>
                <a:gd name="connsiteY15" fmla="*/ 1309269 h 1630901"/>
                <a:gd name="connsiteX16" fmla="*/ 779505 w 1128355"/>
                <a:gd name="connsiteY16" fmla="*/ 1307538 h 1630901"/>
                <a:gd name="connsiteX17" fmla="*/ 1128355 w 1128355"/>
                <a:gd name="connsiteY17" fmla="*/ 1252462 h 1630901"/>
                <a:gd name="connsiteX18" fmla="*/ 1048933 w 1128355"/>
                <a:gd name="connsiteY18" fmla="*/ 749421 h 1630901"/>
                <a:gd name="connsiteX19" fmla="*/ 1047527 w 1128355"/>
                <a:gd name="connsiteY19" fmla="*/ 751693 h 1630901"/>
                <a:gd name="connsiteX20" fmla="*/ 932722 w 1128355"/>
                <a:gd name="connsiteY20" fmla="*/ 822351 h 1630901"/>
                <a:gd name="connsiteX21" fmla="*/ 729515 w 1128355"/>
                <a:gd name="connsiteY21" fmla="*/ 674544 h 1630901"/>
                <a:gd name="connsiteX22" fmla="*/ 877430 w 1128355"/>
                <a:gd name="connsiteY22" fmla="*/ 471012 h 1630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28355" h="1630901">
                  <a:moveTo>
                    <a:pt x="877430" y="471012"/>
                  </a:moveTo>
                  <a:cubicBezTo>
                    <a:pt x="924607" y="463546"/>
                    <a:pt x="970377" y="475449"/>
                    <a:pt x="1006734" y="500768"/>
                  </a:cubicBezTo>
                  <a:lnTo>
                    <a:pt x="1010305" y="503365"/>
                  </a:lnTo>
                  <a:lnTo>
                    <a:pt x="930883" y="0"/>
                  </a:lnTo>
                  <a:lnTo>
                    <a:pt x="930883" y="0"/>
                  </a:lnTo>
                  <a:lnTo>
                    <a:pt x="881758" y="7791"/>
                  </a:lnTo>
                  <a:cubicBezTo>
                    <a:pt x="737955" y="35816"/>
                    <a:pt x="314444" y="157329"/>
                    <a:pt x="94898" y="639594"/>
                  </a:cubicBezTo>
                  <a:cubicBezTo>
                    <a:pt x="-41114" y="938345"/>
                    <a:pt x="-11250" y="1212426"/>
                    <a:pt x="62221" y="1420611"/>
                  </a:cubicBezTo>
                  <a:lnTo>
                    <a:pt x="114592" y="1412387"/>
                  </a:lnTo>
                  <a:lnTo>
                    <a:pt x="522521" y="1348006"/>
                  </a:lnTo>
                  <a:lnTo>
                    <a:pt x="519924" y="1351576"/>
                  </a:lnTo>
                  <a:cubicBezTo>
                    <a:pt x="494604" y="1387933"/>
                    <a:pt x="482702" y="1433703"/>
                    <a:pt x="490168" y="1480880"/>
                  </a:cubicBezTo>
                  <a:cubicBezTo>
                    <a:pt x="505425" y="1577831"/>
                    <a:pt x="596424" y="1644052"/>
                    <a:pt x="693375" y="1628687"/>
                  </a:cubicBezTo>
                  <a:cubicBezTo>
                    <a:pt x="790326" y="1613430"/>
                    <a:pt x="856547" y="1522431"/>
                    <a:pt x="841182" y="1425480"/>
                  </a:cubicBezTo>
                  <a:cubicBezTo>
                    <a:pt x="833607" y="1377221"/>
                    <a:pt x="806989" y="1337402"/>
                    <a:pt x="770524" y="1310675"/>
                  </a:cubicBezTo>
                  <a:lnTo>
                    <a:pt x="768252" y="1309269"/>
                  </a:lnTo>
                  <a:lnTo>
                    <a:pt x="779505" y="1307538"/>
                  </a:lnTo>
                  <a:lnTo>
                    <a:pt x="1128355" y="1252462"/>
                  </a:lnTo>
                  <a:lnTo>
                    <a:pt x="1048933" y="749421"/>
                  </a:lnTo>
                  <a:lnTo>
                    <a:pt x="1047527" y="751693"/>
                  </a:lnTo>
                  <a:cubicBezTo>
                    <a:pt x="1020800" y="788158"/>
                    <a:pt x="980873" y="814776"/>
                    <a:pt x="932722" y="822351"/>
                  </a:cubicBezTo>
                  <a:cubicBezTo>
                    <a:pt x="835771" y="837607"/>
                    <a:pt x="744772" y="771495"/>
                    <a:pt x="729515" y="674544"/>
                  </a:cubicBezTo>
                  <a:cubicBezTo>
                    <a:pt x="714258" y="577377"/>
                    <a:pt x="780479" y="486377"/>
                    <a:pt x="877430" y="471012"/>
                  </a:cubicBez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ACC2E607-E815-46A7-A822-B11D20D7A663}"/>
                </a:ext>
              </a:extLst>
            </p:cNvPr>
            <p:cNvSpPr/>
            <p:nvPr/>
          </p:nvSpPr>
          <p:spPr>
            <a:xfrm flipH="1">
              <a:off x="3217151" y="2861456"/>
              <a:ext cx="1249654" cy="1802645"/>
            </a:xfrm>
            <a:custGeom>
              <a:avLst/>
              <a:gdLst>
                <a:gd name="connsiteX0" fmla="*/ 880154 w 1133783"/>
                <a:gd name="connsiteY0" fmla="*/ 473176 h 1635500"/>
                <a:gd name="connsiteX1" fmla="*/ 868251 w 1133783"/>
                <a:gd name="connsiteY1" fmla="*/ 475989 h 1635500"/>
                <a:gd name="connsiteX2" fmla="*/ 853860 w 1133783"/>
                <a:gd name="connsiteY2" fmla="*/ 480101 h 1635500"/>
                <a:gd name="connsiteX3" fmla="*/ 844663 w 1133783"/>
                <a:gd name="connsiteY3" fmla="*/ 483131 h 1635500"/>
                <a:gd name="connsiteX4" fmla="*/ 834491 w 1133783"/>
                <a:gd name="connsiteY4" fmla="*/ 487567 h 1635500"/>
                <a:gd name="connsiteX5" fmla="*/ 786557 w 1133783"/>
                <a:gd name="connsiteY5" fmla="*/ 519920 h 1635500"/>
                <a:gd name="connsiteX6" fmla="*/ 742951 w 1133783"/>
                <a:gd name="connsiteY6" fmla="*/ 585492 h 1635500"/>
                <a:gd name="connsiteX7" fmla="*/ 736026 w 1133783"/>
                <a:gd name="connsiteY7" fmla="*/ 607457 h 1635500"/>
                <a:gd name="connsiteX8" fmla="*/ 732239 w 1133783"/>
                <a:gd name="connsiteY8" fmla="*/ 631479 h 1635500"/>
                <a:gd name="connsiteX9" fmla="*/ 734944 w 1133783"/>
                <a:gd name="connsiteY9" fmla="*/ 683417 h 1635500"/>
                <a:gd name="connsiteX10" fmla="*/ 794348 w 1133783"/>
                <a:gd name="connsiteY10" fmla="*/ 783505 h 1635500"/>
                <a:gd name="connsiteX11" fmla="*/ 921271 w 1133783"/>
                <a:gd name="connsiteY11" fmla="*/ 824082 h 1635500"/>
                <a:gd name="connsiteX12" fmla="*/ 992253 w 1133783"/>
                <a:gd name="connsiteY12" fmla="*/ 802766 h 1635500"/>
                <a:gd name="connsiteX13" fmla="*/ 1050142 w 1133783"/>
                <a:gd name="connsiteY13" fmla="*/ 750287 h 1635500"/>
                <a:gd name="connsiteX14" fmla="*/ 1052847 w 1133783"/>
                <a:gd name="connsiteY14" fmla="*/ 746391 h 1635500"/>
                <a:gd name="connsiteX15" fmla="*/ 1053605 w 1133783"/>
                <a:gd name="connsiteY15" fmla="*/ 751044 h 1635500"/>
                <a:gd name="connsiteX16" fmla="*/ 1133459 w 1133783"/>
                <a:gd name="connsiteY16" fmla="*/ 1254085 h 1635500"/>
                <a:gd name="connsiteX17" fmla="*/ 1133784 w 1133783"/>
                <a:gd name="connsiteY17" fmla="*/ 1256357 h 1635500"/>
                <a:gd name="connsiteX18" fmla="*/ 1131511 w 1133783"/>
                <a:gd name="connsiteY18" fmla="*/ 1256681 h 1635500"/>
                <a:gd name="connsiteX19" fmla="*/ 771408 w 1133783"/>
                <a:gd name="connsiteY19" fmla="*/ 1313705 h 1635500"/>
                <a:gd name="connsiteX20" fmla="*/ 772382 w 1133783"/>
                <a:gd name="connsiteY20" fmla="*/ 1309052 h 1635500"/>
                <a:gd name="connsiteX21" fmla="*/ 834275 w 1133783"/>
                <a:gd name="connsiteY21" fmla="*/ 1384903 h 1635500"/>
                <a:gd name="connsiteX22" fmla="*/ 847151 w 1133783"/>
                <a:gd name="connsiteY22" fmla="*/ 1433487 h 1635500"/>
                <a:gd name="connsiteX23" fmla="*/ 846286 w 1133783"/>
                <a:gd name="connsiteY23" fmla="*/ 1484343 h 1635500"/>
                <a:gd name="connsiteX24" fmla="*/ 830813 w 1133783"/>
                <a:gd name="connsiteY24" fmla="*/ 1533359 h 1635500"/>
                <a:gd name="connsiteX25" fmla="*/ 801706 w 1133783"/>
                <a:gd name="connsiteY25" fmla="*/ 1576424 h 1635500"/>
                <a:gd name="connsiteX26" fmla="*/ 761129 w 1133783"/>
                <a:gd name="connsiteY26" fmla="*/ 1609751 h 1635500"/>
                <a:gd name="connsiteX27" fmla="*/ 712113 w 1133783"/>
                <a:gd name="connsiteY27" fmla="*/ 1630094 h 1635500"/>
                <a:gd name="connsiteX28" fmla="*/ 658876 w 1133783"/>
                <a:gd name="connsiteY28" fmla="*/ 1635396 h 1635500"/>
                <a:gd name="connsiteX29" fmla="*/ 605965 w 1133783"/>
                <a:gd name="connsiteY29" fmla="*/ 1624467 h 1635500"/>
                <a:gd name="connsiteX30" fmla="*/ 520483 w 1133783"/>
                <a:gd name="connsiteY30" fmla="*/ 1558463 h 1635500"/>
                <a:gd name="connsiteX31" fmla="*/ 506200 w 1133783"/>
                <a:gd name="connsiteY31" fmla="*/ 1534766 h 1635500"/>
                <a:gd name="connsiteX32" fmla="*/ 496137 w 1133783"/>
                <a:gd name="connsiteY32" fmla="*/ 1508905 h 1635500"/>
                <a:gd name="connsiteX33" fmla="*/ 487806 w 1133783"/>
                <a:gd name="connsiteY33" fmla="*/ 1453829 h 1635500"/>
                <a:gd name="connsiteX34" fmla="*/ 522756 w 1133783"/>
                <a:gd name="connsiteY34" fmla="*/ 1348330 h 1635500"/>
                <a:gd name="connsiteX35" fmla="*/ 525461 w 1133783"/>
                <a:gd name="connsiteY35" fmla="*/ 1352767 h 1635500"/>
                <a:gd name="connsiteX36" fmla="*/ 227791 w 1133783"/>
                <a:gd name="connsiteY36" fmla="*/ 1399727 h 1635500"/>
                <a:gd name="connsiteX37" fmla="*/ 65161 w 1133783"/>
                <a:gd name="connsiteY37" fmla="*/ 1425372 h 1635500"/>
                <a:gd name="connsiteX38" fmla="*/ 62889 w 1133783"/>
                <a:gd name="connsiteY38" fmla="*/ 1425696 h 1635500"/>
                <a:gd name="connsiteX39" fmla="*/ 62131 w 1133783"/>
                <a:gd name="connsiteY39" fmla="*/ 1423532 h 1635500"/>
                <a:gd name="connsiteX40" fmla="*/ 3052 w 1133783"/>
                <a:gd name="connsiteY40" fmla="*/ 1146963 h 1635500"/>
                <a:gd name="connsiteX41" fmla="*/ 1753 w 1133783"/>
                <a:gd name="connsiteY41" fmla="*/ 1008786 h 1635500"/>
                <a:gd name="connsiteX42" fmla="*/ 8354 w 1133783"/>
                <a:gd name="connsiteY42" fmla="*/ 940942 h 1635500"/>
                <a:gd name="connsiteX43" fmla="*/ 13007 w 1133783"/>
                <a:gd name="connsiteY43" fmla="*/ 907507 h 1635500"/>
                <a:gd name="connsiteX44" fmla="*/ 19174 w 1133783"/>
                <a:gd name="connsiteY44" fmla="*/ 874397 h 1635500"/>
                <a:gd name="connsiteX45" fmla="*/ 102167 w 1133783"/>
                <a:gd name="connsiteY45" fmla="*/ 626285 h 1635500"/>
                <a:gd name="connsiteX46" fmla="*/ 130841 w 1133783"/>
                <a:gd name="connsiteY46" fmla="*/ 569478 h 1635500"/>
                <a:gd name="connsiteX47" fmla="*/ 137982 w 1133783"/>
                <a:gd name="connsiteY47" fmla="*/ 555411 h 1635500"/>
                <a:gd name="connsiteX48" fmla="*/ 145989 w 1133783"/>
                <a:gd name="connsiteY48" fmla="*/ 541886 h 1635500"/>
                <a:gd name="connsiteX49" fmla="*/ 162220 w 1133783"/>
                <a:gd name="connsiteY49" fmla="*/ 515159 h 1635500"/>
                <a:gd name="connsiteX50" fmla="*/ 178342 w 1133783"/>
                <a:gd name="connsiteY50" fmla="*/ 488649 h 1635500"/>
                <a:gd name="connsiteX51" fmla="*/ 186349 w 1133783"/>
                <a:gd name="connsiteY51" fmla="*/ 475448 h 1635500"/>
                <a:gd name="connsiteX52" fmla="*/ 195330 w 1133783"/>
                <a:gd name="connsiteY52" fmla="*/ 463005 h 1635500"/>
                <a:gd name="connsiteX53" fmla="*/ 231038 w 1133783"/>
                <a:gd name="connsiteY53" fmla="*/ 413556 h 1635500"/>
                <a:gd name="connsiteX54" fmla="*/ 249865 w 1133783"/>
                <a:gd name="connsiteY54" fmla="*/ 390075 h 1635500"/>
                <a:gd name="connsiteX55" fmla="*/ 269234 w 1133783"/>
                <a:gd name="connsiteY55" fmla="*/ 367244 h 1635500"/>
                <a:gd name="connsiteX56" fmla="*/ 288386 w 1133783"/>
                <a:gd name="connsiteY56" fmla="*/ 344630 h 1635500"/>
                <a:gd name="connsiteX57" fmla="*/ 308836 w 1133783"/>
                <a:gd name="connsiteY57" fmla="*/ 323422 h 1635500"/>
                <a:gd name="connsiteX58" fmla="*/ 349954 w 1133783"/>
                <a:gd name="connsiteY58" fmla="*/ 282196 h 1635500"/>
                <a:gd name="connsiteX59" fmla="*/ 392911 w 1133783"/>
                <a:gd name="connsiteY59" fmla="*/ 244433 h 1635500"/>
                <a:gd name="connsiteX60" fmla="*/ 572962 w 1133783"/>
                <a:gd name="connsiteY60" fmla="*/ 121405 h 1635500"/>
                <a:gd name="connsiteX61" fmla="*/ 756801 w 1133783"/>
                <a:gd name="connsiteY61" fmla="*/ 41767 h 1635500"/>
                <a:gd name="connsiteX62" fmla="*/ 932957 w 1133783"/>
                <a:gd name="connsiteY62" fmla="*/ 216 h 1635500"/>
                <a:gd name="connsiteX63" fmla="*/ 934688 w 1133783"/>
                <a:gd name="connsiteY63" fmla="*/ 0 h 1635500"/>
                <a:gd name="connsiteX64" fmla="*/ 935013 w 1133783"/>
                <a:gd name="connsiteY64" fmla="*/ 1731 h 1635500"/>
                <a:gd name="connsiteX65" fmla="*/ 1013461 w 1133783"/>
                <a:gd name="connsiteY65" fmla="*/ 505205 h 1635500"/>
                <a:gd name="connsiteX66" fmla="*/ 1013786 w 1133783"/>
                <a:gd name="connsiteY66" fmla="*/ 507260 h 1635500"/>
                <a:gd name="connsiteX67" fmla="*/ 1012162 w 1133783"/>
                <a:gd name="connsiteY67" fmla="*/ 506070 h 1635500"/>
                <a:gd name="connsiteX68" fmla="*/ 914021 w 1133783"/>
                <a:gd name="connsiteY68" fmla="*/ 471445 h 1635500"/>
                <a:gd name="connsiteX69" fmla="*/ 888161 w 1133783"/>
                <a:gd name="connsiteY69" fmla="*/ 472202 h 1635500"/>
                <a:gd name="connsiteX70" fmla="*/ 880154 w 1133783"/>
                <a:gd name="connsiteY70" fmla="*/ 473176 h 1635500"/>
                <a:gd name="connsiteX71" fmla="*/ 888593 w 1133783"/>
                <a:gd name="connsiteY71" fmla="*/ 471878 h 1635500"/>
                <a:gd name="connsiteX72" fmla="*/ 914454 w 1133783"/>
                <a:gd name="connsiteY72" fmla="*/ 470688 h 1635500"/>
                <a:gd name="connsiteX73" fmla="*/ 1013569 w 1133783"/>
                <a:gd name="connsiteY73" fmla="*/ 504772 h 1635500"/>
                <a:gd name="connsiteX74" fmla="*/ 1012271 w 1133783"/>
                <a:gd name="connsiteY74" fmla="*/ 505637 h 1635500"/>
                <a:gd name="connsiteX75" fmla="*/ 931875 w 1133783"/>
                <a:gd name="connsiteY75" fmla="*/ 2489 h 1635500"/>
                <a:gd name="connsiteX76" fmla="*/ 933823 w 1133783"/>
                <a:gd name="connsiteY76" fmla="*/ 4003 h 1635500"/>
                <a:gd name="connsiteX77" fmla="*/ 758532 w 1133783"/>
                <a:gd name="connsiteY77" fmla="*/ 45770 h 1635500"/>
                <a:gd name="connsiteX78" fmla="*/ 575559 w 1133783"/>
                <a:gd name="connsiteY78" fmla="*/ 125408 h 1635500"/>
                <a:gd name="connsiteX79" fmla="*/ 396373 w 1133783"/>
                <a:gd name="connsiteY79" fmla="*/ 248220 h 1635500"/>
                <a:gd name="connsiteX80" fmla="*/ 353633 w 1133783"/>
                <a:gd name="connsiteY80" fmla="*/ 285875 h 1635500"/>
                <a:gd name="connsiteX81" fmla="*/ 312732 w 1133783"/>
                <a:gd name="connsiteY81" fmla="*/ 326993 h 1635500"/>
                <a:gd name="connsiteX82" fmla="*/ 292389 w 1133783"/>
                <a:gd name="connsiteY82" fmla="*/ 348092 h 1635500"/>
                <a:gd name="connsiteX83" fmla="*/ 273345 w 1133783"/>
                <a:gd name="connsiteY83" fmla="*/ 370707 h 1635500"/>
                <a:gd name="connsiteX84" fmla="*/ 254085 w 1133783"/>
                <a:gd name="connsiteY84" fmla="*/ 393430 h 1635500"/>
                <a:gd name="connsiteX85" fmla="*/ 235366 w 1133783"/>
                <a:gd name="connsiteY85" fmla="*/ 416910 h 1635500"/>
                <a:gd name="connsiteX86" fmla="*/ 199875 w 1133783"/>
                <a:gd name="connsiteY86" fmla="*/ 466143 h 1635500"/>
                <a:gd name="connsiteX87" fmla="*/ 190894 w 1133783"/>
                <a:gd name="connsiteY87" fmla="*/ 478586 h 1635500"/>
                <a:gd name="connsiteX88" fmla="*/ 182887 w 1133783"/>
                <a:gd name="connsiteY88" fmla="*/ 491679 h 1635500"/>
                <a:gd name="connsiteX89" fmla="*/ 166873 w 1133783"/>
                <a:gd name="connsiteY89" fmla="*/ 518081 h 1635500"/>
                <a:gd name="connsiteX90" fmla="*/ 150750 w 1133783"/>
                <a:gd name="connsiteY90" fmla="*/ 544699 h 1635500"/>
                <a:gd name="connsiteX91" fmla="*/ 142743 w 1133783"/>
                <a:gd name="connsiteY91" fmla="*/ 558116 h 1635500"/>
                <a:gd name="connsiteX92" fmla="*/ 135710 w 1133783"/>
                <a:gd name="connsiteY92" fmla="*/ 572183 h 1635500"/>
                <a:gd name="connsiteX93" fmla="*/ 107252 w 1133783"/>
                <a:gd name="connsiteY93" fmla="*/ 628774 h 1635500"/>
                <a:gd name="connsiteX94" fmla="*/ 24909 w 1133783"/>
                <a:gd name="connsiteY94" fmla="*/ 875695 h 1635500"/>
                <a:gd name="connsiteX95" fmla="*/ 18741 w 1133783"/>
                <a:gd name="connsiteY95" fmla="*/ 908589 h 1635500"/>
                <a:gd name="connsiteX96" fmla="*/ 14088 w 1133783"/>
                <a:gd name="connsiteY96" fmla="*/ 941916 h 1635500"/>
                <a:gd name="connsiteX97" fmla="*/ 7488 w 1133783"/>
                <a:gd name="connsiteY97" fmla="*/ 1009327 h 1635500"/>
                <a:gd name="connsiteX98" fmla="*/ 8895 w 1133783"/>
                <a:gd name="connsiteY98" fmla="*/ 1146638 h 1635500"/>
                <a:gd name="connsiteX99" fmla="*/ 67758 w 1133783"/>
                <a:gd name="connsiteY99" fmla="*/ 1421801 h 1635500"/>
                <a:gd name="connsiteX100" fmla="*/ 64620 w 1133783"/>
                <a:gd name="connsiteY100" fmla="*/ 1419961 h 1635500"/>
                <a:gd name="connsiteX101" fmla="*/ 227250 w 1133783"/>
                <a:gd name="connsiteY101" fmla="*/ 1394317 h 1635500"/>
                <a:gd name="connsiteX102" fmla="*/ 525028 w 1133783"/>
                <a:gd name="connsiteY102" fmla="*/ 1347357 h 1635500"/>
                <a:gd name="connsiteX103" fmla="*/ 531736 w 1133783"/>
                <a:gd name="connsiteY103" fmla="*/ 1346275 h 1635500"/>
                <a:gd name="connsiteX104" fmla="*/ 527733 w 1133783"/>
                <a:gd name="connsiteY104" fmla="*/ 1351685 h 1635500"/>
                <a:gd name="connsiteX105" fmla="*/ 493757 w 1133783"/>
                <a:gd name="connsiteY105" fmla="*/ 1453938 h 1635500"/>
                <a:gd name="connsiteX106" fmla="*/ 501872 w 1133783"/>
                <a:gd name="connsiteY106" fmla="*/ 1507282 h 1635500"/>
                <a:gd name="connsiteX107" fmla="*/ 511611 w 1133783"/>
                <a:gd name="connsiteY107" fmla="*/ 1532385 h 1635500"/>
                <a:gd name="connsiteX108" fmla="*/ 525461 w 1133783"/>
                <a:gd name="connsiteY108" fmla="*/ 1555433 h 1635500"/>
                <a:gd name="connsiteX109" fmla="*/ 608345 w 1133783"/>
                <a:gd name="connsiteY109" fmla="*/ 1619490 h 1635500"/>
                <a:gd name="connsiteX110" fmla="*/ 659634 w 1133783"/>
                <a:gd name="connsiteY110" fmla="*/ 1630094 h 1635500"/>
                <a:gd name="connsiteX111" fmla="*/ 711247 w 1133783"/>
                <a:gd name="connsiteY111" fmla="*/ 1625008 h 1635500"/>
                <a:gd name="connsiteX112" fmla="*/ 758749 w 1133783"/>
                <a:gd name="connsiteY112" fmla="*/ 1605315 h 1635500"/>
                <a:gd name="connsiteX113" fmla="*/ 798135 w 1133783"/>
                <a:gd name="connsiteY113" fmla="*/ 1573070 h 1635500"/>
                <a:gd name="connsiteX114" fmla="*/ 826376 w 1133783"/>
                <a:gd name="connsiteY114" fmla="*/ 1531303 h 1635500"/>
                <a:gd name="connsiteX115" fmla="*/ 841416 w 1133783"/>
                <a:gd name="connsiteY115" fmla="*/ 1483694 h 1635500"/>
                <a:gd name="connsiteX116" fmla="*/ 842390 w 1133783"/>
                <a:gd name="connsiteY116" fmla="*/ 1434353 h 1635500"/>
                <a:gd name="connsiteX117" fmla="*/ 829947 w 1133783"/>
                <a:gd name="connsiteY117" fmla="*/ 1387176 h 1635500"/>
                <a:gd name="connsiteX118" fmla="*/ 770002 w 1133783"/>
                <a:gd name="connsiteY118" fmla="*/ 1313597 h 1635500"/>
                <a:gd name="connsiteX119" fmla="*/ 764700 w 1133783"/>
                <a:gd name="connsiteY119" fmla="*/ 1309918 h 1635500"/>
                <a:gd name="connsiteX120" fmla="*/ 770976 w 1133783"/>
                <a:gd name="connsiteY120" fmla="*/ 1308944 h 1635500"/>
                <a:gd name="connsiteX121" fmla="*/ 1131187 w 1133783"/>
                <a:gd name="connsiteY121" fmla="*/ 1252353 h 1635500"/>
                <a:gd name="connsiteX122" fmla="*/ 1129239 w 1133783"/>
                <a:gd name="connsiteY122" fmla="*/ 1255059 h 1635500"/>
                <a:gd name="connsiteX123" fmla="*/ 1050250 w 1133783"/>
                <a:gd name="connsiteY123" fmla="*/ 751910 h 1635500"/>
                <a:gd name="connsiteX124" fmla="*/ 1053713 w 1133783"/>
                <a:gd name="connsiteY124" fmla="*/ 752667 h 1635500"/>
                <a:gd name="connsiteX125" fmla="*/ 994417 w 1133783"/>
                <a:gd name="connsiteY125" fmla="*/ 806228 h 1635500"/>
                <a:gd name="connsiteX126" fmla="*/ 921920 w 1133783"/>
                <a:gd name="connsiteY126" fmla="*/ 827761 h 1635500"/>
                <a:gd name="connsiteX127" fmla="*/ 792833 w 1133783"/>
                <a:gd name="connsiteY127" fmla="*/ 786102 h 1635500"/>
                <a:gd name="connsiteX128" fmla="*/ 732780 w 1133783"/>
                <a:gd name="connsiteY128" fmla="*/ 684282 h 1635500"/>
                <a:gd name="connsiteX129" fmla="*/ 730183 w 1133783"/>
                <a:gd name="connsiteY129" fmla="*/ 631587 h 1635500"/>
                <a:gd name="connsiteX130" fmla="*/ 734186 w 1133783"/>
                <a:gd name="connsiteY130" fmla="*/ 607349 h 1635500"/>
                <a:gd name="connsiteX131" fmla="*/ 741220 w 1133783"/>
                <a:gd name="connsiteY131" fmla="*/ 585167 h 1635500"/>
                <a:gd name="connsiteX132" fmla="*/ 785691 w 1133783"/>
                <a:gd name="connsiteY132" fmla="*/ 519163 h 1635500"/>
                <a:gd name="connsiteX133" fmla="*/ 834275 w 1133783"/>
                <a:gd name="connsiteY133" fmla="*/ 487026 h 1635500"/>
                <a:gd name="connsiteX134" fmla="*/ 844554 w 1133783"/>
                <a:gd name="connsiteY134" fmla="*/ 482698 h 1635500"/>
                <a:gd name="connsiteX135" fmla="*/ 853752 w 1133783"/>
                <a:gd name="connsiteY135" fmla="*/ 479777 h 1635500"/>
                <a:gd name="connsiteX136" fmla="*/ 868251 w 1133783"/>
                <a:gd name="connsiteY136" fmla="*/ 475881 h 1635500"/>
                <a:gd name="connsiteX137" fmla="*/ 880154 w 1133783"/>
                <a:gd name="connsiteY137" fmla="*/ 473176 h 163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133783" h="1635500">
                  <a:moveTo>
                    <a:pt x="880154" y="473176"/>
                  </a:moveTo>
                  <a:cubicBezTo>
                    <a:pt x="880154" y="473176"/>
                    <a:pt x="876150" y="474150"/>
                    <a:pt x="868251" y="475989"/>
                  </a:cubicBezTo>
                  <a:cubicBezTo>
                    <a:pt x="864248" y="476639"/>
                    <a:pt x="859487" y="478154"/>
                    <a:pt x="853860" y="480101"/>
                  </a:cubicBezTo>
                  <a:cubicBezTo>
                    <a:pt x="851047" y="481075"/>
                    <a:pt x="847909" y="481941"/>
                    <a:pt x="844663" y="483131"/>
                  </a:cubicBezTo>
                  <a:cubicBezTo>
                    <a:pt x="841525" y="484538"/>
                    <a:pt x="838062" y="486052"/>
                    <a:pt x="834491" y="487567"/>
                  </a:cubicBezTo>
                  <a:cubicBezTo>
                    <a:pt x="820317" y="494168"/>
                    <a:pt x="803220" y="504014"/>
                    <a:pt x="786557" y="519920"/>
                  </a:cubicBezTo>
                  <a:cubicBezTo>
                    <a:pt x="769894" y="535718"/>
                    <a:pt x="753771" y="557575"/>
                    <a:pt x="742951" y="585492"/>
                  </a:cubicBezTo>
                  <a:cubicBezTo>
                    <a:pt x="740029" y="592417"/>
                    <a:pt x="738298" y="599883"/>
                    <a:pt x="736026" y="607457"/>
                  </a:cubicBezTo>
                  <a:cubicBezTo>
                    <a:pt x="734619" y="615248"/>
                    <a:pt x="732671" y="623147"/>
                    <a:pt x="732239" y="631479"/>
                  </a:cubicBezTo>
                  <a:cubicBezTo>
                    <a:pt x="730399" y="648034"/>
                    <a:pt x="731373" y="665563"/>
                    <a:pt x="734944" y="683417"/>
                  </a:cubicBezTo>
                  <a:cubicBezTo>
                    <a:pt x="741544" y="719232"/>
                    <a:pt x="761778" y="755913"/>
                    <a:pt x="794348" y="783505"/>
                  </a:cubicBezTo>
                  <a:cubicBezTo>
                    <a:pt x="826701" y="810989"/>
                    <a:pt x="872687" y="828194"/>
                    <a:pt x="921271" y="824082"/>
                  </a:cubicBezTo>
                  <a:cubicBezTo>
                    <a:pt x="945401" y="822351"/>
                    <a:pt x="969963" y="815209"/>
                    <a:pt x="992253" y="802766"/>
                  </a:cubicBezTo>
                  <a:cubicBezTo>
                    <a:pt x="1014435" y="790214"/>
                    <a:pt x="1034885" y="772360"/>
                    <a:pt x="1050142" y="750287"/>
                  </a:cubicBezTo>
                  <a:lnTo>
                    <a:pt x="1052847" y="746391"/>
                  </a:lnTo>
                  <a:lnTo>
                    <a:pt x="1053605" y="751044"/>
                  </a:lnTo>
                  <a:cubicBezTo>
                    <a:pt x="1077085" y="899067"/>
                    <a:pt x="1103919" y="1068298"/>
                    <a:pt x="1133459" y="1254085"/>
                  </a:cubicBezTo>
                  <a:lnTo>
                    <a:pt x="1133784" y="1256357"/>
                  </a:lnTo>
                  <a:lnTo>
                    <a:pt x="1131511" y="1256681"/>
                  </a:lnTo>
                  <a:cubicBezTo>
                    <a:pt x="1018438" y="1274643"/>
                    <a:pt x="897574" y="1293687"/>
                    <a:pt x="771408" y="1313705"/>
                  </a:cubicBezTo>
                  <a:lnTo>
                    <a:pt x="772382" y="1309052"/>
                  </a:lnTo>
                  <a:cubicBezTo>
                    <a:pt x="799217" y="1327880"/>
                    <a:pt x="821074" y="1354173"/>
                    <a:pt x="834275" y="1384903"/>
                  </a:cubicBezTo>
                  <a:cubicBezTo>
                    <a:pt x="840767" y="1400268"/>
                    <a:pt x="845420" y="1416715"/>
                    <a:pt x="847151" y="1433487"/>
                  </a:cubicBezTo>
                  <a:cubicBezTo>
                    <a:pt x="849640" y="1450258"/>
                    <a:pt x="848558" y="1467463"/>
                    <a:pt x="846286" y="1484343"/>
                  </a:cubicBezTo>
                  <a:cubicBezTo>
                    <a:pt x="843689" y="1501331"/>
                    <a:pt x="838062" y="1517670"/>
                    <a:pt x="830813" y="1533359"/>
                  </a:cubicBezTo>
                  <a:cubicBezTo>
                    <a:pt x="823346" y="1548941"/>
                    <a:pt x="813284" y="1563332"/>
                    <a:pt x="801706" y="1576424"/>
                  </a:cubicBezTo>
                  <a:cubicBezTo>
                    <a:pt x="790019" y="1589517"/>
                    <a:pt x="776061" y="1600446"/>
                    <a:pt x="761129" y="1609751"/>
                  </a:cubicBezTo>
                  <a:cubicBezTo>
                    <a:pt x="746089" y="1619057"/>
                    <a:pt x="729317" y="1625441"/>
                    <a:pt x="712113" y="1630094"/>
                  </a:cubicBezTo>
                  <a:cubicBezTo>
                    <a:pt x="694800" y="1634422"/>
                    <a:pt x="676838" y="1635937"/>
                    <a:pt x="658876" y="1635396"/>
                  </a:cubicBezTo>
                  <a:cubicBezTo>
                    <a:pt x="640914" y="1634314"/>
                    <a:pt x="623061" y="1630526"/>
                    <a:pt x="605965" y="1624467"/>
                  </a:cubicBezTo>
                  <a:cubicBezTo>
                    <a:pt x="572097" y="1611699"/>
                    <a:pt x="541367" y="1588868"/>
                    <a:pt x="520483" y="1558463"/>
                  </a:cubicBezTo>
                  <a:cubicBezTo>
                    <a:pt x="514965" y="1551105"/>
                    <a:pt x="510745" y="1542773"/>
                    <a:pt x="506200" y="1534766"/>
                  </a:cubicBezTo>
                  <a:cubicBezTo>
                    <a:pt x="502521" y="1526218"/>
                    <a:pt x="498626" y="1517886"/>
                    <a:pt x="496137" y="1508905"/>
                  </a:cubicBezTo>
                  <a:cubicBezTo>
                    <a:pt x="490619" y="1491160"/>
                    <a:pt x="487481" y="1472549"/>
                    <a:pt x="487806" y="1453829"/>
                  </a:cubicBezTo>
                  <a:cubicBezTo>
                    <a:pt x="487914" y="1416391"/>
                    <a:pt x="500357" y="1378844"/>
                    <a:pt x="522756" y="1348330"/>
                  </a:cubicBezTo>
                  <a:lnTo>
                    <a:pt x="525461" y="1352767"/>
                  </a:lnTo>
                  <a:cubicBezTo>
                    <a:pt x="430349" y="1367807"/>
                    <a:pt x="329720" y="1383713"/>
                    <a:pt x="227791" y="1399727"/>
                  </a:cubicBezTo>
                  <a:cubicBezTo>
                    <a:pt x="172824" y="1408384"/>
                    <a:pt x="118181" y="1417040"/>
                    <a:pt x="65161" y="1425372"/>
                  </a:cubicBezTo>
                  <a:lnTo>
                    <a:pt x="62889" y="1425696"/>
                  </a:lnTo>
                  <a:lnTo>
                    <a:pt x="62131" y="1423532"/>
                  </a:lnTo>
                  <a:cubicBezTo>
                    <a:pt x="30644" y="1332965"/>
                    <a:pt x="9869" y="1239802"/>
                    <a:pt x="3052" y="1146963"/>
                  </a:cubicBezTo>
                  <a:cubicBezTo>
                    <a:pt x="-1060" y="1100651"/>
                    <a:pt x="-519" y="1054448"/>
                    <a:pt x="1753" y="1008786"/>
                  </a:cubicBezTo>
                  <a:cubicBezTo>
                    <a:pt x="3593" y="986063"/>
                    <a:pt x="4891" y="963340"/>
                    <a:pt x="8354" y="940942"/>
                  </a:cubicBezTo>
                  <a:cubicBezTo>
                    <a:pt x="9977" y="929797"/>
                    <a:pt x="11059" y="918544"/>
                    <a:pt x="13007" y="907507"/>
                  </a:cubicBezTo>
                  <a:cubicBezTo>
                    <a:pt x="15062" y="896470"/>
                    <a:pt x="17118" y="885433"/>
                    <a:pt x="19174" y="874397"/>
                  </a:cubicBezTo>
                  <a:cubicBezTo>
                    <a:pt x="36162" y="786535"/>
                    <a:pt x="65377" y="703218"/>
                    <a:pt x="102167" y="626285"/>
                  </a:cubicBezTo>
                  <a:cubicBezTo>
                    <a:pt x="111797" y="607241"/>
                    <a:pt x="121319" y="588305"/>
                    <a:pt x="130841" y="569478"/>
                  </a:cubicBezTo>
                  <a:lnTo>
                    <a:pt x="137982" y="555411"/>
                  </a:lnTo>
                  <a:cubicBezTo>
                    <a:pt x="140471" y="550759"/>
                    <a:pt x="143392" y="546430"/>
                    <a:pt x="145989" y="541886"/>
                  </a:cubicBezTo>
                  <a:cubicBezTo>
                    <a:pt x="151399" y="532905"/>
                    <a:pt x="156810" y="524032"/>
                    <a:pt x="162220" y="515159"/>
                  </a:cubicBezTo>
                  <a:cubicBezTo>
                    <a:pt x="167630" y="506287"/>
                    <a:pt x="173040" y="497414"/>
                    <a:pt x="178342" y="488649"/>
                  </a:cubicBezTo>
                  <a:lnTo>
                    <a:pt x="186349" y="475448"/>
                  </a:lnTo>
                  <a:lnTo>
                    <a:pt x="195330" y="463005"/>
                  </a:lnTo>
                  <a:cubicBezTo>
                    <a:pt x="207341" y="446342"/>
                    <a:pt x="219243" y="429895"/>
                    <a:pt x="231038" y="413556"/>
                  </a:cubicBezTo>
                  <a:cubicBezTo>
                    <a:pt x="236664" y="405116"/>
                    <a:pt x="243481" y="397758"/>
                    <a:pt x="249865" y="390075"/>
                  </a:cubicBezTo>
                  <a:cubicBezTo>
                    <a:pt x="256357" y="382393"/>
                    <a:pt x="262741" y="374819"/>
                    <a:pt x="269234" y="367244"/>
                  </a:cubicBezTo>
                  <a:cubicBezTo>
                    <a:pt x="275618" y="359670"/>
                    <a:pt x="282110" y="352096"/>
                    <a:pt x="288386" y="344630"/>
                  </a:cubicBezTo>
                  <a:cubicBezTo>
                    <a:pt x="294878" y="337272"/>
                    <a:pt x="302128" y="330455"/>
                    <a:pt x="308836" y="323422"/>
                  </a:cubicBezTo>
                  <a:cubicBezTo>
                    <a:pt x="322686" y="309572"/>
                    <a:pt x="335995" y="295397"/>
                    <a:pt x="349954" y="282196"/>
                  </a:cubicBezTo>
                  <a:cubicBezTo>
                    <a:pt x="364453" y="269536"/>
                    <a:pt x="378736" y="256876"/>
                    <a:pt x="392911" y="244433"/>
                  </a:cubicBezTo>
                  <a:cubicBezTo>
                    <a:pt x="451125" y="196174"/>
                    <a:pt x="511719" y="155056"/>
                    <a:pt x="572962" y="121405"/>
                  </a:cubicBezTo>
                  <a:cubicBezTo>
                    <a:pt x="634639" y="88294"/>
                    <a:pt x="696423" y="61893"/>
                    <a:pt x="756801" y="41767"/>
                  </a:cubicBezTo>
                  <a:cubicBezTo>
                    <a:pt x="817179" y="21641"/>
                    <a:pt x="876366" y="7358"/>
                    <a:pt x="932957" y="216"/>
                  </a:cubicBezTo>
                  <a:lnTo>
                    <a:pt x="934688" y="0"/>
                  </a:lnTo>
                  <a:lnTo>
                    <a:pt x="935013" y="1731"/>
                  </a:lnTo>
                  <a:cubicBezTo>
                    <a:pt x="970612" y="229934"/>
                    <a:pt x="997230" y="400679"/>
                    <a:pt x="1013461" y="505205"/>
                  </a:cubicBezTo>
                  <a:lnTo>
                    <a:pt x="1013786" y="507260"/>
                  </a:lnTo>
                  <a:lnTo>
                    <a:pt x="1012162" y="506070"/>
                  </a:lnTo>
                  <a:cubicBezTo>
                    <a:pt x="973317" y="477937"/>
                    <a:pt x="936744" y="472527"/>
                    <a:pt x="914021" y="471445"/>
                  </a:cubicBezTo>
                  <a:cubicBezTo>
                    <a:pt x="902444" y="470904"/>
                    <a:pt x="893895" y="471770"/>
                    <a:pt x="888161" y="472202"/>
                  </a:cubicBezTo>
                  <a:cubicBezTo>
                    <a:pt x="882967" y="472960"/>
                    <a:pt x="880154" y="473176"/>
                    <a:pt x="880154" y="473176"/>
                  </a:cubicBezTo>
                  <a:cubicBezTo>
                    <a:pt x="880154" y="473176"/>
                    <a:pt x="882967" y="472635"/>
                    <a:pt x="888593" y="471878"/>
                  </a:cubicBezTo>
                  <a:cubicBezTo>
                    <a:pt x="894220" y="471337"/>
                    <a:pt x="902876" y="470363"/>
                    <a:pt x="914454" y="470688"/>
                  </a:cubicBezTo>
                  <a:cubicBezTo>
                    <a:pt x="937177" y="471445"/>
                    <a:pt x="974183" y="476639"/>
                    <a:pt x="1013569" y="504772"/>
                  </a:cubicBezTo>
                  <a:lnTo>
                    <a:pt x="1012271" y="505637"/>
                  </a:lnTo>
                  <a:cubicBezTo>
                    <a:pt x="995607" y="401221"/>
                    <a:pt x="968340" y="230475"/>
                    <a:pt x="931875" y="2489"/>
                  </a:cubicBezTo>
                  <a:lnTo>
                    <a:pt x="933823" y="4003"/>
                  </a:lnTo>
                  <a:cubicBezTo>
                    <a:pt x="877556" y="11253"/>
                    <a:pt x="818802" y="25536"/>
                    <a:pt x="758532" y="45770"/>
                  </a:cubicBezTo>
                  <a:cubicBezTo>
                    <a:pt x="698371" y="66004"/>
                    <a:pt x="636803" y="92298"/>
                    <a:pt x="575559" y="125408"/>
                  </a:cubicBezTo>
                  <a:cubicBezTo>
                    <a:pt x="514532" y="159060"/>
                    <a:pt x="454263" y="200069"/>
                    <a:pt x="396373" y="248220"/>
                  </a:cubicBezTo>
                  <a:cubicBezTo>
                    <a:pt x="382199" y="260663"/>
                    <a:pt x="368024" y="273215"/>
                    <a:pt x="353633" y="285875"/>
                  </a:cubicBezTo>
                  <a:cubicBezTo>
                    <a:pt x="339783" y="299076"/>
                    <a:pt x="326582" y="313142"/>
                    <a:pt x="312732" y="326993"/>
                  </a:cubicBezTo>
                  <a:cubicBezTo>
                    <a:pt x="306023" y="334026"/>
                    <a:pt x="298882" y="340734"/>
                    <a:pt x="292389" y="348092"/>
                  </a:cubicBezTo>
                  <a:cubicBezTo>
                    <a:pt x="286005" y="355558"/>
                    <a:pt x="279729" y="363133"/>
                    <a:pt x="273345" y="370707"/>
                  </a:cubicBezTo>
                  <a:cubicBezTo>
                    <a:pt x="266961" y="378281"/>
                    <a:pt x="260577" y="385856"/>
                    <a:pt x="254085" y="393430"/>
                  </a:cubicBezTo>
                  <a:cubicBezTo>
                    <a:pt x="247701" y="401112"/>
                    <a:pt x="240992" y="408470"/>
                    <a:pt x="235366" y="416910"/>
                  </a:cubicBezTo>
                  <a:cubicBezTo>
                    <a:pt x="223571" y="433249"/>
                    <a:pt x="211777" y="449696"/>
                    <a:pt x="199875" y="466143"/>
                  </a:cubicBezTo>
                  <a:lnTo>
                    <a:pt x="190894" y="478586"/>
                  </a:lnTo>
                  <a:lnTo>
                    <a:pt x="182887" y="491679"/>
                  </a:lnTo>
                  <a:cubicBezTo>
                    <a:pt x="177585" y="500444"/>
                    <a:pt x="172175" y="509316"/>
                    <a:pt x="166873" y="518081"/>
                  </a:cubicBezTo>
                  <a:cubicBezTo>
                    <a:pt x="161462" y="526954"/>
                    <a:pt x="156160" y="535826"/>
                    <a:pt x="150750" y="544699"/>
                  </a:cubicBezTo>
                  <a:cubicBezTo>
                    <a:pt x="148045" y="549135"/>
                    <a:pt x="145232" y="553572"/>
                    <a:pt x="142743" y="558116"/>
                  </a:cubicBezTo>
                  <a:lnTo>
                    <a:pt x="135710" y="572183"/>
                  </a:lnTo>
                  <a:cubicBezTo>
                    <a:pt x="126296" y="590902"/>
                    <a:pt x="116774" y="609730"/>
                    <a:pt x="107252" y="628774"/>
                  </a:cubicBezTo>
                  <a:cubicBezTo>
                    <a:pt x="70679" y="705382"/>
                    <a:pt x="41789" y="788374"/>
                    <a:pt x="24909" y="875695"/>
                  </a:cubicBezTo>
                  <a:cubicBezTo>
                    <a:pt x="22853" y="886624"/>
                    <a:pt x="20797" y="897552"/>
                    <a:pt x="18741" y="908589"/>
                  </a:cubicBezTo>
                  <a:cubicBezTo>
                    <a:pt x="16685" y="919626"/>
                    <a:pt x="15712" y="930771"/>
                    <a:pt x="14088" y="941916"/>
                  </a:cubicBezTo>
                  <a:cubicBezTo>
                    <a:pt x="10626" y="964098"/>
                    <a:pt x="9436" y="986712"/>
                    <a:pt x="7488" y="1009327"/>
                  </a:cubicBezTo>
                  <a:cubicBezTo>
                    <a:pt x="5324" y="1054665"/>
                    <a:pt x="4675" y="1100651"/>
                    <a:pt x="8895" y="1146638"/>
                  </a:cubicBezTo>
                  <a:cubicBezTo>
                    <a:pt x="15712" y="1238936"/>
                    <a:pt x="36378" y="1331559"/>
                    <a:pt x="67758" y="1421801"/>
                  </a:cubicBezTo>
                  <a:lnTo>
                    <a:pt x="64620" y="1419961"/>
                  </a:lnTo>
                  <a:cubicBezTo>
                    <a:pt x="117640" y="1411630"/>
                    <a:pt x="172283" y="1402973"/>
                    <a:pt x="227250" y="1394317"/>
                  </a:cubicBezTo>
                  <a:cubicBezTo>
                    <a:pt x="329287" y="1378195"/>
                    <a:pt x="429917" y="1362397"/>
                    <a:pt x="525028" y="1347357"/>
                  </a:cubicBezTo>
                  <a:lnTo>
                    <a:pt x="531736" y="1346275"/>
                  </a:lnTo>
                  <a:lnTo>
                    <a:pt x="527733" y="1351685"/>
                  </a:lnTo>
                  <a:cubicBezTo>
                    <a:pt x="505876" y="1381333"/>
                    <a:pt x="493973" y="1417689"/>
                    <a:pt x="493757" y="1453938"/>
                  </a:cubicBezTo>
                  <a:cubicBezTo>
                    <a:pt x="493540" y="1472116"/>
                    <a:pt x="496570" y="1490078"/>
                    <a:pt x="501872" y="1507282"/>
                  </a:cubicBezTo>
                  <a:cubicBezTo>
                    <a:pt x="504253" y="1516047"/>
                    <a:pt x="508040" y="1524162"/>
                    <a:pt x="511611" y="1532385"/>
                  </a:cubicBezTo>
                  <a:cubicBezTo>
                    <a:pt x="515939" y="1540176"/>
                    <a:pt x="520051" y="1548183"/>
                    <a:pt x="525461" y="1555433"/>
                  </a:cubicBezTo>
                  <a:cubicBezTo>
                    <a:pt x="545695" y="1584973"/>
                    <a:pt x="575451" y="1607154"/>
                    <a:pt x="608345" y="1619490"/>
                  </a:cubicBezTo>
                  <a:cubicBezTo>
                    <a:pt x="624900" y="1625333"/>
                    <a:pt x="642213" y="1629012"/>
                    <a:pt x="659634" y="1630094"/>
                  </a:cubicBezTo>
                  <a:cubicBezTo>
                    <a:pt x="677054" y="1630635"/>
                    <a:pt x="694475" y="1629228"/>
                    <a:pt x="711247" y="1625008"/>
                  </a:cubicBezTo>
                  <a:cubicBezTo>
                    <a:pt x="727910" y="1620464"/>
                    <a:pt x="744141" y="1614296"/>
                    <a:pt x="758749" y="1605315"/>
                  </a:cubicBezTo>
                  <a:cubicBezTo>
                    <a:pt x="773248" y="1596226"/>
                    <a:pt x="786773" y="1585622"/>
                    <a:pt x="798135" y="1573070"/>
                  </a:cubicBezTo>
                  <a:cubicBezTo>
                    <a:pt x="809280" y="1560302"/>
                    <a:pt x="819126" y="1546452"/>
                    <a:pt x="826376" y="1531303"/>
                  </a:cubicBezTo>
                  <a:cubicBezTo>
                    <a:pt x="833409" y="1516047"/>
                    <a:pt x="838928" y="1500141"/>
                    <a:pt x="841416" y="1483694"/>
                  </a:cubicBezTo>
                  <a:cubicBezTo>
                    <a:pt x="843689" y="1467355"/>
                    <a:pt x="844771" y="1450583"/>
                    <a:pt x="842390" y="1434353"/>
                  </a:cubicBezTo>
                  <a:cubicBezTo>
                    <a:pt x="840767" y="1418014"/>
                    <a:pt x="836223" y="1402108"/>
                    <a:pt x="829947" y="1387176"/>
                  </a:cubicBezTo>
                  <a:cubicBezTo>
                    <a:pt x="817179" y="1357311"/>
                    <a:pt x="795754" y="1331559"/>
                    <a:pt x="770002" y="1313597"/>
                  </a:cubicBezTo>
                  <a:lnTo>
                    <a:pt x="764700" y="1309918"/>
                  </a:lnTo>
                  <a:lnTo>
                    <a:pt x="770976" y="1308944"/>
                  </a:lnTo>
                  <a:cubicBezTo>
                    <a:pt x="897142" y="1289143"/>
                    <a:pt x="1018005" y="1270099"/>
                    <a:pt x="1131187" y="1252353"/>
                  </a:cubicBezTo>
                  <a:lnTo>
                    <a:pt x="1129239" y="1255059"/>
                  </a:lnTo>
                  <a:cubicBezTo>
                    <a:pt x="1100132" y="1069272"/>
                    <a:pt x="1073514" y="900041"/>
                    <a:pt x="1050250" y="751910"/>
                  </a:cubicBezTo>
                  <a:lnTo>
                    <a:pt x="1053713" y="752667"/>
                  </a:lnTo>
                  <a:cubicBezTo>
                    <a:pt x="1037915" y="775390"/>
                    <a:pt x="1017140" y="793352"/>
                    <a:pt x="994417" y="806228"/>
                  </a:cubicBezTo>
                  <a:cubicBezTo>
                    <a:pt x="971586" y="818888"/>
                    <a:pt x="946591" y="826138"/>
                    <a:pt x="921920" y="827761"/>
                  </a:cubicBezTo>
                  <a:cubicBezTo>
                    <a:pt x="872471" y="831764"/>
                    <a:pt x="825727" y="814127"/>
                    <a:pt x="792833" y="786102"/>
                  </a:cubicBezTo>
                  <a:cubicBezTo>
                    <a:pt x="759831" y="757969"/>
                    <a:pt x="739380" y="720639"/>
                    <a:pt x="732780" y="684282"/>
                  </a:cubicBezTo>
                  <a:cubicBezTo>
                    <a:pt x="729209" y="666212"/>
                    <a:pt x="728235" y="648359"/>
                    <a:pt x="730183" y="631587"/>
                  </a:cubicBezTo>
                  <a:cubicBezTo>
                    <a:pt x="730616" y="623147"/>
                    <a:pt x="732671" y="615140"/>
                    <a:pt x="734186" y="607349"/>
                  </a:cubicBezTo>
                  <a:cubicBezTo>
                    <a:pt x="736459" y="599667"/>
                    <a:pt x="738298" y="592092"/>
                    <a:pt x="741220" y="585167"/>
                  </a:cubicBezTo>
                  <a:cubicBezTo>
                    <a:pt x="752365" y="556926"/>
                    <a:pt x="768812" y="534961"/>
                    <a:pt x="785691" y="519163"/>
                  </a:cubicBezTo>
                  <a:cubicBezTo>
                    <a:pt x="802679" y="503257"/>
                    <a:pt x="819992" y="493519"/>
                    <a:pt x="834275" y="487026"/>
                  </a:cubicBezTo>
                  <a:cubicBezTo>
                    <a:pt x="837954" y="485511"/>
                    <a:pt x="841308" y="483997"/>
                    <a:pt x="844554" y="482698"/>
                  </a:cubicBezTo>
                  <a:cubicBezTo>
                    <a:pt x="847800" y="481508"/>
                    <a:pt x="850938" y="480642"/>
                    <a:pt x="853752" y="479777"/>
                  </a:cubicBezTo>
                  <a:cubicBezTo>
                    <a:pt x="859487" y="477937"/>
                    <a:pt x="864248" y="476531"/>
                    <a:pt x="868251" y="475881"/>
                  </a:cubicBezTo>
                  <a:cubicBezTo>
                    <a:pt x="876042" y="473825"/>
                    <a:pt x="880154" y="473176"/>
                    <a:pt x="880154" y="47317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37746D62-6E2C-4715-8657-1D9A2B388371}"/>
                </a:ext>
              </a:extLst>
            </p:cNvPr>
            <p:cNvSpPr/>
            <p:nvPr/>
          </p:nvSpPr>
          <p:spPr>
            <a:xfrm flipH="1">
              <a:off x="3849122" y="4122217"/>
              <a:ext cx="604182" cy="97634"/>
            </a:xfrm>
            <a:custGeom>
              <a:avLst/>
              <a:gdLst>
                <a:gd name="connsiteX0" fmla="*/ 4869 w 548161"/>
                <a:gd name="connsiteY0" fmla="*/ 76248 h 88581"/>
                <a:gd name="connsiteX1" fmla="*/ 200827 w 548161"/>
                <a:gd name="connsiteY1" fmla="*/ 78953 h 88581"/>
                <a:gd name="connsiteX2" fmla="*/ 250276 w 548161"/>
                <a:gd name="connsiteY2" fmla="*/ 64562 h 88581"/>
                <a:gd name="connsiteX3" fmla="*/ 317795 w 548161"/>
                <a:gd name="connsiteY3" fmla="*/ 63480 h 88581"/>
                <a:gd name="connsiteX4" fmla="*/ 439849 w 548161"/>
                <a:gd name="connsiteY4" fmla="*/ 64345 h 88581"/>
                <a:gd name="connsiteX5" fmla="*/ 548161 w 548161"/>
                <a:gd name="connsiteY5" fmla="*/ 12948 h 88581"/>
                <a:gd name="connsiteX6" fmla="*/ 0 w 548161"/>
                <a:gd name="connsiteY6" fmla="*/ 42488 h 88581"/>
                <a:gd name="connsiteX7" fmla="*/ 3571 w 548161"/>
                <a:gd name="connsiteY7" fmla="*/ 76031 h 8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8161" h="88581">
                  <a:moveTo>
                    <a:pt x="4869" y="76248"/>
                  </a:moveTo>
                  <a:cubicBezTo>
                    <a:pt x="69900" y="86527"/>
                    <a:pt x="137419" y="96590"/>
                    <a:pt x="200827" y="78953"/>
                  </a:cubicBezTo>
                  <a:cubicBezTo>
                    <a:pt x="217382" y="74300"/>
                    <a:pt x="233396" y="67808"/>
                    <a:pt x="250276" y="64562"/>
                  </a:cubicBezTo>
                  <a:cubicBezTo>
                    <a:pt x="272458" y="60342"/>
                    <a:pt x="295289" y="61748"/>
                    <a:pt x="317795" y="63480"/>
                  </a:cubicBezTo>
                  <a:cubicBezTo>
                    <a:pt x="358480" y="66509"/>
                    <a:pt x="399489" y="69972"/>
                    <a:pt x="439849" y="64345"/>
                  </a:cubicBezTo>
                  <a:cubicBezTo>
                    <a:pt x="480209" y="58719"/>
                    <a:pt x="520570" y="42921"/>
                    <a:pt x="548161" y="12948"/>
                  </a:cubicBezTo>
                  <a:cubicBezTo>
                    <a:pt x="365730" y="-11398"/>
                    <a:pt x="178753" y="-1335"/>
                    <a:pt x="0" y="42488"/>
                  </a:cubicBezTo>
                  <a:cubicBezTo>
                    <a:pt x="0" y="42488"/>
                    <a:pt x="4869" y="76248"/>
                    <a:pt x="3571" y="76031"/>
                  </a:cubicBezTo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830D3262-926E-417A-BBAD-C9E7042B85CE}"/>
                </a:ext>
              </a:extLst>
            </p:cNvPr>
            <p:cNvSpPr/>
            <p:nvPr/>
          </p:nvSpPr>
          <p:spPr>
            <a:xfrm flipH="1">
              <a:off x="3340159" y="3093254"/>
              <a:ext cx="128140" cy="195638"/>
            </a:xfrm>
            <a:custGeom>
              <a:avLst/>
              <a:gdLst>
                <a:gd name="connsiteX0" fmla="*/ 89903 w 116259"/>
                <a:gd name="connsiteY0" fmla="*/ 177498 h 177498"/>
                <a:gd name="connsiteX1" fmla="*/ 114248 w 116259"/>
                <a:gd name="connsiteY1" fmla="*/ 148499 h 177498"/>
                <a:gd name="connsiteX2" fmla="*/ 110894 w 116259"/>
                <a:gd name="connsiteY2" fmla="*/ 121557 h 177498"/>
                <a:gd name="connsiteX3" fmla="*/ 105376 w 116259"/>
                <a:gd name="connsiteY3" fmla="*/ 116688 h 177498"/>
                <a:gd name="connsiteX4" fmla="*/ 103536 w 116259"/>
                <a:gd name="connsiteY4" fmla="*/ 74163 h 177498"/>
                <a:gd name="connsiteX5" fmla="*/ 97044 w 116259"/>
                <a:gd name="connsiteY5" fmla="*/ 34344 h 177498"/>
                <a:gd name="connsiteX6" fmla="*/ 95313 w 116259"/>
                <a:gd name="connsiteY6" fmla="*/ 4372 h 177498"/>
                <a:gd name="connsiteX7" fmla="*/ 52680 w 116259"/>
                <a:gd name="connsiteY7" fmla="*/ 5562 h 177498"/>
                <a:gd name="connsiteX8" fmla="*/ 8750 w 116259"/>
                <a:gd name="connsiteY8" fmla="*/ 29367 h 177498"/>
                <a:gd name="connsiteX9" fmla="*/ 18163 w 116259"/>
                <a:gd name="connsiteY9" fmla="*/ 47437 h 177498"/>
                <a:gd name="connsiteX10" fmla="*/ 31905 w 116259"/>
                <a:gd name="connsiteY10" fmla="*/ 49060 h 177498"/>
                <a:gd name="connsiteX11" fmla="*/ 93 w 116259"/>
                <a:gd name="connsiteY11" fmla="*/ 66914 h 177498"/>
                <a:gd name="connsiteX12" fmla="*/ 15891 w 116259"/>
                <a:gd name="connsiteY12" fmla="*/ 88230 h 177498"/>
                <a:gd name="connsiteX13" fmla="*/ 10048 w 116259"/>
                <a:gd name="connsiteY13" fmla="*/ 103162 h 177498"/>
                <a:gd name="connsiteX14" fmla="*/ 28551 w 116259"/>
                <a:gd name="connsiteY14" fmla="*/ 116038 h 177498"/>
                <a:gd name="connsiteX15" fmla="*/ 45755 w 116259"/>
                <a:gd name="connsiteY15" fmla="*/ 113225 h 177498"/>
                <a:gd name="connsiteX16" fmla="*/ 37099 w 116259"/>
                <a:gd name="connsiteY16" fmla="*/ 124478 h 177498"/>
                <a:gd name="connsiteX17" fmla="*/ 51815 w 116259"/>
                <a:gd name="connsiteY17" fmla="*/ 139194 h 177498"/>
                <a:gd name="connsiteX18" fmla="*/ 85033 w 116259"/>
                <a:gd name="connsiteY18" fmla="*/ 148175 h 177498"/>
                <a:gd name="connsiteX19" fmla="*/ 89903 w 116259"/>
                <a:gd name="connsiteY19" fmla="*/ 177498 h 17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259" h="177498">
                  <a:moveTo>
                    <a:pt x="89903" y="177498"/>
                  </a:moveTo>
                  <a:cubicBezTo>
                    <a:pt x="89903" y="177498"/>
                    <a:pt x="110570" y="158021"/>
                    <a:pt x="114248" y="148499"/>
                  </a:cubicBezTo>
                  <a:cubicBezTo>
                    <a:pt x="117927" y="138869"/>
                    <a:pt x="116412" y="126534"/>
                    <a:pt x="110894" y="121557"/>
                  </a:cubicBezTo>
                  <a:cubicBezTo>
                    <a:pt x="105376" y="116688"/>
                    <a:pt x="105376" y="116688"/>
                    <a:pt x="105376" y="116688"/>
                  </a:cubicBezTo>
                  <a:cubicBezTo>
                    <a:pt x="105376" y="116688"/>
                    <a:pt x="114898" y="86715"/>
                    <a:pt x="103536" y="74163"/>
                  </a:cubicBezTo>
                  <a:cubicBezTo>
                    <a:pt x="103536" y="74163"/>
                    <a:pt x="113275" y="45598"/>
                    <a:pt x="97044" y="34344"/>
                  </a:cubicBezTo>
                  <a:cubicBezTo>
                    <a:pt x="97044" y="34344"/>
                    <a:pt x="108189" y="11946"/>
                    <a:pt x="95313" y="4372"/>
                  </a:cubicBezTo>
                  <a:cubicBezTo>
                    <a:pt x="82436" y="-3094"/>
                    <a:pt x="62527" y="152"/>
                    <a:pt x="52680" y="5562"/>
                  </a:cubicBezTo>
                  <a:cubicBezTo>
                    <a:pt x="42834" y="10972"/>
                    <a:pt x="8641" y="23091"/>
                    <a:pt x="8750" y="29367"/>
                  </a:cubicBezTo>
                  <a:cubicBezTo>
                    <a:pt x="8750" y="29367"/>
                    <a:pt x="8858" y="46247"/>
                    <a:pt x="18163" y="47437"/>
                  </a:cubicBezTo>
                  <a:cubicBezTo>
                    <a:pt x="27469" y="48627"/>
                    <a:pt x="31905" y="49060"/>
                    <a:pt x="31905" y="49060"/>
                  </a:cubicBezTo>
                  <a:cubicBezTo>
                    <a:pt x="31905" y="49060"/>
                    <a:pt x="742" y="59123"/>
                    <a:pt x="93" y="66914"/>
                  </a:cubicBezTo>
                  <a:cubicBezTo>
                    <a:pt x="-556" y="74813"/>
                    <a:pt x="1933" y="89312"/>
                    <a:pt x="15891" y="88230"/>
                  </a:cubicBezTo>
                  <a:cubicBezTo>
                    <a:pt x="15891" y="88230"/>
                    <a:pt x="6152" y="96562"/>
                    <a:pt x="10048" y="103162"/>
                  </a:cubicBezTo>
                  <a:cubicBezTo>
                    <a:pt x="13943" y="109762"/>
                    <a:pt x="20003" y="117770"/>
                    <a:pt x="28551" y="116038"/>
                  </a:cubicBezTo>
                  <a:cubicBezTo>
                    <a:pt x="37099" y="114307"/>
                    <a:pt x="45755" y="113225"/>
                    <a:pt x="45755" y="113225"/>
                  </a:cubicBezTo>
                  <a:cubicBezTo>
                    <a:pt x="45755" y="113225"/>
                    <a:pt x="33636" y="118527"/>
                    <a:pt x="37099" y="124478"/>
                  </a:cubicBezTo>
                  <a:cubicBezTo>
                    <a:pt x="40562" y="130429"/>
                    <a:pt x="40670" y="136814"/>
                    <a:pt x="51815" y="139194"/>
                  </a:cubicBezTo>
                  <a:cubicBezTo>
                    <a:pt x="62852" y="141466"/>
                    <a:pt x="85033" y="148175"/>
                    <a:pt x="85033" y="148175"/>
                  </a:cubicBezTo>
                  <a:lnTo>
                    <a:pt x="89903" y="177498"/>
                  </a:lnTo>
                  <a:close/>
                </a:path>
              </a:pathLst>
            </a:custGeom>
            <a:solidFill>
              <a:srgbClr val="D08979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BB066777-32A7-4EE5-B081-CBBBF5FB5BD9}"/>
                </a:ext>
              </a:extLst>
            </p:cNvPr>
            <p:cNvSpPr/>
            <p:nvPr/>
          </p:nvSpPr>
          <p:spPr>
            <a:xfrm flipH="1">
              <a:off x="3350829" y="3207079"/>
              <a:ext cx="66219" cy="15775"/>
            </a:xfrm>
            <a:custGeom>
              <a:avLst/>
              <a:gdLst>
                <a:gd name="connsiteX0" fmla="*/ 12 w 60079"/>
                <a:gd name="connsiteY0" fmla="*/ 10171 h 14312"/>
                <a:gd name="connsiteX1" fmla="*/ 8668 w 60079"/>
                <a:gd name="connsiteY1" fmla="*/ 6384 h 14312"/>
                <a:gd name="connsiteX2" fmla="*/ 30634 w 60079"/>
                <a:gd name="connsiteY2" fmla="*/ 2921 h 14312"/>
                <a:gd name="connsiteX3" fmla="*/ 51950 w 60079"/>
                <a:gd name="connsiteY3" fmla="*/ 9413 h 14312"/>
                <a:gd name="connsiteX4" fmla="*/ 60065 w 60079"/>
                <a:gd name="connsiteY4" fmla="*/ 14283 h 14312"/>
                <a:gd name="connsiteX5" fmla="*/ 53032 w 60079"/>
                <a:gd name="connsiteY5" fmla="*/ 7682 h 14312"/>
                <a:gd name="connsiteX6" fmla="*/ 30959 w 60079"/>
                <a:gd name="connsiteY6" fmla="*/ 108 h 14312"/>
                <a:gd name="connsiteX7" fmla="*/ 8019 w 60079"/>
                <a:gd name="connsiteY7" fmla="*/ 4544 h 14312"/>
                <a:gd name="connsiteX8" fmla="*/ 12 w 60079"/>
                <a:gd name="connsiteY8" fmla="*/ 10171 h 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079" h="14312">
                  <a:moveTo>
                    <a:pt x="12" y="10171"/>
                  </a:moveTo>
                  <a:cubicBezTo>
                    <a:pt x="228" y="10495"/>
                    <a:pt x="3366" y="8548"/>
                    <a:pt x="8668" y="6384"/>
                  </a:cubicBezTo>
                  <a:cubicBezTo>
                    <a:pt x="13970" y="4328"/>
                    <a:pt x="21869" y="2380"/>
                    <a:pt x="30634" y="2921"/>
                  </a:cubicBezTo>
                  <a:cubicBezTo>
                    <a:pt x="39398" y="3570"/>
                    <a:pt x="46864" y="6492"/>
                    <a:pt x="51950" y="9413"/>
                  </a:cubicBezTo>
                  <a:cubicBezTo>
                    <a:pt x="57035" y="12227"/>
                    <a:pt x="59741" y="14607"/>
                    <a:pt x="60065" y="14283"/>
                  </a:cubicBezTo>
                  <a:cubicBezTo>
                    <a:pt x="60282" y="14066"/>
                    <a:pt x="58010" y="11037"/>
                    <a:pt x="53032" y="7682"/>
                  </a:cubicBezTo>
                  <a:cubicBezTo>
                    <a:pt x="48055" y="4328"/>
                    <a:pt x="40156" y="757"/>
                    <a:pt x="30959" y="108"/>
                  </a:cubicBezTo>
                  <a:cubicBezTo>
                    <a:pt x="21653" y="-541"/>
                    <a:pt x="13321" y="1839"/>
                    <a:pt x="8019" y="4544"/>
                  </a:cubicBezTo>
                  <a:cubicBezTo>
                    <a:pt x="2501" y="7249"/>
                    <a:pt x="-204" y="9955"/>
                    <a:pt x="12" y="10171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2AD4A0DA-B8E1-4F1E-878A-227A3E904903}"/>
                </a:ext>
              </a:extLst>
            </p:cNvPr>
            <p:cNvSpPr/>
            <p:nvPr/>
          </p:nvSpPr>
          <p:spPr>
            <a:xfrm flipH="1">
              <a:off x="3354660" y="3170204"/>
              <a:ext cx="95174" cy="20353"/>
            </a:xfrm>
            <a:custGeom>
              <a:avLst/>
              <a:gdLst>
                <a:gd name="connsiteX0" fmla="*/ 86349 w 86349"/>
                <a:gd name="connsiteY0" fmla="*/ 2509 h 18466"/>
                <a:gd name="connsiteX1" fmla="*/ 73364 w 86349"/>
                <a:gd name="connsiteY1" fmla="*/ 345 h 18466"/>
                <a:gd name="connsiteX2" fmla="*/ 41661 w 86349"/>
                <a:gd name="connsiteY2" fmla="*/ 2076 h 18466"/>
                <a:gd name="connsiteX3" fmla="*/ 11363 w 86349"/>
                <a:gd name="connsiteY3" fmla="*/ 11706 h 18466"/>
                <a:gd name="connsiteX4" fmla="*/ 2 w 86349"/>
                <a:gd name="connsiteY4" fmla="*/ 18415 h 18466"/>
                <a:gd name="connsiteX5" fmla="*/ 42094 w 86349"/>
                <a:gd name="connsiteY5" fmla="*/ 4889 h 18466"/>
                <a:gd name="connsiteX6" fmla="*/ 86349 w 86349"/>
                <a:gd name="connsiteY6" fmla="*/ 2509 h 18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349" h="18466">
                  <a:moveTo>
                    <a:pt x="86349" y="2509"/>
                  </a:moveTo>
                  <a:cubicBezTo>
                    <a:pt x="86349" y="2184"/>
                    <a:pt x="81480" y="994"/>
                    <a:pt x="73364" y="345"/>
                  </a:cubicBezTo>
                  <a:cubicBezTo>
                    <a:pt x="65249" y="-304"/>
                    <a:pt x="53888" y="-196"/>
                    <a:pt x="41661" y="2076"/>
                  </a:cubicBezTo>
                  <a:cubicBezTo>
                    <a:pt x="29434" y="4348"/>
                    <a:pt x="18722" y="8244"/>
                    <a:pt x="11363" y="11706"/>
                  </a:cubicBezTo>
                  <a:cubicBezTo>
                    <a:pt x="4006" y="15169"/>
                    <a:pt x="-106" y="18090"/>
                    <a:pt x="2" y="18415"/>
                  </a:cubicBezTo>
                  <a:cubicBezTo>
                    <a:pt x="435" y="19280"/>
                    <a:pt x="17964" y="9109"/>
                    <a:pt x="42094" y="4889"/>
                  </a:cubicBezTo>
                  <a:cubicBezTo>
                    <a:pt x="66331" y="237"/>
                    <a:pt x="86349" y="3483"/>
                    <a:pt x="86349" y="2509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B80AEEF7-4754-4986-9B14-E451E3C12B71}"/>
                </a:ext>
              </a:extLst>
            </p:cNvPr>
            <p:cNvSpPr/>
            <p:nvPr/>
          </p:nvSpPr>
          <p:spPr>
            <a:xfrm flipH="1">
              <a:off x="3361815" y="3129881"/>
              <a:ext cx="72279" cy="17285"/>
            </a:xfrm>
            <a:custGeom>
              <a:avLst/>
              <a:gdLst>
                <a:gd name="connsiteX0" fmla="*/ 65577 w 65577"/>
                <a:gd name="connsiteY0" fmla="*/ 357 h 15682"/>
                <a:gd name="connsiteX1" fmla="*/ 31818 w 65577"/>
                <a:gd name="connsiteY1" fmla="*/ 3819 h 15682"/>
                <a:gd name="connsiteX2" fmla="*/ 6 w 65577"/>
                <a:gd name="connsiteY2" fmla="*/ 15613 h 15682"/>
                <a:gd name="connsiteX3" fmla="*/ 32467 w 65577"/>
                <a:gd name="connsiteY3" fmla="*/ 6524 h 15682"/>
                <a:gd name="connsiteX4" fmla="*/ 65577 w 65577"/>
                <a:gd name="connsiteY4" fmla="*/ 357 h 15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577" h="15682">
                  <a:moveTo>
                    <a:pt x="65577" y="357"/>
                  </a:moveTo>
                  <a:cubicBezTo>
                    <a:pt x="65577" y="-293"/>
                    <a:pt x="50212" y="-509"/>
                    <a:pt x="31818" y="3819"/>
                  </a:cubicBezTo>
                  <a:cubicBezTo>
                    <a:pt x="13423" y="8039"/>
                    <a:pt x="-319" y="14964"/>
                    <a:pt x="6" y="15613"/>
                  </a:cubicBezTo>
                  <a:cubicBezTo>
                    <a:pt x="330" y="16371"/>
                    <a:pt x="14397" y="10744"/>
                    <a:pt x="32467" y="6524"/>
                  </a:cubicBezTo>
                  <a:cubicBezTo>
                    <a:pt x="50537" y="2304"/>
                    <a:pt x="65577" y="1222"/>
                    <a:pt x="65577" y="357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1E55976C-7C22-40C2-BEE2-27A2FF4D122B}"/>
                </a:ext>
              </a:extLst>
            </p:cNvPr>
            <p:cNvSpPr/>
            <p:nvPr/>
          </p:nvSpPr>
          <p:spPr>
            <a:xfrm flipH="1">
              <a:off x="3798072" y="3837618"/>
              <a:ext cx="440322" cy="289807"/>
            </a:xfrm>
            <a:custGeom>
              <a:avLst/>
              <a:gdLst>
                <a:gd name="connsiteX0" fmla="*/ 44364 w 399494"/>
                <a:gd name="connsiteY0" fmla="*/ 136229 h 262935"/>
                <a:gd name="connsiteX1" fmla="*/ 121838 w 399494"/>
                <a:gd name="connsiteY1" fmla="*/ 62975 h 262935"/>
                <a:gd name="connsiteX2" fmla="*/ 206453 w 399494"/>
                <a:gd name="connsiteY2" fmla="*/ 0 h 262935"/>
                <a:gd name="connsiteX3" fmla="*/ 210565 w 399494"/>
                <a:gd name="connsiteY3" fmla="*/ 24454 h 262935"/>
                <a:gd name="connsiteX4" fmla="*/ 173992 w 399494"/>
                <a:gd name="connsiteY4" fmla="*/ 69359 h 262935"/>
                <a:gd name="connsiteX5" fmla="*/ 174208 w 399494"/>
                <a:gd name="connsiteY5" fmla="*/ 99764 h 262935"/>
                <a:gd name="connsiteX6" fmla="*/ 338678 w 399494"/>
                <a:gd name="connsiteY6" fmla="*/ 114263 h 262935"/>
                <a:gd name="connsiteX7" fmla="*/ 367785 w 399494"/>
                <a:gd name="connsiteY7" fmla="*/ 135471 h 262935"/>
                <a:gd name="connsiteX8" fmla="*/ 391049 w 399494"/>
                <a:gd name="connsiteY8" fmla="*/ 151486 h 262935"/>
                <a:gd name="connsiteX9" fmla="*/ 369625 w 399494"/>
                <a:gd name="connsiteY9" fmla="*/ 169664 h 262935"/>
                <a:gd name="connsiteX10" fmla="*/ 399056 w 399494"/>
                <a:gd name="connsiteY10" fmla="*/ 183298 h 262935"/>
                <a:gd name="connsiteX11" fmla="*/ 359778 w 399494"/>
                <a:gd name="connsiteY11" fmla="*/ 207968 h 262935"/>
                <a:gd name="connsiteX12" fmla="*/ 245623 w 399494"/>
                <a:gd name="connsiteY12" fmla="*/ 252981 h 262935"/>
                <a:gd name="connsiteX13" fmla="*/ 22615 w 399494"/>
                <a:gd name="connsiteY13" fmla="*/ 262936 h 262935"/>
                <a:gd name="connsiteX14" fmla="*/ 0 w 399494"/>
                <a:gd name="connsiteY14" fmla="*/ 148348 h 262935"/>
                <a:gd name="connsiteX15" fmla="*/ 44364 w 399494"/>
                <a:gd name="connsiteY15" fmla="*/ 136229 h 26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9494" h="262935">
                  <a:moveTo>
                    <a:pt x="44364" y="136229"/>
                  </a:moveTo>
                  <a:cubicBezTo>
                    <a:pt x="44364" y="136229"/>
                    <a:pt x="105499" y="82668"/>
                    <a:pt x="121838" y="62975"/>
                  </a:cubicBezTo>
                  <a:cubicBezTo>
                    <a:pt x="138285" y="43390"/>
                    <a:pt x="206453" y="0"/>
                    <a:pt x="206453" y="0"/>
                  </a:cubicBezTo>
                  <a:cubicBezTo>
                    <a:pt x="206453" y="0"/>
                    <a:pt x="216408" y="6059"/>
                    <a:pt x="210565" y="24454"/>
                  </a:cubicBezTo>
                  <a:cubicBezTo>
                    <a:pt x="208725" y="30081"/>
                    <a:pt x="173992" y="69359"/>
                    <a:pt x="173992" y="69359"/>
                  </a:cubicBezTo>
                  <a:cubicBezTo>
                    <a:pt x="173992" y="69359"/>
                    <a:pt x="162198" y="95436"/>
                    <a:pt x="174208" y="99764"/>
                  </a:cubicBezTo>
                  <a:cubicBezTo>
                    <a:pt x="186327" y="104092"/>
                    <a:pt x="338678" y="114263"/>
                    <a:pt x="338678" y="114263"/>
                  </a:cubicBezTo>
                  <a:cubicBezTo>
                    <a:pt x="371356" y="116536"/>
                    <a:pt x="367785" y="135471"/>
                    <a:pt x="367785" y="135471"/>
                  </a:cubicBezTo>
                  <a:cubicBezTo>
                    <a:pt x="367785" y="135471"/>
                    <a:pt x="390184" y="136229"/>
                    <a:pt x="391049" y="151486"/>
                  </a:cubicBezTo>
                  <a:cubicBezTo>
                    <a:pt x="391590" y="161224"/>
                    <a:pt x="369625" y="169664"/>
                    <a:pt x="369625" y="169664"/>
                  </a:cubicBezTo>
                  <a:cubicBezTo>
                    <a:pt x="369625" y="169664"/>
                    <a:pt x="393754" y="166418"/>
                    <a:pt x="399056" y="183298"/>
                  </a:cubicBezTo>
                  <a:cubicBezTo>
                    <a:pt x="404358" y="200177"/>
                    <a:pt x="359778" y="207968"/>
                    <a:pt x="359778" y="207968"/>
                  </a:cubicBezTo>
                  <a:cubicBezTo>
                    <a:pt x="353719" y="231665"/>
                    <a:pt x="268346" y="247895"/>
                    <a:pt x="245623" y="252981"/>
                  </a:cubicBezTo>
                  <a:cubicBezTo>
                    <a:pt x="222900" y="258067"/>
                    <a:pt x="22615" y="262936"/>
                    <a:pt x="22615" y="262936"/>
                  </a:cubicBezTo>
                  <a:lnTo>
                    <a:pt x="0" y="148348"/>
                  </a:lnTo>
                  <a:lnTo>
                    <a:pt x="44364" y="136229"/>
                  </a:lnTo>
                  <a:close/>
                </a:path>
              </a:pathLst>
            </a:custGeom>
            <a:solidFill>
              <a:srgbClr val="D08979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21701E05-CB39-4815-AE7D-AB669E6EF0B3}"/>
                </a:ext>
              </a:extLst>
            </p:cNvPr>
            <p:cNvSpPr/>
            <p:nvPr/>
          </p:nvSpPr>
          <p:spPr>
            <a:xfrm flipH="1">
              <a:off x="3833021" y="3986866"/>
              <a:ext cx="178895" cy="14722"/>
            </a:xfrm>
            <a:custGeom>
              <a:avLst/>
              <a:gdLst>
                <a:gd name="connsiteX0" fmla="*/ 1 w 162307"/>
                <a:gd name="connsiteY0" fmla="*/ 8501 h 13357"/>
                <a:gd name="connsiteX1" fmla="*/ 23698 w 162307"/>
                <a:gd name="connsiteY1" fmla="*/ 12072 h 13357"/>
                <a:gd name="connsiteX2" fmla="*/ 81587 w 162307"/>
                <a:gd name="connsiteY2" fmla="*/ 12613 h 13357"/>
                <a:gd name="connsiteX3" fmla="*/ 139043 w 162307"/>
                <a:gd name="connsiteY3" fmla="*/ 5688 h 13357"/>
                <a:gd name="connsiteX4" fmla="*/ 162307 w 162307"/>
                <a:gd name="connsiteY4" fmla="*/ 169 h 13357"/>
                <a:gd name="connsiteX5" fmla="*/ 138502 w 162307"/>
                <a:gd name="connsiteY5" fmla="*/ 2658 h 13357"/>
                <a:gd name="connsiteX6" fmla="*/ 81262 w 162307"/>
                <a:gd name="connsiteY6" fmla="*/ 8285 h 13357"/>
                <a:gd name="connsiteX7" fmla="*/ 23806 w 162307"/>
                <a:gd name="connsiteY7" fmla="*/ 9042 h 13357"/>
                <a:gd name="connsiteX8" fmla="*/ 1 w 162307"/>
                <a:gd name="connsiteY8" fmla="*/ 8501 h 1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307" h="13357">
                  <a:moveTo>
                    <a:pt x="1" y="8501"/>
                  </a:moveTo>
                  <a:cubicBezTo>
                    <a:pt x="-107" y="9042"/>
                    <a:pt x="8982" y="10773"/>
                    <a:pt x="23698" y="12072"/>
                  </a:cubicBezTo>
                  <a:cubicBezTo>
                    <a:pt x="38413" y="13370"/>
                    <a:pt x="58972" y="13911"/>
                    <a:pt x="81587" y="12613"/>
                  </a:cubicBezTo>
                  <a:cubicBezTo>
                    <a:pt x="104201" y="11206"/>
                    <a:pt x="124436" y="8393"/>
                    <a:pt x="139043" y="5688"/>
                  </a:cubicBezTo>
                  <a:cubicBezTo>
                    <a:pt x="153651" y="2983"/>
                    <a:pt x="162415" y="711"/>
                    <a:pt x="162307" y="169"/>
                  </a:cubicBezTo>
                  <a:cubicBezTo>
                    <a:pt x="162199" y="-480"/>
                    <a:pt x="153110" y="819"/>
                    <a:pt x="138502" y="2658"/>
                  </a:cubicBezTo>
                  <a:cubicBezTo>
                    <a:pt x="123895" y="4498"/>
                    <a:pt x="103660" y="6878"/>
                    <a:pt x="81262" y="8285"/>
                  </a:cubicBezTo>
                  <a:cubicBezTo>
                    <a:pt x="58864" y="9583"/>
                    <a:pt x="38522" y="9583"/>
                    <a:pt x="23806" y="9042"/>
                  </a:cubicBezTo>
                  <a:cubicBezTo>
                    <a:pt x="9198" y="8501"/>
                    <a:pt x="109" y="7852"/>
                    <a:pt x="1" y="8501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0E5F5F07-A821-4094-AB47-C017B5CE5A90}"/>
                </a:ext>
              </a:extLst>
            </p:cNvPr>
            <p:cNvSpPr/>
            <p:nvPr/>
          </p:nvSpPr>
          <p:spPr>
            <a:xfrm flipH="1">
              <a:off x="3834213" y="4024435"/>
              <a:ext cx="171142" cy="17451"/>
            </a:xfrm>
            <a:custGeom>
              <a:avLst/>
              <a:gdLst>
                <a:gd name="connsiteX0" fmla="*/ 0 w 155273"/>
                <a:gd name="connsiteY0" fmla="*/ 15210 h 15833"/>
                <a:gd name="connsiteX1" fmla="*/ 22939 w 155273"/>
                <a:gd name="connsiteY1" fmla="*/ 15751 h 15833"/>
                <a:gd name="connsiteX2" fmla="*/ 78123 w 155273"/>
                <a:gd name="connsiteY2" fmla="*/ 12938 h 15833"/>
                <a:gd name="connsiteX3" fmla="*/ 132983 w 155273"/>
                <a:gd name="connsiteY3" fmla="*/ 5688 h 15833"/>
                <a:gd name="connsiteX4" fmla="*/ 155273 w 155273"/>
                <a:gd name="connsiteY4" fmla="*/ 169 h 15833"/>
                <a:gd name="connsiteX5" fmla="*/ 132550 w 155273"/>
                <a:gd name="connsiteY5" fmla="*/ 2658 h 15833"/>
                <a:gd name="connsiteX6" fmla="*/ 77799 w 155273"/>
                <a:gd name="connsiteY6" fmla="*/ 8610 h 15833"/>
                <a:gd name="connsiteX7" fmla="*/ 22831 w 155273"/>
                <a:gd name="connsiteY7" fmla="*/ 12721 h 15833"/>
                <a:gd name="connsiteX8" fmla="*/ 0 w 155273"/>
                <a:gd name="connsiteY8" fmla="*/ 15210 h 1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73" h="15833">
                  <a:moveTo>
                    <a:pt x="0" y="15210"/>
                  </a:moveTo>
                  <a:cubicBezTo>
                    <a:pt x="0" y="15751"/>
                    <a:pt x="8764" y="15967"/>
                    <a:pt x="22939" y="15751"/>
                  </a:cubicBezTo>
                  <a:cubicBezTo>
                    <a:pt x="37114" y="15426"/>
                    <a:pt x="56591" y="14777"/>
                    <a:pt x="78123" y="12938"/>
                  </a:cubicBezTo>
                  <a:cubicBezTo>
                    <a:pt x="99656" y="11098"/>
                    <a:pt x="119133" y="8393"/>
                    <a:pt x="132983" y="5688"/>
                  </a:cubicBezTo>
                  <a:cubicBezTo>
                    <a:pt x="146941" y="2983"/>
                    <a:pt x="155381" y="711"/>
                    <a:pt x="155273" y="169"/>
                  </a:cubicBezTo>
                  <a:cubicBezTo>
                    <a:pt x="155165" y="-480"/>
                    <a:pt x="146508" y="819"/>
                    <a:pt x="132550" y="2658"/>
                  </a:cubicBezTo>
                  <a:cubicBezTo>
                    <a:pt x="118592" y="4498"/>
                    <a:pt x="99223" y="6770"/>
                    <a:pt x="77799" y="8610"/>
                  </a:cubicBezTo>
                  <a:cubicBezTo>
                    <a:pt x="57132" y="10124"/>
                    <a:pt x="38304" y="11531"/>
                    <a:pt x="22831" y="12721"/>
                  </a:cubicBezTo>
                  <a:cubicBezTo>
                    <a:pt x="8656" y="13695"/>
                    <a:pt x="0" y="14669"/>
                    <a:pt x="0" y="15210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429F68C3-CC10-471A-A079-84BD2E7386E0}"/>
                </a:ext>
              </a:extLst>
            </p:cNvPr>
            <p:cNvSpPr/>
            <p:nvPr/>
          </p:nvSpPr>
          <p:spPr>
            <a:xfrm flipH="1">
              <a:off x="3841961" y="4066812"/>
              <a:ext cx="150156" cy="22446"/>
            </a:xfrm>
            <a:custGeom>
              <a:avLst/>
              <a:gdLst>
                <a:gd name="connsiteX0" fmla="*/ 0 w 136233"/>
                <a:gd name="connsiteY0" fmla="*/ 18096 h 20365"/>
                <a:gd name="connsiteX1" fmla="*/ 20234 w 136233"/>
                <a:gd name="connsiteY1" fmla="*/ 20260 h 20365"/>
                <a:gd name="connsiteX2" fmla="*/ 69142 w 136233"/>
                <a:gd name="connsiteY2" fmla="*/ 17122 h 20365"/>
                <a:gd name="connsiteX3" fmla="*/ 117077 w 136233"/>
                <a:gd name="connsiteY3" fmla="*/ 6843 h 20365"/>
                <a:gd name="connsiteX4" fmla="*/ 136229 w 136233"/>
                <a:gd name="connsiteY4" fmla="*/ 134 h 20365"/>
                <a:gd name="connsiteX5" fmla="*/ 68493 w 136233"/>
                <a:gd name="connsiteY5" fmla="*/ 12794 h 20365"/>
                <a:gd name="connsiteX6" fmla="*/ 20126 w 136233"/>
                <a:gd name="connsiteY6" fmla="*/ 17230 h 20365"/>
                <a:gd name="connsiteX7" fmla="*/ 0 w 136233"/>
                <a:gd name="connsiteY7" fmla="*/ 18096 h 2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233" h="20365">
                  <a:moveTo>
                    <a:pt x="0" y="18096"/>
                  </a:moveTo>
                  <a:cubicBezTo>
                    <a:pt x="0" y="18637"/>
                    <a:pt x="7683" y="19827"/>
                    <a:pt x="20234" y="20260"/>
                  </a:cubicBezTo>
                  <a:cubicBezTo>
                    <a:pt x="32786" y="20693"/>
                    <a:pt x="50207" y="19827"/>
                    <a:pt x="69142" y="17122"/>
                  </a:cubicBezTo>
                  <a:cubicBezTo>
                    <a:pt x="88078" y="14309"/>
                    <a:pt x="105066" y="10305"/>
                    <a:pt x="117077" y="6843"/>
                  </a:cubicBezTo>
                  <a:cubicBezTo>
                    <a:pt x="129087" y="3380"/>
                    <a:pt x="136445" y="675"/>
                    <a:pt x="136229" y="134"/>
                  </a:cubicBezTo>
                  <a:cubicBezTo>
                    <a:pt x="135904" y="-1165"/>
                    <a:pt x="106040" y="7275"/>
                    <a:pt x="68493" y="12794"/>
                  </a:cubicBezTo>
                  <a:cubicBezTo>
                    <a:pt x="49666" y="15499"/>
                    <a:pt x="32570" y="16797"/>
                    <a:pt x="20126" y="17230"/>
                  </a:cubicBezTo>
                  <a:cubicBezTo>
                    <a:pt x="7791" y="17555"/>
                    <a:pt x="108" y="17447"/>
                    <a:pt x="0" y="18096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6447EE8E-476D-492C-BC23-3C2B0FC89AC3}"/>
                </a:ext>
              </a:extLst>
            </p:cNvPr>
            <p:cNvSpPr/>
            <p:nvPr/>
          </p:nvSpPr>
          <p:spPr>
            <a:xfrm flipH="1">
              <a:off x="4197010" y="3441786"/>
              <a:ext cx="989737" cy="853771"/>
            </a:xfrm>
            <a:custGeom>
              <a:avLst/>
              <a:gdLst>
                <a:gd name="connsiteX0" fmla="*/ 125389 w 897966"/>
                <a:gd name="connsiteY0" fmla="*/ 0 h 774607"/>
                <a:gd name="connsiteX1" fmla="*/ 2361 w 897966"/>
                <a:gd name="connsiteY1" fmla="*/ 180484 h 774607"/>
                <a:gd name="connsiteX2" fmla="*/ 133397 w 897966"/>
                <a:gd name="connsiteY2" fmla="*/ 759159 h 774607"/>
                <a:gd name="connsiteX3" fmla="*/ 521308 w 897966"/>
                <a:gd name="connsiteY3" fmla="*/ 743578 h 774607"/>
                <a:gd name="connsiteX4" fmla="*/ 897966 w 897966"/>
                <a:gd name="connsiteY4" fmla="*/ 632777 h 774607"/>
                <a:gd name="connsiteX5" fmla="*/ 897966 w 897966"/>
                <a:gd name="connsiteY5" fmla="*/ 466576 h 774607"/>
                <a:gd name="connsiteX6" fmla="*/ 338660 w 897966"/>
                <a:gd name="connsiteY6" fmla="*/ 507910 h 774607"/>
                <a:gd name="connsiteX7" fmla="*/ 125389 w 897966"/>
                <a:gd name="connsiteY7" fmla="*/ 0 h 774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7966" h="774607">
                  <a:moveTo>
                    <a:pt x="125389" y="0"/>
                  </a:moveTo>
                  <a:cubicBezTo>
                    <a:pt x="125389" y="0"/>
                    <a:pt x="13615" y="66005"/>
                    <a:pt x="2361" y="180484"/>
                  </a:cubicBezTo>
                  <a:cubicBezTo>
                    <a:pt x="-8459" y="289879"/>
                    <a:pt x="15021" y="651497"/>
                    <a:pt x="133397" y="759159"/>
                  </a:cubicBezTo>
                  <a:cubicBezTo>
                    <a:pt x="160556" y="783830"/>
                    <a:pt x="345801" y="779177"/>
                    <a:pt x="521308" y="743578"/>
                  </a:cubicBezTo>
                  <a:cubicBezTo>
                    <a:pt x="714344" y="704516"/>
                    <a:pt x="897966" y="632777"/>
                    <a:pt x="897966" y="632777"/>
                  </a:cubicBezTo>
                  <a:lnTo>
                    <a:pt x="897966" y="466576"/>
                  </a:lnTo>
                  <a:lnTo>
                    <a:pt x="338660" y="507910"/>
                  </a:lnTo>
                  <a:lnTo>
                    <a:pt x="125389" y="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184A3487-346B-44E7-9D7C-15814074D28F}"/>
                </a:ext>
              </a:extLst>
            </p:cNvPr>
            <p:cNvSpPr/>
            <p:nvPr/>
          </p:nvSpPr>
          <p:spPr>
            <a:xfrm flipH="1">
              <a:off x="4197011" y="3737432"/>
              <a:ext cx="698928" cy="267153"/>
            </a:xfrm>
            <a:custGeom>
              <a:avLst/>
              <a:gdLst>
                <a:gd name="connsiteX0" fmla="*/ 634123 w 634122"/>
                <a:gd name="connsiteY0" fmla="*/ 198452 h 242382"/>
                <a:gd name="connsiteX1" fmla="*/ 625899 w 634122"/>
                <a:gd name="connsiteY1" fmla="*/ 199642 h 242382"/>
                <a:gd name="connsiteX2" fmla="*/ 602311 w 634122"/>
                <a:gd name="connsiteY2" fmla="*/ 201914 h 242382"/>
                <a:gd name="connsiteX3" fmla="*/ 515639 w 634122"/>
                <a:gd name="connsiteY3" fmla="*/ 209164 h 242382"/>
                <a:gd name="connsiteX4" fmla="*/ 229332 w 634122"/>
                <a:gd name="connsiteY4" fmla="*/ 231129 h 242382"/>
                <a:gd name="connsiteX5" fmla="*/ 74925 w 634122"/>
                <a:gd name="connsiteY5" fmla="*/ 242274 h 242382"/>
                <a:gd name="connsiteX6" fmla="*/ 72869 w 634122"/>
                <a:gd name="connsiteY6" fmla="*/ 242382 h 242382"/>
                <a:gd name="connsiteX7" fmla="*/ 72219 w 634122"/>
                <a:gd name="connsiteY7" fmla="*/ 240435 h 242382"/>
                <a:gd name="connsiteX8" fmla="*/ 43978 w 634122"/>
                <a:gd name="connsiteY8" fmla="*/ 142835 h 242382"/>
                <a:gd name="connsiteX9" fmla="*/ 23203 w 634122"/>
                <a:gd name="connsiteY9" fmla="*/ 66334 h 242382"/>
                <a:gd name="connsiteX10" fmla="*/ 5999 w 634122"/>
                <a:gd name="connsiteY10" fmla="*/ 17534 h 242382"/>
                <a:gd name="connsiteX11" fmla="*/ 1346 w 634122"/>
                <a:gd name="connsiteY11" fmla="*/ 4550 h 242382"/>
                <a:gd name="connsiteX12" fmla="*/ 47 w 634122"/>
                <a:gd name="connsiteY12" fmla="*/ 5 h 242382"/>
                <a:gd name="connsiteX13" fmla="*/ 2211 w 634122"/>
                <a:gd name="connsiteY13" fmla="*/ 4225 h 242382"/>
                <a:gd name="connsiteX14" fmla="*/ 7622 w 634122"/>
                <a:gd name="connsiteY14" fmla="*/ 16885 h 242382"/>
                <a:gd name="connsiteX15" fmla="*/ 26233 w 634122"/>
                <a:gd name="connsiteY15" fmla="*/ 65252 h 242382"/>
                <a:gd name="connsiteX16" fmla="*/ 48198 w 634122"/>
                <a:gd name="connsiteY16" fmla="*/ 141753 h 242382"/>
                <a:gd name="connsiteX17" fmla="*/ 77197 w 634122"/>
                <a:gd name="connsiteY17" fmla="*/ 238812 h 242382"/>
                <a:gd name="connsiteX18" fmla="*/ 74492 w 634122"/>
                <a:gd name="connsiteY18" fmla="*/ 237080 h 242382"/>
                <a:gd name="connsiteX19" fmla="*/ 228899 w 634122"/>
                <a:gd name="connsiteY19" fmla="*/ 225503 h 242382"/>
                <a:gd name="connsiteX20" fmla="*/ 515315 w 634122"/>
                <a:gd name="connsiteY20" fmla="*/ 205160 h 242382"/>
                <a:gd name="connsiteX21" fmla="*/ 602203 w 634122"/>
                <a:gd name="connsiteY21" fmla="*/ 199642 h 242382"/>
                <a:gd name="connsiteX22" fmla="*/ 625791 w 634122"/>
                <a:gd name="connsiteY22" fmla="*/ 198452 h 242382"/>
                <a:gd name="connsiteX23" fmla="*/ 634123 w 634122"/>
                <a:gd name="connsiteY23" fmla="*/ 198452 h 24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4122" h="242382">
                  <a:moveTo>
                    <a:pt x="634123" y="198452"/>
                  </a:moveTo>
                  <a:cubicBezTo>
                    <a:pt x="634123" y="198668"/>
                    <a:pt x="631310" y="198993"/>
                    <a:pt x="625899" y="199642"/>
                  </a:cubicBezTo>
                  <a:cubicBezTo>
                    <a:pt x="619948" y="200183"/>
                    <a:pt x="612158" y="200940"/>
                    <a:pt x="602311" y="201914"/>
                  </a:cubicBezTo>
                  <a:cubicBezTo>
                    <a:pt x="581211" y="203645"/>
                    <a:pt x="551780" y="206134"/>
                    <a:pt x="515639" y="209164"/>
                  </a:cubicBezTo>
                  <a:cubicBezTo>
                    <a:pt x="441844" y="214790"/>
                    <a:pt x="340890" y="222581"/>
                    <a:pt x="229332" y="231129"/>
                  </a:cubicBezTo>
                  <a:cubicBezTo>
                    <a:pt x="174581" y="235133"/>
                    <a:pt x="122426" y="238920"/>
                    <a:pt x="74925" y="242274"/>
                  </a:cubicBezTo>
                  <a:lnTo>
                    <a:pt x="72869" y="242382"/>
                  </a:lnTo>
                  <a:lnTo>
                    <a:pt x="72219" y="240435"/>
                  </a:lnTo>
                  <a:cubicBezTo>
                    <a:pt x="60642" y="205377"/>
                    <a:pt x="51012" y="172483"/>
                    <a:pt x="43978" y="142835"/>
                  </a:cubicBezTo>
                  <a:cubicBezTo>
                    <a:pt x="37053" y="113079"/>
                    <a:pt x="30345" y="87326"/>
                    <a:pt x="23203" y="66334"/>
                  </a:cubicBezTo>
                  <a:cubicBezTo>
                    <a:pt x="16278" y="45343"/>
                    <a:pt x="10110" y="28788"/>
                    <a:pt x="5999" y="17534"/>
                  </a:cubicBezTo>
                  <a:cubicBezTo>
                    <a:pt x="4051" y="12232"/>
                    <a:pt x="2536" y="8012"/>
                    <a:pt x="1346" y="4550"/>
                  </a:cubicBezTo>
                  <a:cubicBezTo>
                    <a:pt x="372" y="1628"/>
                    <a:pt x="-169" y="5"/>
                    <a:pt x="47" y="5"/>
                  </a:cubicBezTo>
                  <a:cubicBezTo>
                    <a:pt x="156" y="-103"/>
                    <a:pt x="913" y="1412"/>
                    <a:pt x="2211" y="4225"/>
                  </a:cubicBezTo>
                  <a:cubicBezTo>
                    <a:pt x="3618" y="7580"/>
                    <a:pt x="5458" y="11691"/>
                    <a:pt x="7622" y="16885"/>
                  </a:cubicBezTo>
                  <a:cubicBezTo>
                    <a:pt x="12274" y="28030"/>
                    <a:pt x="18875" y="44261"/>
                    <a:pt x="26233" y="65252"/>
                  </a:cubicBezTo>
                  <a:cubicBezTo>
                    <a:pt x="33807" y="86136"/>
                    <a:pt x="40948" y="112213"/>
                    <a:pt x="48198" y="141753"/>
                  </a:cubicBezTo>
                  <a:cubicBezTo>
                    <a:pt x="55664" y="171292"/>
                    <a:pt x="65511" y="203862"/>
                    <a:pt x="77197" y="238812"/>
                  </a:cubicBezTo>
                  <a:lnTo>
                    <a:pt x="74492" y="237080"/>
                  </a:lnTo>
                  <a:cubicBezTo>
                    <a:pt x="121993" y="233510"/>
                    <a:pt x="174148" y="229614"/>
                    <a:pt x="228899" y="225503"/>
                  </a:cubicBezTo>
                  <a:cubicBezTo>
                    <a:pt x="340457" y="217604"/>
                    <a:pt x="441412" y="210462"/>
                    <a:pt x="515315" y="205160"/>
                  </a:cubicBezTo>
                  <a:cubicBezTo>
                    <a:pt x="551563" y="202888"/>
                    <a:pt x="581103" y="200940"/>
                    <a:pt x="602203" y="199642"/>
                  </a:cubicBezTo>
                  <a:cubicBezTo>
                    <a:pt x="612049" y="199101"/>
                    <a:pt x="619948" y="198776"/>
                    <a:pt x="625791" y="198452"/>
                  </a:cubicBezTo>
                  <a:cubicBezTo>
                    <a:pt x="631310" y="198235"/>
                    <a:pt x="634123" y="198235"/>
                    <a:pt x="634123" y="19845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18557806-5FAA-45D3-9FB7-36EF836F0E1E}"/>
                </a:ext>
              </a:extLst>
            </p:cNvPr>
            <p:cNvSpPr/>
            <p:nvPr/>
          </p:nvSpPr>
          <p:spPr>
            <a:xfrm flipH="1">
              <a:off x="4379237" y="4194161"/>
              <a:ext cx="660598" cy="95140"/>
            </a:xfrm>
            <a:custGeom>
              <a:avLst/>
              <a:gdLst>
                <a:gd name="connsiteX0" fmla="*/ 0 w 599346"/>
                <a:gd name="connsiteY0" fmla="*/ 76547 h 86318"/>
                <a:gd name="connsiteX1" fmla="*/ 6276 w 599346"/>
                <a:gd name="connsiteY1" fmla="*/ 76547 h 86318"/>
                <a:gd name="connsiteX2" fmla="*/ 24021 w 599346"/>
                <a:gd name="connsiteY2" fmla="*/ 77629 h 86318"/>
                <a:gd name="connsiteX3" fmla="*/ 52046 w 599346"/>
                <a:gd name="connsiteY3" fmla="*/ 79252 h 86318"/>
                <a:gd name="connsiteX4" fmla="*/ 89160 w 599346"/>
                <a:gd name="connsiteY4" fmla="*/ 80767 h 86318"/>
                <a:gd name="connsiteX5" fmla="*/ 303945 w 599346"/>
                <a:gd name="connsiteY5" fmla="*/ 71245 h 86318"/>
                <a:gd name="connsiteX6" fmla="*/ 514402 w 599346"/>
                <a:gd name="connsiteY6" fmla="*/ 27530 h 86318"/>
                <a:gd name="connsiteX7" fmla="*/ 576511 w 599346"/>
                <a:gd name="connsiteY7" fmla="*/ 7404 h 86318"/>
                <a:gd name="connsiteX8" fmla="*/ 593283 w 599346"/>
                <a:gd name="connsiteY8" fmla="*/ 1669 h 86318"/>
                <a:gd name="connsiteX9" fmla="*/ 599342 w 599346"/>
                <a:gd name="connsiteY9" fmla="*/ 46 h 86318"/>
                <a:gd name="connsiteX10" fmla="*/ 593715 w 599346"/>
                <a:gd name="connsiteY10" fmla="*/ 2751 h 86318"/>
                <a:gd name="connsiteX11" fmla="*/ 577268 w 599346"/>
                <a:gd name="connsiteY11" fmla="*/ 9460 h 86318"/>
                <a:gd name="connsiteX12" fmla="*/ 515592 w 599346"/>
                <a:gd name="connsiteY12" fmla="*/ 31426 h 86318"/>
                <a:gd name="connsiteX13" fmla="*/ 304702 w 599346"/>
                <a:gd name="connsiteY13" fmla="*/ 76979 h 86318"/>
                <a:gd name="connsiteX14" fmla="*/ 89052 w 599346"/>
                <a:gd name="connsiteY14" fmla="*/ 84878 h 86318"/>
                <a:gd name="connsiteX15" fmla="*/ 51830 w 599346"/>
                <a:gd name="connsiteY15" fmla="*/ 82606 h 86318"/>
                <a:gd name="connsiteX16" fmla="*/ 23805 w 599346"/>
                <a:gd name="connsiteY16" fmla="*/ 80009 h 86318"/>
                <a:gd name="connsiteX17" fmla="*/ 6168 w 599346"/>
                <a:gd name="connsiteY17" fmla="*/ 77953 h 86318"/>
                <a:gd name="connsiteX18" fmla="*/ 0 w 599346"/>
                <a:gd name="connsiteY18" fmla="*/ 76547 h 86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99346" h="86318">
                  <a:moveTo>
                    <a:pt x="0" y="76547"/>
                  </a:moveTo>
                  <a:cubicBezTo>
                    <a:pt x="0" y="76330"/>
                    <a:pt x="2164" y="76330"/>
                    <a:pt x="6276" y="76547"/>
                  </a:cubicBezTo>
                  <a:cubicBezTo>
                    <a:pt x="10929" y="76871"/>
                    <a:pt x="16771" y="77196"/>
                    <a:pt x="24021" y="77629"/>
                  </a:cubicBezTo>
                  <a:cubicBezTo>
                    <a:pt x="31704" y="78170"/>
                    <a:pt x="41117" y="78711"/>
                    <a:pt x="52046" y="79252"/>
                  </a:cubicBezTo>
                  <a:cubicBezTo>
                    <a:pt x="62975" y="79793"/>
                    <a:pt x="75418" y="80442"/>
                    <a:pt x="89160" y="80767"/>
                  </a:cubicBezTo>
                  <a:cubicBezTo>
                    <a:pt x="144236" y="82498"/>
                    <a:pt x="220520" y="81524"/>
                    <a:pt x="303945" y="71245"/>
                  </a:cubicBezTo>
                  <a:cubicBezTo>
                    <a:pt x="387479" y="61290"/>
                    <a:pt x="461598" y="43220"/>
                    <a:pt x="514402" y="27530"/>
                  </a:cubicBezTo>
                  <a:cubicBezTo>
                    <a:pt x="540695" y="19523"/>
                    <a:pt x="562012" y="12598"/>
                    <a:pt x="576511" y="7404"/>
                  </a:cubicBezTo>
                  <a:cubicBezTo>
                    <a:pt x="583328" y="5024"/>
                    <a:pt x="588846" y="3184"/>
                    <a:pt x="593283" y="1669"/>
                  </a:cubicBezTo>
                  <a:cubicBezTo>
                    <a:pt x="597178" y="371"/>
                    <a:pt x="599234" y="-170"/>
                    <a:pt x="599342" y="46"/>
                  </a:cubicBezTo>
                  <a:cubicBezTo>
                    <a:pt x="599450" y="263"/>
                    <a:pt x="597502" y="1128"/>
                    <a:pt x="593715" y="2751"/>
                  </a:cubicBezTo>
                  <a:cubicBezTo>
                    <a:pt x="589387" y="4483"/>
                    <a:pt x="583977" y="6755"/>
                    <a:pt x="577268" y="9460"/>
                  </a:cubicBezTo>
                  <a:cubicBezTo>
                    <a:pt x="562986" y="15411"/>
                    <a:pt x="541886" y="22877"/>
                    <a:pt x="515592" y="31426"/>
                  </a:cubicBezTo>
                  <a:cubicBezTo>
                    <a:pt x="463005" y="48197"/>
                    <a:pt x="388561" y="66917"/>
                    <a:pt x="304702" y="76979"/>
                  </a:cubicBezTo>
                  <a:cubicBezTo>
                    <a:pt x="220953" y="87259"/>
                    <a:pt x="144236" y="87584"/>
                    <a:pt x="89052" y="84878"/>
                  </a:cubicBezTo>
                  <a:cubicBezTo>
                    <a:pt x="75202" y="84337"/>
                    <a:pt x="62758" y="83472"/>
                    <a:pt x="51830" y="82606"/>
                  </a:cubicBezTo>
                  <a:cubicBezTo>
                    <a:pt x="40901" y="81849"/>
                    <a:pt x="31487" y="80983"/>
                    <a:pt x="23805" y="80009"/>
                  </a:cubicBezTo>
                  <a:cubicBezTo>
                    <a:pt x="16663" y="79144"/>
                    <a:pt x="10820" y="78494"/>
                    <a:pt x="6168" y="77953"/>
                  </a:cubicBezTo>
                  <a:cubicBezTo>
                    <a:pt x="2164" y="77088"/>
                    <a:pt x="0" y="76763"/>
                    <a:pt x="0" y="7654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1BCDC5D5-BB2F-4C4C-B2AF-2DA2D57A1D95}"/>
                </a:ext>
              </a:extLst>
            </p:cNvPr>
            <p:cNvSpPr/>
            <p:nvPr/>
          </p:nvSpPr>
          <p:spPr>
            <a:xfrm flipH="1">
              <a:off x="4813437" y="4001500"/>
              <a:ext cx="74810" cy="105778"/>
            </a:xfrm>
            <a:custGeom>
              <a:avLst/>
              <a:gdLst>
                <a:gd name="connsiteX0" fmla="*/ 67838 w 67873"/>
                <a:gd name="connsiteY0" fmla="*/ 94 h 95970"/>
                <a:gd name="connsiteX1" fmla="*/ 26179 w 67873"/>
                <a:gd name="connsiteY1" fmla="*/ 42510 h 95970"/>
                <a:gd name="connsiteX2" fmla="*/ 319 w 67873"/>
                <a:gd name="connsiteY2" fmla="*/ 95963 h 95970"/>
                <a:gd name="connsiteX3" fmla="*/ 21527 w 67873"/>
                <a:gd name="connsiteY3" fmla="*/ 39264 h 95970"/>
                <a:gd name="connsiteX4" fmla="*/ 67838 w 67873"/>
                <a:gd name="connsiteY4" fmla="*/ 94 h 9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873" h="95970">
                  <a:moveTo>
                    <a:pt x="67838" y="94"/>
                  </a:moveTo>
                  <a:cubicBezTo>
                    <a:pt x="68920" y="1609"/>
                    <a:pt x="45007" y="15351"/>
                    <a:pt x="26179" y="42510"/>
                  </a:cubicBezTo>
                  <a:cubicBezTo>
                    <a:pt x="7027" y="69344"/>
                    <a:pt x="2050" y="96504"/>
                    <a:pt x="319" y="95963"/>
                  </a:cubicBezTo>
                  <a:cubicBezTo>
                    <a:pt x="-1088" y="96071"/>
                    <a:pt x="1509" y="67397"/>
                    <a:pt x="21527" y="39264"/>
                  </a:cubicBezTo>
                  <a:cubicBezTo>
                    <a:pt x="41328" y="10914"/>
                    <a:pt x="67513" y="-1204"/>
                    <a:pt x="67838" y="9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5996731B-A67C-4927-93CC-E4CB2BAA2638}"/>
                </a:ext>
              </a:extLst>
            </p:cNvPr>
            <p:cNvSpPr/>
            <p:nvPr/>
          </p:nvSpPr>
          <p:spPr>
            <a:xfrm flipH="1">
              <a:off x="4409480" y="3378100"/>
              <a:ext cx="202667" cy="493090"/>
            </a:xfrm>
            <a:custGeom>
              <a:avLst/>
              <a:gdLst>
                <a:gd name="connsiteX0" fmla="*/ 57876 w 183875"/>
                <a:gd name="connsiteY0" fmla="*/ 222359 h 447370"/>
                <a:gd name="connsiteX1" fmla="*/ 28985 w 183875"/>
                <a:gd name="connsiteY1" fmla="*/ 147266 h 447370"/>
                <a:gd name="connsiteX2" fmla="*/ 2259 w 183875"/>
                <a:gd name="connsiteY2" fmla="*/ 0 h 447370"/>
                <a:gd name="connsiteX3" fmla="*/ 175061 w 183875"/>
                <a:gd name="connsiteY3" fmla="*/ 54427 h 447370"/>
                <a:gd name="connsiteX4" fmla="*/ 163483 w 183875"/>
                <a:gd name="connsiteY4" fmla="*/ 134498 h 447370"/>
                <a:gd name="connsiteX5" fmla="*/ 183825 w 183875"/>
                <a:gd name="connsiteY5" fmla="*/ 209050 h 447370"/>
                <a:gd name="connsiteX6" fmla="*/ 139029 w 183875"/>
                <a:gd name="connsiteY6" fmla="*/ 315415 h 447370"/>
                <a:gd name="connsiteX7" fmla="*/ 160129 w 183875"/>
                <a:gd name="connsiteY7" fmla="*/ 439092 h 447370"/>
                <a:gd name="connsiteX8" fmla="*/ 56036 w 183875"/>
                <a:gd name="connsiteY8" fmla="*/ 443204 h 447370"/>
                <a:gd name="connsiteX9" fmla="*/ 31907 w 183875"/>
                <a:gd name="connsiteY9" fmla="*/ 287390 h 447370"/>
                <a:gd name="connsiteX10" fmla="*/ 57876 w 183875"/>
                <a:gd name="connsiteY10" fmla="*/ 222359 h 44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875" h="447370">
                  <a:moveTo>
                    <a:pt x="57876" y="222359"/>
                  </a:moveTo>
                  <a:cubicBezTo>
                    <a:pt x="59715" y="195200"/>
                    <a:pt x="41970" y="171179"/>
                    <a:pt x="28985" y="147266"/>
                  </a:cubicBezTo>
                  <a:cubicBezTo>
                    <a:pt x="4748" y="102686"/>
                    <a:pt x="-4774" y="50207"/>
                    <a:pt x="2259" y="0"/>
                  </a:cubicBezTo>
                  <a:lnTo>
                    <a:pt x="175061" y="54427"/>
                  </a:lnTo>
                  <a:cubicBezTo>
                    <a:pt x="163375" y="70441"/>
                    <a:pt x="155584" y="109827"/>
                    <a:pt x="163483" y="134498"/>
                  </a:cubicBezTo>
                  <a:cubicBezTo>
                    <a:pt x="171382" y="159276"/>
                    <a:pt x="184799" y="183189"/>
                    <a:pt x="183825" y="209050"/>
                  </a:cubicBezTo>
                  <a:cubicBezTo>
                    <a:pt x="182310" y="247787"/>
                    <a:pt x="149525" y="278084"/>
                    <a:pt x="139029" y="315415"/>
                  </a:cubicBezTo>
                  <a:cubicBezTo>
                    <a:pt x="127451" y="356424"/>
                    <a:pt x="143898" y="399597"/>
                    <a:pt x="160129" y="439092"/>
                  </a:cubicBezTo>
                  <a:cubicBezTo>
                    <a:pt x="126369" y="448506"/>
                    <a:pt x="90445" y="449912"/>
                    <a:pt x="56036" y="443204"/>
                  </a:cubicBezTo>
                  <a:cubicBezTo>
                    <a:pt x="34396" y="393754"/>
                    <a:pt x="12538" y="337813"/>
                    <a:pt x="31907" y="287390"/>
                  </a:cubicBezTo>
                  <a:cubicBezTo>
                    <a:pt x="40238" y="265424"/>
                    <a:pt x="56253" y="245731"/>
                    <a:pt x="57876" y="22235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389914A2-942B-45F9-A226-A669DD74BE38}"/>
                </a:ext>
              </a:extLst>
            </p:cNvPr>
            <p:cNvSpPr/>
            <p:nvPr/>
          </p:nvSpPr>
          <p:spPr>
            <a:xfrm flipH="1">
              <a:off x="4455213" y="2706930"/>
              <a:ext cx="559089" cy="620127"/>
            </a:xfrm>
            <a:custGeom>
              <a:avLst/>
              <a:gdLst>
                <a:gd name="connsiteX0" fmla="*/ 20764 w 507249"/>
                <a:gd name="connsiteY0" fmla="*/ 247862 h 562627"/>
                <a:gd name="connsiteX1" fmla="*/ 119771 w 507249"/>
                <a:gd name="connsiteY1" fmla="*/ 47035 h 562627"/>
                <a:gd name="connsiteX2" fmla="*/ 307613 w 507249"/>
                <a:gd name="connsiteY2" fmla="*/ 1265 h 562627"/>
                <a:gd name="connsiteX3" fmla="*/ 408892 w 507249"/>
                <a:gd name="connsiteY3" fmla="*/ 38595 h 562627"/>
                <a:gd name="connsiteX4" fmla="*/ 482904 w 507249"/>
                <a:gd name="connsiteY4" fmla="*/ 153508 h 562627"/>
                <a:gd name="connsiteX5" fmla="*/ 483012 w 507249"/>
                <a:gd name="connsiteY5" fmla="*/ 386255 h 562627"/>
                <a:gd name="connsiteX6" fmla="*/ 120961 w 507249"/>
                <a:gd name="connsiteY6" fmla="*/ 562627 h 562627"/>
                <a:gd name="connsiteX7" fmla="*/ 3019 w 507249"/>
                <a:gd name="connsiteY7" fmla="*/ 441547 h 562627"/>
                <a:gd name="connsiteX8" fmla="*/ 20764 w 507249"/>
                <a:gd name="connsiteY8" fmla="*/ 247862 h 562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7249" h="562627">
                  <a:moveTo>
                    <a:pt x="20764" y="247862"/>
                  </a:moveTo>
                  <a:cubicBezTo>
                    <a:pt x="38618" y="172011"/>
                    <a:pt x="56904" y="93130"/>
                    <a:pt x="119771" y="47035"/>
                  </a:cubicBezTo>
                  <a:cubicBezTo>
                    <a:pt x="175712" y="6026"/>
                    <a:pt x="238363" y="-3929"/>
                    <a:pt x="307613" y="1265"/>
                  </a:cubicBezTo>
                  <a:cubicBezTo>
                    <a:pt x="341697" y="3753"/>
                    <a:pt x="379677" y="20850"/>
                    <a:pt x="408892" y="38595"/>
                  </a:cubicBezTo>
                  <a:cubicBezTo>
                    <a:pt x="448927" y="62941"/>
                    <a:pt x="464617" y="110334"/>
                    <a:pt x="482904" y="153508"/>
                  </a:cubicBezTo>
                  <a:cubicBezTo>
                    <a:pt x="519585" y="239963"/>
                    <a:pt x="510820" y="355092"/>
                    <a:pt x="483012" y="386255"/>
                  </a:cubicBezTo>
                  <a:lnTo>
                    <a:pt x="120961" y="562627"/>
                  </a:lnTo>
                  <a:cubicBezTo>
                    <a:pt x="59068" y="527785"/>
                    <a:pt x="17410" y="511122"/>
                    <a:pt x="3019" y="441547"/>
                  </a:cubicBezTo>
                  <a:cubicBezTo>
                    <a:pt x="-6828" y="394262"/>
                    <a:pt x="9619" y="295039"/>
                    <a:pt x="20764" y="24786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32250792-3F81-49CE-A81E-586F346A68A0}"/>
                </a:ext>
              </a:extLst>
            </p:cNvPr>
            <p:cNvSpPr/>
            <p:nvPr/>
          </p:nvSpPr>
          <p:spPr>
            <a:xfrm flipH="1">
              <a:off x="4481585" y="2771200"/>
              <a:ext cx="436732" cy="799212"/>
            </a:xfrm>
            <a:custGeom>
              <a:avLst/>
              <a:gdLst>
                <a:gd name="connsiteX0" fmla="*/ 37988 w 396237"/>
                <a:gd name="connsiteY0" fmla="*/ 59272 h 725107"/>
                <a:gd name="connsiteX1" fmla="*/ 264134 w 396237"/>
                <a:gd name="connsiteY1" fmla="*/ 517 h 725107"/>
                <a:gd name="connsiteX2" fmla="*/ 390517 w 396237"/>
                <a:gd name="connsiteY2" fmla="*/ 154167 h 725107"/>
                <a:gd name="connsiteX3" fmla="*/ 390733 w 396237"/>
                <a:gd name="connsiteY3" fmla="*/ 394380 h 725107"/>
                <a:gd name="connsiteX4" fmla="*/ 285342 w 396237"/>
                <a:gd name="connsiteY4" fmla="*/ 538400 h 725107"/>
                <a:gd name="connsiteX5" fmla="*/ 279283 w 396237"/>
                <a:gd name="connsiteY5" fmla="*/ 539374 h 725107"/>
                <a:gd name="connsiteX6" fmla="*/ 278634 w 396237"/>
                <a:gd name="connsiteY6" fmla="*/ 569779 h 725107"/>
                <a:gd name="connsiteX7" fmla="*/ 279283 w 396237"/>
                <a:gd name="connsiteY7" fmla="*/ 650932 h 725107"/>
                <a:gd name="connsiteX8" fmla="*/ 25004 w 396237"/>
                <a:gd name="connsiteY8" fmla="*/ 686423 h 725107"/>
                <a:gd name="connsiteX9" fmla="*/ 8 w 396237"/>
                <a:gd name="connsiteY9" fmla="*/ 102878 h 725107"/>
                <a:gd name="connsiteX10" fmla="*/ 37988 w 396237"/>
                <a:gd name="connsiteY10" fmla="*/ 59272 h 72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6237" h="725107">
                  <a:moveTo>
                    <a:pt x="37988" y="59272"/>
                  </a:moveTo>
                  <a:lnTo>
                    <a:pt x="264134" y="517"/>
                  </a:lnTo>
                  <a:cubicBezTo>
                    <a:pt x="336631" y="-7598"/>
                    <a:pt x="385431" y="81346"/>
                    <a:pt x="390517" y="154167"/>
                  </a:cubicBezTo>
                  <a:cubicBezTo>
                    <a:pt x="396143" y="234996"/>
                    <a:pt x="399822" y="334002"/>
                    <a:pt x="390733" y="394380"/>
                  </a:cubicBezTo>
                  <a:cubicBezTo>
                    <a:pt x="374935" y="498364"/>
                    <a:pt x="305360" y="532881"/>
                    <a:pt x="285342" y="538400"/>
                  </a:cubicBezTo>
                  <a:cubicBezTo>
                    <a:pt x="282096" y="539265"/>
                    <a:pt x="279283" y="539374"/>
                    <a:pt x="279283" y="539374"/>
                  </a:cubicBezTo>
                  <a:cubicBezTo>
                    <a:pt x="279283" y="544567"/>
                    <a:pt x="278850" y="552466"/>
                    <a:pt x="278634" y="569779"/>
                  </a:cubicBezTo>
                  <a:lnTo>
                    <a:pt x="279283" y="650932"/>
                  </a:lnTo>
                  <a:cubicBezTo>
                    <a:pt x="249419" y="749398"/>
                    <a:pt x="149655" y="737495"/>
                    <a:pt x="25004" y="686423"/>
                  </a:cubicBezTo>
                  <a:lnTo>
                    <a:pt x="8" y="102878"/>
                  </a:lnTo>
                  <a:cubicBezTo>
                    <a:pt x="-424" y="80697"/>
                    <a:pt x="16023" y="61761"/>
                    <a:pt x="37988" y="59272"/>
                  </a:cubicBezTo>
                  <a:close/>
                </a:path>
              </a:pathLst>
            </a:custGeom>
            <a:solidFill>
              <a:srgbClr val="D08979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849A23AC-E80F-4638-97CC-8B4C0584ADCD}"/>
                </a:ext>
              </a:extLst>
            </p:cNvPr>
            <p:cNvSpPr/>
            <p:nvPr/>
          </p:nvSpPr>
          <p:spPr>
            <a:xfrm flipH="1">
              <a:off x="4532363" y="3035782"/>
              <a:ext cx="34253" cy="32869"/>
            </a:xfrm>
            <a:custGeom>
              <a:avLst/>
              <a:gdLst>
                <a:gd name="connsiteX0" fmla="*/ 31066 w 31077"/>
                <a:gd name="connsiteY0" fmla="*/ 13991 h 29821"/>
                <a:gd name="connsiteX1" fmla="*/ 16134 w 31077"/>
                <a:gd name="connsiteY1" fmla="*/ 29789 h 29821"/>
                <a:gd name="connsiteX2" fmla="*/ 11 w 31077"/>
                <a:gd name="connsiteY2" fmla="*/ 15830 h 29821"/>
                <a:gd name="connsiteX3" fmla="*/ 14944 w 31077"/>
                <a:gd name="connsiteY3" fmla="*/ 33 h 29821"/>
                <a:gd name="connsiteX4" fmla="*/ 31066 w 31077"/>
                <a:gd name="connsiteY4" fmla="*/ 13991 h 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7" h="29821">
                  <a:moveTo>
                    <a:pt x="31066" y="13991"/>
                  </a:moveTo>
                  <a:cubicBezTo>
                    <a:pt x="31391" y="22214"/>
                    <a:pt x="24790" y="29248"/>
                    <a:pt x="16134" y="29789"/>
                  </a:cubicBezTo>
                  <a:cubicBezTo>
                    <a:pt x="7586" y="30330"/>
                    <a:pt x="336" y="24054"/>
                    <a:pt x="11" y="15830"/>
                  </a:cubicBezTo>
                  <a:cubicBezTo>
                    <a:pt x="-313" y="7607"/>
                    <a:pt x="6287" y="574"/>
                    <a:pt x="14944" y="33"/>
                  </a:cubicBezTo>
                  <a:cubicBezTo>
                    <a:pt x="23492" y="-508"/>
                    <a:pt x="30741" y="5767"/>
                    <a:pt x="31066" y="1399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7C32513F-964C-400A-820D-1EDB0C5AA3AC}"/>
                </a:ext>
              </a:extLst>
            </p:cNvPr>
            <p:cNvSpPr/>
            <p:nvPr/>
          </p:nvSpPr>
          <p:spPr>
            <a:xfrm flipH="1">
              <a:off x="4510862" y="3003020"/>
              <a:ext cx="68125" cy="18353"/>
            </a:xfrm>
            <a:custGeom>
              <a:avLst/>
              <a:gdLst>
                <a:gd name="connsiteX0" fmla="*/ 61549 w 61808"/>
                <a:gd name="connsiteY0" fmla="*/ 16231 h 16651"/>
                <a:gd name="connsiteX1" fmla="*/ 31036 w 61808"/>
                <a:gd name="connsiteY1" fmla="*/ 9738 h 16651"/>
                <a:gd name="connsiteX2" fmla="*/ 198 w 61808"/>
                <a:gd name="connsiteY2" fmla="*/ 16339 h 16651"/>
                <a:gd name="connsiteX3" fmla="*/ 6582 w 61808"/>
                <a:gd name="connsiteY3" fmla="*/ 7791 h 16651"/>
                <a:gd name="connsiteX4" fmla="*/ 31253 w 61808"/>
                <a:gd name="connsiteY4" fmla="*/ 0 h 16651"/>
                <a:gd name="connsiteX5" fmla="*/ 55598 w 61808"/>
                <a:gd name="connsiteY5" fmla="*/ 7683 h 16651"/>
                <a:gd name="connsiteX6" fmla="*/ 61549 w 61808"/>
                <a:gd name="connsiteY6" fmla="*/ 16231 h 16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08" h="16651">
                  <a:moveTo>
                    <a:pt x="61549" y="16231"/>
                  </a:moveTo>
                  <a:cubicBezTo>
                    <a:pt x="59602" y="18287"/>
                    <a:pt x="47808" y="9630"/>
                    <a:pt x="31036" y="9738"/>
                  </a:cubicBezTo>
                  <a:cubicBezTo>
                    <a:pt x="14264" y="9630"/>
                    <a:pt x="2037" y="18395"/>
                    <a:pt x="198" y="16339"/>
                  </a:cubicBezTo>
                  <a:cubicBezTo>
                    <a:pt x="-668" y="15473"/>
                    <a:pt x="1280" y="11794"/>
                    <a:pt x="6582" y="7791"/>
                  </a:cubicBezTo>
                  <a:cubicBezTo>
                    <a:pt x="11776" y="3895"/>
                    <a:pt x="20757" y="0"/>
                    <a:pt x="31253" y="0"/>
                  </a:cubicBezTo>
                  <a:cubicBezTo>
                    <a:pt x="41640" y="0"/>
                    <a:pt x="50513" y="3787"/>
                    <a:pt x="55598" y="7683"/>
                  </a:cubicBezTo>
                  <a:cubicBezTo>
                    <a:pt x="60792" y="11686"/>
                    <a:pt x="62523" y="15365"/>
                    <a:pt x="61549" y="1623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F7A9CD2F-27D7-402B-896D-3C5D65E7A02B}"/>
                </a:ext>
              </a:extLst>
            </p:cNvPr>
            <p:cNvSpPr/>
            <p:nvPr/>
          </p:nvSpPr>
          <p:spPr>
            <a:xfrm flipH="1">
              <a:off x="4708036" y="3035782"/>
              <a:ext cx="34253" cy="32869"/>
            </a:xfrm>
            <a:custGeom>
              <a:avLst/>
              <a:gdLst>
                <a:gd name="connsiteX0" fmla="*/ 31066 w 31077"/>
                <a:gd name="connsiteY0" fmla="*/ 13991 h 29821"/>
                <a:gd name="connsiteX1" fmla="*/ 16134 w 31077"/>
                <a:gd name="connsiteY1" fmla="*/ 29789 h 29821"/>
                <a:gd name="connsiteX2" fmla="*/ 11 w 31077"/>
                <a:gd name="connsiteY2" fmla="*/ 15830 h 29821"/>
                <a:gd name="connsiteX3" fmla="*/ 14944 w 31077"/>
                <a:gd name="connsiteY3" fmla="*/ 33 h 29821"/>
                <a:gd name="connsiteX4" fmla="*/ 31066 w 31077"/>
                <a:gd name="connsiteY4" fmla="*/ 13991 h 2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7" h="29821">
                  <a:moveTo>
                    <a:pt x="31066" y="13991"/>
                  </a:moveTo>
                  <a:cubicBezTo>
                    <a:pt x="31391" y="22214"/>
                    <a:pt x="24790" y="29248"/>
                    <a:pt x="16134" y="29789"/>
                  </a:cubicBezTo>
                  <a:cubicBezTo>
                    <a:pt x="7586" y="30330"/>
                    <a:pt x="336" y="24054"/>
                    <a:pt x="11" y="15830"/>
                  </a:cubicBezTo>
                  <a:cubicBezTo>
                    <a:pt x="-313" y="7607"/>
                    <a:pt x="6287" y="574"/>
                    <a:pt x="14944" y="33"/>
                  </a:cubicBezTo>
                  <a:cubicBezTo>
                    <a:pt x="23492" y="-508"/>
                    <a:pt x="30741" y="5767"/>
                    <a:pt x="31066" y="1399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79D27034-AC82-409A-A1B7-F236EE0C72D8}"/>
                </a:ext>
              </a:extLst>
            </p:cNvPr>
            <p:cNvSpPr/>
            <p:nvPr/>
          </p:nvSpPr>
          <p:spPr>
            <a:xfrm flipH="1">
              <a:off x="4692268" y="2999323"/>
              <a:ext cx="68122" cy="18353"/>
            </a:xfrm>
            <a:custGeom>
              <a:avLst/>
              <a:gdLst>
                <a:gd name="connsiteX0" fmla="*/ 61556 w 61806"/>
                <a:gd name="connsiteY0" fmla="*/ 16231 h 16651"/>
                <a:gd name="connsiteX1" fmla="*/ 31042 w 61806"/>
                <a:gd name="connsiteY1" fmla="*/ 9738 h 16651"/>
                <a:gd name="connsiteX2" fmla="*/ 204 w 61806"/>
                <a:gd name="connsiteY2" fmla="*/ 16339 h 16651"/>
                <a:gd name="connsiteX3" fmla="*/ 6588 w 61806"/>
                <a:gd name="connsiteY3" fmla="*/ 7791 h 16651"/>
                <a:gd name="connsiteX4" fmla="*/ 31259 w 61806"/>
                <a:gd name="connsiteY4" fmla="*/ 0 h 16651"/>
                <a:gd name="connsiteX5" fmla="*/ 55605 w 61806"/>
                <a:gd name="connsiteY5" fmla="*/ 7682 h 16651"/>
                <a:gd name="connsiteX6" fmla="*/ 61556 w 61806"/>
                <a:gd name="connsiteY6" fmla="*/ 16231 h 16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806" h="16651">
                  <a:moveTo>
                    <a:pt x="61556" y="16231"/>
                  </a:moveTo>
                  <a:cubicBezTo>
                    <a:pt x="59608" y="18287"/>
                    <a:pt x="47814" y="9630"/>
                    <a:pt x="31042" y="9738"/>
                  </a:cubicBezTo>
                  <a:cubicBezTo>
                    <a:pt x="14271" y="9630"/>
                    <a:pt x="2044" y="18395"/>
                    <a:pt x="204" y="16339"/>
                  </a:cubicBezTo>
                  <a:cubicBezTo>
                    <a:pt x="-661" y="15473"/>
                    <a:pt x="1178" y="11794"/>
                    <a:pt x="6588" y="7791"/>
                  </a:cubicBezTo>
                  <a:cubicBezTo>
                    <a:pt x="11782" y="3895"/>
                    <a:pt x="20763" y="0"/>
                    <a:pt x="31259" y="0"/>
                  </a:cubicBezTo>
                  <a:cubicBezTo>
                    <a:pt x="41647" y="0"/>
                    <a:pt x="50519" y="3787"/>
                    <a:pt x="55605" y="7682"/>
                  </a:cubicBezTo>
                  <a:cubicBezTo>
                    <a:pt x="60690" y="11686"/>
                    <a:pt x="62530" y="15365"/>
                    <a:pt x="61556" y="1623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4F192D99-FCFE-4274-9DD9-FBC149C16E1E}"/>
                </a:ext>
              </a:extLst>
            </p:cNvPr>
            <p:cNvSpPr/>
            <p:nvPr/>
          </p:nvSpPr>
          <p:spPr>
            <a:xfrm flipH="1">
              <a:off x="4577732" y="2985476"/>
              <a:ext cx="56565" cy="154329"/>
            </a:xfrm>
            <a:custGeom>
              <a:avLst/>
              <a:gdLst>
                <a:gd name="connsiteX0" fmla="*/ 8830 w 51320"/>
                <a:gd name="connsiteY0" fmla="*/ 139378 h 140019"/>
                <a:gd name="connsiteX1" fmla="*/ 35989 w 51320"/>
                <a:gd name="connsiteY1" fmla="*/ 134293 h 140019"/>
                <a:gd name="connsiteX2" fmla="*/ 44970 w 51320"/>
                <a:gd name="connsiteY2" fmla="*/ 130073 h 140019"/>
                <a:gd name="connsiteX3" fmla="*/ 42049 w 51320"/>
                <a:gd name="connsiteY3" fmla="*/ 117413 h 140019"/>
                <a:gd name="connsiteX4" fmla="*/ 29172 w 51320"/>
                <a:gd name="connsiteY4" fmla="*/ 84952 h 140019"/>
                <a:gd name="connsiteX5" fmla="*/ 174 w 51320"/>
                <a:gd name="connsiteY5" fmla="*/ 11 h 140019"/>
                <a:gd name="connsiteX6" fmla="*/ 35881 w 51320"/>
                <a:gd name="connsiteY6" fmla="*/ 82463 h 140019"/>
                <a:gd name="connsiteX7" fmla="*/ 48216 w 51320"/>
                <a:gd name="connsiteY7" fmla="*/ 115141 h 140019"/>
                <a:gd name="connsiteX8" fmla="*/ 50597 w 51320"/>
                <a:gd name="connsiteY8" fmla="*/ 131912 h 140019"/>
                <a:gd name="connsiteX9" fmla="*/ 43564 w 51320"/>
                <a:gd name="connsiteY9" fmla="*/ 138188 h 140019"/>
                <a:gd name="connsiteX10" fmla="*/ 36314 w 51320"/>
                <a:gd name="connsiteY10" fmla="*/ 139270 h 140019"/>
                <a:gd name="connsiteX11" fmla="*/ 8830 w 51320"/>
                <a:gd name="connsiteY11" fmla="*/ 139378 h 14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320" h="140019">
                  <a:moveTo>
                    <a:pt x="8830" y="139378"/>
                  </a:moveTo>
                  <a:cubicBezTo>
                    <a:pt x="8722" y="138404"/>
                    <a:pt x="19109" y="136565"/>
                    <a:pt x="35989" y="134293"/>
                  </a:cubicBezTo>
                  <a:cubicBezTo>
                    <a:pt x="40209" y="133860"/>
                    <a:pt x="44321" y="132994"/>
                    <a:pt x="44970" y="130073"/>
                  </a:cubicBezTo>
                  <a:cubicBezTo>
                    <a:pt x="45944" y="126935"/>
                    <a:pt x="44104" y="122390"/>
                    <a:pt x="42049" y="117413"/>
                  </a:cubicBezTo>
                  <a:cubicBezTo>
                    <a:pt x="37937" y="107133"/>
                    <a:pt x="33717" y="96313"/>
                    <a:pt x="29172" y="84952"/>
                  </a:cubicBezTo>
                  <a:cubicBezTo>
                    <a:pt x="11319" y="38748"/>
                    <a:pt x="-1666" y="661"/>
                    <a:pt x="174" y="11"/>
                  </a:cubicBezTo>
                  <a:cubicBezTo>
                    <a:pt x="2013" y="-746"/>
                    <a:pt x="18027" y="36260"/>
                    <a:pt x="35881" y="82463"/>
                  </a:cubicBezTo>
                  <a:cubicBezTo>
                    <a:pt x="40209" y="93824"/>
                    <a:pt x="44321" y="104753"/>
                    <a:pt x="48216" y="115141"/>
                  </a:cubicBezTo>
                  <a:cubicBezTo>
                    <a:pt x="49839" y="120010"/>
                    <a:pt x="52653" y="125528"/>
                    <a:pt x="50597" y="131912"/>
                  </a:cubicBezTo>
                  <a:cubicBezTo>
                    <a:pt x="49515" y="135158"/>
                    <a:pt x="46377" y="137431"/>
                    <a:pt x="43564" y="138188"/>
                  </a:cubicBezTo>
                  <a:cubicBezTo>
                    <a:pt x="40858" y="139054"/>
                    <a:pt x="38370" y="139054"/>
                    <a:pt x="36314" y="139270"/>
                  </a:cubicBezTo>
                  <a:cubicBezTo>
                    <a:pt x="19434" y="140136"/>
                    <a:pt x="8830" y="140352"/>
                    <a:pt x="8830" y="13937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E2917386-CBE8-48F7-829C-40669C6D1236}"/>
                </a:ext>
              </a:extLst>
            </p:cNvPr>
            <p:cNvSpPr/>
            <p:nvPr/>
          </p:nvSpPr>
          <p:spPr>
            <a:xfrm flipH="1">
              <a:off x="4610373" y="3319305"/>
              <a:ext cx="179490" cy="81214"/>
            </a:xfrm>
            <a:custGeom>
              <a:avLst/>
              <a:gdLst>
                <a:gd name="connsiteX0" fmla="*/ 162847 w 162847"/>
                <a:gd name="connsiteY0" fmla="*/ 42200 h 73684"/>
                <a:gd name="connsiteX1" fmla="*/ 0 w 162847"/>
                <a:gd name="connsiteY1" fmla="*/ 0 h 73684"/>
                <a:gd name="connsiteX2" fmla="*/ 162090 w 162847"/>
                <a:gd name="connsiteY2" fmla="*/ 72497 h 73684"/>
                <a:gd name="connsiteX3" fmla="*/ 162847 w 162847"/>
                <a:gd name="connsiteY3" fmla="*/ 42200 h 73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847" h="73684">
                  <a:moveTo>
                    <a:pt x="162847" y="42200"/>
                  </a:moveTo>
                  <a:cubicBezTo>
                    <a:pt x="162847" y="42200"/>
                    <a:pt x="81261" y="48043"/>
                    <a:pt x="0" y="0"/>
                  </a:cubicBezTo>
                  <a:cubicBezTo>
                    <a:pt x="0" y="0"/>
                    <a:pt x="40793" y="84616"/>
                    <a:pt x="162090" y="72497"/>
                  </a:cubicBezTo>
                  <a:lnTo>
                    <a:pt x="162847" y="42200"/>
                  </a:ln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AE2B4EB9-AE0C-46C9-8B69-42301F65C908}"/>
                </a:ext>
              </a:extLst>
            </p:cNvPr>
            <p:cNvSpPr/>
            <p:nvPr/>
          </p:nvSpPr>
          <p:spPr>
            <a:xfrm flipH="1">
              <a:off x="4622976" y="3160278"/>
              <a:ext cx="66278" cy="56241"/>
            </a:xfrm>
            <a:custGeom>
              <a:avLst/>
              <a:gdLst>
                <a:gd name="connsiteX0" fmla="*/ 3508 w 60133"/>
                <a:gd name="connsiteY0" fmla="*/ 12380 h 51026"/>
                <a:gd name="connsiteX1" fmla="*/ 25798 w 60133"/>
                <a:gd name="connsiteY1" fmla="*/ 45 h 51026"/>
                <a:gd name="connsiteX2" fmla="*/ 57827 w 60133"/>
                <a:gd name="connsiteY2" fmla="*/ 15626 h 51026"/>
                <a:gd name="connsiteX3" fmla="*/ 59341 w 60133"/>
                <a:gd name="connsiteY3" fmla="*/ 31316 h 51026"/>
                <a:gd name="connsiteX4" fmla="*/ 57069 w 60133"/>
                <a:gd name="connsiteY4" fmla="*/ 34562 h 51026"/>
                <a:gd name="connsiteX5" fmla="*/ 32182 w 60133"/>
                <a:gd name="connsiteY5" fmla="*/ 50251 h 51026"/>
                <a:gd name="connsiteX6" fmla="*/ 4374 w 60133"/>
                <a:gd name="connsiteY6" fmla="*/ 40188 h 51026"/>
                <a:gd name="connsiteX7" fmla="*/ 3508 w 60133"/>
                <a:gd name="connsiteY7" fmla="*/ 12380 h 5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133" h="51026">
                  <a:moveTo>
                    <a:pt x="3508" y="12380"/>
                  </a:moveTo>
                  <a:cubicBezTo>
                    <a:pt x="8269" y="4589"/>
                    <a:pt x="16926" y="369"/>
                    <a:pt x="25798" y="45"/>
                  </a:cubicBezTo>
                  <a:cubicBezTo>
                    <a:pt x="38566" y="-496"/>
                    <a:pt x="49387" y="3832"/>
                    <a:pt x="57827" y="15626"/>
                  </a:cubicBezTo>
                  <a:cubicBezTo>
                    <a:pt x="60640" y="18980"/>
                    <a:pt x="60532" y="28610"/>
                    <a:pt x="59341" y="31316"/>
                  </a:cubicBezTo>
                  <a:cubicBezTo>
                    <a:pt x="58151" y="34021"/>
                    <a:pt x="59125" y="32722"/>
                    <a:pt x="57069" y="34562"/>
                  </a:cubicBezTo>
                  <a:cubicBezTo>
                    <a:pt x="49603" y="41270"/>
                    <a:pt x="41704" y="47871"/>
                    <a:pt x="32182" y="50251"/>
                  </a:cubicBezTo>
                  <a:cubicBezTo>
                    <a:pt x="22552" y="52632"/>
                    <a:pt x="10758" y="49602"/>
                    <a:pt x="4374" y="40188"/>
                  </a:cubicBezTo>
                  <a:cubicBezTo>
                    <a:pt x="-1361" y="31965"/>
                    <a:pt x="-1253" y="20279"/>
                    <a:pt x="3508" y="12380"/>
                  </a:cubicBezTo>
                  <a:close/>
                </a:path>
              </a:pathLst>
            </a:custGeom>
            <a:solidFill>
              <a:srgbClr val="A1675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3B60F202-E2B9-4FDE-BC84-081E213617D4}"/>
                </a:ext>
              </a:extLst>
            </p:cNvPr>
            <p:cNvSpPr/>
            <p:nvPr/>
          </p:nvSpPr>
          <p:spPr>
            <a:xfrm flipH="1">
              <a:off x="4622768" y="3152931"/>
              <a:ext cx="62330" cy="52509"/>
            </a:xfrm>
            <a:custGeom>
              <a:avLst/>
              <a:gdLst>
                <a:gd name="connsiteX0" fmla="*/ 2658 w 56551"/>
                <a:gd name="connsiteY0" fmla="*/ 2 h 47640"/>
                <a:gd name="connsiteX1" fmla="*/ 21378 w 56551"/>
                <a:gd name="connsiteY1" fmla="*/ 30732 h 47640"/>
                <a:gd name="connsiteX2" fmla="*/ 56544 w 56551"/>
                <a:gd name="connsiteY2" fmla="*/ 43716 h 47640"/>
                <a:gd name="connsiteX3" fmla="*/ 44101 w 56551"/>
                <a:gd name="connsiteY3" fmla="*/ 47612 h 47640"/>
                <a:gd name="connsiteX4" fmla="*/ 14669 w 56551"/>
                <a:gd name="connsiteY4" fmla="*/ 37765 h 47640"/>
                <a:gd name="connsiteX5" fmla="*/ 170 w 56551"/>
                <a:gd name="connsiteY5" fmla="*/ 12013 h 47640"/>
                <a:gd name="connsiteX6" fmla="*/ 2658 w 56551"/>
                <a:gd name="connsiteY6" fmla="*/ 2 h 4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551" h="47640">
                  <a:moveTo>
                    <a:pt x="2658" y="2"/>
                  </a:moveTo>
                  <a:cubicBezTo>
                    <a:pt x="5363" y="-214"/>
                    <a:pt x="5688" y="17964"/>
                    <a:pt x="21378" y="30732"/>
                  </a:cubicBezTo>
                  <a:cubicBezTo>
                    <a:pt x="37067" y="43500"/>
                    <a:pt x="56436" y="41228"/>
                    <a:pt x="56544" y="43716"/>
                  </a:cubicBezTo>
                  <a:cubicBezTo>
                    <a:pt x="56760" y="44907"/>
                    <a:pt x="52324" y="47287"/>
                    <a:pt x="44101" y="47612"/>
                  </a:cubicBezTo>
                  <a:cubicBezTo>
                    <a:pt x="36093" y="47936"/>
                    <a:pt x="24299" y="45556"/>
                    <a:pt x="14669" y="37765"/>
                  </a:cubicBezTo>
                  <a:cubicBezTo>
                    <a:pt x="5039" y="29974"/>
                    <a:pt x="819" y="19479"/>
                    <a:pt x="170" y="12013"/>
                  </a:cubicBezTo>
                  <a:cubicBezTo>
                    <a:pt x="-588" y="4438"/>
                    <a:pt x="1360" y="-106"/>
                    <a:pt x="2658" y="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80ECD20B-F5D4-4256-892E-1B9C6E406103}"/>
                </a:ext>
              </a:extLst>
            </p:cNvPr>
            <p:cNvSpPr/>
            <p:nvPr/>
          </p:nvSpPr>
          <p:spPr>
            <a:xfrm flipH="1">
              <a:off x="4683305" y="2938297"/>
              <a:ext cx="83670" cy="27623"/>
            </a:xfrm>
            <a:custGeom>
              <a:avLst/>
              <a:gdLst>
                <a:gd name="connsiteX0" fmla="*/ 75861 w 75912"/>
                <a:gd name="connsiteY0" fmla="*/ 10571 h 25062"/>
                <a:gd name="connsiteX1" fmla="*/ 38206 w 75912"/>
                <a:gd name="connsiteY1" fmla="*/ 17821 h 25062"/>
                <a:gd name="connsiteX2" fmla="*/ 335 w 75912"/>
                <a:gd name="connsiteY2" fmla="*/ 23880 h 25062"/>
                <a:gd name="connsiteX3" fmla="*/ 7585 w 75912"/>
                <a:gd name="connsiteY3" fmla="*/ 12735 h 25062"/>
                <a:gd name="connsiteX4" fmla="*/ 35177 w 75912"/>
                <a:gd name="connsiteY4" fmla="*/ 1049 h 25062"/>
                <a:gd name="connsiteX5" fmla="*/ 65041 w 75912"/>
                <a:gd name="connsiteY5" fmla="*/ 2672 h 25062"/>
                <a:gd name="connsiteX6" fmla="*/ 75861 w 75912"/>
                <a:gd name="connsiteY6" fmla="*/ 10571 h 25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912" h="25062">
                  <a:moveTo>
                    <a:pt x="75861" y="10571"/>
                  </a:moveTo>
                  <a:cubicBezTo>
                    <a:pt x="74455" y="15224"/>
                    <a:pt x="57683" y="14142"/>
                    <a:pt x="38206" y="17821"/>
                  </a:cubicBezTo>
                  <a:cubicBezTo>
                    <a:pt x="18621" y="21067"/>
                    <a:pt x="3257" y="27776"/>
                    <a:pt x="335" y="23880"/>
                  </a:cubicBezTo>
                  <a:cubicBezTo>
                    <a:pt x="-963" y="22041"/>
                    <a:pt x="1525" y="17605"/>
                    <a:pt x="7585" y="12735"/>
                  </a:cubicBezTo>
                  <a:cubicBezTo>
                    <a:pt x="13644" y="7974"/>
                    <a:pt x="23491" y="3105"/>
                    <a:pt x="35177" y="1049"/>
                  </a:cubicBezTo>
                  <a:cubicBezTo>
                    <a:pt x="46863" y="-1007"/>
                    <a:pt x="57791" y="184"/>
                    <a:pt x="65041" y="2672"/>
                  </a:cubicBezTo>
                  <a:cubicBezTo>
                    <a:pt x="72615" y="5053"/>
                    <a:pt x="76402" y="8407"/>
                    <a:pt x="75861" y="1057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0AA6213A-1C9C-42B0-94A4-7718EA8A4029}"/>
                </a:ext>
              </a:extLst>
            </p:cNvPr>
            <p:cNvSpPr/>
            <p:nvPr/>
          </p:nvSpPr>
          <p:spPr>
            <a:xfrm flipH="1">
              <a:off x="4510176" y="2945280"/>
              <a:ext cx="69521" cy="26972"/>
            </a:xfrm>
            <a:custGeom>
              <a:avLst/>
              <a:gdLst>
                <a:gd name="connsiteX0" fmla="*/ 62303 w 63075"/>
                <a:gd name="connsiteY0" fmla="*/ 23604 h 24471"/>
                <a:gd name="connsiteX1" fmla="*/ 31140 w 63075"/>
                <a:gd name="connsiteY1" fmla="*/ 17761 h 24471"/>
                <a:gd name="connsiteX2" fmla="*/ 194 w 63075"/>
                <a:gd name="connsiteY2" fmla="*/ 10836 h 24471"/>
                <a:gd name="connsiteX3" fmla="*/ 8201 w 63075"/>
                <a:gd name="connsiteY3" fmla="*/ 2720 h 24471"/>
                <a:gd name="connsiteX4" fmla="*/ 34603 w 63075"/>
                <a:gd name="connsiteY4" fmla="*/ 1097 h 24471"/>
                <a:gd name="connsiteX5" fmla="*/ 58083 w 63075"/>
                <a:gd name="connsiteY5" fmla="*/ 13000 h 24471"/>
                <a:gd name="connsiteX6" fmla="*/ 62303 w 63075"/>
                <a:gd name="connsiteY6" fmla="*/ 23604 h 24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075" h="24471">
                  <a:moveTo>
                    <a:pt x="62303" y="23604"/>
                  </a:moveTo>
                  <a:cubicBezTo>
                    <a:pt x="58407" y="26742"/>
                    <a:pt x="46397" y="20574"/>
                    <a:pt x="31140" y="17761"/>
                  </a:cubicBezTo>
                  <a:cubicBezTo>
                    <a:pt x="15991" y="14406"/>
                    <a:pt x="2466" y="15272"/>
                    <a:pt x="194" y="10836"/>
                  </a:cubicBezTo>
                  <a:cubicBezTo>
                    <a:pt x="-780" y="8672"/>
                    <a:pt x="1925" y="5317"/>
                    <a:pt x="8201" y="2720"/>
                  </a:cubicBezTo>
                  <a:cubicBezTo>
                    <a:pt x="14368" y="232"/>
                    <a:pt x="24215" y="-1067"/>
                    <a:pt x="34603" y="1097"/>
                  </a:cubicBezTo>
                  <a:cubicBezTo>
                    <a:pt x="44990" y="3261"/>
                    <a:pt x="53538" y="8239"/>
                    <a:pt x="58083" y="13000"/>
                  </a:cubicBezTo>
                  <a:cubicBezTo>
                    <a:pt x="62952" y="17869"/>
                    <a:pt x="64034" y="21981"/>
                    <a:pt x="62303" y="2360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F8598A54-2F29-4140-A95D-233560E17714}"/>
                </a:ext>
              </a:extLst>
            </p:cNvPr>
            <p:cNvSpPr/>
            <p:nvPr/>
          </p:nvSpPr>
          <p:spPr>
            <a:xfrm flipH="1">
              <a:off x="4622736" y="2739080"/>
              <a:ext cx="321055" cy="308164"/>
            </a:xfrm>
            <a:custGeom>
              <a:avLst/>
              <a:gdLst>
                <a:gd name="connsiteX0" fmla="*/ 289627 w 291286"/>
                <a:gd name="connsiteY0" fmla="*/ 15701 h 279590"/>
                <a:gd name="connsiteX1" fmla="*/ 265930 w 291286"/>
                <a:gd name="connsiteY1" fmla="*/ 159721 h 279590"/>
                <a:gd name="connsiteX2" fmla="*/ 242667 w 291286"/>
                <a:gd name="connsiteY2" fmla="*/ 193481 h 279590"/>
                <a:gd name="connsiteX3" fmla="*/ 204471 w 291286"/>
                <a:gd name="connsiteY3" fmla="*/ 204517 h 279590"/>
                <a:gd name="connsiteX4" fmla="*/ 240503 w 291286"/>
                <a:gd name="connsiteY4" fmla="*/ 111354 h 279590"/>
                <a:gd name="connsiteX5" fmla="*/ 184020 w 291286"/>
                <a:gd name="connsiteY5" fmla="*/ 207547 h 279590"/>
                <a:gd name="connsiteX6" fmla="*/ 85013 w 291286"/>
                <a:gd name="connsiteY6" fmla="*/ 250504 h 279590"/>
                <a:gd name="connsiteX7" fmla="*/ 88259 w 291286"/>
                <a:gd name="connsiteY7" fmla="*/ 225617 h 279590"/>
                <a:gd name="connsiteX8" fmla="*/ 57421 w 291286"/>
                <a:gd name="connsiteY8" fmla="*/ 271171 h 279590"/>
                <a:gd name="connsiteX9" fmla="*/ 5375 w 291286"/>
                <a:gd name="connsiteY9" fmla="*/ 270955 h 279590"/>
                <a:gd name="connsiteX10" fmla="*/ 9162 w 291286"/>
                <a:gd name="connsiteY10" fmla="*/ 86791 h 279590"/>
                <a:gd name="connsiteX11" fmla="*/ 109684 w 291286"/>
                <a:gd name="connsiteY11" fmla="*/ 12996 h 279590"/>
                <a:gd name="connsiteX12" fmla="*/ 288761 w 291286"/>
                <a:gd name="connsiteY12" fmla="*/ 10832 h 279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1286" h="279590">
                  <a:moveTo>
                    <a:pt x="289627" y="15701"/>
                  </a:moveTo>
                  <a:cubicBezTo>
                    <a:pt x="295145" y="64610"/>
                    <a:pt x="286814" y="115141"/>
                    <a:pt x="265930" y="159721"/>
                  </a:cubicBezTo>
                  <a:cubicBezTo>
                    <a:pt x="260087" y="172164"/>
                    <a:pt x="253054" y="184391"/>
                    <a:pt x="242667" y="193481"/>
                  </a:cubicBezTo>
                  <a:cubicBezTo>
                    <a:pt x="232279" y="202461"/>
                    <a:pt x="217888" y="207763"/>
                    <a:pt x="204471" y="204517"/>
                  </a:cubicBezTo>
                  <a:cubicBezTo>
                    <a:pt x="225787" y="178224"/>
                    <a:pt x="238555" y="145113"/>
                    <a:pt x="240503" y="111354"/>
                  </a:cubicBezTo>
                  <a:cubicBezTo>
                    <a:pt x="225029" y="145330"/>
                    <a:pt x="209232" y="180063"/>
                    <a:pt x="184020" y="207547"/>
                  </a:cubicBezTo>
                  <a:cubicBezTo>
                    <a:pt x="158809" y="235139"/>
                    <a:pt x="122127" y="254832"/>
                    <a:pt x="85013" y="250504"/>
                  </a:cubicBezTo>
                  <a:lnTo>
                    <a:pt x="88259" y="225617"/>
                  </a:lnTo>
                  <a:cubicBezTo>
                    <a:pt x="82308" y="243363"/>
                    <a:pt x="72895" y="260783"/>
                    <a:pt x="57421" y="271171"/>
                  </a:cubicBezTo>
                  <a:cubicBezTo>
                    <a:pt x="41948" y="281667"/>
                    <a:pt x="19442" y="283182"/>
                    <a:pt x="5375" y="270955"/>
                  </a:cubicBezTo>
                  <a:cubicBezTo>
                    <a:pt x="19550" y="210577"/>
                    <a:pt x="-15725" y="143599"/>
                    <a:pt x="9162" y="86791"/>
                  </a:cubicBezTo>
                  <a:cubicBezTo>
                    <a:pt x="26475" y="47405"/>
                    <a:pt x="68350" y="24790"/>
                    <a:pt x="109684" y="12996"/>
                  </a:cubicBezTo>
                  <a:cubicBezTo>
                    <a:pt x="167789" y="-3559"/>
                    <a:pt x="230331" y="-4316"/>
                    <a:pt x="288761" y="10832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37F59A61-73FC-416C-BFA9-515D2273CD85}"/>
                </a:ext>
              </a:extLst>
            </p:cNvPr>
            <p:cNvSpPr/>
            <p:nvPr/>
          </p:nvSpPr>
          <p:spPr>
            <a:xfrm flipH="1">
              <a:off x="4629694" y="2757221"/>
              <a:ext cx="476" cy="3100"/>
            </a:xfrm>
            <a:custGeom>
              <a:avLst/>
              <a:gdLst>
                <a:gd name="connsiteX0" fmla="*/ 0 w 432"/>
                <a:gd name="connsiteY0" fmla="*/ 0 h 2813"/>
                <a:gd name="connsiteX1" fmla="*/ 433 w 432"/>
                <a:gd name="connsiteY1" fmla="*/ 2597 h 2813"/>
                <a:gd name="connsiteX2" fmla="*/ 0 w 432"/>
                <a:gd name="connsiteY2" fmla="*/ 2813 h 2813"/>
                <a:gd name="connsiteX3" fmla="*/ 0 w 432"/>
                <a:gd name="connsiteY3" fmla="*/ 0 h 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" h="2813">
                  <a:moveTo>
                    <a:pt x="0" y="0"/>
                  </a:moveTo>
                  <a:cubicBezTo>
                    <a:pt x="216" y="866"/>
                    <a:pt x="325" y="1731"/>
                    <a:pt x="433" y="2597"/>
                  </a:cubicBezTo>
                  <a:lnTo>
                    <a:pt x="0" y="2813"/>
                  </a:lnTo>
                  <a:cubicBezTo>
                    <a:pt x="0" y="1948"/>
                    <a:pt x="0" y="97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B50DF78B-DF44-437B-B0E2-E693DE4B81E3}"/>
                </a:ext>
              </a:extLst>
            </p:cNvPr>
            <p:cNvSpPr/>
            <p:nvPr/>
          </p:nvSpPr>
          <p:spPr>
            <a:xfrm flipH="1">
              <a:off x="4457818" y="2743620"/>
              <a:ext cx="188095" cy="284923"/>
            </a:xfrm>
            <a:custGeom>
              <a:avLst/>
              <a:gdLst>
                <a:gd name="connsiteX0" fmla="*/ 14716 w 170654"/>
                <a:gd name="connsiteY0" fmla="*/ 15046 h 258504"/>
                <a:gd name="connsiteX1" fmla="*/ 22182 w 170654"/>
                <a:gd name="connsiteY1" fmla="*/ 12232 h 258504"/>
                <a:gd name="connsiteX2" fmla="*/ 95436 w 170654"/>
                <a:gd name="connsiteY2" fmla="*/ 20564 h 258504"/>
                <a:gd name="connsiteX3" fmla="*/ 142396 w 170654"/>
                <a:gd name="connsiteY3" fmla="*/ 90572 h 258504"/>
                <a:gd name="connsiteX4" fmla="*/ 167283 w 170654"/>
                <a:gd name="connsiteY4" fmla="*/ 165341 h 258504"/>
                <a:gd name="connsiteX5" fmla="*/ 167283 w 170654"/>
                <a:gd name="connsiteY5" fmla="*/ 258505 h 258504"/>
                <a:gd name="connsiteX6" fmla="*/ 131251 w 170654"/>
                <a:gd name="connsiteY6" fmla="*/ 195638 h 258504"/>
                <a:gd name="connsiteX7" fmla="*/ 110693 w 170654"/>
                <a:gd name="connsiteY7" fmla="*/ 124764 h 258504"/>
                <a:gd name="connsiteX8" fmla="*/ 112640 w 170654"/>
                <a:gd name="connsiteY8" fmla="*/ 186332 h 258504"/>
                <a:gd name="connsiteX9" fmla="*/ 105607 w 170654"/>
                <a:gd name="connsiteY9" fmla="*/ 201373 h 258504"/>
                <a:gd name="connsiteX10" fmla="*/ 90567 w 170654"/>
                <a:gd name="connsiteY10" fmla="*/ 200940 h 258504"/>
                <a:gd name="connsiteX11" fmla="*/ 92406 w 170654"/>
                <a:gd name="connsiteY11" fmla="*/ 128010 h 258504"/>
                <a:gd name="connsiteX12" fmla="*/ 66870 w 170654"/>
                <a:gd name="connsiteY12" fmla="*/ 58760 h 258504"/>
                <a:gd name="connsiteX13" fmla="*/ 58863 w 170654"/>
                <a:gd name="connsiteY13" fmla="*/ 182004 h 258504"/>
                <a:gd name="connsiteX14" fmla="*/ 51505 w 170654"/>
                <a:gd name="connsiteY14" fmla="*/ 197910 h 258504"/>
                <a:gd name="connsiteX15" fmla="*/ 26293 w 170654"/>
                <a:gd name="connsiteY15" fmla="*/ 202455 h 258504"/>
                <a:gd name="connsiteX16" fmla="*/ 0 w 170654"/>
                <a:gd name="connsiteY16" fmla="*/ 200615 h 258504"/>
                <a:gd name="connsiteX17" fmla="*/ 14716 w 170654"/>
                <a:gd name="connsiteY17" fmla="*/ 15046 h 25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0654" h="258504">
                  <a:moveTo>
                    <a:pt x="14716" y="15046"/>
                  </a:moveTo>
                  <a:lnTo>
                    <a:pt x="22182" y="12232"/>
                  </a:lnTo>
                  <a:cubicBezTo>
                    <a:pt x="45337" y="1087"/>
                    <a:pt x="60702" y="-11897"/>
                    <a:pt x="95436" y="20564"/>
                  </a:cubicBezTo>
                  <a:cubicBezTo>
                    <a:pt x="114263" y="38201"/>
                    <a:pt x="130710" y="64170"/>
                    <a:pt x="142396" y="90572"/>
                  </a:cubicBezTo>
                  <a:cubicBezTo>
                    <a:pt x="152784" y="114160"/>
                    <a:pt x="164037" y="139697"/>
                    <a:pt x="167283" y="165341"/>
                  </a:cubicBezTo>
                  <a:cubicBezTo>
                    <a:pt x="171503" y="198776"/>
                    <a:pt x="172044" y="223014"/>
                    <a:pt x="167283" y="258505"/>
                  </a:cubicBezTo>
                  <a:cubicBezTo>
                    <a:pt x="147049" y="244330"/>
                    <a:pt x="137203" y="219659"/>
                    <a:pt x="131251" y="195638"/>
                  </a:cubicBezTo>
                  <a:cubicBezTo>
                    <a:pt x="125300" y="171725"/>
                    <a:pt x="122054" y="146622"/>
                    <a:pt x="110693" y="124764"/>
                  </a:cubicBezTo>
                  <a:cubicBezTo>
                    <a:pt x="113614" y="145215"/>
                    <a:pt x="116536" y="165990"/>
                    <a:pt x="112640" y="186332"/>
                  </a:cubicBezTo>
                  <a:cubicBezTo>
                    <a:pt x="111558" y="191851"/>
                    <a:pt x="109827" y="197694"/>
                    <a:pt x="105607" y="201373"/>
                  </a:cubicBezTo>
                  <a:cubicBezTo>
                    <a:pt x="101387" y="205052"/>
                    <a:pt x="93921" y="205485"/>
                    <a:pt x="90567" y="200940"/>
                  </a:cubicBezTo>
                  <a:cubicBezTo>
                    <a:pt x="98682" y="177676"/>
                    <a:pt x="97925" y="152032"/>
                    <a:pt x="92406" y="128010"/>
                  </a:cubicBezTo>
                  <a:cubicBezTo>
                    <a:pt x="86888" y="103989"/>
                    <a:pt x="76933" y="81266"/>
                    <a:pt x="66870" y="58760"/>
                  </a:cubicBezTo>
                  <a:cubicBezTo>
                    <a:pt x="71198" y="99877"/>
                    <a:pt x="68493" y="141752"/>
                    <a:pt x="58863" y="182004"/>
                  </a:cubicBezTo>
                  <a:cubicBezTo>
                    <a:pt x="57456" y="187739"/>
                    <a:pt x="55725" y="193799"/>
                    <a:pt x="51505" y="197910"/>
                  </a:cubicBezTo>
                  <a:cubicBezTo>
                    <a:pt x="45121" y="204078"/>
                    <a:pt x="35058" y="203970"/>
                    <a:pt x="26293" y="202455"/>
                  </a:cubicBezTo>
                  <a:cubicBezTo>
                    <a:pt x="17529" y="200940"/>
                    <a:pt x="8548" y="198235"/>
                    <a:pt x="0" y="200615"/>
                  </a:cubicBezTo>
                  <a:cubicBezTo>
                    <a:pt x="21424" y="141428"/>
                    <a:pt x="26618" y="76614"/>
                    <a:pt x="14716" y="1504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91ED8A2B-BCBE-47B5-99FE-D2B0B534B512}"/>
                </a:ext>
              </a:extLst>
            </p:cNvPr>
            <p:cNvSpPr/>
            <p:nvPr/>
          </p:nvSpPr>
          <p:spPr>
            <a:xfrm flipH="1">
              <a:off x="4758335" y="2967362"/>
              <a:ext cx="274924" cy="878485"/>
            </a:xfrm>
            <a:custGeom>
              <a:avLst/>
              <a:gdLst>
                <a:gd name="connsiteX0" fmla="*/ 162722 w 249432"/>
                <a:gd name="connsiteY0" fmla="*/ 0 h 797030"/>
                <a:gd name="connsiteX1" fmla="*/ 157095 w 249432"/>
                <a:gd name="connsiteY1" fmla="*/ 208942 h 797030"/>
                <a:gd name="connsiteX2" fmla="*/ 200377 w 249432"/>
                <a:gd name="connsiteY2" fmla="*/ 354152 h 797030"/>
                <a:gd name="connsiteX3" fmla="*/ 167159 w 249432"/>
                <a:gd name="connsiteY3" fmla="*/ 503798 h 797030"/>
                <a:gd name="connsiteX4" fmla="*/ 208060 w 249432"/>
                <a:gd name="connsiteY4" fmla="*/ 589063 h 797030"/>
                <a:gd name="connsiteX5" fmla="*/ 244632 w 249432"/>
                <a:gd name="connsiteY5" fmla="*/ 797031 h 797030"/>
                <a:gd name="connsiteX6" fmla="*/ 83084 w 249432"/>
                <a:gd name="connsiteY6" fmla="*/ 796706 h 797030"/>
                <a:gd name="connsiteX7" fmla="*/ 54626 w 249432"/>
                <a:gd name="connsiteY7" fmla="*/ 634508 h 797030"/>
                <a:gd name="connsiteX8" fmla="*/ 15781 w 249432"/>
                <a:gd name="connsiteY8" fmla="*/ 535935 h 797030"/>
                <a:gd name="connsiteX9" fmla="*/ 27792 w 249432"/>
                <a:gd name="connsiteY9" fmla="*/ 439200 h 797030"/>
                <a:gd name="connsiteX10" fmla="*/ 6367 w 249432"/>
                <a:gd name="connsiteY10" fmla="*/ 263477 h 797030"/>
                <a:gd name="connsiteX11" fmla="*/ 30172 w 249432"/>
                <a:gd name="connsiteY11" fmla="*/ 92298 h 797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432" h="797030">
                  <a:moveTo>
                    <a:pt x="162722" y="0"/>
                  </a:moveTo>
                  <a:cubicBezTo>
                    <a:pt x="191072" y="64598"/>
                    <a:pt x="146275" y="139150"/>
                    <a:pt x="157095" y="208942"/>
                  </a:cubicBezTo>
                  <a:cubicBezTo>
                    <a:pt x="164886" y="259149"/>
                    <a:pt x="201135" y="303404"/>
                    <a:pt x="200377" y="354152"/>
                  </a:cubicBezTo>
                  <a:cubicBezTo>
                    <a:pt x="199620" y="405657"/>
                    <a:pt x="160558" y="452726"/>
                    <a:pt x="167159" y="503798"/>
                  </a:cubicBezTo>
                  <a:cubicBezTo>
                    <a:pt x="171270" y="535285"/>
                    <a:pt x="192045" y="561579"/>
                    <a:pt x="208060" y="589063"/>
                  </a:cubicBezTo>
                  <a:cubicBezTo>
                    <a:pt x="244200" y="651172"/>
                    <a:pt x="257509" y="726374"/>
                    <a:pt x="244632" y="797031"/>
                  </a:cubicBezTo>
                  <a:cubicBezTo>
                    <a:pt x="190747" y="796923"/>
                    <a:pt x="136970" y="796814"/>
                    <a:pt x="83084" y="796706"/>
                  </a:cubicBezTo>
                  <a:cubicBezTo>
                    <a:pt x="87629" y="741414"/>
                    <a:pt x="77674" y="685040"/>
                    <a:pt x="54626" y="634508"/>
                  </a:cubicBezTo>
                  <a:cubicBezTo>
                    <a:pt x="39802" y="602264"/>
                    <a:pt x="19352" y="571317"/>
                    <a:pt x="15781" y="535935"/>
                  </a:cubicBezTo>
                  <a:cubicBezTo>
                    <a:pt x="12535" y="503473"/>
                    <a:pt x="23896" y="471553"/>
                    <a:pt x="27792" y="439200"/>
                  </a:cubicBezTo>
                  <a:cubicBezTo>
                    <a:pt x="34825" y="380337"/>
                    <a:pt x="16755" y="321799"/>
                    <a:pt x="6367" y="263477"/>
                  </a:cubicBezTo>
                  <a:cubicBezTo>
                    <a:pt x="-4020" y="205155"/>
                    <a:pt x="-5211" y="139908"/>
                    <a:pt x="30172" y="92298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1A7F6595-3B69-4488-9217-DC8D8430EA33}"/>
                </a:ext>
              </a:extLst>
            </p:cNvPr>
            <p:cNvSpPr/>
            <p:nvPr/>
          </p:nvSpPr>
          <p:spPr>
            <a:xfrm flipH="1">
              <a:off x="2905350" y="4678297"/>
              <a:ext cx="1493689" cy="1401213"/>
            </a:xfrm>
            <a:custGeom>
              <a:avLst/>
              <a:gdLst>
                <a:gd name="connsiteX0" fmla="*/ 1056612 w 1355191"/>
                <a:gd name="connsiteY0" fmla="*/ 1268367 h 1271289"/>
                <a:gd name="connsiteX1" fmla="*/ 625203 w 1355191"/>
                <a:gd name="connsiteY1" fmla="*/ 1268367 h 1271289"/>
                <a:gd name="connsiteX2" fmla="*/ 581705 w 1355191"/>
                <a:gd name="connsiteY2" fmla="*/ 948625 h 1271289"/>
                <a:gd name="connsiteX3" fmla="*/ 162522 w 1355191"/>
                <a:gd name="connsiteY3" fmla="*/ 411392 h 1271289"/>
                <a:gd name="connsiteX4" fmla="*/ 0 w 1355191"/>
                <a:gd name="connsiteY4" fmla="*/ 0 h 1271289"/>
                <a:gd name="connsiteX5" fmla="*/ 407496 w 1355191"/>
                <a:gd name="connsiteY5" fmla="*/ 0 h 1271289"/>
                <a:gd name="connsiteX6" fmla="*/ 404358 w 1355191"/>
                <a:gd name="connsiteY6" fmla="*/ 3138 h 1271289"/>
                <a:gd name="connsiteX7" fmla="*/ 354801 w 1355191"/>
                <a:gd name="connsiteY7" fmla="*/ 126166 h 1271289"/>
                <a:gd name="connsiteX8" fmla="*/ 532472 w 1355191"/>
                <a:gd name="connsiteY8" fmla="*/ 303837 h 1271289"/>
                <a:gd name="connsiteX9" fmla="*/ 710143 w 1355191"/>
                <a:gd name="connsiteY9" fmla="*/ 126166 h 1271289"/>
                <a:gd name="connsiteX10" fmla="*/ 658205 w 1355191"/>
                <a:gd name="connsiteY10" fmla="*/ 1731 h 1271289"/>
                <a:gd name="connsiteX11" fmla="*/ 656366 w 1355191"/>
                <a:gd name="connsiteY11" fmla="*/ 108 h 1271289"/>
                <a:gd name="connsiteX12" fmla="*/ 1052933 w 1355191"/>
                <a:gd name="connsiteY12" fmla="*/ 3030 h 1271289"/>
                <a:gd name="connsiteX13" fmla="*/ 1052933 w 1355191"/>
                <a:gd name="connsiteY13" fmla="*/ 477937 h 1271289"/>
                <a:gd name="connsiteX14" fmla="*/ 1179208 w 1355191"/>
                <a:gd name="connsiteY14" fmla="*/ 424051 h 1271289"/>
                <a:gd name="connsiteX15" fmla="*/ 1350386 w 1355191"/>
                <a:gd name="connsiteY15" fmla="*/ 553896 h 1271289"/>
                <a:gd name="connsiteX16" fmla="*/ 1232444 w 1355191"/>
                <a:gd name="connsiteY16" fmla="*/ 771386 h 1271289"/>
                <a:gd name="connsiteX17" fmla="*/ 1051635 w 1355191"/>
                <a:gd name="connsiteY17" fmla="*/ 719124 h 1271289"/>
                <a:gd name="connsiteX18" fmla="*/ 1052933 w 1355191"/>
                <a:gd name="connsiteY18" fmla="*/ 1271289 h 127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55191" h="1271289">
                  <a:moveTo>
                    <a:pt x="1056612" y="1268367"/>
                  </a:moveTo>
                  <a:lnTo>
                    <a:pt x="625203" y="1268367"/>
                  </a:lnTo>
                  <a:cubicBezTo>
                    <a:pt x="625203" y="1268367"/>
                    <a:pt x="603454" y="1086693"/>
                    <a:pt x="581705" y="948625"/>
                  </a:cubicBezTo>
                  <a:cubicBezTo>
                    <a:pt x="559956" y="810556"/>
                    <a:pt x="251141" y="528901"/>
                    <a:pt x="162522" y="411392"/>
                  </a:cubicBezTo>
                  <a:cubicBezTo>
                    <a:pt x="126815" y="364107"/>
                    <a:pt x="38629" y="209158"/>
                    <a:pt x="0" y="0"/>
                  </a:cubicBezTo>
                  <a:lnTo>
                    <a:pt x="407496" y="0"/>
                  </a:lnTo>
                  <a:lnTo>
                    <a:pt x="404358" y="3138"/>
                  </a:lnTo>
                  <a:cubicBezTo>
                    <a:pt x="373737" y="35058"/>
                    <a:pt x="354801" y="78448"/>
                    <a:pt x="354801" y="126166"/>
                  </a:cubicBezTo>
                  <a:cubicBezTo>
                    <a:pt x="354801" y="224307"/>
                    <a:pt x="434331" y="303837"/>
                    <a:pt x="532472" y="303837"/>
                  </a:cubicBezTo>
                  <a:cubicBezTo>
                    <a:pt x="630613" y="303837"/>
                    <a:pt x="710143" y="224307"/>
                    <a:pt x="710143" y="126166"/>
                  </a:cubicBezTo>
                  <a:cubicBezTo>
                    <a:pt x="710143" y="77366"/>
                    <a:pt x="690125" y="33868"/>
                    <a:pt x="658205" y="1731"/>
                  </a:cubicBezTo>
                  <a:lnTo>
                    <a:pt x="656366" y="108"/>
                  </a:lnTo>
                  <a:lnTo>
                    <a:pt x="1052933" y="3030"/>
                  </a:lnTo>
                  <a:lnTo>
                    <a:pt x="1052933" y="477937"/>
                  </a:lnTo>
                  <a:cubicBezTo>
                    <a:pt x="1052933" y="477937"/>
                    <a:pt x="1089939" y="421563"/>
                    <a:pt x="1179208" y="424051"/>
                  </a:cubicBezTo>
                  <a:cubicBezTo>
                    <a:pt x="1268476" y="426540"/>
                    <a:pt x="1335995" y="489840"/>
                    <a:pt x="1350386" y="553896"/>
                  </a:cubicBezTo>
                  <a:cubicBezTo>
                    <a:pt x="1364777" y="617845"/>
                    <a:pt x="1352659" y="738925"/>
                    <a:pt x="1232444" y="771386"/>
                  </a:cubicBezTo>
                  <a:cubicBezTo>
                    <a:pt x="1112229" y="803848"/>
                    <a:pt x="1051635" y="719124"/>
                    <a:pt x="1051635" y="719124"/>
                  </a:cubicBezTo>
                  <a:lnTo>
                    <a:pt x="1052933" y="1271289"/>
                  </a:lnTo>
                </a:path>
              </a:pathLst>
            </a:custGeom>
            <a:solidFill>
              <a:srgbClr val="094A4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44198B87-E28F-40C6-AB40-D0047096B972}"/>
                </a:ext>
              </a:extLst>
            </p:cNvPr>
            <p:cNvSpPr/>
            <p:nvPr/>
          </p:nvSpPr>
          <p:spPr>
            <a:xfrm flipH="1">
              <a:off x="3235399" y="6049695"/>
              <a:ext cx="6201" cy="29816"/>
            </a:xfrm>
            <a:custGeom>
              <a:avLst/>
              <a:gdLst>
                <a:gd name="connsiteX0" fmla="*/ 2813 w 5626"/>
                <a:gd name="connsiteY0" fmla="*/ 0 h 27051"/>
                <a:gd name="connsiteX1" fmla="*/ 5627 w 5626"/>
                <a:gd name="connsiteY1" fmla="*/ 13526 h 27051"/>
                <a:gd name="connsiteX2" fmla="*/ 2813 w 5626"/>
                <a:gd name="connsiteY2" fmla="*/ 27051 h 27051"/>
                <a:gd name="connsiteX3" fmla="*/ 0 w 5626"/>
                <a:gd name="connsiteY3" fmla="*/ 13526 h 27051"/>
                <a:gd name="connsiteX4" fmla="*/ 2813 w 5626"/>
                <a:gd name="connsiteY4" fmla="*/ 0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6" h="27051">
                  <a:moveTo>
                    <a:pt x="2813" y="0"/>
                  </a:moveTo>
                  <a:cubicBezTo>
                    <a:pt x="4328" y="0"/>
                    <a:pt x="5627" y="6059"/>
                    <a:pt x="5627" y="13526"/>
                  </a:cubicBezTo>
                  <a:cubicBezTo>
                    <a:pt x="5627" y="20992"/>
                    <a:pt x="4436" y="27051"/>
                    <a:pt x="2813" y="27051"/>
                  </a:cubicBezTo>
                  <a:cubicBezTo>
                    <a:pt x="1298" y="27051"/>
                    <a:pt x="0" y="20992"/>
                    <a:pt x="0" y="13526"/>
                  </a:cubicBezTo>
                  <a:cubicBezTo>
                    <a:pt x="0" y="6059"/>
                    <a:pt x="1190" y="0"/>
                    <a:pt x="2813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021E0553-FD16-4744-93DF-2E1E109FE9A5}"/>
                </a:ext>
              </a:extLst>
            </p:cNvPr>
            <p:cNvSpPr/>
            <p:nvPr/>
          </p:nvSpPr>
          <p:spPr>
            <a:xfrm flipH="1">
              <a:off x="3235637" y="5927690"/>
              <a:ext cx="6208" cy="61062"/>
            </a:xfrm>
            <a:custGeom>
              <a:avLst/>
              <a:gdLst>
                <a:gd name="connsiteX0" fmla="*/ 2711 w 5632"/>
                <a:gd name="connsiteY0" fmla="*/ 0 h 55400"/>
                <a:gd name="connsiteX1" fmla="*/ 5633 w 5632"/>
                <a:gd name="connsiteY1" fmla="*/ 27700 h 55400"/>
                <a:gd name="connsiteX2" fmla="*/ 2928 w 5632"/>
                <a:gd name="connsiteY2" fmla="*/ 55400 h 55400"/>
                <a:gd name="connsiteX3" fmla="*/ 6 w 5632"/>
                <a:gd name="connsiteY3" fmla="*/ 27700 h 55400"/>
                <a:gd name="connsiteX4" fmla="*/ 2711 w 5632"/>
                <a:gd name="connsiteY4" fmla="*/ 0 h 5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32" h="55400">
                  <a:moveTo>
                    <a:pt x="2711" y="0"/>
                  </a:moveTo>
                  <a:cubicBezTo>
                    <a:pt x="4226" y="0"/>
                    <a:pt x="5525" y="12335"/>
                    <a:pt x="5633" y="27700"/>
                  </a:cubicBezTo>
                  <a:cubicBezTo>
                    <a:pt x="5633" y="42957"/>
                    <a:pt x="4443" y="55400"/>
                    <a:pt x="2928" y="55400"/>
                  </a:cubicBezTo>
                  <a:cubicBezTo>
                    <a:pt x="1413" y="55400"/>
                    <a:pt x="115" y="43065"/>
                    <a:pt x="6" y="27700"/>
                  </a:cubicBezTo>
                  <a:cubicBezTo>
                    <a:pt x="-102" y="12335"/>
                    <a:pt x="1196" y="0"/>
                    <a:pt x="2711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2034BCC5-A3DC-4B18-98CD-60EF9DD0F7D4}"/>
                </a:ext>
              </a:extLst>
            </p:cNvPr>
            <p:cNvSpPr/>
            <p:nvPr/>
          </p:nvSpPr>
          <p:spPr>
            <a:xfrm flipH="1">
              <a:off x="3235875" y="5805684"/>
              <a:ext cx="6209" cy="61062"/>
            </a:xfrm>
            <a:custGeom>
              <a:avLst/>
              <a:gdLst>
                <a:gd name="connsiteX0" fmla="*/ 2712 w 5633"/>
                <a:gd name="connsiteY0" fmla="*/ 0 h 55400"/>
                <a:gd name="connsiteX1" fmla="*/ 5633 w 5633"/>
                <a:gd name="connsiteY1" fmla="*/ 27700 h 55400"/>
                <a:gd name="connsiteX2" fmla="*/ 2928 w 5633"/>
                <a:gd name="connsiteY2" fmla="*/ 55401 h 55400"/>
                <a:gd name="connsiteX3" fmla="*/ 7 w 5633"/>
                <a:gd name="connsiteY3" fmla="*/ 27700 h 55400"/>
                <a:gd name="connsiteX4" fmla="*/ 2712 w 5633"/>
                <a:gd name="connsiteY4" fmla="*/ 0 h 5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33" h="55400">
                  <a:moveTo>
                    <a:pt x="2712" y="0"/>
                  </a:moveTo>
                  <a:cubicBezTo>
                    <a:pt x="4227" y="0"/>
                    <a:pt x="5525" y="12335"/>
                    <a:pt x="5633" y="27700"/>
                  </a:cubicBezTo>
                  <a:cubicBezTo>
                    <a:pt x="5633" y="42957"/>
                    <a:pt x="4443" y="55401"/>
                    <a:pt x="2928" y="55401"/>
                  </a:cubicBezTo>
                  <a:cubicBezTo>
                    <a:pt x="1413" y="55401"/>
                    <a:pt x="115" y="43065"/>
                    <a:pt x="7" y="27700"/>
                  </a:cubicBezTo>
                  <a:cubicBezTo>
                    <a:pt x="-101" y="12335"/>
                    <a:pt x="1089" y="0"/>
                    <a:pt x="2712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B943E6FD-C181-45B0-A4DE-B56734FD20F6}"/>
                </a:ext>
              </a:extLst>
            </p:cNvPr>
            <p:cNvSpPr/>
            <p:nvPr/>
          </p:nvSpPr>
          <p:spPr>
            <a:xfrm flipH="1">
              <a:off x="3236233" y="5683679"/>
              <a:ext cx="6208" cy="61062"/>
            </a:xfrm>
            <a:custGeom>
              <a:avLst/>
              <a:gdLst>
                <a:gd name="connsiteX0" fmla="*/ 2711 w 5632"/>
                <a:gd name="connsiteY0" fmla="*/ 0 h 55400"/>
                <a:gd name="connsiteX1" fmla="*/ 5633 w 5632"/>
                <a:gd name="connsiteY1" fmla="*/ 27700 h 55400"/>
                <a:gd name="connsiteX2" fmla="*/ 2928 w 5632"/>
                <a:gd name="connsiteY2" fmla="*/ 55400 h 55400"/>
                <a:gd name="connsiteX3" fmla="*/ 6 w 5632"/>
                <a:gd name="connsiteY3" fmla="*/ 27700 h 55400"/>
                <a:gd name="connsiteX4" fmla="*/ 2711 w 5632"/>
                <a:gd name="connsiteY4" fmla="*/ 0 h 5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32" h="55400">
                  <a:moveTo>
                    <a:pt x="2711" y="0"/>
                  </a:moveTo>
                  <a:cubicBezTo>
                    <a:pt x="4226" y="0"/>
                    <a:pt x="5525" y="12335"/>
                    <a:pt x="5633" y="27700"/>
                  </a:cubicBezTo>
                  <a:cubicBezTo>
                    <a:pt x="5633" y="42957"/>
                    <a:pt x="4442" y="55400"/>
                    <a:pt x="2928" y="55400"/>
                  </a:cubicBezTo>
                  <a:cubicBezTo>
                    <a:pt x="1413" y="55400"/>
                    <a:pt x="114" y="43065"/>
                    <a:pt x="6" y="27700"/>
                  </a:cubicBezTo>
                  <a:cubicBezTo>
                    <a:pt x="-102" y="12335"/>
                    <a:pt x="1196" y="0"/>
                    <a:pt x="2711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D28F39E3-2259-448E-8D9F-A98A8A81CDEA}"/>
                </a:ext>
              </a:extLst>
            </p:cNvPr>
            <p:cNvSpPr/>
            <p:nvPr/>
          </p:nvSpPr>
          <p:spPr>
            <a:xfrm flipH="1">
              <a:off x="3236471" y="5561674"/>
              <a:ext cx="6209" cy="61062"/>
            </a:xfrm>
            <a:custGeom>
              <a:avLst/>
              <a:gdLst>
                <a:gd name="connsiteX0" fmla="*/ 2712 w 5633"/>
                <a:gd name="connsiteY0" fmla="*/ 0 h 55400"/>
                <a:gd name="connsiteX1" fmla="*/ 5634 w 5633"/>
                <a:gd name="connsiteY1" fmla="*/ 27700 h 55400"/>
                <a:gd name="connsiteX2" fmla="*/ 2929 w 5633"/>
                <a:gd name="connsiteY2" fmla="*/ 55400 h 55400"/>
                <a:gd name="connsiteX3" fmla="*/ 7 w 5633"/>
                <a:gd name="connsiteY3" fmla="*/ 27700 h 55400"/>
                <a:gd name="connsiteX4" fmla="*/ 2712 w 5633"/>
                <a:gd name="connsiteY4" fmla="*/ 0 h 5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33" h="55400">
                  <a:moveTo>
                    <a:pt x="2712" y="0"/>
                  </a:moveTo>
                  <a:cubicBezTo>
                    <a:pt x="4227" y="0"/>
                    <a:pt x="5525" y="12335"/>
                    <a:pt x="5634" y="27700"/>
                  </a:cubicBezTo>
                  <a:cubicBezTo>
                    <a:pt x="5634" y="42957"/>
                    <a:pt x="4443" y="55400"/>
                    <a:pt x="2929" y="55400"/>
                  </a:cubicBezTo>
                  <a:cubicBezTo>
                    <a:pt x="1414" y="55400"/>
                    <a:pt x="115" y="43065"/>
                    <a:pt x="7" y="27700"/>
                  </a:cubicBezTo>
                  <a:cubicBezTo>
                    <a:pt x="-101" y="12335"/>
                    <a:pt x="1089" y="0"/>
                    <a:pt x="2712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7030EC9A-1874-4627-9571-13D6DF6A6247}"/>
                </a:ext>
              </a:extLst>
            </p:cNvPr>
            <p:cNvSpPr/>
            <p:nvPr/>
          </p:nvSpPr>
          <p:spPr>
            <a:xfrm flipH="1">
              <a:off x="3219313" y="5468971"/>
              <a:ext cx="23836" cy="31759"/>
            </a:xfrm>
            <a:custGeom>
              <a:avLst/>
              <a:gdLst>
                <a:gd name="connsiteX0" fmla="*/ 21533 w 21626"/>
                <a:gd name="connsiteY0" fmla="*/ 21132 h 28814"/>
                <a:gd name="connsiteX1" fmla="*/ 14283 w 21626"/>
                <a:gd name="connsiteY1" fmla="*/ 17237 h 28814"/>
                <a:gd name="connsiteX2" fmla="*/ 7683 w 21626"/>
                <a:gd name="connsiteY2" fmla="*/ 11394 h 28814"/>
                <a:gd name="connsiteX3" fmla="*/ 4112 w 21626"/>
                <a:gd name="connsiteY3" fmla="*/ 7607 h 28814"/>
                <a:gd name="connsiteX4" fmla="*/ 2273 w 21626"/>
                <a:gd name="connsiteY4" fmla="*/ 5551 h 28814"/>
                <a:gd name="connsiteX5" fmla="*/ 1407 w 21626"/>
                <a:gd name="connsiteY5" fmla="*/ 4469 h 28814"/>
                <a:gd name="connsiteX6" fmla="*/ 974 w 21626"/>
                <a:gd name="connsiteY6" fmla="*/ 3928 h 28814"/>
                <a:gd name="connsiteX7" fmla="*/ 758 w 21626"/>
                <a:gd name="connsiteY7" fmla="*/ 3603 h 28814"/>
                <a:gd name="connsiteX8" fmla="*/ 650 w 21626"/>
                <a:gd name="connsiteY8" fmla="*/ 3495 h 28814"/>
                <a:gd name="connsiteX9" fmla="*/ 541 w 21626"/>
                <a:gd name="connsiteY9" fmla="*/ 3387 h 28814"/>
                <a:gd name="connsiteX10" fmla="*/ 541 w 21626"/>
                <a:gd name="connsiteY10" fmla="*/ 3387 h 28814"/>
                <a:gd name="connsiteX11" fmla="*/ 541 w 21626"/>
                <a:gd name="connsiteY11" fmla="*/ 3387 h 28814"/>
                <a:gd name="connsiteX12" fmla="*/ 541 w 21626"/>
                <a:gd name="connsiteY12" fmla="*/ 3387 h 28814"/>
                <a:gd name="connsiteX13" fmla="*/ 5627 w 21626"/>
                <a:gd name="connsiteY13" fmla="*/ 1764 h 28814"/>
                <a:gd name="connsiteX14" fmla="*/ 2922 w 21626"/>
                <a:gd name="connsiteY14" fmla="*/ 28815 h 28814"/>
                <a:gd name="connsiteX15" fmla="*/ 0 w 21626"/>
                <a:gd name="connsiteY15" fmla="*/ 1764 h 28814"/>
                <a:gd name="connsiteX16" fmla="*/ 5086 w 21626"/>
                <a:gd name="connsiteY16" fmla="*/ 140 h 28814"/>
                <a:gd name="connsiteX17" fmla="*/ 5086 w 21626"/>
                <a:gd name="connsiteY17" fmla="*/ 140 h 28814"/>
                <a:gd name="connsiteX18" fmla="*/ 5086 w 21626"/>
                <a:gd name="connsiteY18" fmla="*/ 140 h 28814"/>
                <a:gd name="connsiteX19" fmla="*/ 5086 w 21626"/>
                <a:gd name="connsiteY19" fmla="*/ 140 h 28814"/>
                <a:gd name="connsiteX20" fmla="*/ 5086 w 21626"/>
                <a:gd name="connsiteY20" fmla="*/ 249 h 28814"/>
                <a:gd name="connsiteX21" fmla="*/ 5194 w 21626"/>
                <a:gd name="connsiteY21" fmla="*/ 357 h 28814"/>
                <a:gd name="connsiteX22" fmla="*/ 5410 w 21626"/>
                <a:gd name="connsiteY22" fmla="*/ 573 h 28814"/>
                <a:gd name="connsiteX23" fmla="*/ 5843 w 21626"/>
                <a:gd name="connsiteY23" fmla="*/ 1115 h 28814"/>
                <a:gd name="connsiteX24" fmla="*/ 6709 w 21626"/>
                <a:gd name="connsiteY24" fmla="*/ 2196 h 28814"/>
                <a:gd name="connsiteX25" fmla="*/ 8332 w 21626"/>
                <a:gd name="connsiteY25" fmla="*/ 4252 h 28814"/>
                <a:gd name="connsiteX26" fmla="*/ 11470 w 21626"/>
                <a:gd name="connsiteY26" fmla="*/ 8039 h 28814"/>
                <a:gd name="connsiteX27" fmla="*/ 16988 w 21626"/>
                <a:gd name="connsiteY27" fmla="*/ 14532 h 28814"/>
                <a:gd name="connsiteX28" fmla="*/ 21533 w 21626"/>
                <a:gd name="connsiteY28" fmla="*/ 21132 h 28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626" h="28814">
                  <a:moveTo>
                    <a:pt x="21533" y="21132"/>
                  </a:moveTo>
                  <a:cubicBezTo>
                    <a:pt x="20992" y="21673"/>
                    <a:pt x="18287" y="20267"/>
                    <a:pt x="14283" y="17237"/>
                  </a:cubicBezTo>
                  <a:cubicBezTo>
                    <a:pt x="12335" y="15722"/>
                    <a:pt x="10063" y="13774"/>
                    <a:pt x="7683" y="11394"/>
                  </a:cubicBezTo>
                  <a:cubicBezTo>
                    <a:pt x="6492" y="10204"/>
                    <a:pt x="5302" y="9013"/>
                    <a:pt x="4112" y="7607"/>
                  </a:cubicBezTo>
                  <a:lnTo>
                    <a:pt x="2273" y="5551"/>
                  </a:lnTo>
                  <a:lnTo>
                    <a:pt x="1407" y="4469"/>
                  </a:lnTo>
                  <a:lnTo>
                    <a:pt x="974" y="3928"/>
                  </a:lnTo>
                  <a:lnTo>
                    <a:pt x="758" y="3603"/>
                  </a:lnTo>
                  <a:lnTo>
                    <a:pt x="650" y="3495"/>
                  </a:lnTo>
                  <a:lnTo>
                    <a:pt x="541" y="3387"/>
                  </a:lnTo>
                  <a:lnTo>
                    <a:pt x="541" y="3387"/>
                  </a:lnTo>
                  <a:lnTo>
                    <a:pt x="541" y="3387"/>
                  </a:lnTo>
                  <a:lnTo>
                    <a:pt x="541" y="3387"/>
                  </a:lnTo>
                  <a:cubicBezTo>
                    <a:pt x="2813" y="2629"/>
                    <a:pt x="-4544" y="5010"/>
                    <a:pt x="5627" y="1764"/>
                  </a:cubicBezTo>
                  <a:cubicBezTo>
                    <a:pt x="5627" y="16696"/>
                    <a:pt x="4436" y="28815"/>
                    <a:pt x="2922" y="28815"/>
                  </a:cubicBezTo>
                  <a:cubicBezTo>
                    <a:pt x="1407" y="28815"/>
                    <a:pt x="108" y="16696"/>
                    <a:pt x="0" y="1764"/>
                  </a:cubicBezTo>
                  <a:cubicBezTo>
                    <a:pt x="10171" y="-1483"/>
                    <a:pt x="2813" y="898"/>
                    <a:pt x="5086" y="140"/>
                  </a:cubicBezTo>
                  <a:lnTo>
                    <a:pt x="5086" y="140"/>
                  </a:lnTo>
                  <a:lnTo>
                    <a:pt x="5086" y="140"/>
                  </a:lnTo>
                  <a:lnTo>
                    <a:pt x="5086" y="140"/>
                  </a:lnTo>
                  <a:lnTo>
                    <a:pt x="5086" y="249"/>
                  </a:lnTo>
                  <a:lnTo>
                    <a:pt x="5194" y="357"/>
                  </a:lnTo>
                  <a:lnTo>
                    <a:pt x="5410" y="573"/>
                  </a:lnTo>
                  <a:lnTo>
                    <a:pt x="5843" y="1115"/>
                  </a:lnTo>
                  <a:lnTo>
                    <a:pt x="6709" y="2196"/>
                  </a:lnTo>
                  <a:lnTo>
                    <a:pt x="8332" y="4252"/>
                  </a:lnTo>
                  <a:cubicBezTo>
                    <a:pt x="9306" y="5443"/>
                    <a:pt x="10388" y="6741"/>
                    <a:pt x="11470" y="8039"/>
                  </a:cubicBezTo>
                  <a:cubicBezTo>
                    <a:pt x="13093" y="9879"/>
                    <a:pt x="14932" y="12043"/>
                    <a:pt x="16988" y="14532"/>
                  </a:cubicBezTo>
                  <a:cubicBezTo>
                    <a:pt x="20234" y="18102"/>
                    <a:pt x="22074" y="20591"/>
                    <a:pt x="21533" y="2113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3477EDBC-B79D-4E82-84F2-EE56DC16A62A}"/>
                </a:ext>
              </a:extLst>
            </p:cNvPr>
            <p:cNvSpPr/>
            <p:nvPr/>
          </p:nvSpPr>
          <p:spPr>
            <a:xfrm flipH="1">
              <a:off x="3113630" y="5522526"/>
              <a:ext cx="56442" cy="14988"/>
            </a:xfrm>
            <a:custGeom>
              <a:avLst/>
              <a:gdLst>
                <a:gd name="connsiteX0" fmla="*/ 51209 w 51209"/>
                <a:gd name="connsiteY0" fmla="*/ 12362 h 13598"/>
                <a:gd name="connsiteX1" fmla="*/ 24482 w 51209"/>
                <a:gd name="connsiteY1" fmla="*/ 11172 h 13598"/>
                <a:gd name="connsiteX2" fmla="*/ 28 w 51209"/>
                <a:gd name="connsiteY2" fmla="*/ 352 h 13598"/>
                <a:gd name="connsiteX3" fmla="*/ 25781 w 51209"/>
                <a:gd name="connsiteY3" fmla="*/ 5654 h 13598"/>
                <a:gd name="connsiteX4" fmla="*/ 51209 w 51209"/>
                <a:gd name="connsiteY4" fmla="*/ 12362 h 1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09" h="13598">
                  <a:moveTo>
                    <a:pt x="51209" y="12362"/>
                  </a:moveTo>
                  <a:cubicBezTo>
                    <a:pt x="51209" y="13877"/>
                    <a:pt x="38982" y="14526"/>
                    <a:pt x="24482" y="11172"/>
                  </a:cubicBezTo>
                  <a:cubicBezTo>
                    <a:pt x="9983" y="7818"/>
                    <a:pt x="-621" y="1758"/>
                    <a:pt x="28" y="352"/>
                  </a:cubicBezTo>
                  <a:cubicBezTo>
                    <a:pt x="677" y="-1163"/>
                    <a:pt x="11822" y="2516"/>
                    <a:pt x="25781" y="5654"/>
                  </a:cubicBezTo>
                  <a:cubicBezTo>
                    <a:pt x="39739" y="8900"/>
                    <a:pt x="51317" y="10739"/>
                    <a:pt x="51209" y="1236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F96CF9F2-4D3D-411D-9637-A6C58AEAC71A}"/>
                </a:ext>
              </a:extLst>
            </p:cNvPr>
            <p:cNvSpPr/>
            <p:nvPr/>
          </p:nvSpPr>
          <p:spPr>
            <a:xfrm flipH="1">
              <a:off x="3000765" y="5512728"/>
              <a:ext cx="54912" cy="19870"/>
            </a:xfrm>
            <a:custGeom>
              <a:avLst/>
              <a:gdLst>
                <a:gd name="connsiteX0" fmla="*/ 49781 w 49820"/>
                <a:gd name="connsiteY0" fmla="*/ 260 h 18028"/>
                <a:gd name="connsiteX1" fmla="*/ 26409 w 49820"/>
                <a:gd name="connsiteY1" fmla="*/ 13244 h 18028"/>
                <a:gd name="connsiteX2" fmla="*/ 7 w 49820"/>
                <a:gd name="connsiteY2" fmla="*/ 17465 h 18028"/>
                <a:gd name="connsiteX3" fmla="*/ 24677 w 49820"/>
                <a:gd name="connsiteY3" fmla="*/ 7943 h 18028"/>
                <a:gd name="connsiteX4" fmla="*/ 49781 w 49820"/>
                <a:gd name="connsiteY4" fmla="*/ 260 h 18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20" h="18028">
                  <a:moveTo>
                    <a:pt x="49781" y="260"/>
                  </a:moveTo>
                  <a:cubicBezTo>
                    <a:pt x="50538" y="1559"/>
                    <a:pt x="40475" y="8483"/>
                    <a:pt x="26409" y="13244"/>
                  </a:cubicBezTo>
                  <a:cubicBezTo>
                    <a:pt x="12342" y="18005"/>
                    <a:pt x="223" y="18763"/>
                    <a:pt x="7" y="17465"/>
                  </a:cubicBezTo>
                  <a:cubicBezTo>
                    <a:pt x="-318" y="15733"/>
                    <a:pt x="11044" y="12595"/>
                    <a:pt x="24677" y="7943"/>
                  </a:cubicBezTo>
                  <a:cubicBezTo>
                    <a:pt x="38203" y="3398"/>
                    <a:pt x="49023" y="-1147"/>
                    <a:pt x="49781" y="26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C15135D6-8156-435C-A4FA-F71D0779C3E9}"/>
                </a:ext>
              </a:extLst>
            </p:cNvPr>
            <p:cNvSpPr/>
            <p:nvPr/>
          </p:nvSpPr>
          <p:spPr>
            <a:xfrm flipH="1">
              <a:off x="2922825" y="5429151"/>
              <a:ext cx="31851" cy="48910"/>
            </a:xfrm>
            <a:custGeom>
              <a:avLst/>
              <a:gdLst>
                <a:gd name="connsiteX0" fmla="*/ 28587 w 28898"/>
                <a:gd name="connsiteY0" fmla="*/ 20 h 44375"/>
                <a:gd name="connsiteX1" fmla="*/ 18632 w 28898"/>
                <a:gd name="connsiteY1" fmla="*/ 24907 h 44375"/>
                <a:gd name="connsiteX2" fmla="*/ 129 w 28898"/>
                <a:gd name="connsiteY2" fmla="*/ 44276 h 44375"/>
                <a:gd name="connsiteX3" fmla="*/ 13871 w 28898"/>
                <a:gd name="connsiteY3" fmla="*/ 21877 h 44375"/>
                <a:gd name="connsiteX4" fmla="*/ 28587 w 28898"/>
                <a:gd name="connsiteY4" fmla="*/ 20 h 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98" h="44375">
                  <a:moveTo>
                    <a:pt x="28587" y="20"/>
                  </a:moveTo>
                  <a:cubicBezTo>
                    <a:pt x="29993" y="561"/>
                    <a:pt x="26639" y="12247"/>
                    <a:pt x="18632" y="24907"/>
                  </a:cubicBezTo>
                  <a:cubicBezTo>
                    <a:pt x="10625" y="37567"/>
                    <a:pt x="1211" y="45358"/>
                    <a:pt x="129" y="44276"/>
                  </a:cubicBezTo>
                  <a:cubicBezTo>
                    <a:pt x="-1061" y="43194"/>
                    <a:pt x="6188" y="33888"/>
                    <a:pt x="13871" y="21877"/>
                  </a:cubicBezTo>
                  <a:cubicBezTo>
                    <a:pt x="21553" y="9867"/>
                    <a:pt x="27072" y="-521"/>
                    <a:pt x="28587" y="2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613DE97E-193A-4C69-B08D-F60984DB1DE5}"/>
                </a:ext>
              </a:extLst>
            </p:cNvPr>
            <p:cNvSpPr/>
            <p:nvPr/>
          </p:nvSpPr>
          <p:spPr>
            <a:xfrm flipH="1">
              <a:off x="2902387" y="5315036"/>
              <a:ext cx="6575" cy="58087"/>
            </a:xfrm>
            <a:custGeom>
              <a:avLst/>
              <a:gdLst>
                <a:gd name="connsiteX0" fmla="*/ 2151 w 5965"/>
                <a:gd name="connsiteY0" fmla="*/ 3 h 52701"/>
                <a:gd name="connsiteX1" fmla="*/ 5938 w 5965"/>
                <a:gd name="connsiteY1" fmla="*/ 26405 h 52701"/>
                <a:gd name="connsiteX2" fmla="*/ 1069 w 5965"/>
                <a:gd name="connsiteY2" fmla="*/ 52698 h 52701"/>
                <a:gd name="connsiteX3" fmla="*/ 312 w 5965"/>
                <a:gd name="connsiteY3" fmla="*/ 26296 h 52701"/>
                <a:gd name="connsiteX4" fmla="*/ 2151 w 5965"/>
                <a:gd name="connsiteY4" fmla="*/ 3 h 52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5" h="52701">
                  <a:moveTo>
                    <a:pt x="2151" y="3"/>
                  </a:moveTo>
                  <a:cubicBezTo>
                    <a:pt x="3666" y="-214"/>
                    <a:pt x="6263" y="11689"/>
                    <a:pt x="5938" y="26405"/>
                  </a:cubicBezTo>
                  <a:cubicBezTo>
                    <a:pt x="5614" y="41229"/>
                    <a:pt x="2584" y="52915"/>
                    <a:pt x="1069" y="52698"/>
                  </a:cubicBezTo>
                  <a:cubicBezTo>
                    <a:pt x="-554" y="52482"/>
                    <a:pt x="95" y="40688"/>
                    <a:pt x="312" y="26296"/>
                  </a:cubicBezTo>
                  <a:cubicBezTo>
                    <a:pt x="636" y="12013"/>
                    <a:pt x="636" y="219"/>
                    <a:pt x="2151" y="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3FF24966-C0FC-47A6-8703-618CE87BABDD}"/>
                </a:ext>
              </a:extLst>
            </p:cNvPr>
            <p:cNvSpPr/>
            <p:nvPr/>
          </p:nvSpPr>
          <p:spPr>
            <a:xfrm flipH="1">
              <a:off x="2920581" y="5210813"/>
              <a:ext cx="33021" cy="48205"/>
            </a:xfrm>
            <a:custGeom>
              <a:avLst/>
              <a:gdLst>
                <a:gd name="connsiteX0" fmla="*/ 127 w 29959"/>
                <a:gd name="connsiteY0" fmla="*/ 100 h 43735"/>
                <a:gd name="connsiteX1" fmla="*/ 18955 w 29959"/>
                <a:gd name="connsiteY1" fmla="*/ 19144 h 43735"/>
                <a:gd name="connsiteX2" fmla="*/ 29667 w 29959"/>
                <a:gd name="connsiteY2" fmla="*/ 43706 h 43735"/>
                <a:gd name="connsiteX3" fmla="*/ 14302 w 29959"/>
                <a:gd name="connsiteY3" fmla="*/ 22390 h 43735"/>
                <a:gd name="connsiteX4" fmla="*/ 127 w 29959"/>
                <a:gd name="connsiteY4" fmla="*/ 100 h 4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59" h="43735">
                  <a:moveTo>
                    <a:pt x="127" y="100"/>
                  </a:moveTo>
                  <a:cubicBezTo>
                    <a:pt x="1209" y="-982"/>
                    <a:pt x="10623" y="6809"/>
                    <a:pt x="18955" y="19144"/>
                  </a:cubicBezTo>
                  <a:cubicBezTo>
                    <a:pt x="27395" y="31479"/>
                    <a:pt x="31074" y="43165"/>
                    <a:pt x="29667" y="43706"/>
                  </a:cubicBezTo>
                  <a:cubicBezTo>
                    <a:pt x="28152" y="44355"/>
                    <a:pt x="22417" y="34184"/>
                    <a:pt x="14302" y="22390"/>
                  </a:cubicBezTo>
                  <a:cubicBezTo>
                    <a:pt x="6295" y="10487"/>
                    <a:pt x="-1063" y="1182"/>
                    <a:pt x="127" y="10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61658885-BFDB-428E-9DF6-EBA89A35D34E}"/>
                </a:ext>
              </a:extLst>
            </p:cNvPr>
            <p:cNvSpPr/>
            <p:nvPr/>
          </p:nvSpPr>
          <p:spPr>
            <a:xfrm flipH="1">
              <a:off x="2998723" y="5151656"/>
              <a:ext cx="53615" cy="23148"/>
            </a:xfrm>
            <a:custGeom>
              <a:avLst/>
              <a:gdLst>
                <a:gd name="connsiteX0" fmla="*/ 7 w 48644"/>
                <a:gd name="connsiteY0" fmla="*/ 536 h 21002"/>
                <a:gd name="connsiteX1" fmla="*/ 26084 w 48644"/>
                <a:gd name="connsiteY1" fmla="*/ 6378 h 21002"/>
                <a:gd name="connsiteX2" fmla="*/ 48591 w 48644"/>
                <a:gd name="connsiteY2" fmla="*/ 20770 h 21002"/>
                <a:gd name="connsiteX3" fmla="*/ 23920 w 48644"/>
                <a:gd name="connsiteY3" fmla="*/ 11572 h 21002"/>
                <a:gd name="connsiteX4" fmla="*/ 7 w 48644"/>
                <a:gd name="connsiteY4" fmla="*/ 536 h 21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44" h="21002">
                  <a:moveTo>
                    <a:pt x="7" y="536"/>
                  </a:moveTo>
                  <a:cubicBezTo>
                    <a:pt x="332" y="-979"/>
                    <a:pt x="12342" y="644"/>
                    <a:pt x="26084" y="6378"/>
                  </a:cubicBezTo>
                  <a:cubicBezTo>
                    <a:pt x="39826" y="12113"/>
                    <a:pt x="49456" y="19579"/>
                    <a:pt x="48591" y="20770"/>
                  </a:cubicBezTo>
                  <a:cubicBezTo>
                    <a:pt x="47725" y="22176"/>
                    <a:pt x="37229" y="16982"/>
                    <a:pt x="23920" y="11572"/>
                  </a:cubicBezTo>
                  <a:cubicBezTo>
                    <a:pt x="10719" y="6054"/>
                    <a:pt x="-318" y="2050"/>
                    <a:pt x="7" y="53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CAF4C88B-89AC-4828-9972-1FDE7365001B}"/>
                </a:ext>
              </a:extLst>
            </p:cNvPr>
            <p:cNvSpPr/>
            <p:nvPr/>
          </p:nvSpPr>
          <p:spPr>
            <a:xfrm flipH="1">
              <a:off x="3110052" y="5143593"/>
              <a:ext cx="57267" cy="12108"/>
            </a:xfrm>
            <a:custGeom>
              <a:avLst/>
              <a:gdLst>
                <a:gd name="connsiteX0" fmla="*/ 19 w 51957"/>
                <a:gd name="connsiteY0" fmla="*/ 10557 h 10985"/>
                <a:gd name="connsiteX1" fmla="*/ 25230 w 51957"/>
                <a:gd name="connsiteY1" fmla="*/ 1359 h 10985"/>
                <a:gd name="connsiteX2" fmla="*/ 51957 w 51957"/>
                <a:gd name="connsiteY2" fmla="*/ 1792 h 10985"/>
                <a:gd name="connsiteX3" fmla="*/ 26096 w 51957"/>
                <a:gd name="connsiteY3" fmla="*/ 6986 h 10985"/>
                <a:gd name="connsiteX4" fmla="*/ 19 w 51957"/>
                <a:gd name="connsiteY4" fmla="*/ 10557 h 1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57" h="10985">
                  <a:moveTo>
                    <a:pt x="19" y="10557"/>
                  </a:moveTo>
                  <a:cubicBezTo>
                    <a:pt x="-522" y="9150"/>
                    <a:pt x="10515" y="3740"/>
                    <a:pt x="25230" y="1359"/>
                  </a:cubicBezTo>
                  <a:cubicBezTo>
                    <a:pt x="39946" y="-1130"/>
                    <a:pt x="52065" y="277"/>
                    <a:pt x="51957" y="1792"/>
                  </a:cubicBezTo>
                  <a:cubicBezTo>
                    <a:pt x="51957" y="3415"/>
                    <a:pt x="40271" y="4605"/>
                    <a:pt x="26096" y="6986"/>
                  </a:cubicBezTo>
                  <a:cubicBezTo>
                    <a:pt x="12030" y="9258"/>
                    <a:pt x="560" y="12071"/>
                    <a:pt x="19" y="1055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9A5FB03E-371B-4FFC-B234-FC1DA4D17A81}"/>
                </a:ext>
              </a:extLst>
            </p:cNvPr>
            <p:cNvSpPr/>
            <p:nvPr/>
          </p:nvSpPr>
          <p:spPr>
            <a:xfrm flipH="1">
              <a:off x="3218005" y="5175144"/>
              <a:ext cx="23713" cy="31650"/>
            </a:xfrm>
            <a:custGeom>
              <a:avLst/>
              <a:gdLst>
                <a:gd name="connsiteX0" fmla="*/ 2921 w 21514"/>
                <a:gd name="connsiteY0" fmla="*/ 0 h 28715"/>
                <a:gd name="connsiteX1" fmla="*/ 5735 w 21514"/>
                <a:gd name="connsiteY1" fmla="*/ 27051 h 28715"/>
                <a:gd name="connsiteX2" fmla="*/ 541 w 21514"/>
                <a:gd name="connsiteY2" fmla="*/ 25536 h 28715"/>
                <a:gd name="connsiteX3" fmla="*/ 541 w 21514"/>
                <a:gd name="connsiteY3" fmla="*/ 25536 h 28715"/>
                <a:gd name="connsiteX4" fmla="*/ 541 w 21514"/>
                <a:gd name="connsiteY4" fmla="*/ 25536 h 28715"/>
                <a:gd name="connsiteX5" fmla="*/ 541 w 21514"/>
                <a:gd name="connsiteY5" fmla="*/ 25536 h 28715"/>
                <a:gd name="connsiteX6" fmla="*/ 649 w 21514"/>
                <a:gd name="connsiteY6" fmla="*/ 25428 h 28715"/>
                <a:gd name="connsiteX7" fmla="*/ 757 w 21514"/>
                <a:gd name="connsiteY7" fmla="*/ 25320 h 28715"/>
                <a:gd name="connsiteX8" fmla="*/ 974 w 21514"/>
                <a:gd name="connsiteY8" fmla="*/ 24995 h 28715"/>
                <a:gd name="connsiteX9" fmla="*/ 1406 w 21514"/>
                <a:gd name="connsiteY9" fmla="*/ 24346 h 28715"/>
                <a:gd name="connsiteX10" fmla="*/ 2272 w 21514"/>
                <a:gd name="connsiteY10" fmla="*/ 23156 h 28715"/>
                <a:gd name="connsiteX11" fmla="*/ 4003 w 21514"/>
                <a:gd name="connsiteY11" fmla="*/ 20992 h 28715"/>
                <a:gd name="connsiteX12" fmla="*/ 7574 w 21514"/>
                <a:gd name="connsiteY12" fmla="*/ 17204 h 28715"/>
                <a:gd name="connsiteX13" fmla="*/ 14175 w 21514"/>
                <a:gd name="connsiteY13" fmla="*/ 11362 h 28715"/>
                <a:gd name="connsiteX14" fmla="*/ 21424 w 21514"/>
                <a:gd name="connsiteY14" fmla="*/ 7574 h 28715"/>
                <a:gd name="connsiteX15" fmla="*/ 16880 w 21514"/>
                <a:gd name="connsiteY15" fmla="*/ 14283 h 28715"/>
                <a:gd name="connsiteX16" fmla="*/ 11361 w 21514"/>
                <a:gd name="connsiteY16" fmla="*/ 20667 h 28715"/>
                <a:gd name="connsiteX17" fmla="*/ 8223 w 21514"/>
                <a:gd name="connsiteY17" fmla="*/ 24454 h 28715"/>
                <a:gd name="connsiteX18" fmla="*/ 6600 w 21514"/>
                <a:gd name="connsiteY18" fmla="*/ 26510 h 28715"/>
                <a:gd name="connsiteX19" fmla="*/ 5843 w 21514"/>
                <a:gd name="connsiteY19" fmla="*/ 27592 h 28715"/>
                <a:gd name="connsiteX20" fmla="*/ 5518 w 21514"/>
                <a:gd name="connsiteY20" fmla="*/ 28133 h 28715"/>
                <a:gd name="connsiteX21" fmla="*/ 5302 w 21514"/>
                <a:gd name="connsiteY21" fmla="*/ 28349 h 28715"/>
                <a:gd name="connsiteX22" fmla="*/ 5194 w 21514"/>
                <a:gd name="connsiteY22" fmla="*/ 28458 h 28715"/>
                <a:gd name="connsiteX23" fmla="*/ 5194 w 21514"/>
                <a:gd name="connsiteY23" fmla="*/ 28566 h 28715"/>
                <a:gd name="connsiteX24" fmla="*/ 5194 w 21514"/>
                <a:gd name="connsiteY24" fmla="*/ 28566 h 28715"/>
                <a:gd name="connsiteX25" fmla="*/ 5194 w 21514"/>
                <a:gd name="connsiteY25" fmla="*/ 28566 h 28715"/>
                <a:gd name="connsiteX26" fmla="*/ 5194 w 21514"/>
                <a:gd name="connsiteY26" fmla="*/ 28566 h 28715"/>
                <a:gd name="connsiteX27" fmla="*/ 0 w 21514"/>
                <a:gd name="connsiteY27" fmla="*/ 27051 h 28715"/>
                <a:gd name="connsiteX28" fmla="*/ 2921 w 21514"/>
                <a:gd name="connsiteY28" fmla="*/ 0 h 2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1514" h="28715">
                  <a:moveTo>
                    <a:pt x="2921" y="0"/>
                  </a:moveTo>
                  <a:cubicBezTo>
                    <a:pt x="4436" y="0"/>
                    <a:pt x="5735" y="12119"/>
                    <a:pt x="5735" y="27051"/>
                  </a:cubicBezTo>
                  <a:cubicBezTo>
                    <a:pt x="-4653" y="23913"/>
                    <a:pt x="2921" y="26186"/>
                    <a:pt x="541" y="25536"/>
                  </a:cubicBezTo>
                  <a:lnTo>
                    <a:pt x="541" y="25536"/>
                  </a:lnTo>
                  <a:lnTo>
                    <a:pt x="541" y="25536"/>
                  </a:lnTo>
                  <a:lnTo>
                    <a:pt x="541" y="25536"/>
                  </a:lnTo>
                  <a:lnTo>
                    <a:pt x="649" y="25428"/>
                  </a:lnTo>
                  <a:lnTo>
                    <a:pt x="757" y="25320"/>
                  </a:lnTo>
                  <a:lnTo>
                    <a:pt x="974" y="24995"/>
                  </a:lnTo>
                  <a:lnTo>
                    <a:pt x="1406" y="24346"/>
                  </a:lnTo>
                  <a:lnTo>
                    <a:pt x="2272" y="23156"/>
                  </a:lnTo>
                  <a:lnTo>
                    <a:pt x="4003" y="20992"/>
                  </a:lnTo>
                  <a:cubicBezTo>
                    <a:pt x="5194" y="19585"/>
                    <a:pt x="6384" y="18287"/>
                    <a:pt x="7574" y="17204"/>
                  </a:cubicBezTo>
                  <a:cubicBezTo>
                    <a:pt x="9955" y="14824"/>
                    <a:pt x="12227" y="12876"/>
                    <a:pt x="14175" y="11362"/>
                  </a:cubicBezTo>
                  <a:cubicBezTo>
                    <a:pt x="18178" y="8332"/>
                    <a:pt x="20992" y="6925"/>
                    <a:pt x="21424" y="7574"/>
                  </a:cubicBezTo>
                  <a:cubicBezTo>
                    <a:pt x="21965" y="8224"/>
                    <a:pt x="20017" y="10604"/>
                    <a:pt x="16880" y="14283"/>
                  </a:cubicBezTo>
                  <a:cubicBezTo>
                    <a:pt x="14824" y="16772"/>
                    <a:pt x="12984" y="18828"/>
                    <a:pt x="11361" y="20667"/>
                  </a:cubicBezTo>
                  <a:cubicBezTo>
                    <a:pt x="10279" y="22074"/>
                    <a:pt x="9197" y="23264"/>
                    <a:pt x="8223" y="24454"/>
                  </a:cubicBezTo>
                  <a:lnTo>
                    <a:pt x="6600" y="26510"/>
                  </a:lnTo>
                  <a:lnTo>
                    <a:pt x="5843" y="27592"/>
                  </a:lnTo>
                  <a:lnTo>
                    <a:pt x="5518" y="28133"/>
                  </a:lnTo>
                  <a:lnTo>
                    <a:pt x="5302" y="28349"/>
                  </a:lnTo>
                  <a:lnTo>
                    <a:pt x="5194" y="28458"/>
                  </a:lnTo>
                  <a:lnTo>
                    <a:pt x="5194" y="28566"/>
                  </a:lnTo>
                  <a:lnTo>
                    <a:pt x="5194" y="28566"/>
                  </a:lnTo>
                  <a:lnTo>
                    <a:pt x="5194" y="28566"/>
                  </a:lnTo>
                  <a:lnTo>
                    <a:pt x="5194" y="28566"/>
                  </a:lnTo>
                  <a:cubicBezTo>
                    <a:pt x="2921" y="27917"/>
                    <a:pt x="10387" y="30081"/>
                    <a:pt x="0" y="27051"/>
                  </a:cubicBezTo>
                  <a:cubicBezTo>
                    <a:pt x="108" y="12119"/>
                    <a:pt x="1406" y="0"/>
                    <a:pt x="2921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AC6B0A51-F4FC-4950-9DDD-57A8F2D03373}"/>
                </a:ext>
              </a:extLst>
            </p:cNvPr>
            <p:cNvSpPr/>
            <p:nvPr/>
          </p:nvSpPr>
          <p:spPr>
            <a:xfrm flipH="1">
              <a:off x="3235399" y="5042644"/>
              <a:ext cx="6201" cy="66309"/>
            </a:xfrm>
            <a:custGeom>
              <a:avLst/>
              <a:gdLst>
                <a:gd name="connsiteX0" fmla="*/ 2813 w 5626"/>
                <a:gd name="connsiteY0" fmla="*/ 0 h 60161"/>
                <a:gd name="connsiteX1" fmla="*/ 5627 w 5626"/>
                <a:gd name="connsiteY1" fmla="*/ 30081 h 60161"/>
                <a:gd name="connsiteX2" fmla="*/ 2813 w 5626"/>
                <a:gd name="connsiteY2" fmla="*/ 60161 h 60161"/>
                <a:gd name="connsiteX3" fmla="*/ 0 w 5626"/>
                <a:gd name="connsiteY3" fmla="*/ 30081 h 60161"/>
                <a:gd name="connsiteX4" fmla="*/ 2813 w 5626"/>
                <a:gd name="connsiteY4" fmla="*/ 0 h 6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6" h="60161">
                  <a:moveTo>
                    <a:pt x="2813" y="0"/>
                  </a:moveTo>
                  <a:cubicBezTo>
                    <a:pt x="4328" y="0"/>
                    <a:pt x="5627" y="13417"/>
                    <a:pt x="5627" y="30081"/>
                  </a:cubicBezTo>
                  <a:cubicBezTo>
                    <a:pt x="5627" y="46636"/>
                    <a:pt x="4328" y="60161"/>
                    <a:pt x="2813" y="60161"/>
                  </a:cubicBezTo>
                  <a:cubicBezTo>
                    <a:pt x="1298" y="60161"/>
                    <a:pt x="0" y="46744"/>
                    <a:pt x="0" y="30081"/>
                  </a:cubicBezTo>
                  <a:cubicBezTo>
                    <a:pt x="0" y="13417"/>
                    <a:pt x="1298" y="0"/>
                    <a:pt x="2813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EF333CC2-1AFB-475D-B0F7-A851753451DF}"/>
                </a:ext>
              </a:extLst>
            </p:cNvPr>
            <p:cNvSpPr/>
            <p:nvPr/>
          </p:nvSpPr>
          <p:spPr>
            <a:xfrm flipH="1">
              <a:off x="3235399" y="4910144"/>
              <a:ext cx="6201" cy="66309"/>
            </a:xfrm>
            <a:custGeom>
              <a:avLst/>
              <a:gdLst>
                <a:gd name="connsiteX0" fmla="*/ 2813 w 5626"/>
                <a:gd name="connsiteY0" fmla="*/ 0 h 60161"/>
                <a:gd name="connsiteX1" fmla="*/ 5627 w 5626"/>
                <a:gd name="connsiteY1" fmla="*/ 30081 h 60161"/>
                <a:gd name="connsiteX2" fmla="*/ 2813 w 5626"/>
                <a:gd name="connsiteY2" fmla="*/ 60161 h 60161"/>
                <a:gd name="connsiteX3" fmla="*/ 0 w 5626"/>
                <a:gd name="connsiteY3" fmla="*/ 30081 h 60161"/>
                <a:gd name="connsiteX4" fmla="*/ 2813 w 5626"/>
                <a:gd name="connsiteY4" fmla="*/ 0 h 6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6" h="60161">
                  <a:moveTo>
                    <a:pt x="2813" y="0"/>
                  </a:moveTo>
                  <a:cubicBezTo>
                    <a:pt x="4328" y="0"/>
                    <a:pt x="5627" y="13417"/>
                    <a:pt x="5627" y="30081"/>
                  </a:cubicBezTo>
                  <a:cubicBezTo>
                    <a:pt x="5627" y="46636"/>
                    <a:pt x="4328" y="60161"/>
                    <a:pt x="2813" y="60161"/>
                  </a:cubicBezTo>
                  <a:cubicBezTo>
                    <a:pt x="1298" y="60161"/>
                    <a:pt x="0" y="46744"/>
                    <a:pt x="0" y="30081"/>
                  </a:cubicBezTo>
                  <a:cubicBezTo>
                    <a:pt x="0" y="13417"/>
                    <a:pt x="1298" y="0"/>
                    <a:pt x="2813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36182DAB-D891-4F7E-9055-5742A2E71B3F}"/>
                </a:ext>
              </a:extLst>
            </p:cNvPr>
            <p:cNvSpPr/>
            <p:nvPr/>
          </p:nvSpPr>
          <p:spPr>
            <a:xfrm flipH="1">
              <a:off x="3235399" y="4777643"/>
              <a:ext cx="6201" cy="66309"/>
            </a:xfrm>
            <a:custGeom>
              <a:avLst/>
              <a:gdLst>
                <a:gd name="connsiteX0" fmla="*/ 2813 w 5626"/>
                <a:gd name="connsiteY0" fmla="*/ 0 h 60161"/>
                <a:gd name="connsiteX1" fmla="*/ 5627 w 5626"/>
                <a:gd name="connsiteY1" fmla="*/ 30081 h 60161"/>
                <a:gd name="connsiteX2" fmla="*/ 2813 w 5626"/>
                <a:gd name="connsiteY2" fmla="*/ 60161 h 60161"/>
                <a:gd name="connsiteX3" fmla="*/ 0 w 5626"/>
                <a:gd name="connsiteY3" fmla="*/ 30081 h 60161"/>
                <a:gd name="connsiteX4" fmla="*/ 2813 w 5626"/>
                <a:gd name="connsiteY4" fmla="*/ 0 h 6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6" h="60161">
                  <a:moveTo>
                    <a:pt x="2813" y="0"/>
                  </a:moveTo>
                  <a:cubicBezTo>
                    <a:pt x="4328" y="0"/>
                    <a:pt x="5627" y="13417"/>
                    <a:pt x="5627" y="30081"/>
                  </a:cubicBezTo>
                  <a:cubicBezTo>
                    <a:pt x="5627" y="46636"/>
                    <a:pt x="4328" y="60161"/>
                    <a:pt x="2813" y="60161"/>
                  </a:cubicBezTo>
                  <a:cubicBezTo>
                    <a:pt x="1298" y="60161"/>
                    <a:pt x="0" y="46744"/>
                    <a:pt x="0" y="30081"/>
                  </a:cubicBezTo>
                  <a:cubicBezTo>
                    <a:pt x="0" y="13417"/>
                    <a:pt x="1298" y="0"/>
                    <a:pt x="2813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5A19A82D-9977-48C6-BD76-1C83141B68B4}"/>
                </a:ext>
              </a:extLst>
            </p:cNvPr>
            <p:cNvSpPr/>
            <p:nvPr/>
          </p:nvSpPr>
          <p:spPr>
            <a:xfrm flipH="1">
              <a:off x="3235124" y="4678529"/>
              <a:ext cx="33189" cy="32804"/>
            </a:xfrm>
            <a:custGeom>
              <a:avLst/>
              <a:gdLst>
                <a:gd name="connsiteX0" fmla="*/ 0 w 30112"/>
                <a:gd name="connsiteY0" fmla="*/ 2604 h 29762"/>
                <a:gd name="connsiteX1" fmla="*/ 27051 w 30112"/>
                <a:gd name="connsiteY1" fmla="*/ 7 h 29762"/>
                <a:gd name="connsiteX2" fmla="*/ 29864 w 30112"/>
                <a:gd name="connsiteY2" fmla="*/ 2820 h 29762"/>
                <a:gd name="connsiteX3" fmla="*/ 29864 w 30112"/>
                <a:gd name="connsiteY3" fmla="*/ 2820 h 29762"/>
                <a:gd name="connsiteX4" fmla="*/ 29864 w 30112"/>
                <a:gd name="connsiteY4" fmla="*/ 2820 h 29762"/>
                <a:gd name="connsiteX5" fmla="*/ 29864 w 30112"/>
                <a:gd name="connsiteY5" fmla="*/ 2820 h 29762"/>
                <a:gd name="connsiteX6" fmla="*/ 29864 w 30112"/>
                <a:gd name="connsiteY6" fmla="*/ 2928 h 29762"/>
                <a:gd name="connsiteX7" fmla="*/ 29864 w 30112"/>
                <a:gd name="connsiteY7" fmla="*/ 3145 h 29762"/>
                <a:gd name="connsiteX8" fmla="*/ 29864 w 30112"/>
                <a:gd name="connsiteY8" fmla="*/ 3469 h 29762"/>
                <a:gd name="connsiteX9" fmla="*/ 29864 w 30112"/>
                <a:gd name="connsiteY9" fmla="*/ 4119 h 29762"/>
                <a:gd name="connsiteX10" fmla="*/ 29864 w 30112"/>
                <a:gd name="connsiteY10" fmla="*/ 5525 h 29762"/>
                <a:gd name="connsiteX11" fmla="*/ 29864 w 30112"/>
                <a:gd name="connsiteY11" fmla="*/ 8230 h 29762"/>
                <a:gd name="connsiteX12" fmla="*/ 29648 w 30112"/>
                <a:gd name="connsiteY12" fmla="*/ 13316 h 29762"/>
                <a:gd name="connsiteX13" fmla="*/ 28999 w 30112"/>
                <a:gd name="connsiteY13" fmla="*/ 21864 h 29762"/>
                <a:gd name="connsiteX14" fmla="*/ 27051 w 30112"/>
                <a:gd name="connsiteY14" fmla="*/ 29763 h 29762"/>
                <a:gd name="connsiteX15" fmla="*/ 25103 w 30112"/>
                <a:gd name="connsiteY15" fmla="*/ 21864 h 29762"/>
                <a:gd name="connsiteX16" fmla="*/ 24454 w 30112"/>
                <a:gd name="connsiteY16" fmla="*/ 13316 h 29762"/>
                <a:gd name="connsiteX17" fmla="*/ 24238 w 30112"/>
                <a:gd name="connsiteY17" fmla="*/ 8230 h 29762"/>
                <a:gd name="connsiteX18" fmla="*/ 24238 w 30112"/>
                <a:gd name="connsiteY18" fmla="*/ 5525 h 29762"/>
                <a:gd name="connsiteX19" fmla="*/ 24238 w 30112"/>
                <a:gd name="connsiteY19" fmla="*/ 4119 h 29762"/>
                <a:gd name="connsiteX20" fmla="*/ 24238 w 30112"/>
                <a:gd name="connsiteY20" fmla="*/ 3469 h 29762"/>
                <a:gd name="connsiteX21" fmla="*/ 24238 w 30112"/>
                <a:gd name="connsiteY21" fmla="*/ 3145 h 29762"/>
                <a:gd name="connsiteX22" fmla="*/ 24238 w 30112"/>
                <a:gd name="connsiteY22" fmla="*/ 2928 h 29762"/>
                <a:gd name="connsiteX23" fmla="*/ 24238 w 30112"/>
                <a:gd name="connsiteY23" fmla="*/ 2820 h 29762"/>
                <a:gd name="connsiteX24" fmla="*/ 24238 w 30112"/>
                <a:gd name="connsiteY24" fmla="*/ 2820 h 29762"/>
                <a:gd name="connsiteX25" fmla="*/ 24238 w 30112"/>
                <a:gd name="connsiteY25" fmla="*/ 2820 h 29762"/>
                <a:gd name="connsiteX26" fmla="*/ 24238 w 30112"/>
                <a:gd name="connsiteY26" fmla="*/ 2820 h 29762"/>
                <a:gd name="connsiteX27" fmla="*/ 27051 w 30112"/>
                <a:gd name="connsiteY27" fmla="*/ 5633 h 29762"/>
                <a:gd name="connsiteX28" fmla="*/ 0 w 30112"/>
                <a:gd name="connsiteY28" fmla="*/ 2604 h 2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0112" h="29762">
                  <a:moveTo>
                    <a:pt x="0" y="2604"/>
                  </a:moveTo>
                  <a:cubicBezTo>
                    <a:pt x="0" y="1089"/>
                    <a:pt x="12119" y="-101"/>
                    <a:pt x="27051" y="7"/>
                  </a:cubicBezTo>
                  <a:cubicBezTo>
                    <a:pt x="32677" y="5633"/>
                    <a:pt x="28566" y="1522"/>
                    <a:pt x="29864" y="2820"/>
                  </a:cubicBezTo>
                  <a:lnTo>
                    <a:pt x="29864" y="2820"/>
                  </a:lnTo>
                  <a:lnTo>
                    <a:pt x="29864" y="2820"/>
                  </a:lnTo>
                  <a:lnTo>
                    <a:pt x="29864" y="2820"/>
                  </a:lnTo>
                  <a:lnTo>
                    <a:pt x="29864" y="2928"/>
                  </a:lnTo>
                  <a:lnTo>
                    <a:pt x="29864" y="3145"/>
                  </a:lnTo>
                  <a:lnTo>
                    <a:pt x="29864" y="3469"/>
                  </a:lnTo>
                  <a:lnTo>
                    <a:pt x="29864" y="4119"/>
                  </a:lnTo>
                  <a:lnTo>
                    <a:pt x="29864" y="5525"/>
                  </a:lnTo>
                  <a:lnTo>
                    <a:pt x="29864" y="8230"/>
                  </a:lnTo>
                  <a:cubicBezTo>
                    <a:pt x="29864" y="9853"/>
                    <a:pt x="29756" y="11477"/>
                    <a:pt x="29648" y="13316"/>
                  </a:cubicBezTo>
                  <a:cubicBezTo>
                    <a:pt x="29540" y="16562"/>
                    <a:pt x="29323" y="19484"/>
                    <a:pt x="28999" y="21864"/>
                  </a:cubicBezTo>
                  <a:cubicBezTo>
                    <a:pt x="28458" y="26733"/>
                    <a:pt x="27809" y="29763"/>
                    <a:pt x="27051" y="29763"/>
                  </a:cubicBezTo>
                  <a:cubicBezTo>
                    <a:pt x="26293" y="29763"/>
                    <a:pt x="25536" y="26733"/>
                    <a:pt x="25103" y="21864"/>
                  </a:cubicBezTo>
                  <a:cubicBezTo>
                    <a:pt x="24887" y="19375"/>
                    <a:pt x="24671" y="16454"/>
                    <a:pt x="24454" y="13316"/>
                  </a:cubicBezTo>
                  <a:cubicBezTo>
                    <a:pt x="24346" y="11477"/>
                    <a:pt x="24346" y="9853"/>
                    <a:pt x="24238" y="8230"/>
                  </a:cubicBezTo>
                  <a:lnTo>
                    <a:pt x="24238" y="5525"/>
                  </a:lnTo>
                  <a:lnTo>
                    <a:pt x="24238" y="4119"/>
                  </a:lnTo>
                  <a:lnTo>
                    <a:pt x="24238" y="3469"/>
                  </a:lnTo>
                  <a:lnTo>
                    <a:pt x="24238" y="3145"/>
                  </a:lnTo>
                  <a:lnTo>
                    <a:pt x="24238" y="2928"/>
                  </a:lnTo>
                  <a:lnTo>
                    <a:pt x="24238" y="2820"/>
                  </a:lnTo>
                  <a:lnTo>
                    <a:pt x="24238" y="2820"/>
                  </a:lnTo>
                  <a:lnTo>
                    <a:pt x="24238" y="2820"/>
                  </a:lnTo>
                  <a:lnTo>
                    <a:pt x="24238" y="2820"/>
                  </a:lnTo>
                  <a:cubicBezTo>
                    <a:pt x="25536" y="4119"/>
                    <a:pt x="21425" y="7"/>
                    <a:pt x="27051" y="5633"/>
                  </a:cubicBezTo>
                  <a:cubicBezTo>
                    <a:pt x="12119" y="5417"/>
                    <a:pt x="0" y="4119"/>
                    <a:pt x="0" y="260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1C932606-0CFF-40C7-A34C-C9F805379433}"/>
                </a:ext>
              </a:extLst>
            </p:cNvPr>
            <p:cNvSpPr/>
            <p:nvPr/>
          </p:nvSpPr>
          <p:spPr>
            <a:xfrm flipH="1">
              <a:off x="3322221" y="4677695"/>
              <a:ext cx="53906" cy="6216"/>
            </a:xfrm>
            <a:custGeom>
              <a:avLst/>
              <a:gdLst>
                <a:gd name="connsiteX0" fmla="*/ 0 w 48908"/>
                <a:gd name="connsiteY0" fmla="*/ 2604 h 5640"/>
                <a:gd name="connsiteX1" fmla="*/ 24454 w 48908"/>
                <a:gd name="connsiteY1" fmla="*/ 7 h 5640"/>
                <a:gd name="connsiteX2" fmla="*/ 48908 w 48908"/>
                <a:gd name="connsiteY2" fmla="*/ 3037 h 5640"/>
                <a:gd name="connsiteX3" fmla="*/ 24454 w 48908"/>
                <a:gd name="connsiteY3" fmla="*/ 5634 h 5640"/>
                <a:gd name="connsiteX4" fmla="*/ 0 w 48908"/>
                <a:gd name="connsiteY4" fmla="*/ 2604 h 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08" h="5640">
                  <a:moveTo>
                    <a:pt x="0" y="2604"/>
                  </a:moveTo>
                  <a:cubicBezTo>
                    <a:pt x="0" y="1089"/>
                    <a:pt x="10929" y="-101"/>
                    <a:pt x="24454" y="7"/>
                  </a:cubicBezTo>
                  <a:cubicBezTo>
                    <a:pt x="37980" y="115"/>
                    <a:pt x="48908" y="1414"/>
                    <a:pt x="48908" y="3037"/>
                  </a:cubicBezTo>
                  <a:cubicBezTo>
                    <a:pt x="48908" y="4551"/>
                    <a:pt x="37980" y="5742"/>
                    <a:pt x="24454" y="5634"/>
                  </a:cubicBezTo>
                  <a:cubicBezTo>
                    <a:pt x="10929" y="5525"/>
                    <a:pt x="0" y="4119"/>
                    <a:pt x="0" y="260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68A25894-F19B-4843-AA80-104EA5474EF7}"/>
                </a:ext>
              </a:extLst>
            </p:cNvPr>
            <p:cNvSpPr/>
            <p:nvPr/>
          </p:nvSpPr>
          <p:spPr>
            <a:xfrm flipH="1">
              <a:off x="3430153" y="4676859"/>
              <a:ext cx="53906" cy="6216"/>
            </a:xfrm>
            <a:custGeom>
              <a:avLst/>
              <a:gdLst>
                <a:gd name="connsiteX0" fmla="*/ 0 w 48908"/>
                <a:gd name="connsiteY0" fmla="*/ 2604 h 5640"/>
                <a:gd name="connsiteX1" fmla="*/ 24454 w 48908"/>
                <a:gd name="connsiteY1" fmla="*/ 7 h 5640"/>
                <a:gd name="connsiteX2" fmla="*/ 48908 w 48908"/>
                <a:gd name="connsiteY2" fmla="*/ 3037 h 5640"/>
                <a:gd name="connsiteX3" fmla="*/ 24454 w 48908"/>
                <a:gd name="connsiteY3" fmla="*/ 5633 h 5640"/>
                <a:gd name="connsiteX4" fmla="*/ 0 w 48908"/>
                <a:gd name="connsiteY4" fmla="*/ 2604 h 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08" h="5640">
                  <a:moveTo>
                    <a:pt x="0" y="2604"/>
                  </a:moveTo>
                  <a:cubicBezTo>
                    <a:pt x="0" y="1089"/>
                    <a:pt x="10929" y="-101"/>
                    <a:pt x="24454" y="7"/>
                  </a:cubicBezTo>
                  <a:cubicBezTo>
                    <a:pt x="37980" y="115"/>
                    <a:pt x="48908" y="1414"/>
                    <a:pt x="48908" y="3037"/>
                  </a:cubicBezTo>
                  <a:cubicBezTo>
                    <a:pt x="48908" y="4551"/>
                    <a:pt x="37980" y="5742"/>
                    <a:pt x="24454" y="5633"/>
                  </a:cubicBezTo>
                  <a:cubicBezTo>
                    <a:pt x="10929" y="5525"/>
                    <a:pt x="0" y="4227"/>
                    <a:pt x="0" y="260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515D50EE-7DB9-4A35-B64A-A2CD62E5C05C}"/>
                </a:ext>
              </a:extLst>
            </p:cNvPr>
            <p:cNvSpPr/>
            <p:nvPr/>
          </p:nvSpPr>
          <p:spPr>
            <a:xfrm flipH="1">
              <a:off x="3537967" y="4676144"/>
              <a:ext cx="53906" cy="6216"/>
            </a:xfrm>
            <a:custGeom>
              <a:avLst/>
              <a:gdLst>
                <a:gd name="connsiteX0" fmla="*/ 0 w 48908"/>
                <a:gd name="connsiteY0" fmla="*/ 2604 h 5640"/>
                <a:gd name="connsiteX1" fmla="*/ 24454 w 48908"/>
                <a:gd name="connsiteY1" fmla="*/ 7 h 5640"/>
                <a:gd name="connsiteX2" fmla="*/ 48908 w 48908"/>
                <a:gd name="connsiteY2" fmla="*/ 3037 h 5640"/>
                <a:gd name="connsiteX3" fmla="*/ 24454 w 48908"/>
                <a:gd name="connsiteY3" fmla="*/ 5633 h 5640"/>
                <a:gd name="connsiteX4" fmla="*/ 0 w 48908"/>
                <a:gd name="connsiteY4" fmla="*/ 2604 h 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08" h="5640">
                  <a:moveTo>
                    <a:pt x="0" y="2604"/>
                  </a:moveTo>
                  <a:cubicBezTo>
                    <a:pt x="0" y="1089"/>
                    <a:pt x="10929" y="-101"/>
                    <a:pt x="24454" y="7"/>
                  </a:cubicBezTo>
                  <a:cubicBezTo>
                    <a:pt x="37980" y="115"/>
                    <a:pt x="48908" y="1414"/>
                    <a:pt x="48908" y="3037"/>
                  </a:cubicBezTo>
                  <a:cubicBezTo>
                    <a:pt x="48908" y="4551"/>
                    <a:pt x="37980" y="5742"/>
                    <a:pt x="24454" y="5633"/>
                  </a:cubicBezTo>
                  <a:cubicBezTo>
                    <a:pt x="10929" y="5525"/>
                    <a:pt x="0" y="4119"/>
                    <a:pt x="0" y="260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F49E4A1A-22E7-425C-A13E-B146FF951D87}"/>
                </a:ext>
              </a:extLst>
            </p:cNvPr>
            <p:cNvSpPr/>
            <p:nvPr/>
          </p:nvSpPr>
          <p:spPr>
            <a:xfrm flipH="1">
              <a:off x="3645541" y="4674929"/>
              <a:ext cx="32442" cy="25739"/>
            </a:xfrm>
            <a:custGeom>
              <a:avLst/>
              <a:gdLst>
                <a:gd name="connsiteX0" fmla="*/ 20129 w 29434"/>
                <a:gd name="connsiteY0" fmla="*/ 23290 h 23352"/>
                <a:gd name="connsiteX1" fmla="*/ 13421 w 29434"/>
                <a:gd name="connsiteY1" fmla="*/ 18637 h 23352"/>
                <a:gd name="connsiteX2" fmla="*/ 7469 w 29434"/>
                <a:gd name="connsiteY2" fmla="*/ 12686 h 23352"/>
                <a:gd name="connsiteX3" fmla="*/ 4115 w 29434"/>
                <a:gd name="connsiteY3" fmla="*/ 9007 h 23352"/>
                <a:gd name="connsiteX4" fmla="*/ 2384 w 29434"/>
                <a:gd name="connsiteY4" fmla="*/ 7060 h 23352"/>
                <a:gd name="connsiteX5" fmla="*/ 1410 w 29434"/>
                <a:gd name="connsiteY5" fmla="*/ 6194 h 23352"/>
                <a:gd name="connsiteX6" fmla="*/ 869 w 29434"/>
                <a:gd name="connsiteY6" fmla="*/ 5761 h 23352"/>
                <a:gd name="connsiteX7" fmla="*/ 652 w 29434"/>
                <a:gd name="connsiteY7" fmla="*/ 5545 h 23352"/>
                <a:gd name="connsiteX8" fmla="*/ 544 w 29434"/>
                <a:gd name="connsiteY8" fmla="*/ 5437 h 23352"/>
                <a:gd name="connsiteX9" fmla="*/ 436 w 29434"/>
                <a:gd name="connsiteY9" fmla="*/ 5328 h 23352"/>
                <a:gd name="connsiteX10" fmla="*/ 436 w 29434"/>
                <a:gd name="connsiteY10" fmla="*/ 5328 h 23352"/>
                <a:gd name="connsiteX11" fmla="*/ 436 w 29434"/>
                <a:gd name="connsiteY11" fmla="*/ 5328 h 23352"/>
                <a:gd name="connsiteX12" fmla="*/ 436 w 29434"/>
                <a:gd name="connsiteY12" fmla="*/ 5328 h 23352"/>
                <a:gd name="connsiteX13" fmla="*/ 2384 w 29434"/>
                <a:gd name="connsiteY13" fmla="*/ 351 h 23352"/>
                <a:gd name="connsiteX14" fmla="*/ 29435 w 29434"/>
                <a:gd name="connsiteY14" fmla="*/ 3381 h 23352"/>
                <a:gd name="connsiteX15" fmla="*/ 2384 w 29434"/>
                <a:gd name="connsiteY15" fmla="*/ 5977 h 23352"/>
                <a:gd name="connsiteX16" fmla="*/ 4331 w 29434"/>
                <a:gd name="connsiteY16" fmla="*/ 1108 h 23352"/>
                <a:gd name="connsiteX17" fmla="*/ 4331 w 29434"/>
                <a:gd name="connsiteY17" fmla="*/ 1108 h 23352"/>
                <a:gd name="connsiteX18" fmla="*/ 4331 w 29434"/>
                <a:gd name="connsiteY18" fmla="*/ 1108 h 23352"/>
                <a:gd name="connsiteX19" fmla="*/ 4331 w 29434"/>
                <a:gd name="connsiteY19" fmla="*/ 1108 h 23352"/>
                <a:gd name="connsiteX20" fmla="*/ 4440 w 29434"/>
                <a:gd name="connsiteY20" fmla="*/ 1217 h 23352"/>
                <a:gd name="connsiteX21" fmla="*/ 4548 w 29434"/>
                <a:gd name="connsiteY21" fmla="*/ 1325 h 23352"/>
                <a:gd name="connsiteX22" fmla="*/ 4764 w 29434"/>
                <a:gd name="connsiteY22" fmla="*/ 1541 h 23352"/>
                <a:gd name="connsiteX23" fmla="*/ 5305 w 29434"/>
                <a:gd name="connsiteY23" fmla="*/ 1974 h 23352"/>
                <a:gd name="connsiteX24" fmla="*/ 6387 w 29434"/>
                <a:gd name="connsiteY24" fmla="*/ 2948 h 23352"/>
                <a:gd name="connsiteX25" fmla="*/ 8119 w 29434"/>
                <a:gd name="connsiteY25" fmla="*/ 5004 h 23352"/>
                <a:gd name="connsiteX26" fmla="*/ 11365 w 29434"/>
                <a:gd name="connsiteY26" fmla="*/ 9007 h 23352"/>
                <a:gd name="connsiteX27" fmla="*/ 16667 w 29434"/>
                <a:gd name="connsiteY27" fmla="*/ 16040 h 23352"/>
                <a:gd name="connsiteX28" fmla="*/ 20129 w 29434"/>
                <a:gd name="connsiteY28" fmla="*/ 23290 h 2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9434" h="23352">
                  <a:moveTo>
                    <a:pt x="20129" y="23290"/>
                  </a:moveTo>
                  <a:cubicBezTo>
                    <a:pt x="19480" y="23723"/>
                    <a:pt x="16991" y="21883"/>
                    <a:pt x="13421" y="18637"/>
                  </a:cubicBezTo>
                  <a:cubicBezTo>
                    <a:pt x="11689" y="17014"/>
                    <a:pt x="9634" y="14958"/>
                    <a:pt x="7469" y="12686"/>
                  </a:cubicBezTo>
                  <a:cubicBezTo>
                    <a:pt x="6279" y="11388"/>
                    <a:pt x="5197" y="10197"/>
                    <a:pt x="4115" y="9007"/>
                  </a:cubicBezTo>
                  <a:lnTo>
                    <a:pt x="2384" y="7060"/>
                  </a:lnTo>
                  <a:lnTo>
                    <a:pt x="1410" y="6194"/>
                  </a:lnTo>
                  <a:lnTo>
                    <a:pt x="869" y="5761"/>
                  </a:lnTo>
                  <a:lnTo>
                    <a:pt x="652" y="5545"/>
                  </a:lnTo>
                  <a:lnTo>
                    <a:pt x="544" y="5437"/>
                  </a:lnTo>
                  <a:lnTo>
                    <a:pt x="436" y="5328"/>
                  </a:lnTo>
                  <a:lnTo>
                    <a:pt x="436" y="5328"/>
                  </a:lnTo>
                  <a:lnTo>
                    <a:pt x="436" y="5328"/>
                  </a:lnTo>
                  <a:lnTo>
                    <a:pt x="436" y="5328"/>
                  </a:lnTo>
                  <a:cubicBezTo>
                    <a:pt x="-1295" y="9765"/>
                    <a:pt x="2708" y="-623"/>
                    <a:pt x="2384" y="351"/>
                  </a:cubicBezTo>
                  <a:cubicBezTo>
                    <a:pt x="17316" y="459"/>
                    <a:pt x="29435" y="1757"/>
                    <a:pt x="29435" y="3381"/>
                  </a:cubicBezTo>
                  <a:cubicBezTo>
                    <a:pt x="29435" y="4895"/>
                    <a:pt x="17316" y="6086"/>
                    <a:pt x="2384" y="5977"/>
                  </a:cubicBezTo>
                  <a:cubicBezTo>
                    <a:pt x="1951" y="7060"/>
                    <a:pt x="5955" y="-3328"/>
                    <a:pt x="4331" y="1108"/>
                  </a:cubicBezTo>
                  <a:lnTo>
                    <a:pt x="4331" y="1108"/>
                  </a:lnTo>
                  <a:lnTo>
                    <a:pt x="4331" y="1108"/>
                  </a:lnTo>
                  <a:lnTo>
                    <a:pt x="4331" y="1108"/>
                  </a:lnTo>
                  <a:lnTo>
                    <a:pt x="4440" y="1217"/>
                  </a:lnTo>
                  <a:lnTo>
                    <a:pt x="4548" y="1325"/>
                  </a:lnTo>
                  <a:lnTo>
                    <a:pt x="4764" y="1541"/>
                  </a:lnTo>
                  <a:lnTo>
                    <a:pt x="5305" y="1974"/>
                  </a:lnTo>
                  <a:lnTo>
                    <a:pt x="6387" y="2948"/>
                  </a:lnTo>
                  <a:lnTo>
                    <a:pt x="8119" y="5004"/>
                  </a:lnTo>
                  <a:cubicBezTo>
                    <a:pt x="9201" y="6302"/>
                    <a:pt x="10174" y="7601"/>
                    <a:pt x="11365" y="9007"/>
                  </a:cubicBezTo>
                  <a:cubicBezTo>
                    <a:pt x="13421" y="11604"/>
                    <a:pt x="15260" y="13985"/>
                    <a:pt x="16667" y="16040"/>
                  </a:cubicBezTo>
                  <a:cubicBezTo>
                    <a:pt x="19264" y="20152"/>
                    <a:pt x="20779" y="22857"/>
                    <a:pt x="20129" y="2329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BAC8BF05-40B7-49D1-9F6C-65B4D1441EAE}"/>
                </a:ext>
              </a:extLst>
            </p:cNvPr>
            <p:cNvSpPr/>
            <p:nvPr/>
          </p:nvSpPr>
          <p:spPr>
            <a:xfrm flipH="1">
              <a:off x="3614975" y="4750907"/>
              <a:ext cx="13588" cy="56434"/>
            </a:xfrm>
            <a:custGeom>
              <a:avLst/>
              <a:gdLst>
                <a:gd name="connsiteX0" fmla="*/ 10891 w 12328"/>
                <a:gd name="connsiteY0" fmla="*/ 51200 h 51201"/>
                <a:gd name="connsiteX1" fmla="*/ 4831 w 12328"/>
                <a:gd name="connsiteY1" fmla="*/ 25772 h 51201"/>
                <a:gd name="connsiteX2" fmla="*/ 395 w 12328"/>
                <a:gd name="connsiteY2" fmla="*/ 20 h 51201"/>
                <a:gd name="connsiteX3" fmla="*/ 10350 w 12328"/>
                <a:gd name="connsiteY3" fmla="*/ 24582 h 51201"/>
                <a:gd name="connsiteX4" fmla="*/ 10891 w 12328"/>
                <a:gd name="connsiteY4" fmla="*/ 51200 h 5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28" h="51201">
                  <a:moveTo>
                    <a:pt x="10891" y="51200"/>
                  </a:moveTo>
                  <a:cubicBezTo>
                    <a:pt x="9268" y="51309"/>
                    <a:pt x="7753" y="39731"/>
                    <a:pt x="4831" y="25772"/>
                  </a:cubicBezTo>
                  <a:cubicBezTo>
                    <a:pt x="2018" y="11814"/>
                    <a:pt x="-1120" y="669"/>
                    <a:pt x="395" y="20"/>
                  </a:cubicBezTo>
                  <a:cubicBezTo>
                    <a:pt x="1801" y="-521"/>
                    <a:pt x="7428" y="10083"/>
                    <a:pt x="10350" y="24582"/>
                  </a:cubicBezTo>
                  <a:cubicBezTo>
                    <a:pt x="13379" y="39190"/>
                    <a:pt x="12406" y="51200"/>
                    <a:pt x="10891" y="5120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A0642209-68F9-4A36-BAB3-D8A676F5BEB3}"/>
                </a:ext>
              </a:extLst>
            </p:cNvPr>
            <p:cNvSpPr/>
            <p:nvPr/>
          </p:nvSpPr>
          <p:spPr>
            <a:xfrm flipH="1">
              <a:off x="3621421" y="4864697"/>
              <a:ext cx="22707" cy="53245"/>
            </a:xfrm>
            <a:custGeom>
              <a:avLst/>
              <a:gdLst>
                <a:gd name="connsiteX0" fmla="*/ 233 w 20602"/>
                <a:gd name="connsiteY0" fmla="*/ 48266 h 48308"/>
                <a:gd name="connsiteX1" fmla="*/ 9323 w 20602"/>
                <a:gd name="connsiteY1" fmla="*/ 23812 h 48308"/>
                <a:gd name="connsiteX2" fmla="*/ 20035 w 20602"/>
                <a:gd name="connsiteY2" fmla="*/ 7 h 48308"/>
                <a:gd name="connsiteX3" fmla="*/ 14516 w 20602"/>
                <a:gd name="connsiteY3" fmla="*/ 25976 h 48308"/>
                <a:gd name="connsiteX4" fmla="*/ 233 w 20602"/>
                <a:gd name="connsiteY4" fmla="*/ 48266 h 4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02" h="48308">
                  <a:moveTo>
                    <a:pt x="233" y="48266"/>
                  </a:moveTo>
                  <a:cubicBezTo>
                    <a:pt x="-1173" y="47400"/>
                    <a:pt x="4020" y="36905"/>
                    <a:pt x="9323" y="23812"/>
                  </a:cubicBezTo>
                  <a:cubicBezTo>
                    <a:pt x="14733" y="10719"/>
                    <a:pt x="18520" y="-318"/>
                    <a:pt x="20035" y="7"/>
                  </a:cubicBezTo>
                  <a:cubicBezTo>
                    <a:pt x="21550" y="332"/>
                    <a:pt x="20143" y="12342"/>
                    <a:pt x="14516" y="25976"/>
                  </a:cubicBezTo>
                  <a:cubicBezTo>
                    <a:pt x="8998" y="39610"/>
                    <a:pt x="1532" y="49023"/>
                    <a:pt x="233" y="4826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D2D26E46-C9E2-4342-8947-46F83803A467}"/>
                </a:ext>
              </a:extLst>
            </p:cNvPr>
            <p:cNvSpPr/>
            <p:nvPr/>
          </p:nvSpPr>
          <p:spPr>
            <a:xfrm flipH="1">
              <a:off x="3680136" y="4962259"/>
              <a:ext cx="47967" cy="32520"/>
            </a:xfrm>
            <a:custGeom>
              <a:avLst/>
              <a:gdLst>
                <a:gd name="connsiteX0" fmla="*/ 30 w 43519"/>
                <a:gd name="connsiteY0" fmla="*/ 29217 h 29505"/>
                <a:gd name="connsiteX1" fmla="*/ 21238 w 43519"/>
                <a:gd name="connsiteY1" fmla="*/ 13961 h 29505"/>
                <a:gd name="connsiteX2" fmla="*/ 43419 w 43519"/>
                <a:gd name="connsiteY2" fmla="*/ 110 h 29505"/>
                <a:gd name="connsiteX3" fmla="*/ 24376 w 43519"/>
                <a:gd name="connsiteY3" fmla="*/ 18613 h 29505"/>
                <a:gd name="connsiteX4" fmla="*/ 30 w 43519"/>
                <a:gd name="connsiteY4" fmla="*/ 29217 h 29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19" h="29505">
                  <a:moveTo>
                    <a:pt x="30" y="29217"/>
                  </a:moveTo>
                  <a:cubicBezTo>
                    <a:pt x="-619" y="27702"/>
                    <a:pt x="9443" y="21860"/>
                    <a:pt x="21238" y="13961"/>
                  </a:cubicBezTo>
                  <a:cubicBezTo>
                    <a:pt x="33032" y="6062"/>
                    <a:pt x="42337" y="-972"/>
                    <a:pt x="43419" y="110"/>
                  </a:cubicBezTo>
                  <a:cubicBezTo>
                    <a:pt x="44501" y="1193"/>
                    <a:pt x="36711" y="10390"/>
                    <a:pt x="24376" y="18613"/>
                  </a:cubicBezTo>
                  <a:cubicBezTo>
                    <a:pt x="12149" y="26837"/>
                    <a:pt x="679" y="30624"/>
                    <a:pt x="30" y="2921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EBF8B6FA-C59C-42B0-AD2B-5112A3CD112D}"/>
                </a:ext>
              </a:extLst>
            </p:cNvPr>
            <p:cNvSpPr/>
            <p:nvPr/>
          </p:nvSpPr>
          <p:spPr>
            <a:xfrm flipH="1">
              <a:off x="3783166" y="5009661"/>
              <a:ext cx="57491" cy="6863"/>
            </a:xfrm>
            <a:custGeom>
              <a:avLst/>
              <a:gdLst>
                <a:gd name="connsiteX0" fmla="*/ 3 w 52160"/>
                <a:gd name="connsiteY0" fmla="*/ 1575 h 6227"/>
                <a:gd name="connsiteX1" fmla="*/ 26080 w 52160"/>
                <a:gd name="connsiteY1" fmla="*/ 601 h 6227"/>
                <a:gd name="connsiteX2" fmla="*/ 52157 w 52160"/>
                <a:gd name="connsiteY2" fmla="*/ 1467 h 6227"/>
                <a:gd name="connsiteX3" fmla="*/ 26080 w 52160"/>
                <a:gd name="connsiteY3" fmla="*/ 6228 h 6227"/>
                <a:gd name="connsiteX4" fmla="*/ 3 w 52160"/>
                <a:gd name="connsiteY4" fmla="*/ 1575 h 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160" h="6227">
                  <a:moveTo>
                    <a:pt x="3" y="1575"/>
                  </a:moveTo>
                  <a:cubicBezTo>
                    <a:pt x="219" y="60"/>
                    <a:pt x="12013" y="-373"/>
                    <a:pt x="26080" y="601"/>
                  </a:cubicBezTo>
                  <a:cubicBezTo>
                    <a:pt x="40255" y="-481"/>
                    <a:pt x="51941" y="-48"/>
                    <a:pt x="52157" y="1467"/>
                  </a:cubicBezTo>
                  <a:cubicBezTo>
                    <a:pt x="52374" y="2981"/>
                    <a:pt x="40687" y="5146"/>
                    <a:pt x="26080" y="6228"/>
                  </a:cubicBezTo>
                  <a:cubicBezTo>
                    <a:pt x="11473" y="5254"/>
                    <a:pt x="-214" y="3090"/>
                    <a:pt x="3" y="157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057B0789-F892-4C9D-98A7-6B6F226294C2}"/>
                </a:ext>
              </a:extLst>
            </p:cNvPr>
            <p:cNvSpPr/>
            <p:nvPr/>
          </p:nvSpPr>
          <p:spPr>
            <a:xfrm flipH="1">
              <a:off x="3895720" y="4962593"/>
              <a:ext cx="47965" cy="32424"/>
            </a:xfrm>
            <a:custGeom>
              <a:avLst/>
              <a:gdLst>
                <a:gd name="connsiteX0" fmla="*/ 99 w 43518"/>
                <a:gd name="connsiteY0" fmla="*/ 132 h 29418"/>
                <a:gd name="connsiteX1" fmla="*/ 22281 w 43518"/>
                <a:gd name="connsiteY1" fmla="*/ 13874 h 29418"/>
                <a:gd name="connsiteX2" fmla="*/ 43489 w 43518"/>
                <a:gd name="connsiteY2" fmla="*/ 29131 h 29418"/>
                <a:gd name="connsiteX3" fmla="*/ 19143 w 43518"/>
                <a:gd name="connsiteY3" fmla="*/ 18527 h 29418"/>
                <a:gd name="connsiteX4" fmla="*/ 99 w 43518"/>
                <a:gd name="connsiteY4" fmla="*/ 132 h 2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18" h="29418">
                  <a:moveTo>
                    <a:pt x="99" y="132"/>
                  </a:moveTo>
                  <a:cubicBezTo>
                    <a:pt x="1181" y="-1058"/>
                    <a:pt x="10486" y="5975"/>
                    <a:pt x="22281" y="13874"/>
                  </a:cubicBezTo>
                  <a:cubicBezTo>
                    <a:pt x="34075" y="21773"/>
                    <a:pt x="44138" y="27616"/>
                    <a:pt x="43489" y="29131"/>
                  </a:cubicBezTo>
                  <a:cubicBezTo>
                    <a:pt x="42948" y="30537"/>
                    <a:pt x="31370" y="26750"/>
                    <a:pt x="19143" y="18527"/>
                  </a:cubicBezTo>
                  <a:cubicBezTo>
                    <a:pt x="6916" y="10412"/>
                    <a:pt x="-983" y="1214"/>
                    <a:pt x="99" y="13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81DB2182-D211-4B02-9417-4A62C5C294DE}"/>
                </a:ext>
              </a:extLst>
            </p:cNvPr>
            <p:cNvSpPr/>
            <p:nvPr/>
          </p:nvSpPr>
          <p:spPr>
            <a:xfrm flipH="1">
              <a:off x="3979815" y="4865174"/>
              <a:ext cx="22944" cy="53258"/>
            </a:xfrm>
            <a:custGeom>
              <a:avLst/>
              <a:gdLst>
                <a:gd name="connsiteX0" fmla="*/ 567 w 20817"/>
                <a:gd name="connsiteY0" fmla="*/ 7 h 48320"/>
                <a:gd name="connsiteX1" fmla="*/ 11387 w 20817"/>
                <a:gd name="connsiteY1" fmla="*/ 23812 h 48320"/>
                <a:gd name="connsiteX2" fmla="*/ 20584 w 20817"/>
                <a:gd name="connsiteY2" fmla="*/ 48266 h 48320"/>
                <a:gd name="connsiteX3" fmla="*/ 6193 w 20817"/>
                <a:gd name="connsiteY3" fmla="*/ 25976 h 48320"/>
                <a:gd name="connsiteX4" fmla="*/ 567 w 20817"/>
                <a:gd name="connsiteY4" fmla="*/ 7 h 4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17" h="48320">
                  <a:moveTo>
                    <a:pt x="567" y="7"/>
                  </a:moveTo>
                  <a:cubicBezTo>
                    <a:pt x="2081" y="-318"/>
                    <a:pt x="5869" y="10611"/>
                    <a:pt x="11387" y="23812"/>
                  </a:cubicBezTo>
                  <a:cubicBezTo>
                    <a:pt x="16797" y="37013"/>
                    <a:pt x="21991" y="47400"/>
                    <a:pt x="20584" y="48266"/>
                  </a:cubicBezTo>
                  <a:cubicBezTo>
                    <a:pt x="19286" y="49132"/>
                    <a:pt x="11820" y="39610"/>
                    <a:pt x="6193" y="25976"/>
                  </a:cubicBezTo>
                  <a:cubicBezTo>
                    <a:pt x="458" y="12342"/>
                    <a:pt x="-948" y="332"/>
                    <a:pt x="567" y="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71100D13-7FC9-4B9D-AD00-ACD1BFDCBDF9}"/>
                </a:ext>
              </a:extLst>
            </p:cNvPr>
            <p:cNvSpPr/>
            <p:nvPr/>
          </p:nvSpPr>
          <p:spPr>
            <a:xfrm flipH="1">
              <a:off x="3996083" y="4751384"/>
              <a:ext cx="13258" cy="56433"/>
            </a:xfrm>
            <a:custGeom>
              <a:avLst/>
              <a:gdLst>
                <a:gd name="connsiteX0" fmla="*/ 11625 w 12029"/>
                <a:gd name="connsiteY0" fmla="*/ 20 h 51200"/>
                <a:gd name="connsiteX1" fmla="*/ 7405 w 12029"/>
                <a:gd name="connsiteY1" fmla="*/ 25772 h 51200"/>
                <a:gd name="connsiteX2" fmla="*/ 1453 w 12029"/>
                <a:gd name="connsiteY2" fmla="*/ 51200 h 51200"/>
                <a:gd name="connsiteX3" fmla="*/ 1886 w 12029"/>
                <a:gd name="connsiteY3" fmla="*/ 24690 h 51200"/>
                <a:gd name="connsiteX4" fmla="*/ 11625 w 12029"/>
                <a:gd name="connsiteY4" fmla="*/ 20 h 5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29" h="51200">
                  <a:moveTo>
                    <a:pt x="11625" y="20"/>
                  </a:moveTo>
                  <a:cubicBezTo>
                    <a:pt x="13139" y="561"/>
                    <a:pt x="10110" y="11814"/>
                    <a:pt x="7405" y="25772"/>
                  </a:cubicBezTo>
                  <a:cubicBezTo>
                    <a:pt x="4591" y="39730"/>
                    <a:pt x="3076" y="51308"/>
                    <a:pt x="1453" y="51200"/>
                  </a:cubicBezTo>
                  <a:cubicBezTo>
                    <a:pt x="-62" y="51200"/>
                    <a:pt x="-1035" y="39190"/>
                    <a:pt x="1886" y="24690"/>
                  </a:cubicBezTo>
                  <a:cubicBezTo>
                    <a:pt x="4699" y="10191"/>
                    <a:pt x="10218" y="-521"/>
                    <a:pt x="11625" y="2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5FBAB277-1207-4337-BD6F-DBD71458A788}"/>
                </a:ext>
              </a:extLst>
            </p:cNvPr>
            <p:cNvSpPr/>
            <p:nvPr/>
          </p:nvSpPr>
          <p:spPr>
            <a:xfrm flipH="1">
              <a:off x="3947752" y="4674841"/>
              <a:ext cx="32081" cy="26096"/>
            </a:xfrm>
            <a:custGeom>
              <a:avLst/>
              <a:gdLst>
                <a:gd name="connsiteX0" fmla="*/ 0 w 29106"/>
                <a:gd name="connsiteY0" fmla="*/ 3244 h 23676"/>
                <a:gd name="connsiteX1" fmla="*/ 27051 w 29106"/>
                <a:gd name="connsiteY1" fmla="*/ 431 h 23676"/>
                <a:gd name="connsiteX2" fmla="*/ 29107 w 29106"/>
                <a:gd name="connsiteY2" fmla="*/ 5192 h 23676"/>
                <a:gd name="connsiteX3" fmla="*/ 29107 w 29106"/>
                <a:gd name="connsiteY3" fmla="*/ 5192 h 23676"/>
                <a:gd name="connsiteX4" fmla="*/ 29107 w 29106"/>
                <a:gd name="connsiteY4" fmla="*/ 5192 h 23676"/>
                <a:gd name="connsiteX5" fmla="*/ 29107 w 29106"/>
                <a:gd name="connsiteY5" fmla="*/ 5192 h 23676"/>
                <a:gd name="connsiteX6" fmla="*/ 28999 w 29106"/>
                <a:gd name="connsiteY6" fmla="*/ 5300 h 23676"/>
                <a:gd name="connsiteX7" fmla="*/ 28890 w 29106"/>
                <a:gd name="connsiteY7" fmla="*/ 5408 h 23676"/>
                <a:gd name="connsiteX8" fmla="*/ 28674 w 29106"/>
                <a:gd name="connsiteY8" fmla="*/ 5625 h 23676"/>
                <a:gd name="connsiteX9" fmla="*/ 28241 w 29106"/>
                <a:gd name="connsiteY9" fmla="*/ 6166 h 23676"/>
                <a:gd name="connsiteX10" fmla="*/ 27267 w 29106"/>
                <a:gd name="connsiteY10" fmla="*/ 7140 h 23676"/>
                <a:gd name="connsiteX11" fmla="*/ 25428 w 29106"/>
                <a:gd name="connsiteY11" fmla="*/ 9087 h 23676"/>
                <a:gd name="connsiteX12" fmla="*/ 22074 w 29106"/>
                <a:gd name="connsiteY12" fmla="*/ 12766 h 23676"/>
                <a:gd name="connsiteX13" fmla="*/ 16122 w 29106"/>
                <a:gd name="connsiteY13" fmla="*/ 18826 h 23676"/>
                <a:gd name="connsiteX14" fmla="*/ 9414 w 29106"/>
                <a:gd name="connsiteY14" fmla="*/ 23587 h 23676"/>
                <a:gd name="connsiteX15" fmla="*/ 12984 w 29106"/>
                <a:gd name="connsiteY15" fmla="*/ 16229 h 23676"/>
                <a:gd name="connsiteX16" fmla="*/ 18178 w 29106"/>
                <a:gd name="connsiteY16" fmla="*/ 9195 h 23676"/>
                <a:gd name="connsiteX17" fmla="*/ 21425 w 29106"/>
                <a:gd name="connsiteY17" fmla="*/ 5192 h 23676"/>
                <a:gd name="connsiteX18" fmla="*/ 23264 w 29106"/>
                <a:gd name="connsiteY18" fmla="*/ 3136 h 23676"/>
                <a:gd name="connsiteX19" fmla="*/ 24238 w 29106"/>
                <a:gd name="connsiteY19" fmla="*/ 2162 h 23676"/>
                <a:gd name="connsiteX20" fmla="*/ 24671 w 29106"/>
                <a:gd name="connsiteY20" fmla="*/ 1621 h 23676"/>
                <a:gd name="connsiteX21" fmla="*/ 24887 w 29106"/>
                <a:gd name="connsiteY21" fmla="*/ 1405 h 23676"/>
                <a:gd name="connsiteX22" fmla="*/ 24995 w 29106"/>
                <a:gd name="connsiteY22" fmla="*/ 1297 h 23676"/>
                <a:gd name="connsiteX23" fmla="*/ 25103 w 29106"/>
                <a:gd name="connsiteY23" fmla="*/ 1188 h 23676"/>
                <a:gd name="connsiteX24" fmla="*/ 25103 w 29106"/>
                <a:gd name="connsiteY24" fmla="*/ 1188 h 23676"/>
                <a:gd name="connsiteX25" fmla="*/ 25103 w 29106"/>
                <a:gd name="connsiteY25" fmla="*/ 1188 h 23676"/>
                <a:gd name="connsiteX26" fmla="*/ 25103 w 29106"/>
                <a:gd name="connsiteY26" fmla="*/ 1188 h 23676"/>
                <a:gd name="connsiteX27" fmla="*/ 27051 w 29106"/>
                <a:gd name="connsiteY27" fmla="*/ 5949 h 23676"/>
                <a:gd name="connsiteX28" fmla="*/ 0 w 29106"/>
                <a:gd name="connsiteY28" fmla="*/ 3244 h 2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9106" h="23676">
                  <a:moveTo>
                    <a:pt x="0" y="3244"/>
                  </a:moveTo>
                  <a:cubicBezTo>
                    <a:pt x="0" y="1729"/>
                    <a:pt x="12119" y="431"/>
                    <a:pt x="27051" y="431"/>
                  </a:cubicBezTo>
                  <a:cubicBezTo>
                    <a:pt x="27917" y="2595"/>
                    <a:pt x="25103" y="-4330"/>
                    <a:pt x="29107" y="5192"/>
                  </a:cubicBezTo>
                  <a:lnTo>
                    <a:pt x="29107" y="5192"/>
                  </a:lnTo>
                  <a:lnTo>
                    <a:pt x="29107" y="5192"/>
                  </a:lnTo>
                  <a:lnTo>
                    <a:pt x="29107" y="5192"/>
                  </a:lnTo>
                  <a:lnTo>
                    <a:pt x="28999" y="5300"/>
                  </a:lnTo>
                  <a:lnTo>
                    <a:pt x="28890" y="5408"/>
                  </a:lnTo>
                  <a:lnTo>
                    <a:pt x="28674" y="5625"/>
                  </a:lnTo>
                  <a:lnTo>
                    <a:pt x="28241" y="6166"/>
                  </a:lnTo>
                  <a:lnTo>
                    <a:pt x="27267" y="7140"/>
                  </a:lnTo>
                  <a:cubicBezTo>
                    <a:pt x="26618" y="7789"/>
                    <a:pt x="25969" y="8438"/>
                    <a:pt x="25428" y="9087"/>
                  </a:cubicBezTo>
                  <a:cubicBezTo>
                    <a:pt x="24346" y="10277"/>
                    <a:pt x="23264" y="11468"/>
                    <a:pt x="22074" y="12766"/>
                  </a:cubicBezTo>
                  <a:cubicBezTo>
                    <a:pt x="19910" y="15147"/>
                    <a:pt x="17854" y="17202"/>
                    <a:pt x="16122" y="18826"/>
                  </a:cubicBezTo>
                  <a:cubicBezTo>
                    <a:pt x="12552" y="22180"/>
                    <a:pt x="10063" y="24127"/>
                    <a:pt x="9414" y="23587"/>
                  </a:cubicBezTo>
                  <a:cubicBezTo>
                    <a:pt x="8764" y="23154"/>
                    <a:pt x="10171" y="20340"/>
                    <a:pt x="12984" y="16229"/>
                  </a:cubicBezTo>
                  <a:cubicBezTo>
                    <a:pt x="14391" y="14173"/>
                    <a:pt x="16122" y="11792"/>
                    <a:pt x="18178" y="9195"/>
                  </a:cubicBezTo>
                  <a:cubicBezTo>
                    <a:pt x="19369" y="7789"/>
                    <a:pt x="20342" y="6382"/>
                    <a:pt x="21425" y="5192"/>
                  </a:cubicBezTo>
                  <a:cubicBezTo>
                    <a:pt x="21965" y="4434"/>
                    <a:pt x="22615" y="3785"/>
                    <a:pt x="23264" y="3136"/>
                  </a:cubicBezTo>
                  <a:lnTo>
                    <a:pt x="24238" y="2162"/>
                  </a:lnTo>
                  <a:lnTo>
                    <a:pt x="24671" y="1621"/>
                  </a:lnTo>
                  <a:lnTo>
                    <a:pt x="24887" y="1405"/>
                  </a:lnTo>
                  <a:lnTo>
                    <a:pt x="24995" y="1297"/>
                  </a:lnTo>
                  <a:lnTo>
                    <a:pt x="25103" y="1188"/>
                  </a:lnTo>
                  <a:lnTo>
                    <a:pt x="25103" y="1188"/>
                  </a:lnTo>
                  <a:lnTo>
                    <a:pt x="25103" y="1188"/>
                  </a:lnTo>
                  <a:lnTo>
                    <a:pt x="25103" y="1188"/>
                  </a:lnTo>
                  <a:cubicBezTo>
                    <a:pt x="29107" y="10818"/>
                    <a:pt x="26185" y="3893"/>
                    <a:pt x="27051" y="5949"/>
                  </a:cubicBezTo>
                  <a:cubicBezTo>
                    <a:pt x="12119" y="6057"/>
                    <a:pt x="0" y="4759"/>
                    <a:pt x="0" y="324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BC9530F6-D24B-421A-ABBB-D4DDF50FB2B6}"/>
                </a:ext>
              </a:extLst>
            </p:cNvPr>
            <p:cNvSpPr/>
            <p:nvPr/>
          </p:nvSpPr>
          <p:spPr>
            <a:xfrm flipH="1">
              <a:off x="4053417" y="4675316"/>
              <a:ext cx="29816" cy="6201"/>
            </a:xfrm>
            <a:custGeom>
              <a:avLst/>
              <a:gdLst>
                <a:gd name="connsiteX0" fmla="*/ 0 w 27051"/>
                <a:gd name="connsiteY0" fmla="*/ 2813 h 5626"/>
                <a:gd name="connsiteX1" fmla="*/ 13526 w 27051"/>
                <a:gd name="connsiteY1" fmla="*/ 0 h 5626"/>
                <a:gd name="connsiteX2" fmla="*/ 27051 w 27051"/>
                <a:gd name="connsiteY2" fmla="*/ 2813 h 5626"/>
                <a:gd name="connsiteX3" fmla="*/ 13526 w 27051"/>
                <a:gd name="connsiteY3" fmla="*/ 5626 h 5626"/>
                <a:gd name="connsiteX4" fmla="*/ 0 w 27051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51" h="5626">
                  <a:moveTo>
                    <a:pt x="0" y="2813"/>
                  </a:moveTo>
                  <a:cubicBezTo>
                    <a:pt x="0" y="1298"/>
                    <a:pt x="6059" y="0"/>
                    <a:pt x="13526" y="0"/>
                  </a:cubicBezTo>
                  <a:cubicBezTo>
                    <a:pt x="20992" y="0"/>
                    <a:pt x="27051" y="1298"/>
                    <a:pt x="27051" y="2813"/>
                  </a:cubicBezTo>
                  <a:cubicBezTo>
                    <a:pt x="27051" y="4328"/>
                    <a:pt x="20992" y="5626"/>
                    <a:pt x="13526" y="5626"/>
                  </a:cubicBezTo>
                  <a:cubicBezTo>
                    <a:pt x="6059" y="5626"/>
                    <a:pt x="0" y="4328"/>
                    <a:pt x="0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DA9867BD-A3AE-425A-813F-E57E7EE33E37}"/>
                </a:ext>
              </a:extLst>
            </p:cNvPr>
            <p:cNvSpPr/>
            <p:nvPr/>
          </p:nvSpPr>
          <p:spPr>
            <a:xfrm flipH="1">
              <a:off x="3232894" y="4676390"/>
              <a:ext cx="1167219" cy="1402405"/>
            </a:xfrm>
            <a:custGeom>
              <a:avLst/>
              <a:gdLst>
                <a:gd name="connsiteX0" fmla="*/ 1058993 w 1058992"/>
                <a:gd name="connsiteY0" fmla="*/ 1270099 h 1272371"/>
                <a:gd name="connsiteX1" fmla="*/ 1051202 w 1058992"/>
                <a:gd name="connsiteY1" fmla="*/ 1270423 h 1272371"/>
                <a:gd name="connsiteX2" fmla="*/ 1028587 w 1058992"/>
                <a:gd name="connsiteY2" fmla="*/ 1270748 h 1272371"/>
                <a:gd name="connsiteX3" fmla="*/ 941916 w 1058992"/>
                <a:gd name="connsiteY3" fmla="*/ 1271397 h 1272371"/>
                <a:gd name="connsiteX4" fmla="*/ 627475 w 1058992"/>
                <a:gd name="connsiteY4" fmla="*/ 1272371 h 1272371"/>
                <a:gd name="connsiteX5" fmla="*/ 625527 w 1058992"/>
                <a:gd name="connsiteY5" fmla="*/ 1272371 h 1272371"/>
                <a:gd name="connsiteX6" fmla="*/ 625311 w 1058992"/>
                <a:gd name="connsiteY6" fmla="*/ 1270315 h 1272371"/>
                <a:gd name="connsiteX7" fmla="*/ 584843 w 1058992"/>
                <a:gd name="connsiteY7" fmla="*/ 973079 h 1272371"/>
                <a:gd name="connsiteX8" fmla="*/ 515917 w 1058992"/>
                <a:gd name="connsiteY8" fmla="*/ 821269 h 1272371"/>
                <a:gd name="connsiteX9" fmla="*/ 402735 w 1058992"/>
                <a:gd name="connsiteY9" fmla="*/ 682010 h 1272371"/>
                <a:gd name="connsiteX10" fmla="*/ 244757 w 1058992"/>
                <a:gd name="connsiteY10" fmla="*/ 509749 h 1272371"/>
                <a:gd name="connsiteX11" fmla="*/ 171828 w 1058992"/>
                <a:gd name="connsiteY11" fmla="*/ 426540 h 1272371"/>
                <a:gd name="connsiteX12" fmla="*/ 141098 w 1058992"/>
                <a:gd name="connsiteY12" fmla="*/ 382609 h 1272371"/>
                <a:gd name="connsiteX13" fmla="*/ 115345 w 1058992"/>
                <a:gd name="connsiteY13" fmla="*/ 337380 h 1272371"/>
                <a:gd name="connsiteX14" fmla="*/ 40685 w 1058992"/>
                <a:gd name="connsiteY14" fmla="*/ 160142 h 1272371"/>
                <a:gd name="connsiteX15" fmla="*/ 433 w 1058992"/>
                <a:gd name="connsiteY15" fmla="*/ 2272 h 1272371"/>
                <a:gd name="connsiteX16" fmla="*/ 0 w 1058992"/>
                <a:gd name="connsiteY16" fmla="*/ 0 h 1272371"/>
                <a:gd name="connsiteX17" fmla="*/ 2272 w 1058992"/>
                <a:gd name="connsiteY17" fmla="*/ 0 h 1272371"/>
                <a:gd name="connsiteX18" fmla="*/ 205912 w 1058992"/>
                <a:gd name="connsiteY18" fmla="*/ 866 h 1272371"/>
                <a:gd name="connsiteX19" fmla="*/ 260447 w 1058992"/>
                <a:gd name="connsiteY19" fmla="*/ 1407 h 1272371"/>
                <a:gd name="connsiteX20" fmla="*/ 274514 w 1058992"/>
                <a:gd name="connsiteY20" fmla="*/ 1623 h 1272371"/>
                <a:gd name="connsiteX21" fmla="*/ 279275 w 1058992"/>
                <a:gd name="connsiteY21" fmla="*/ 1839 h 1272371"/>
                <a:gd name="connsiteX22" fmla="*/ 274514 w 1058992"/>
                <a:gd name="connsiteY22" fmla="*/ 2056 h 1272371"/>
                <a:gd name="connsiteX23" fmla="*/ 260447 w 1058992"/>
                <a:gd name="connsiteY23" fmla="*/ 2272 h 1272371"/>
                <a:gd name="connsiteX24" fmla="*/ 205912 w 1058992"/>
                <a:gd name="connsiteY24" fmla="*/ 2813 h 1272371"/>
                <a:gd name="connsiteX25" fmla="*/ 2272 w 1058992"/>
                <a:gd name="connsiteY25" fmla="*/ 3679 h 1272371"/>
                <a:gd name="connsiteX26" fmla="*/ 4112 w 1058992"/>
                <a:gd name="connsiteY26" fmla="*/ 1515 h 1272371"/>
                <a:gd name="connsiteX27" fmla="*/ 45013 w 1058992"/>
                <a:gd name="connsiteY27" fmla="*/ 158627 h 1272371"/>
                <a:gd name="connsiteX28" fmla="*/ 119890 w 1058992"/>
                <a:gd name="connsiteY28" fmla="*/ 334891 h 1272371"/>
                <a:gd name="connsiteX29" fmla="*/ 145643 w 1058992"/>
                <a:gd name="connsiteY29" fmla="*/ 379796 h 1272371"/>
                <a:gd name="connsiteX30" fmla="*/ 176048 w 1058992"/>
                <a:gd name="connsiteY30" fmla="*/ 423186 h 1272371"/>
                <a:gd name="connsiteX31" fmla="*/ 248869 w 1058992"/>
                <a:gd name="connsiteY31" fmla="*/ 506070 h 1272371"/>
                <a:gd name="connsiteX32" fmla="*/ 407063 w 1058992"/>
                <a:gd name="connsiteY32" fmla="*/ 678331 h 1272371"/>
                <a:gd name="connsiteX33" fmla="*/ 520569 w 1058992"/>
                <a:gd name="connsiteY33" fmla="*/ 818131 h 1272371"/>
                <a:gd name="connsiteX34" fmla="*/ 566232 w 1058992"/>
                <a:gd name="connsiteY34" fmla="*/ 891926 h 1272371"/>
                <a:gd name="connsiteX35" fmla="*/ 582246 w 1058992"/>
                <a:gd name="connsiteY35" fmla="*/ 931420 h 1272371"/>
                <a:gd name="connsiteX36" fmla="*/ 590145 w 1058992"/>
                <a:gd name="connsiteY36" fmla="*/ 972430 h 1272371"/>
                <a:gd name="connsiteX37" fmla="*/ 629747 w 1058992"/>
                <a:gd name="connsiteY37" fmla="*/ 1270099 h 1272371"/>
                <a:gd name="connsiteX38" fmla="*/ 627475 w 1058992"/>
                <a:gd name="connsiteY38" fmla="*/ 1268043 h 1272371"/>
                <a:gd name="connsiteX39" fmla="*/ 941916 w 1058992"/>
                <a:gd name="connsiteY39" fmla="*/ 1269017 h 1272371"/>
                <a:gd name="connsiteX40" fmla="*/ 1028587 w 1058992"/>
                <a:gd name="connsiteY40" fmla="*/ 1269666 h 1272371"/>
                <a:gd name="connsiteX41" fmla="*/ 1051202 w 1058992"/>
                <a:gd name="connsiteY41" fmla="*/ 1269991 h 1272371"/>
                <a:gd name="connsiteX42" fmla="*/ 1058993 w 1058992"/>
                <a:gd name="connsiteY42" fmla="*/ 1270099 h 127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58992" h="1272371">
                  <a:moveTo>
                    <a:pt x="1058993" y="1270099"/>
                  </a:moveTo>
                  <a:cubicBezTo>
                    <a:pt x="1058993" y="1270099"/>
                    <a:pt x="1056396" y="1270315"/>
                    <a:pt x="1051202" y="1270423"/>
                  </a:cubicBezTo>
                  <a:cubicBezTo>
                    <a:pt x="1045900" y="1270532"/>
                    <a:pt x="1038326" y="1270640"/>
                    <a:pt x="1028587" y="1270748"/>
                  </a:cubicBezTo>
                  <a:cubicBezTo>
                    <a:pt x="1008461" y="1270856"/>
                    <a:pt x="979246" y="1271073"/>
                    <a:pt x="941916" y="1271397"/>
                  </a:cubicBezTo>
                  <a:cubicBezTo>
                    <a:pt x="866714" y="1271614"/>
                    <a:pt x="758943" y="1271938"/>
                    <a:pt x="627475" y="1272371"/>
                  </a:cubicBezTo>
                  <a:lnTo>
                    <a:pt x="625527" y="1272371"/>
                  </a:lnTo>
                  <a:lnTo>
                    <a:pt x="625311" y="1270315"/>
                  </a:lnTo>
                  <a:cubicBezTo>
                    <a:pt x="614274" y="1181804"/>
                    <a:pt x="601290" y="1081283"/>
                    <a:pt x="584843" y="973079"/>
                  </a:cubicBezTo>
                  <a:cubicBezTo>
                    <a:pt x="580731" y="918003"/>
                    <a:pt x="549027" y="868662"/>
                    <a:pt x="515917" y="821269"/>
                  </a:cubicBezTo>
                  <a:cubicBezTo>
                    <a:pt x="482049" y="773767"/>
                    <a:pt x="443312" y="727889"/>
                    <a:pt x="402735" y="682010"/>
                  </a:cubicBezTo>
                  <a:cubicBezTo>
                    <a:pt x="349607" y="621957"/>
                    <a:pt x="295721" y="565258"/>
                    <a:pt x="244757" y="509749"/>
                  </a:cubicBezTo>
                  <a:cubicBezTo>
                    <a:pt x="219329" y="481941"/>
                    <a:pt x="194551" y="454673"/>
                    <a:pt x="171828" y="426540"/>
                  </a:cubicBezTo>
                  <a:cubicBezTo>
                    <a:pt x="160466" y="412474"/>
                    <a:pt x="150295" y="397650"/>
                    <a:pt x="141098" y="382609"/>
                  </a:cubicBezTo>
                  <a:cubicBezTo>
                    <a:pt x="131792" y="367677"/>
                    <a:pt x="123353" y="352420"/>
                    <a:pt x="115345" y="337380"/>
                  </a:cubicBezTo>
                  <a:cubicBezTo>
                    <a:pt x="83317" y="276786"/>
                    <a:pt x="59296" y="216733"/>
                    <a:pt x="40685" y="160142"/>
                  </a:cubicBezTo>
                  <a:cubicBezTo>
                    <a:pt x="21965" y="103551"/>
                    <a:pt x="9197" y="50315"/>
                    <a:pt x="433" y="2272"/>
                  </a:cubicBezTo>
                  <a:lnTo>
                    <a:pt x="0" y="0"/>
                  </a:lnTo>
                  <a:lnTo>
                    <a:pt x="2272" y="0"/>
                  </a:lnTo>
                  <a:cubicBezTo>
                    <a:pt x="88835" y="325"/>
                    <a:pt x="158086" y="649"/>
                    <a:pt x="205912" y="866"/>
                  </a:cubicBezTo>
                  <a:cubicBezTo>
                    <a:pt x="229501" y="1082"/>
                    <a:pt x="247787" y="1298"/>
                    <a:pt x="260447" y="1407"/>
                  </a:cubicBezTo>
                  <a:cubicBezTo>
                    <a:pt x="266506" y="1515"/>
                    <a:pt x="271159" y="1623"/>
                    <a:pt x="274514" y="1623"/>
                  </a:cubicBezTo>
                  <a:cubicBezTo>
                    <a:pt x="277651" y="1731"/>
                    <a:pt x="279275" y="1839"/>
                    <a:pt x="279275" y="1839"/>
                  </a:cubicBezTo>
                  <a:cubicBezTo>
                    <a:pt x="279275" y="1839"/>
                    <a:pt x="277651" y="2056"/>
                    <a:pt x="274514" y="2056"/>
                  </a:cubicBezTo>
                  <a:cubicBezTo>
                    <a:pt x="271159" y="2164"/>
                    <a:pt x="266398" y="2164"/>
                    <a:pt x="260447" y="2272"/>
                  </a:cubicBezTo>
                  <a:cubicBezTo>
                    <a:pt x="247787" y="2381"/>
                    <a:pt x="229501" y="2597"/>
                    <a:pt x="205912" y="2813"/>
                  </a:cubicBezTo>
                  <a:cubicBezTo>
                    <a:pt x="158086" y="3030"/>
                    <a:pt x="88835" y="3354"/>
                    <a:pt x="2272" y="3679"/>
                  </a:cubicBezTo>
                  <a:lnTo>
                    <a:pt x="4112" y="1515"/>
                  </a:lnTo>
                  <a:cubicBezTo>
                    <a:pt x="13093" y="49341"/>
                    <a:pt x="26185" y="102361"/>
                    <a:pt x="45013" y="158627"/>
                  </a:cubicBezTo>
                  <a:cubicBezTo>
                    <a:pt x="63732" y="214893"/>
                    <a:pt x="87862" y="274730"/>
                    <a:pt x="119890" y="334891"/>
                  </a:cubicBezTo>
                  <a:cubicBezTo>
                    <a:pt x="127897" y="349932"/>
                    <a:pt x="136337" y="364972"/>
                    <a:pt x="145643" y="379796"/>
                  </a:cubicBezTo>
                  <a:cubicBezTo>
                    <a:pt x="154732" y="394728"/>
                    <a:pt x="164687" y="409228"/>
                    <a:pt x="176048" y="423186"/>
                  </a:cubicBezTo>
                  <a:cubicBezTo>
                    <a:pt x="198663" y="451102"/>
                    <a:pt x="223441" y="478370"/>
                    <a:pt x="248869" y="506070"/>
                  </a:cubicBezTo>
                  <a:cubicBezTo>
                    <a:pt x="299833" y="561362"/>
                    <a:pt x="353827" y="618062"/>
                    <a:pt x="407063" y="678331"/>
                  </a:cubicBezTo>
                  <a:cubicBezTo>
                    <a:pt x="447640" y="724318"/>
                    <a:pt x="486485" y="770304"/>
                    <a:pt x="520569" y="818131"/>
                  </a:cubicBezTo>
                  <a:cubicBezTo>
                    <a:pt x="537449" y="842044"/>
                    <a:pt x="553247" y="866390"/>
                    <a:pt x="566232" y="891926"/>
                  </a:cubicBezTo>
                  <a:cubicBezTo>
                    <a:pt x="572399" y="904802"/>
                    <a:pt x="578459" y="917678"/>
                    <a:pt x="582246" y="931420"/>
                  </a:cubicBezTo>
                  <a:cubicBezTo>
                    <a:pt x="586466" y="945054"/>
                    <a:pt x="588089" y="959012"/>
                    <a:pt x="590145" y="972430"/>
                  </a:cubicBezTo>
                  <a:cubicBezTo>
                    <a:pt x="606375" y="1080850"/>
                    <a:pt x="619143" y="1181155"/>
                    <a:pt x="629747" y="1270099"/>
                  </a:cubicBezTo>
                  <a:lnTo>
                    <a:pt x="627475" y="1268043"/>
                  </a:lnTo>
                  <a:cubicBezTo>
                    <a:pt x="758835" y="1268476"/>
                    <a:pt x="866714" y="1268800"/>
                    <a:pt x="941916" y="1269017"/>
                  </a:cubicBezTo>
                  <a:cubicBezTo>
                    <a:pt x="979246" y="1269233"/>
                    <a:pt x="1008461" y="1269450"/>
                    <a:pt x="1028587" y="1269666"/>
                  </a:cubicBezTo>
                  <a:cubicBezTo>
                    <a:pt x="1038326" y="1269774"/>
                    <a:pt x="1045900" y="1269882"/>
                    <a:pt x="1051202" y="1269991"/>
                  </a:cubicBezTo>
                  <a:cubicBezTo>
                    <a:pt x="1056396" y="1269882"/>
                    <a:pt x="1058993" y="1270099"/>
                    <a:pt x="1058993" y="127009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5BA9F200-277E-4834-9339-C06F9F3B413B}"/>
                </a:ext>
              </a:extLst>
            </p:cNvPr>
            <p:cNvSpPr/>
            <p:nvPr/>
          </p:nvSpPr>
          <p:spPr>
            <a:xfrm flipH="1">
              <a:off x="3234443" y="6073190"/>
              <a:ext cx="29816" cy="6201"/>
            </a:xfrm>
            <a:custGeom>
              <a:avLst/>
              <a:gdLst>
                <a:gd name="connsiteX0" fmla="*/ 0 w 27051"/>
                <a:gd name="connsiteY0" fmla="*/ 2813 h 5626"/>
                <a:gd name="connsiteX1" fmla="*/ 13526 w 27051"/>
                <a:gd name="connsiteY1" fmla="*/ 0 h 5626"/>
                <a:gd name="connsiteX2" fmla="*/ 27051 w 27051"/>
                <a:gd name="connsiteY2" fmla="*/ 2813 h 5626"/>
                <a:gd name="connsiteX3" fmla="*/ 13526 w 27051"/>
                <a:gd name="connsiteY3" fmla="*/ 5626 h 5626"/>
                <a:gd name="connsiteX4" fmla="*/ 0 w 27051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51" h="5626">
                  <a:moveTo>
                    <a:pt x="0" y="2813"/>
                  </a:moveTo>
                  <a:cubicBezTo>
                    <a:pt x="0" y="1298"/>
                    <a:pt x="6059" y="0"/>
                    <a:pt x="13526" y="0"/>
                  </a:cubicBezTo>
                  <a:cubicBezTo>
                    <a:pt x="20992" y="0"/>
                    <a:pt x="27051" y="1298"/>
                    <a:pt x="27051" y="2813"/>
                  </a:cubicBezTo>
                  <a:cubicBezTo>
                    <a:pt x="27051" y="4328"/>
                    <a:pt x="20992" y="5626"/>
                    <a:pt x="13526" y="5626"/>
                  </a:cubicBezTo>
                  <a:cubicBezTo>
                    <a:pt x="6059" y="5626"/>
                    <a:pt x="0" y="4328"/>
                    <a:pt x="0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8192C0A2-6521-45EA-A21F-1EA08B87794D}"/>
                </a:ext>
              </a:extLst>
            </p:cNvPr>
            <p:cNvSpPr/>
            <p:nvPr/>
          </p:nvSpPr>
          <p:spPr>
            <a:xfrm flipH="1">
              <a:off x="3323652" y="6073190"/>
              <a:ext cx="59392" cy="6201"/>
            </a:xfrm>
            <a:custGeom>
              <a:avLst/>
              <a:gdLst>
                <a:gd name="connsiteX0" fmla="*/ 0 w 53885"/>
                <a:gd name="connsiteY0" fmla="*/ 2813 h 5626"/>
                <a:gd name="connsiteX1" fmla="*/ 26943 w 53885"/>
                <a:gd name="connsiteY1" fmla="*/ 0 h 5626"/>
                <a:gd name="connsiteX2" fmla="*/ 53885 w 53885"/>
                <a:gd name="connsiteY2" fmla="*/ 2813 h 5626"/>
                <a:gd name="connsiteX3" fmla="*/ 26943 w 53885"/>
                <a:gd name="connsiteY3" fmla="*/ 5626 h 5626"/>
                <a:gd name="connsiteX4" fmla="*/ 0 w 53885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5" h="5626">
                  <a:moveTo>
                    <a:pt x="0" y="2813"/>
                  </a:moveTo>
                  <a:cubicBezTo>
                    <a:pt x="0" y="1298"/>
                    <a:pt x="12119" y="0"/>
                    <a:pt x="26943" y="0"/>
                  </a:cubicBezTo>
                  <a:cubicBezTo>
                    <a:pt x="41875" y="0"/>
                    <a:pt x="53885" y="1298"/>
                    <a:pt x="53885" y="2813"/>
                  </a:cubicBezTo>
                  <a:cubicBezTo>
                    <a:pt x="53885" y="4328"/>
                    <a:pt x="41767" y="5626"/>
                    <a:pt x="26943" y="5626"/>
                  </a:cubicBezTo>
                  <a:cubicBezTo>
                    <a:pt x="12010" y="5626"/>
                    <a:pt x="0" y="4328"/>
                    <a:pt x="0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BD85C7A5-20FF-4FE5-BA0F-C579DE8228AA}"/>
                </a:ext>
              </a:extLst>
            </p:cNvPr>
            <p:cNvSpPr/>
            <p:nvPr/>
          </p:nvSpPr>
          <p:spPr>
            <a:xfrm flipH="1">
              <a:off x="3442557" y="6073190"/>
              <a:ext cx="59392" cy="6201"/>
            </a:xfrm>
            <a:custGeom>
              <a:avLst/>
              <a:gdLst>
                <a:gd name="connsiteX0" fmla="*/ 0 w 53885"/>
                <a:gd name="connsiteY0" fmla="*/ 2813 h 5626"/>
                <a:gd name="connsiteX1" fmla="*/ 26943 w 53885"/>
                <a:gd name="connsiteY1" fmla="*/ 0 h 5626"/>
                <a:gd name="connsiteX2" fmla="*/ 53886 w 53885"/>
                <a:gd name="connsiteY2" fmla="*/ 2813 h 5626"/>
                <a:gd name="connsiteX3" fmla="*/ 26943 w 53885"/>
                <a:gd name="connsiteY3" fmla="*/ 5626 h 5626"/>
                <a:gd name="connsiteX4" fmla="*/ 0 w 53885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5" h="5626">
                  <a:moveTo>
                    <a:pt x="0" y="2813"/>
                  </a:moveTo>
                  <a:cubicBezTo>
                    <a:pt x="0" y="1298"/>
                    <a:pt x="12119" y="0"/>
                    <a:pt x="26943" y="0"/>
                  </a:cubicBezTo>
                  <a:cubicBezTo>
                    <a:pt x="41875" y="0"/>
                    <a:pt x="53886" y="1298"/>
                    <a:pt x="53886" y="2813"/>
                  </a:cubicBezTo>
                  <a:cubicBezTo>
                    <a:pt x="53886" y="4328"/>
                    <a:pt x="41767" y="5626"/>
                    <a:pt x="26943" y="5626"/>
                  </a:cubicBezTo>
                  <a:cubicBezTo>
                    <a:pt x="12119" y="5626"/>
                    <a:pt x="0" y="4328"/>
                    <a:pt x="0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45EC5C88-F826-419F-B6D1-933E50E95FEE}"/>
                </a:ext>
              </a:extLst>
            </p:cNvPr>
            <p:cNvSpPr/>
            <p:nvPr/>
          </p:nvSpPr>
          <p:spPr>
            <a:xfrm flipH="1">
              <a:off x="3561342" y="6073190"/>
              <a:ext cx="59392" cy="6201"/>
            </a:xfrm>
            <a:custGeom>
              <a:avLst/>
              <a:gdLst>
                <a:gd name="connsiteX0" fmla="*/ 0 w 53885"/>
                <a:gd name="connsiteY0" fmla="*/ 2813 h 5626"/>
                <a:gd name="connsiteX1" fmla="*/ 26943 w 53885"/>
                <a:gd name="connsiteY1" fmla="*/ 0 h 5626"/>
                <a:gd name="connsiteX2" fmla="*/ 53885 w 53885"/>
                <a:gd name="connsiteY2" fmla="*/ 2813 h 5626"/>
                <a:gd name="connsiteX3" fmla="*/ 26943 w 53885"/>
                <a:gd name="connsiteY3" fmla="*/ 5626 h 5626"/>
                <a:gd name="connsiteX4" fmla="*/ 0 w 53885"/>
                <a:gd name="connsiteY4" fmla="*/ 2813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85" h="5626">
                  <a:moveTo>
                    <a:pt x="0" y="2813"/>
                  </a:moveTo>
                  <a:cubicBezTo>
                    <a:pt x="0" y="1298"/>
                    <a:pt x="12119" y="0"/>
                    <a:pt x="26943" y="0"/>
                  </a:cubicBezTo>
                  <a:cubicBezTo>
                    <a:pt x="41875" y="0"/>
                    <a:pt x="53885" y="1298"/>
                    <a:pt x="53885" y="2813"/>
                  </a:cubicBezTo>
                  <a:cubicBezTo>
                    <a:pt x="53885" y="4328"/>
                    <a:pt x="41767" y="5626"/>
                    <a:pt x="26943" y="5626"/>
                  </a:cubicBezTo>
                  <a:cubicBezTo>
                    <a:pt x="12010" y="5626"/>
                    <a:pt x="0" y="4328"/>
                    <a:pt x="0" y="281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E01FBC70-A571-4FD8-8528-216EA53BD167}"/>
                </a:ext>
              </a:extLst>
            </p:cNvPr>
            <p:cNvSpPr/>
            <p:nvPr/>
          </p:nvSpPr>
          <p:spPr>
            <a:xfrm flipH="1">
              <a:off x="3680365" y="6046711"/>
              <a:ext cx="34467" cy="32680"/>
            </a:xfrm>
            <a:custGeom>
              <a:avLst/>
              <a:gdLst>
                <a:gd name="connsiteX0" fmla="*/ 1082 w 31271"/>
                <a:gd name="connsiteY0" fmla="*/ 3 h 29650"/>
                <a:gd name="connsiteX1" fmla="*/ 4003 w 31271"/>
                <a:gd name="connsiteY1" fmla="*/ 7685 h 29650"/>
                <a:gd name="connsiteX2" fmla="*/ 5626 w 31271"/>
                <a:gd name="connsiteY2" fmla="*/ 16125 h 29650"/>
                <a:gd name="connsiteX3" fmla="*/ 6384 w 31271"/>
                <a:gd name="connsiteY3" fmla="*/ 21211 h 29650"/>
                <a:gd name="connsiteX4" fmla="*/ 6709 w 31271"/>
                <a:gd name="connsiteY4" fmla="*/ 23916 h 29650"/>
                <a:gd name="connsiteX5" fmla="*/ 6925 w 31271"/>
                <a:gd name="connsiteY5" fmla="*/ 25323 h 29650"/>
                <a:gd name="connsiteX6" fmla="*/ 7033 w 31271"/>
                <a:gd name="connsiteY6" fmla="*/ 25972 h 29650"/>
                <a:gd name="connsiteX7" fmla="*/ 7033 w 31271"/>
                <a:gd name="connsiteY7" fmla="*/ 26296 h 29650"/>
                <a:gd name="connsiteX8" fmla="*/ 7033 w 31271"/>
                <a:gd name="connsiteY8" fmla="*/ 26513 h 29650"/>
                <a:gd name="connsiteX9" fmla="*/ 7033 w 31271"/>
                <a:gd name="connsiteY9" fmla="*/ 26621 h 29650"/>
                <a:gd name="connsiteX10" fmla="*/ 7033 w 31271"/>
                <a:gd name="connsiteY10" fmla="*/ 26621 h 29650"/>
                <a:gd name="connsiteX11" fmla="*/ 7033 w 31271"/>
                <a:gd name="connsiteY11" fmla="*/ 26621 h 29650"/>
                <a:gd name="connsiteX12" fmla="*/ 4220 w 31271"/>
                <a:gd name="connsiteY12" fmla="*/ 24024 h 29650"/>
                <a:gd name="connsiteX13" fmla="*/ 4220 w 31271"/>
                <a:gd name="connsiteY13" fmla="*/ 24024 h 29650"/>
                <a:gd name="connsiteX14" fmla="*/ 31271 w 31271"/>
                <a:gd name="connsiteY14" fmla="*/ 26837 h 29650"/>
                <a:gd name="connsiteX15" fmla="*/ 4220 w 31271"/>
                <a:gd name="connsiteY15" fmla="*/ 29651 h 29650"/>
                <a:gd name="connsiteX16" fmla="*/ 4220 w 31271"/>
                <a:gd name="connsiteY16" fmla="*/ 29651 h 29650"/>
                <a:gd name="connsiteX17" fmla="*/ 1407 w 31271"/>
                <a:gd name="connsiteY17" fmla="*/ 27054 h 29650"/>
                <a:gd name="connsiteX18" fmla="*/ 1407 w 31271"/>
                <a:gd name="connsiteY18" fmla="*/ 27054 h 29650"/>
                <a:gd name="connsiteX19" fmla="*/ 1407 w 31271"/>
                <a:gd name="connsiteY19" fmla="*/ 27054 h 29650"/>
                <a:gd name="connsiteX20" fmla="*/ 1407 w 31271"/>
                <a:gd name="connsiteY20" fmla="*/ 26946 h 29650"/>
                <a:gd name="connsiteX21" fmla="*/ 1407 w 31271"/>
                <a:gd name="connsiteY21" fmla="*/ 26729 h 29650"/>
                <a:gd name="connsiteX22" fmla="*/ 1407 w 31271"/>
                <a:gd name="connsiteY22" fmla="*/ 26405 h 29650"/>
                <a:gd name="connsiteX23" fmla="*/ 1298 w 31271"/>
                <a:gd name="connsiteY23" fmla="*/ 25755 h 29650"/>
                <a:gd name="connsiteX24" fmla="*/ 1190 w 31271"/>
                <a:gd name="connsiteY24" fmla="*/ 24349 h 29650"/>
                <a:gd name="connsiteX25" fmla="*/ 866 w 31271"/>
                <a:gd name="connsiteY25" fmla="*/ 21644 h 29650"/>
                <a:gd name="connsiteX26" fmla="*/ 433 w 31271"/>
                <a:gd name="connsiteY26" fmla="*/ 16558 h 29650"/>
                <a:gd name="connsiteX27" fmla="*/ 0 w 31271"/>
                <a:gd name="connsiteY27" fmla="*/ 8010 h 29650"/>
                <a:gd name="connsiteX28" fmla="*/ 1082 w 31271"/>
                <a:gd name="connsiteY28" fmla="*/ 3 h 2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271" h="29650">
                  <a:moveTo>
                    <a:pt x="1082" y="3"/>
                  </a:moveTo>
                  <a:cubicBezTo>
                    <a:pt x="1840" y="-105"/>
                    <a:pt x="2921" y="2816"/>
                    <a:pt x="4003" y="7685"/>
                  </a:cubicBezTo>
                  <a:cubicBezTo>
                    <a:pt x="4545" y="10066"/>
                    <a:pt x="5086" y="12987"/>
                    <a:pt x="5626" y="16125"/>
                  </a:cubicBezTo>
                  <a:cubicBezTo>
                    <a:pt x="5951" y="17965"/>
                    <a:pt x="6168" y="19588"/>
                    <a:pt x="6384" y="21211"/>
                  </a:cubicBezTo>
                  <a:lnTo>
                    <a:pt x="6709" y="23916"/>
                  </a:lnTo>
                  <a:lnTo>
                    <a:pt x="6925" y="25323"/>
                  </a:lnTo>
                  <a:lnTo>
                    <a:pt x="7033" y="25972"/>
                  </a:lnTo>
                  <a:lnTo>
                    <a:pt x="7033" y="26296"/>
                  </a:lnTo>
                  <a:lnTo>
                    <a:pt x="7033" y="26513"/>
                  </a:lnTo>
                  <a:lnTo>
                    <a:pt x="7033" y="26621"/>
                  </a:lnTo>
                  <a:lnTo>
                    <a:pt x="7033" y="26621"/>
                  </a:lnTo>
                  <a:lnTo>
                    <a:pt x="7033" y="26621"/>
                  </a:lnTo>
                  <a:cubicBezTo>
                    <a:pt x="5735" y="25431"/>
                    <a:pt x="9847" y="29218"/>
                    <a:pt x="4220" y="24024"/>
                  </a:cubicBezTo>
                  <a:lnTo>
                    <a:pt x="4220" y="24024"/>
                  </a:lnTo>
                  <a:cubicBezTo>
                    <a:pt x="19152" y="24024"/>
                    <a:pt x="31271" y="25323"/>
                    <a:pt x="31271" y="26837"/>
                  </a:cubicBezTo>
                  <a:cubicBezTo>
                    <a:pt x="31271" y="28352"/>
                    <a:pt x="19152" y="29651"/>
                    <a:pt x="4220" y="29651"/>
                  </a:cubicBezTo>
                  <a:lnTo>
                    <a:pt x="4220" y="29651"/>
                  </a:lnTo>
                  <a:cubicBezTo>
                    <a:pt x="4653" y="24024"/>
                    <a:pt x="541" y="28460"/>
                    <a:pt x="1407" y="27054"/>
                  </a:cubicBezTo>
                  <a:lnTo>
                    <a:pt x="1407" y="27054"/>
                  </a:lnTo>
                  <a:lnTo>
                    <a:pt x="1407" y="27054"/>
                  </a:lnTo>
                  <a:lnTo>
                    <a:pt x="1407" y="26946"/>
                  </a:lnTo>
                  <a:lnTo>
                    <a:pt x="1407" y="26729"/>
                  </a:lnTo>
                  <a:lnTo>
                    <a:pt x="1407" y="26405"/>
                  </a:lnTo>
                  <a:lnTo>
                    <a:pt x="1298" y="25755"/>
                  </a:lnTo>
                  <a:lnTo>
                    <a:pt x="1190" y="24349"/>
                  </a:lnTo>
                  <a:lnTo>
                    <a:pt x="866" y="21644"/>
                  </a:lnTo>
                  <a:cubicBezTo>
                    <a:pt x="758" y="20020"/>
                    <a:pt x="541" y="18397"/>
                    <a:pt x="433" y="16558"/>
                  </a:cubicBezTo>
                  <a:cubicBezTo>
                    <a:pt x="216" y="13312"/>
                    <a:pt x="0" y="10390"/>
                    <a:pt x="0" y="8010"/>
                  </a:cubicBezTo>
                  <a:cubicBezTo>
                    <a:pt x="0" y="3141"/>
                    <a:pt x="325" y="111"/>
                    <a:pt x="1082" y="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5A445951-3B08-424B-BC10-F6DEF499BF95}"/>
                </a:ext>
              </a:extLst>
            </p:cNvPr>
            <p:cNvSpPr/>
            <p:nvPr/>
          </p:nvSpPr>
          <p:spPr>
            <a:xfrm flipH="1">
              <a:off x="3720353" y="5923990"/>
              <a:ext cx="10033" cy="61426"/>
            </a:xfrm>
            <a:custGeom>
              <a:avLst/>
              <a:gdLst>
                <a:gd name="connsiteX0" fmla="*/ 911 w 9103"/>
                <a:gd name="connsiteY0" fmla="*/ 3 h 55730"/>
                <a:gd name="connsiteX1" fmla="*/ 7295 w 9103"/>
                <a:gd name="connsiteY1" fmla="*/ 27487 h 55730"/>
                <a:gd name="connsiteX2" fmla="*/ 8161 w 9103"/>
                <a:gd name="connsiteY2" fmla="*/ 55728 h 55730"/>
                <a:gd name="connsiteX3" fmla="*/ 1777 w 9103"/>
                <a:gd name="connsiteY3" fmla="*/ 28244 h 55730"/>
                <a:gd name="connsiteX4" fmla="*/ 911 w 9103"/>
                <a:gd name="connsiteY4" fmla="*/ 3 h 5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3" h="55730">
                  <a:moveTo>
                    <a:pt x="911" y="3"/>
                  </a:moveTo>
                  <a:cubicBezTo>
                    <a:pt x="2426" y="-213"/>
                    <a:pt x="5347" y="12122"/>
                    <a:pt x="7295" y="27487"/>
                  </a:cubicBezTo>
                  <a:cubicBezTo>
                    <a:pt x="9351" y="42852"/>
                    <a:pt x="9675" y="55512"/>
                    <a:pt x="8161" y="55728"/>
                  </a:cubicBezTo>
                  <a:cubicBezTo>
                    <a:pt x="6646" y="55944"/>
                    <a:pt x="3724" y="43609"/>
                    <a:pt x="1777" y="28244"/>
                  </a:cubicBezTo>
                  <a:cubicBezTo>
                    <a:pt x="-171" y="12771"/>
                    <a:pt x="-604" y="111"/>
                    <a:pt x="911" y="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4E024B6A-DD7B-445F-B071-822D97AEEBE6}"/>
                </a:ext>
              </a:extLst>
            </p:cNvPr>
            <p:cNvSpPr/>
            <p:nvPr/>
          </p:nvSpPr>
          <p:spPr>
            <a:xfrm flipH="1">
              <a:off x="3736691" y="5801269"/>
              <a:ext cx="10581" cy="61306"/>
            </a:xfrm>
            <a:custGeom>
              <a:avLst/>
              <a:gdLst>
                <a:gd name="connsiteX0" fmla="*/ 867 w 9600"/>
                <a:gd name="connsiteY0" fmla="*/ 3 h 55622"/>
                <a:gd name="connsiteX1" fmla="*/ 7575 w 9600"/>
                <a:gd name="connsiteY1" fmla="*/ 27378 h 55622"/>
                <a:gd name="connsiteX2" fmla="*/ 8657 w 9600"/>
                <a:gd name="connsiteY2" fmla="*/ 55620 h 55622"/>
                <a:gd name="connsiteX3" fmla="*/ 1948 w 9600"/>
                <a:gd name="connsiteY3" fmla="*/ 28244 h 55622"/>
                <a:gd name="connsiteX4" fmla="*/ 867 w 9600"/>
                <a:gd name="connsiteY4" fmla="*/ 3 h 5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00" h="55622">
                  <a:moveTo>
                    <a:pt x="867" y="3"/>
                  </a:moveTo>
                  <a:cubicBezTo>
                    <a:pt x="2381" y="-213"/>
                    <a:pt x="5411" y="12014"/>
                    <a:pt x="7575" y="27378"/>
                  </a:cubicBezTo>
                  <a:cubicBezTo>
                    <a:pt x="9739" y="42744"/>
                    <a:pt x="10280" y="55403"/>
                    <a:pt x="8657" y="55620"/>
                  </a:cubicBezTo>
                  <a:cubicBezTo>
                    <a:pt x="7142" y="55836"/>
                    <a:pt x="4113" y="43609"/>
                    <a:pt x="1948" y="28244"/>
                  </a:cubicBezTo>
                  <a:cubicBezTo>
                    <a:pt x="-108" y="12879"/>
                    <a:pt x="-648" y="219"/>
                    <a:pt x="867" y="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03CA5499-FCBB-4498-8837-8A5A4F01BC58}"/>
                </a:ext>
              </a:extLst>
            </p:cNvPr>
            <p:cNvSpPr/>
            <p:nvPr/>
          </p:nvSpPr>
          <p:spPr>
            <a:xfrm flipH="1">
              <a:off x="3754409" y="5680429"/>
              <a:ext cx="17070" cy="59668"/>
            </a:xfrm>
            <a:custGeom>
              <a:avLst/>
              <a:gdLst>
                <a:gd name="connsiteX0" fmla="*/ 322 w 15487"/>
                <a:gd name="connsiteY0" fmla="*/ 27 h 54135"/>
                <a:gd name="connsiteX1" fmla="*/ 12333 w 15487"/>
                <a:gd name="connsiteY1" fmla="*/ 25780 h 54135"/>
                <a:gd name="connsiteX2" fmla="*/ 14605 w 15487"/>
                <a:gd name="connsiteY2" fmla="*/ 54129 h 54135"/>
                <a:gd name="connsiteX3" fmla="*/ 6814 w 15487"/>
                <a:gd name="connsiteY3" fmla="*/ 27186 h 54135"/>
                <a:gd name="connsiteX4" fmla="*/ 322 w 15487"/>
                <a:gd name="connsiteY4" fmla="*/ 27 h 54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87" h="54135">
                  <a:moveTo>
                    <a:pt x="322" y="27"/>
                  </a:moveTo>
                  <a:cubicBezTo>
                    <a:pt x="1620" y="-622"/>
                    <a:pt x="8221" y="10523"/>
                    <a:pt x="12333" y="25780"/>
                  </a:cubicBezTo>
                  <a:cubicBezTo>
                    <a:pt x="16228" y="41253"/>
                    <a:pt x="15903" y="53913"/>
                    <a:pt x="14605" y="54129"/>
                  </a:cubicBezTo>
                  <a:cubicBezTo>
                    <a:pt x="12765" y="54454"/>
                    <a:pt x="10493" y="41902"/>
                    <a:pt x="6814" y="27186"/>
                  </a:cubicBezTo>
                  <a:cubicBezTo>
                    <a:pt x="2919" y="12471"/>
                    <a:pt x="-1193" y="676"/>
                    <a:pt x="322" y="2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B2F5138F-8983-4C89-83C7-94941A4D214F}"/>
                </a:ext>
              </a:extLst>
            </p:cNvPr>
            <p:cNvSpPr/>
            <p:nvPr/>
          </p:nvSpPr>
          <p:spPr>
            <a:xfrm flipH="1">
              <a:off x="3799670" y="5574257"/>
              <a:ext cx="34858" cy="51506"/>
            </a:xfrm>
            <a:custGeom>
              <a:avLst/>
              <a:gdLst>
                <a:gd name="connsiteX0" fmla="*/ 178 w 31626"/>
                <a:gd name="connsiteY0" fmla="*/ 53 h 46730"/>
                <a:gd name="connsiteX1" fmla="*/ 18140 w 31626"/>
                <a:gd name="connsiteY1" fmla="*/ 21803 h 46730"/>
                <a:gd name="connsiteX2" fmla="*/ 31449 w 31626"/>
                <a:gd name="connsiteY2" fmla="*/ 46689 h 46730"/>
                <a:gd name="connsiteX3" fmla="*/ 13487 w 31626"/>
                <a:gd name="connsiteY3" fmla="*/ 24941 h 46730"/>
                <a:gd name="connsiteX4" fmla="*/ 178 w 31626"/>
                <a:gd name="connsiteY4" fmla="*/ 53 h 4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26" h="46730">
                  <a:moveTo>
                    <a:pt x="178" y="53"/>
                  </a:moveTo>
                  <a:cubicBezTo>
                    <a:pt x="1476" y="-812"/>
                    <a:pt x="9483" y="8926"/>
                    <a:pt x="18140" y="21803"/>
                  </a:cubicBezTo>
                  <a:cubicBezTo>
                    <a:pt x="26796" y="34787"/>
                    <a:pt x="32747" y="45932"/>
                    <a:pt x="31449" y="46689"/>
                  </a:cubicBezTo>
                  <a:cubicBezTo>
                    <a:pt x="30150" y="47447"/>
                    <a:pt x="22035" y="37709"/>
                    <a:pt x="13487" y="24941"/>
                  </a:cubicBezTo>
                  <a:cubicBezTo>
                    <a:pt x="4831" y="12064"/>
                    <a:pt x="-1121" y="919"/>
                    <a:pt x="178" y="5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416814AB-5F2A-4599-BDE4-8A75BE5746FD}"/>
                </a:ext>
              </a:extLst>
            </p:cNvPr>
            <p:cNvSpPr/>
            <p:nvPr/>
          </p:nvSpPr>
          <p:spPr>
            <a:xfrm flipH="1">
              <a:off x="3871637" y="5477036"/>
              <a:ext cx="39645" cy="47984"/>
            </a:xfrm>
            <a:custGeom>
              <a:avLst/>
              <a:gdLst>
                <a:gd name="connsiteX0" fmla="*/ 131 w 35969"/>
                <a:gd name="connsiteY0" fmla="*/ 73 h 43535"/>
                <a:gd name="connsiteX1" fmla="*/ 20149 w 35969"/>
                <a:gd name="connsiteY1" fmla="*/ 19983 h 43535"/>
                <a:gd name="connsiteX2" fmla="*/ 35839 w 35969"/>
                <a:gd name="connsiteY2" fmla="*/ 43463 h 43535"/>
                <a:gd name="connsiteX3" fmla="*/ 15821 w 35969"/>
                <a:gd name="connsiteY3" fmla="*/ 23553 h 43535"/>
                <a:gd name="connsiteX4" fmla="*/ 131 w 35969"/>
                <a:gd name="connsiteY4" fmla="*/ 73 h 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69" h="43535">
                  <a:moveTo>
                    <a:pt x="131" y="73"/>
                  </a:moveTo>
                  <a:cubicBezTo>
                    <a:pt x="1322" y="-901"/>
                    <a:pt x="10302" y="7972"/>
                    <a:pt x="20149" y="19983"/>
                  </a:cubicBezTo>
                  <a:cubicBezTo>
                    <a:pt x="29995" y="31993"/>
                    <a:pt x="37029" y="42489"/>
                    <a:pt x="35839" y="43463"/>
                  </a:cubicBezTo>
                  <a:cubicBezTo>
                    <a:pt x="34648" y="44437"/>
                    <a:pt x="25667" y="35456"/>
                    <a:pt x="15821" y="23553"/>
                  </a:cubicBezTo>
                  <a:cubicBezTo>
                    <a:pt x="5974" y="11543"/>
                    <a:pt x="-1059" y="1047"/>
                    <a:pt x="131" y="7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09F5B7DF-6CF4-4660-BE93-278B7E33242F}"/>
                </a:ext>
              </a:extLst>
            </p:cNvPr>
            <p:cNvSpPr/>
            <p:nvPr/>
          </p:nvSpPr>
          <p:spPr>
            <a:xfrm flipH="1">
              <a:off x="3951311" y="5384110"/>
              <a:ext cx="41659" cy="46340"/>
            </a:xfrm>
            <a:custGeom>
              <a:avLst/>
              <a:gdLst>
                <a:gd name="connsiteX0" fmla="*/ 125 w 37796"/>
                <a:gd name="connsiteY0" fmla="*/ 92 h 42043"/>
                <a:gd name="connsiteX1" fmla="*/ 21008 w 37796"/>
                <a:gd name="connsiteY1" fmla="*/ 19136 h 42043"/>
                <a:gd name="connsiteX2" fmla="*/ 37671 w 37796"/>
                <a:gd name="connsiteY2" fmla="*/ 41967 h 42043"/>
                <a:gd name="connsiteX3" fmla="*/ 16788 w 37796"/>
                <a:gd name="connsiteY3" fmla="*/ 22924 h 42043"/>
                <a:gd name="connsiteX4" fmla="*/ 125 w 37796"/>
                <a:gd name="connsiteY4" fmla="*/ 92 h 4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96" h="42043">
                  <a:moveTo>
                    <a:pt x="125" y="92"/>
                  </a:moveTo>
                  <a:cubicBezTo>
                    <a:pt x="1315" y="-990"/>
                    <a:pt x="10620" y="7559"/>
                    <a:pt x="21008" y="19136"/>
                  </a:cubicBezTo>
                  <a:cubicBezTo>
                    <a:pt x="31396" y="30714"/>
                    <a:pt x="38862" y="40886"/>
                    <a:pt x="37671" y="41967"/>
                  </a:cubicBezTo>
                  <a:cubicBezTo>
                    <a:pt x="36481" y="42941"/>
                    <a:pt x="27176" y="34501"/>
                    <a:pt x="16788" y="22924"/>
                  </a:cubicBezTo>
                  <a:cubicBezTo>
                    <a:pt x="6401" y="11346"/>
                    <a:pt x="-1066" y="1066"/>
                    <a:pt x="125" y="9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0B9FE735-55FB-45AD-8DBE-6229D93443DC}"/>
                </a:ext>
              </a:extLst>
            </p:cNvPr>
            <p:cNvSpPr/>
            <p:nvPr/>
          </p:nvSpPr>
          <p:spPr>
            <a:xfrm flipH="1">
              <a:off x="4034559" y="5292991"/>
              <a:ext cx="42369" cy="45646"/>
            </a:xfrm>
            <a:custGeom>
              <a:avLst/>
              <a:gdLst>
                <a:gd name="connsiteX0" fmla="*/ 122 w 38440"/>
                <a:gd name="connsiteY0" fmla="*/ 95 h 41414"/>
                <a:gd name="connsiteX1" fmla="*/ 21330 w 38440"/>
                <a:gd name="connsiteY1" fmla="*/ 18814 h 41414"/>
                <a:gd name="connsiteX2" fmla="*/ 38318 w 38440"/>
                <a:gd name="connsiteY2" fmla="*/ 41320 h 41414"/>
                <a:gd name="connsiteX3" fmla="*/ 17110 w 38440"/>
                <a:gd name="connsiteY3" fmla="*/ 22601 h 41414"/>
                <a:gd name="connsiteX4" fmla="*/ 122 w 38440"/>
                <a:gd name="connsiteY4" fmla="*/ 95 h 4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40" h="41414">
                  <a:moveTo>
                    <a:pt x="122" y="95"/>
                  </a:moveTo>
                  <a:cubicBezTo>
                    <a:pt x="1312" y="-988"/>
                    <a:pt x="10726" y="7344"/>
                    <a:pt x="21330" y="18814"/>
                  </a:cubicBezTo>
                  <a:cubicBezTo>
                    <a:pt x="31933" y="30175"/>
                    <a:pt x="39508" y="40238"/>
                    <a:pt x="38318" y="41320"/>
                  </a:cubicBezTo>
                  <a:cubicBezTo>
                    <a:pt x="37127" y="42402"/>
                    <a:pt x="27714" y="34070"/>
                    <a:pt x="17110" y="22601"/>
                  </a:cubicBezTo>
                  <a:cubicBezTo>
                    <a:pt x="6614" y="11240"/>
                    <a:pt x="-1069" y="1177"/>
                    <a:pt x="122" y="9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78738626-E845-44FB-9625-E2639533CD79}"/>
                </a:ext>
              </a:extLst>
            </p:cNvPr>
            <p:cNvSpPr/>
            <p:nvPr/>
          </p:nvSpPr>
          <p:spPr>
            <a:xfrm flipH="1">
              <a:off x="4118779" y="5201876"/>
              <a:ext cx="41992" cy="45883"/>
            </a:xfrm>
            <a:custGeom>
              <a:avLst/>
              <a:gdLst>
                <a:gd name="connsiteX0" fmla="*/ 123 w 38098"/>
                <a:gd name="connsiteY0" fmla="*/ 93 h 41629"/>
                <a:gd name="connsiteX1" fmla="*/ 21115 w 38098"/>
                <a:gd name="connsiteY1" fmla="*/ 18921 h 41629"/>
                <a:gd name="connsiteX2" fmla="*/ 37995 w 38098"/>
                <a:gd name="connsiteY2" fmla="*/ 41536 h 41629"/>
                <a:gd name="connsiteX3" fmla="*/ 17003 w 38098"/>
                <a:gd name="connsiteY3" fmla="*/ 22708 h 41629"/>
                <a:gd name="connsiteX4" fmla="*/ 123 w 38098"/>
                <a:gd name="connsiteY4" fmla="*/ 93 h 4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98" h="41629">
                  <a:moveTo>
                    <a:pt x="123" y="93"/>
                  </a:moveTo>
                  <a:cubicBezTo>
                    <a:pt x="1313" y="-989"/>
                    <a:pt x="10727" y="7451"/>
                    <a:pt x="21115" y="18921"/>
                  </a:cubicBezTo>
                  <a:cubicBezTo>
                    <a:pt x="31611" y="30391"/>
                    <a:pt x="39077" y="40562"/>
                    <a:pt x="37995" y="41536"/>
                  </a:cubicBezTo>
                  <a:cubicBezTo>
                    <a:pt x="36804" y="42618"/>
                    <a:pt x="27391" y="34178"/>
                    <a:pt x="17003" y="22708"/>
                  </a:cubicBezTo>
                  <a:cubicBezTo>
                    <a:pt x="6507" y="11238"/>
                    <a:pt x="-1067" y="1176"/>
                    <a:pt x="123" y="9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A106AD5A-5C17-4534-BA58-F2AF4F10D84A}"/>
                </a:ext>
              </a:extLst>
            </p:cNvPr>
            <p:cNvSpPr/>
            <p:nvPr/>
          </p:nvSpPr>
          <p:spPr>
            <a:xfrm flipH="1">
              <a:off x="4201114" y="5131572"/>
              <a:ext cx="19143" cy="23699"/>
            </a:xfrm>
            <a:custGeom>
              <a:avLst/>
              <a:gdLst>
                <a:gd name="connsiteX0" fmla="*/ 317 w 17368"/>
                <a:gd name="connsiteY0" fmla="*/ 146 h 21502"/>
                <a:gd name="connsiteX1" fmla="*/ 10921 w 17368"/>
                <a:gd name="connsiteY1" fmla="*/ 9018 h 21502"/>
                <a:gd name="connsiteX2" fmla="*/ 17089 w 17368"/>
                <a:gd name="connsiteY2" fmla="*/ 21354 h 21502"/>
                <a:gd name="connsiteX3" fmla="*/ 6485 w 17368"/>
                <a:gd name="connsiteY3" fmla="*/ 12481 h 21502"/>
                <a:gd name="connsiteX4" fmla="*/ 317 w 17368"/>
                <a:gd name="connsiteY4" fmla="*/ 146 h 2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68" h="21502">
                  <a:moveTo>
                    <a:pt x="317" y="146"/>
                  </a:moveTo>
                  <a:cubicBezTo>
                    <a:pt x="1616" y="-828"/>
                    <a:pt x="6268" y="3176"/>
                    <a:pt x="10921" y="9018"/>
                  </a:cubicBezTo>
                  <a:cubicBezTo>
                    <a:pt x="15574" y="14862"/>
                    <a:pt x="18279" y="20380"/>
                    <a:pt x="17089" y="21354"/>
                  </a:cubicBezTo>
                  <a:cubicBezTo>
                    <a:pt x="15898" y="22328"/>
                    <a:pt x="11138" y="18432"/>
                    <a:pt x="6485" y="12481"/>
                  </a:cubicBezTo>
                  <a:cubicBezTo>
                    <a:pt x="1832" y="6638"/>
                    <a:pt x="-981" y="1120"/>
                    <a:pt x="317" y="14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CA6B190C-98B8-4517-B6A9-EF956D5C4C98}"/>
                </a:ext>
              </a:extLst>
            </p:cNvPr>
            <p:cNvSpPr/>
            <p:nvPr/>
          </p:nvSpPr>
          <p:spPr>
            <a:xfrm flipH="1">
              <a:off x="4172790" y="4540192"/>
              <a:ext cx="131794" cy="143233"/>
            </a:xfrm>
            <a:custGeom>
              <a:avLst/>
              <a:gdLst>
                <a:gd name="connsiteX0" fmla="*/ 64598 w 119574"/>
                <a:gd name="connsiteY0" fmla="*/ 0 h 129952"/>
                <a:gd name="connsiteX1" fmla="*/ 85265 w 119574"/>
                <a:gd name="connsiteY1" fmla="*/ 18178 h 129952"/>
                <a:gd name="connsiteX2" fmla="*/ 119565 w 119574"/>
                <a:gd name="connsiteY2" fmla="*/ 55076 h 129952"/>
                <a:gd name="connsiteX3" fmla="*/ 118267 w 119574"/>
                <a:gd name="connsiteY3" fmla="*/ 93380 h 129952"/>
                <a:gd name="connsiteX4" fmla="*/ 115887 w 119574"/>
                <a:gd name="connsiteY4" fmla="*/ 129953 h 129952"/>
                <a:gd name="connsiteX5" fmla="*/ 96518 w 119574"/>
                <a:gd name="connsiteY5" fmla="*/ 109286 h 129952"/>
                <a:gd name="connsiteX6" fmla="*/ 92839 w 119574"/>
                <a:gd name="connsiteY6" fmla="*/ 125841 h 129952"/>
                <a:gd name="connsiteX7" fmla="*/ 70982 w 119574"/>
                <a:gd name="connsiteY7" fmla="*/ 91108 h 129952"/>
                <a:gd name="connsiteX8" fmla="*/ 71956 w 119574"/>
                <a:gd name="connsiteY8" fmla="*/ 53669 h 129952"/>
                <a:gd name="connsiteX9" fmla="*/ 65247 w 119574"/>
                <a:gd name="connsiteY9" fmla="*/ 47610 h 129952"/>
                <a:gd name="connsiteX10" fmla="*/ 6492 w 119574"/>
                <a:gd name="connsiteY10" fmla="*/ 66004 h 129952"/>
                <a:gd name="connsiteX11" fmla="*/ 0 w 119574"/>
                <a:gd name="connsiteY11" fmla="*/ 25103 h 129952"/>
                <a:gd name="connsiteX12" fmla="*/ 64598 w 119574"/>
                <a:gd name="connsiteY12" fmla="*/ 0 h 129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574" h="129952">
                  <a:moveTo>
                    <a:pt x="64598" y="0"/>
                  </a:moveTo>
                  <a:lnTo>
                    <a:pt x="85265" y="18178"/>
                  </a:lnTo>
                  <a:cubicBezTo>
                    <a:pt x="85265" y="18178"/>
                    <a:pt x="120215" y="54102"/>
                    <a:pt x="119565" y="55076"/>
                  </a:cubicBezTo>
                  <a:cubicBezTo>
                    <a:pt x="118916" y="55941"/>
                    <a:pt x="118267" y="93272"/>
                    <a:pt x="118267" y="93380"/>
                  </a:cubicBezTo>
                  <a:lnTo>
                    <a:pt x="115887" y="129953"/>
                  </a:lnTo>
                  <a:cubicBezTo>
                    <a:pt x="115887" y="129953"/>
                    <a:pt x="99331" y="125084"/>
                    <a:pt x="96518" y="109286"/>
                  </a:cubicBezTo>
                  <a:lnTo>
                    <a:pt x="92839" y="125841"/>
                  </a:lnTo>
                  <a:cubicBezTo>
                    <a:pt x="92839" y="125841"/>
                    <a:pt x="68818" y="120323"/>
                    <a:pt x="70982" y="91108"/>
                  </a:cubicBezTo>
                  <a:cubicBezTo>
                    <a:pt x="72172" y="74553"/>
                    <a:pt x="72172" y="61784"/>
                    <a:pt x="71956" y="53669"/>
                  </a:cubicBezTo>
                  <a:lnTo>
                    <a:pt x="65247" y="47610"/>
                  </a:lnTo>
                  <a:cubicBezTo>
                    <a:pt x="63516" y="48692"/>
                    <a:pt x="6492" y="67303"/>
                    <a:pt x="6492" y="66004"/>
                  </a:cubicBezTo>
                  <a:cubicBezTo>
                    <a:pt x="6600" y="64706"/>
                    <a:pt x="0" y="25103"/>
                    <a:pt x="0" y="25103"/>
                  </a:cubicBezTo>
                  <a:lnTo>
                    <a:pt x="64598" y="0"/>
                  </a:ln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C99589CC-28E6-46F9-B662-F740A4D2EEC2}"/>
                </a:ext>
              </a:extLst>
            </p:cNvPr>
            <p:cNvSpPr/>
            <p:nvPr/>
          </p:nvSpPr>
          <p:spPr>
            <a:xfrm flipH="1">
              <a:off x="4133920" y="4514074"/>
              <a:ext cx="304715" cy="214910"/>
            </a:xfrm>
            <a:custGeom>
              <a:avLst/>
              <a:gdLst>
                <a:gd name="connsiteX0" fmla="*/ 0 w 276461"/>
                <a:gd name="connsiteY0" fmla="*/ 151377 h 194983"/>
                <a:gd name="connsiteX1" fmla="*/ 84075 w 276461"/>
                <a:gd name="connsiteY1" fmla="*/ 24346 h 194983"/>
                <a:gd name="connsiteX2" fmla="*/ 198013 w 276461"/>
                <a:gd name="connsiteY2" fmla="*/ 0 h 194983"/>
                <a:gd name="connsiteX3" fmla="*/ 263044 w 276461"/>
                <a:gd name="connsiteY3" fmla="*/ 54643 h 194983"/>
                <a:gd name="connsiteX4" fmla="*/ 276461 w 276461"/>
                <a:gd name="connsiteY4" fmla="*/ 94787 h 194983"/>
                <a:gd name="connsiteX5" fmla="*/ 230908 w 276461"/>
                <a:gd name="connsiteY5" fmla="*/ 69251 h 194983"/>
                <a:gd name="connsiteX6" fmla="*/ 189032 w 276461"/>
                <a:gd name="connsiteY6" fmla="*/ 36032 h 194983"/>
                <a:gd name="connsiteX7" fmla="*/ 128871 w 276461"/>
                <a:gd name="connsiteY7" fmla="*/ 62325 h 194983"/>
                <a:gd name="connsiteX8" fmla="*/ 132009 w 276461"/>
                <a:gd name="connsiteY8" fmla="*/ 94246 h 194983"/>
                <a:gd name="connsiteX9" fmla="*/ 22939 w 276461"/>
                <a:gd name="connsiteY9" fmla="*/ 194984 h 194983"/>
                <a:gd name="connsiteX10" fmla="*/ 0 w 276461"/>
                <a:gd name="connsiteY10" fmla="*/ 151377 h 194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461" h="194983">
                  <a:moveTo>
                    <a:pt x="0" y="151377"/>
                  </a:moveTo>
                  <a:lnTo>
                    <a:pt x="84075" y="24346"/>
                  </a:lnTo>
                  <a:lnTo>
                    <a:pt x="198013" y="0"/>
                  </a:lnTo>
                  <a:lnTo>
                    <a:pt x="263044" y="54643"/>
                  </a:lnTo>
                  <a:lnTo>
                    <a:pt x="276461" y="94787"/>
                  </a:lnTo>
                  <a:cubicBezTo>
                    <a:pt x="270077" y="100521"/>
                    <a:pt x="247246" y="90783"/>
                    <a:pt x="230908" y="69251"/>
                  </a:cubicBezTo>
                  <a:cubicBezTo>
                    <a:pt x="215110" y="48475"/>
                    <a:pt x="189032" y="36032"/>
                    <a:pt x="189032" y="36032"/>
                  </a:cubicBezTo>
                  <a:lnTo>
                    <a:pt x="128871" y="62325"/>
                  </a:lnTo>
                  <a:lnTo>
                    <a:pt x="132009" y="94246"/>
                  </a:lnTo>
                  <a:lnTo>
                    <a:pt x="22939" y="194984"/>
                  </a:lnTo>
                  <a:lnTo>
                    <a:pt x="0" y="151377"/>
                  </a:ln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3D8869AD-A61E-4152-8E5C-39EDDB8588CB}"/>
                </a:ext>
              </a:extLst>
            </p:cNvPr>
            <p:cNvSpPr/>
            <p:nvPr/>
          </p:nvSpPr>
          <p:spPr>
            <a:xfrm flipH="1">
              <a:off x="4092299" y="4467483"/>
              <a:ext cx="281775" cy="212365"/>
            </a:xfrm>
            <a:custGeom>
              <a:avLst/>
              <a:gdLst>
                <a:gd name="connsiteX0" fmla="*/ 241474 w 255648"/>
                <a:gd name="connsiteY0" fmla="*/ 166489 h 192674"/>
                <a:gd name="connsiteX1" fmla="*/ 20089 w 255648"/>
                <a:gd name="connsiteY1" fmla="*/ 2451 h 192674"/>
                <a:gd name="connsiteX2" fmla="*/ 2451 w 255648"/>
                <a:gd name="connsiteY2" fmla="*/ 5048 h 192674"/>
                <a:gd name="connsiteX3" fmla="*/ 2451 w 255648"/>
                <a:gd name="connsiteY3" fmla="*/ 5048 h 192674"/>
                <a:gd name="connsiteX4" fmla="*/ 5048 w 255648"/>
                <a:gd name="connsiteY4" fmla="*/ 22686 h 192674"/>
                <a:gd name="connsiteX5" fmla="*/ 226434 w 255648"/>
                <a:gd name="connsiteY5" fmla="*/ 186723 h 192674"/>
                <a:gd name="connsiteX6" fmla="*/ 255649 w 255648"/>
                <a:gd name="connsiteY6" fmla="*/ 192674 h 192674"/>
                <a:gd name="connsiteX7" fmla="*/ 241474 w 255648"/>
                <a:gd name="connsiteY7" fmla="*/ 166489 h 19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648" h="192674">
                  <a:moveTo>
                    <a:pt x="241474" y="166489"/>
                  </a:moveTo>
                  <a:lnTo>
                    <a:pt x="20089" y="2451"/>
                  </a:lnTo>
                  <a:cubicBezTo>
                    <a:pt x="14462" y="-1660"/>
                    <a:pt x="6563" y="-470"/>
                    <a:pt x="2451" y="5048"/>
                  </a:cubicBezTo>
                  <a:lnTo>
                    <a:pt x="2451" y="5048"/>
                  </a:lnTo>
                  <a:cubicBezTo>
                    <a:pt x="-1660" y="10675"/>
                    <a:pt x="-470" y="18574"/>
                    <a:pt x="5048" y="22686"/>
                  </a:cubicBezTo>
                  <a:lnTo>
                    <a:pt x="226434" y="186723"/>
                  </a:lnTo>
                  <a:lnTo>
                    <a:pt x="255649" y="192674"/>
                  </a:lnTo>
                  <a:lnTo>
                    <a:pt x="241474" y="166489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F1FF5734-9F37-4C01-8DD3-637E220D0664}"/>
                </a:ext>
              </a:extLst>
            </p:cNvPr>
            <p:cNvSpPr/>
            <p:nvPr/>
          </p:nvSpPr>
          <p:spPr>
            <a:xfrm flipH="1">
              <a:off x="4177578" y="4558081"/>
              <a:ext cx="248296" cy="215149"/>
            </a:xfrm>
            <a:custGeom>
              <a:avLst/>
              <a:gdLst>
                <a:gd name="connsiteX0" fmla="*/ 32786 w 225273"/>
                <a:gd name="connsiteY0" fmla="*/ 195201 h 195200"/>
                <a:gd name="connsiteX1" fmla="*/ 96410 w 225273"/>
                <a:gd name="connsiteY1" fmla="*/ 156464 h 195200"/>
                <a:gd name="connsiteX2" fmla="*/ 116644 w 225273"/>
                <a:gd name="connsiteY2" fmla="*/ 137095 h 195200"/>
                <a:gd name="connsiteX3" fmla="*/ 168474 w 225273"/>
                <a:gd name="connsiteY3" fmla="*/ 68386 h 195200"/>
                <a:gd name="connsiteX4" fmla="*/ 224956 w 225273"/>
                <a:gd name="connsiteY4" fmla="*/ 15907 h 195200"/>
                <a:gd name="connsiteX5" fmla="*/ 181566 w 225273"/>
                <a:gd name="connsiteY5" fmla="*/ 9306 h 195200"/>
                <a:gd name="connsiteX6" fmla="*/ 86563 w 225273"/>
                <a:gd name="connsiteY6" fmla="*/ 60379 h 195200"/>
                <a:gd name="connsiteX7" fmla="*/ 0 w 225273"/>
                <a:gd name="connsiteY7" fmla="*/ 133200 h 195200"/>
                <a:gd name="connsiteX8" fmla="*/ 32786 w 225273"/>
                <a:gd name="connsiteY8" fmla="*/ 195201 h 19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273" h="195200">
                  <a:moveTo>
                    <a:pt x="32786" y="195201"/>
                  </a:moveTo>
                  <a:lnTo>
                    <a:pt x="96410" y="156464"/>
                  </a:lnTo>
                  <a:cubicBezTo>
                    <a:pt x="104525" y="151487"/>
                    <a:pt x="111450" y="144994"/>
                    <a:pt x="116644" y="137095"/>
                  </a:cubicBezTo>
                  <a:cubicBezTo>
                    <a:pt x="130386" y="116428"/>
                    <a:pt x="158627" y="75311"/>
                    <a:pt x="168474" y="68386"/>
                  </a:cubicBezTo>
                  <a:cubicBezTo>
                    <a:pt x="181783" y="59080"/>
                    <a:pt x="229609" y="28999"/>
                    <a:pt x="224956" y="15907"/>
                  </a:cubicBezTo>
                  <a:cubicBezTo>
                    <a:pt x="220303" y="2814"/>
                    <a:pt x="208942" y="-8764"/>
                    <a:pt x="181566" y="9306"/>
                  </a:cubicBezTo>
                  <a:cubicBezTo>
                    <a:pt x="154191" y="27376"/>
                    <a:pt x="86563" y="60379"/>
                    <a:pt x="86563" y="60379"/>
                  </a:cubicBezTo>
                  <a:lnTo>
                    <a:pt x="0" y="133200"/>
                  </a:lnTo>
                  <a:lnTo>
                    <a:pt x="32786" y="195201"/>
                  </a:ln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B09CD358-71A1-46BC-929A-3A48359866CC}"/>
                </a:ext>
              </a:extLst>
            </p:cNvPr>
            <p:cNvSpPr/>
            <p:nvPr/>
          </p:nvSpPr>
          <p:spPr>
            <a:xfrm flipH="1">
              <a:off x="4177673" y="4556126"/>
              <a:ext cx="145285" cy="76436"/>
            </a:xfrm>
            <a:custGeom>
              <a:avLst/>
              <a:gdLst>
                <a:gd name="connsiteX0" fmla="*/ 7 w 131814"/>
                <a:gd name="connsiteY0" fmla="*/ 58689 h 69349"/>
                <a:gd name="connsiteX1" fmla="*/ 30412 w 131814"/>
                <a:gd name="connsiteY1" fmla="*/ 44515 h 69349"/>
                <a:gd name="connsiteX2" fmla="*/ 101611 w 131814"/>
                <a:gd name="connsiteY2" fmla="*/ 7292 h 69349"/>
                <a:gd name="connsiteX3" fmla="*/ 120979 w 131814"/>
                <a:gd name="connsiteY3" fmla="*/ 8483 h 69349"/>
                <a:gd name="connsiteX4" fmla="*/ 125957 w 131814"/>
                <a:gd name="connsiteY4" fmla="*/ 24821 h 69349"/>
                <a:gd name="connsiteX5" fmla="*/ 114811 w 131814"/>
                <a:gd name="connsiteY5" fmla="*/ 38996 h 69349"/>
                <a:gd name="connsiteX6" fmla="*/ 102151 w 131814"/>
                <a:gd name="connsiteY6" fmla="*/ 49925 h 69349"/>
                <a:gd name="connsiteX7" fmla="*/ 75100 w 131814"/>
                <a:gd name="connsiteY7" fmla="*/ 69293 h 69349"/>
                <a:gd name="connsiteX8" fmla="*/ 83432 w 131814"/>
                <a:gd name="connsiteY8" fmla="*/ 65831 h 69349"/>
                <a:gd name="connsiteX9" fmla="*/ 104424 w 131814"/>
                <a:gd name="connsiteY9" fmla="*/ 52846 h 69349"/>
                <a:gd name="connsiteX10" fmla="*/ 117733 w 131814"/>
                <a:gd name="connsiteY10" fmla="*/ 42242 h 69349"/>
                <a:gd name="connsiteX11" fmla="*/ 130609 w 131814"/>
                <a:gd name="connsiteY11" fmla="*/ 26445 h 69349"/>
                <a:gd name="connsiteX12" fmla="*/ 124225 w 131814"/>
                <a:gd name="connsiteY12" fmla="*/ 4263 h 69349"/>
                <a:gd name="connsiteX13" fmla="*/ 99663 w 131814"/>
                <a:gd name="connsiteY13" fmla="*/ 2207 h 69349"/>
                <a:gd name="connsiteX14" fmla="*/ 28465 w 131814"/>
                <a:gd name="connsiteY14" fmla="*/ 41052 h 69349"/>
                <a:gd name="connsiteX15" fmla="*/ 7 w 131814"/>
                <a:gd name="connsiteY15" fmla="*/ 58689 h 69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1814" h="69349">
                  <a:moveTo>
                    <a:pt x="7" y="58689"/>
                  </a:moveTo>
                  <a:cubicBezTo>
                    <a:pt x="332" y="59339"/>
                    <a:pt x="11909" y="53928"/>
                    <a:pt x="30412" y="44515"/>
                  </a:cubicBezTo>
                  <a:cubicBezTo>
                    <a:pt x="48699" y="35317"/>
                    <a:pt x="74560" y="21467"/>
                    <a:pt x="101611" y="7292"/>
                  </a:cubicBezTo>
                  <a:cubicBezTo>
                    <a:pt x="108319" y="4587"/>
                    <a:pt x="116110" y="4587"/>
                    <a:pt x="120979" y="8483"/>
                  </a:cubicBezTo>
                  <a:cubicBezTo>
                    <a:pt x="125957" y="12378"/>
                    <a:pt x="128012" y="19411"/>
                    <a:pt x="125957" y="24821"/>
                  </a:cubicBezTo>
                  <a:cubicBezTo>
                    <a:pt x="123901" y="30448"/>
                    <a:pt x="119140" y="34884"/>
                    <a:pt x="114811" y="38996"/>
                  </a:cubicBezTo>
                  <a:cubicBezTo>
                    <a:pt x="110375" y="43108"/>
                    <a:pt x="106155" y="46679"/>
                    <a:pt x="102151" y="49925"/>
                  </a:cubicBezTo>
                  <a:cubicBezTo>
                    <a:pt x="86029" y="62585"/>
                    <a:pt x="74668" y="68536"/>
                    <a:pt x="75100" y="69293"/>
                  </a:cubicBezTo>
                  <a:cubicBezTo>
                    <a:pt x="75209" y="69618"/>
                    <a:pt x="78239" y="68536"/>
                    <a:pt x="83432" y="65831"/>
                  </a:cubicBezTo>
                  <a:cubicBezTo>
                    <a:pt x="88626" y="63234"/>
                    <a:pt x="95984" y="59014"/>
                    <a:pt x="104424" y="52846"/>
                  </a:cubicBezTo>
                  <a:cubicBezTo>
                    <a:pt x="108644" y="49817"/>
                    <a:pt x="113188" y="46246"/>
                    <a:pt x="117733" y="42242"/>
                  </a:cubicBezTo>
                  <a:cubicBezTo>
                    <a:pt x="122169" y="38239"/>
                    <a:pt x="127688" y="33802"/>
                    <a:pt x="130609" y="26445"/>
                  </a:cubicBezTo>
                  <a:cubicBezTo>
                    <a:pt x="133531" y="19087"/>
                    <a:pt x="131042" y="9673"/>
                    <a:pt x="124225" y="4263"/>
                  </a:cubicBezTo>
                  <a:cubicBezTo>
                    <a:pt x="117084" y="-1256"/>
                    <a:pt x="107454" y="-823"/>
                    <a:pt x="99663" y="2207"/>
                  </a:cubicBezTo>
                  <a:cubicBezTo>
                    <a:pt x="70881" y="17139"/>
                    <a:pt x="46751" y="30881"/>
                    <a:pt x="28465" y="41052"/>
                  </a:cubicBezTo>
                  <a:cubicBezTo>
                    <a:pt x="10611" y="51440"/>
                    <a:pt x="-318" y="58040"/>
                    <a:pt x="7" y="58689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DE9B0971-CE33-4254-AC6E-6CF8E488B268}"/>
                </a:ext>
              </a:extLst>
            </p:cNvPr>
            <p:cNvSpPr/>
            <p:nvPr/>
          </p:nvSpPr>
          <p:spPr>
            <a:xfrm flipH="1">
              <a:off x="5808244" y="6372895"/>
              <a:ext cx="392611" cy="476214"/>
            </a:xfrm>
            <a:custGeom>
              <a:avLst/>
              <a:gdLst>
                <a:gd name="connsiteX0" fmla="*/ 203965 w 356207"/>
                <a:gd name="connsiteY0" fmla="*/ 373845 h 432058"/>
                <a:gd name="connsiteX1" fmla="*/ 202341 w 356207"/>
                <a:gd name="connsiteY1" fmla="*/ 225930 h 432058"/>
                <a:gd name="connsiteX2" fmla="*/ 356208 w 356207"/>
                <a:gd name="connsiteY2" fmla="*/ 171936 h 432058"/>
                <a:gd name="connsiteX3" fmla="*/ 304162 w 356207"/>
                <a:gd name="connsiteY3" fmla="*/ 0 h 432058"/>
                <a:gd name="connsiteX4" fmla="*/ 106040 w 356207"/>
                <a:gd name="connsiteY4" fmla="*/ 86672 h 432058"/>
                <a:gd name="connsiteX5" fmla="*/ 0 w 356207"/>
                <a:gd name="connsiteY5" fmla="*/ 156030 h 432058"/>
                <a:gd name="connsiteX6" fmla="*/ 133957 w 356207"/>
                <a:gd name="connsiteY6" fmla="*/ 428488 h 432058"/>
                <a:gd name="connsiteX7" fmla="*/ 287931 w 356207"/>
                <a:gd name="connsiteY7" fmla="*/ 432059 h 432058"/>
                <a:gd name="connsiteX8" fmla="*/ 203965 w 356207"/>
                <a:gd name="connsiteY8" fmla="*/ 373845 h 43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6207" h="432058">
                  <a:moveTo>
                    <a:pt x="203965" y="373845"/>
                  </a:moveTo>
                  <a:lnTo>
                    <a:pt x="202341" y="225930"/>
                  </a:lnTo>
                  <a:lnTo>
                    <a:pt x="356208" y="171936"/>
                  </a:lnTo>
                  <a:lnTo>
                    <a:pt x="304162" y="0"/>
                  </a:lnTo>
                  <a:lnTo>
                    <a:pt x="106040" y="86672"/>
                  </a:lnTo>
                  <a:lnTo>
                    <a:pt x="0" y="156030"/>
                  </a:lnTo>
                  <a:lnTo>
                    <a:pt x="133957" y="428488"/>
                  </a:lnTo>
                  <a:lnTo>
                    <a:pt x="287931" y="432059"/>
                  </a:lnTo>
                  <a:cubicBezTo>
                    <a:pt x="287931" y="431842"/>
                    <a:pt x="277651" y="394620"/>
                    <a:pt x="203965" y="373845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A431805D-EE9E-4F9B-BF50-E1EF5C74E620}"/>
                </a:ext>
              </a:extLst>
            </p:cNvPr>
            <p:cNvSpPr/>
            <p:nvPr/>
          </p:nvSpPr>
          <p:spPr>
            <a:xfrm flipH="1">
              <a:off x="5883499" y="6528533"/>
              <a:ext cx="317356" cy="320337"/>
            </a:xfrm>
            <a:custGeom>
              <a:avLst/>
              <a:gdLst>
                <a:gd name="connsiteX0" fmla="*/ 0 w 287930"/>
                <a:gd name="connsiteY0" fmla="*/ 14716 h 290635"/>
                <a:gd name="connsiteX1" fmla="*/ 133957 w 287930"/>
                <a:gd name="connsiteY1" fmla="*/ 287174 h 290635"/>
                <a:gd name="connsiteX2" fmla="*/ 287931 w 287930"/>
                <a:gd name="connsiteY2" fmla="*/ 290636 h 290635"/>
                <a:gd name="connsiteX3" fmla="*/ 271051 w 287930"/>
                <a:gd name="connsiteY3" fmla="*/ 267156 h 290635"/>
                <a:gd name="connsiteX4" fmla="*/ 146075 w 287930"/>
                <a:gd name="connsiteY4" fmla="*/ 257417 h 290635"/>
                <a:gd name="connsiteX5" fmla="*/ 22506 w 287930"/>
                <a:gd name="connsiteY5" fmla="*/ 0 h 290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930" h="290635">
                  <a:moveTo>
                    <a:pt x="0" y="14716"/>
                  </a:moveTo>
                  <a:lnTo>
                    <a:pt x="133957" y="287174"/>
                  </a:lnTo>
                  <a:lnTo>
                    <a:pt x="287931" y="290636"/>
                  </a:lnTo>
                  <a:lnTo>
                    <a:pt x="271051" y="267156"/>
                  </a:lnTo>
                  <a:lnTo>
                    <a:pt x="146075" y="257417"/>
                  </a:lnTo>
                  <a:lnTo>
                    <a:pt x="22506" y="0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97405511-96DE-48D9-86C2-E18CA6203ED8}"/>
                </a:ext>
              </a:extLst>
            </p:cNvPr>
            <p:cNvSpPr/>
            <p:nvPr/>
          </p:nvSpPr>
          <p:spPr>
            <a:xfrm flipH="1">
              <a:off x="5975288" y="6698835"/>
              <a:ext cx="48623" cy="11758"/>
            </a:xfrm>
            <a:custGeom>
              <a:avLst/>
              <a:gdLst>
                <a:gd name="connsiteX0" fmla="*/ 43969 w 44115"/>
                <a:gd name="connsiteY0" fmla="*/ 10391 h 10668"/>
                <a:gd name="connsiteX1" fmla="*/ 22111 w 44115"/>
                <a:gd name="connsiteY1" fmla="*/ 6821 h 10668"/>
                <a:gd name="connsiteX2" fmla="*/ 146 w 44115"/>
                <a:gd name="connsiteY2" fmla="*/ 10067 h 10668"/>
                <a:gd name="connsiteX3" fmla="*/ 22111 w 44115"/>
                <a:gd name="connsiteY3" fmla="*/ 4 h 10668"/>
                <a:gd name="connsiteX4" fmla="*/ 43969 w 44115"/>
                <a:gd name="connsiteY4" fmla="*/ 10391 h 1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115" h="10668">
                  <a:moveTo>
                    <a:pt x="43969" y="10391"/>
                  </a:moveTo>
                  <a:cubicBezTo>
                    <a:pt x="42778" y="11906"/>
                    <a:pt x="34014" y="6712"/>
                    <a:pt x="22111" y="6821"/>
                  </a:cubicBezTo>
                  <a:cubicBezTo>
                    <a:pt x="10209" y="6496"/>
                    <a:pt x="1336" y="11690"/>
                    <a:pt x="146" y="10067"/>
                  </a:cubicBezTo>
                  <a:cubicBezTo>
                    <a:pt x="-1261" y="8877"/>
                    <a:pt x="7612" y="-212"/>
                    <a:pt x="22111" y="4"/>
                  </a:cubicBezTo>
                  <a:cubicBezTo>
                    <a:pt x="36611" y="4"/>
                    <a:pt x="45375" y="9201"/>
                    <a:pt x="43969" y="1039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01125B8B-B389-4B4E-864E-1D34D9981C04}"/>
                </a:ext>
              </a:extLst>
            </p:cNvPr>
            <p:cNvSpPr/>
            <p:nvPr/>
          </p:nvSpPr>
          <p:spPr>
            <a:xfrm flipH="1">
              <a:off x="5977019" y="6649738"/>
              <a:ext cx="48501" cy="20096"/>
            </a:xfrm>
            <a:custGeom>
              <a:avLst/>
              <a:gdLst>
                <a:gd name="connsiteX0" fmla="*/ 43698 w 44004"/>
                <a:gd name="connsiteY0" fmla="*/ 18147 h 18233"/>
                <a:gd name="connsiteX1" fmla="*/ 23248 w 44004"/>
                <a:gd name="connsiteY1" fmla="*/ 7326 h 18233"/>
                <a:gd name="connsiteX2" fmla="*/ 92 w 44004"/>
                <a:gd name="connsiteY2" fmla="*/ 8408 h 18233"/>
                <a:gd name="connsiteX3" fmla="*/ 5827 w 44004"/>
                <a:gd name="connsiteY3" fmla="*/ 2890 h 18233"/>
                <a:gd name="connsiteX4" fmla="*/ 24762 w 44004"/>
                <a:gd name="connsiteY4" fmla="*/ 726 h 18233"/>
                <a:gd name="connsiteX5" fmla="*/ 40885 w 44004"/>
                <a:gd name="connsiteY5" fmla="*/ 10789 h 18233"/>
                <a:gd name="connsiteX6" fmla="*/ 43698 w 44004"/>
                <a:gd name="connsiteY6" fmla="*/ 18147 h 1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004" h="18233">
                  <a:moveTo>
                    <a:pt x="43698" y="18147"/>
                  </a:moveTo>
                  <a:cubicBezTo>
                    <a:pt x="42183" y="19229"/>
                    <a:pt x="35475" y="9923"/>
                    <a:pt x="23248" y="7326"/>
                  </a:cubicBezTo>
                  <a:cubicBezTo>
                    <a:pt x="11021" y="4513"/>
                    <a:pt x="1066" y="10031"/>
                    <a:pt x="92" y="8408"/>
                  </a:cubicBezTo>
                  <a:cubicBezTo>
                    <a:pt x="-449" y="7651"/>
                    <a:pt x="1390" y="5162"/>
                    <a:pt x="5827" y="2890"/>
                  </a:cubicBezTo>
                  <a:cubicBezTo>
                    <a:pt x="10155" y="618"/>
                    <a:pt x="17188" y="-1005"/>
                    <a:pt x="24762" y="726"/>
                  </a:cubicBezTo>
                  <a:cubicBezTo>
                    <a:pt x="32337" y="2457"/>
                    <a:pt x="37963" y="6893"/>
                    <a:pt x="40885" y="10789"/>
                  </a:cubicBezTo>
                  <a:cubicBezTo>
                    <a:pt x="43915" y="14684"/>
                    <a:pt x="44456" y="17714"/>
                    <a:pt x="43698" y="1814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EC4EE840-FECF-4C8C-ADD4-83519A28E97F}"/>
                </a:ext>
              </a:extLst>
            </p:cNvPr>
            <p:cNvSpPr/>
            <p:nvPr/>
          </p:nvSpPr>
          <p:spPr>
            <a:xfrm flipH="1">
              <a:off x="5974540" y="6595574"/>
              <a:ext cx="43071" cy="22336"/>
            </a:xfrm>
            <a:custGeom>
              <a:avLst/>
              <a:gdLst>
                <a:gd name="connsiteX0" fmla="*/ 38577 w 39077"/>
                <a:gd name="connsiteY0" fmla="*/ 20221 h 20265"/>
                <a:gd name="connsiteX1" fmla="*/ 21156 w 39077"/>
                <a:gd name="connsiteY1" fmla="*/ 8102 h 20265"/>
                <a:gd name="connsiteX2" fmla="*/ 57 w 39077"/>
                <a:gd name="connsiteY2" fmla="*/ 5722 h 20265"/>
                <a:gd name="connsiteX3" fmla="*/ 6008 w 39077"/>
                <a:gd name="connsiteY3" fmla="*/ 1285 h 20265"/>
                <a:gd name="connsiteX4" fmla="*/ 23537 w 39077"/>
                <a:gd name="connsiteY4" fmla="*/ 1718 h 20265"/>
                <a:gd name="connsiteX5" fmla="*/ 37062 w 39077"/>
                <a:gd name="connsiteY5" fmla="*/ 12971 h 20265"/>
                <a:gd name="connsiteX6" fmla="*/ 38577 w 39077"/>
                <a:gd name="connsiteY6" fmla="*/ 20221 h 2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077" h="20265">
                  <a:moveTo>
                    <a:pt x="38577" y="20221"/>
                  </a:moveTo>
                  <a:cubicBezTo>
                    <a:pt x="36846" y="20978"/>
                    <a:pt x="31869" y="11997"/>
                    <a:pt x="21156" y="8102"/>
                  </a:cubicBezTo>
                  <a:cubicBezTo>
                    <a:pt x="10552" y="3990"/>
                    <a:pt x="814" y="7453"/>
                    <a:pt x="57" y="5722"/>
                  </a:cubicBezTo>
                  <a:cubicBezTo>
                    <a:pt x="-376" y="4964"/>
                    <a:pt x="1680" y="2800"/>
                    <a:pt x="6008" y="1285"/>
                  </a:cubicBezTo>
                  <a:cubicBezTo>
                    <a:pt x="10228" y="-230"/>
                    <a:pt x="16936" y="-771"/>
                    <a:pt x="23537" y="1718"/>
                  </a:cubicBezTo>
                  <a:cubicBezTo>
                    <a:pt x="30245" y="4207"/>
                    <a:pt x="34898" y="9076"/>
                    <a:pt x="37062" y="12971"/>
                  </a:cubicBezTo>
                  <a:cubicBezTo>
                    <a:pt x="39335" y="16975"/>
                    <a:pt x="39443" y="19896"/>
                    <a:pt x="38577" y="2022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76C8379B-76A3-4AB4-A782-7C8F33136C3E}"/>
                </a:ext>
              </a:extLst>
            </p:cNvPr>
            <p:cNvSpPr/>
            <p:nvPr/>
          </p:nvSpPr>
          <p:spPr>
            <a:xfrm flipH="1">
              <a:off x="5958671" y="6574763"/>
              <a:ext cx="22117" cy="43029"/>
            </a:xfrm>
            <a:custGeom>
              <a:avLst/>
              <a:gdLst>
                <a:gd name="connsiteX0" fmla="*/ 16530 w 20066"/>
                <a:gd name="connsiteY0" fmla="*/ 38993 h 39039"/>
                <a:gd name="connsiteX1" fmla="*/ 11228 w 20066"/>
                <a:gd name="connsiteY1" fmla="*/ 18434 h 39039"/>
                <a:gd name="connsiteX2" fmla="*/ 83 w 20066"/>
                <a:gd name="connsiteY2" fmla="*/ 364 h 39039"/>
                <a:gd name="connsiteX3" fmla="*/ 17504 w 20066"/>
                <a:gd name="connsiteY3" fmla="*/ 15837 h 39039"/>
                <a:gd name="connsiteX4" fmla="*/ 16530 w 20066"/>
                <a:gd name="connsiteY4" fmla="*/ 38993 h 3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66" h="39039">
                  <a:moveTo>
                    <a:pt x="16530" y="38993"/>
                  </a:moveTo>
                  <a:cubicBezTo>
                    <a:pt x="14691" y="38560"/>
                    <a:pt x="15773" y="28822"/>
                    <a:pt x="11228" y="18434"/>
                  </a:cubicBezTo>
                  <a:cubicBezTo>
                    <a:pt x="6900" y="7938"/>
                    <a:pt x="-890" y="1987"/>
                    <a:pt x="83" y="364"/>
                  </a:cubicBezTo>
                  <a:cubicBezTo>
                    <a:pt x="624" y="-1367"/>
                    <a:pt x="12094" y="2961"/>
                    <a:pt x="17504" y="15837"/>
                  </a:cubicBezTo>
                  <a:cubicBezTo>
                    <a:pt x="23023" y="28605"/>
                    <a:pt x="18153" y="39858"/>
                    <a:pt x="16530" y="3899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3A8D6664-E43C-4767-AE8D-0503E4CFB0DD}"/>
                </a:ext>
              </a:extLst>
            </p:cNvPr>
            <p:cNvSpPr/>
            <p:nvPr/>
          </p:nvSpPr>
          <p:spPr>
            <a:xfrm flipH="1">
              <a:off x="5918103" y="6525264"/>
              <a:ext cx="31175" cy="76204"/>
            </a:xfrm>
            <a:custGeom>
              <a:avLst/>
              <a:gdLst>
                <a:gd name="connsiteX0" fmla="*/ 6228 w 28284"/>
                <a:gd name="connsiteY0" fmla="*/ 66590 h 69138"/>
                <a:gd name="connsiteX1" fmla="*/ 2658 w 28284"/>
                <a:gd name="connsiteY1" fmla="*/ 45923 h 69138"/>
                <a:gd name="connsiteX2" fmla="*/ 602 w 28284"/>
                <a:gd name="connsiteY2" fmla="*/ 23416 h 69138"/>
                <a:gd name="connsiteX3" fmla="*/ 602 w 28284"/>
                <a:gd name="connsiteY3" fmla="*/ 9025 h 69138"/>
                <a:gd name="connsiteX4" fmla="*/ 6120 w 28284"/>
                <a:gd name="connsiteY4" fmla="*/ 1343 h 69138"/>
                <a:gd name="connsiteX5" fmla="*/ 16616 w 28284"/>
                <a:gd name="connsiteY5" fmla="*/ 1775 h 69138"/>
                <a:gd name="connsiteX6" fmla="*/ 25381 w 28284"/>
                <a:gd name="connsiteY6" fmla="*/ 15409 h 69138"/>
                <a:gd name="connsiteX7" fmla="*/ 28194 w 28284"/>
                <a:gd name="connsiteY7" fmla="*/ 29367 h 69138"/>
                <a:gd name="connsiteX8" fmla="*/ 24082 w 28284"/>
                <a:gd name="connsiteY8" fmla="*/ 52631 h 69138"/>
                <a:gd name="connsiteX9" fmla="*/ 10557 w 28284"/>
                <a:gd name="connsiteY9" fmla="*/ 69078 h 69138"/>
                <a:gd name="connsiteX10" fmla="*/ 19538 w 28284"/>
                <a:gd name="connsiteY10" fmla="*/ 50900 h 69138"/>
                <a:gd name="connsiteX11" fmla="*/ 21810 w 28284"/>
                <a:gd name="connsiteY11" fmla="*/ 29800 h 69138"/>
                <a:gd name="connsiteX12" fmla="*/ 18997 w 28284"/>
                <a:gd name="connsiteY12" fmla="*/ 17681 h 69138"/>
                <a:gd name="connsiteX13" fmla="*/ 12721 w 28284"/>
                <a:gd name="connsiteY13" fmla="*/ 7402 h 69138"/>
                <a:gd name="connsiteX14" fmla="*/ 9475 w 28284"/>
                <a:gd name="connsiteY14" fmla="*/ 7185 h 69138"/>
                <a:gd name="connsiteX15" fmla="*/ 6986 w 28284"/>
                <a:gd name="connsiteY15" fmla="*/ 10756 h 69138"/>
                <a:gd name="connsiteX16" fmla="*/ 6770 w 28284"/>
                <a:gd name="connsiteY16" fmla="*/ 22983 h 69138"/>
                <a:gd name="connsiteX17" fmla="*/ 7419 w 28284"/>
                <a:gd name="connsiteY17" fmla="*/ 45598 h 69138"/>
                <a:gd name="connsiteX18" fmla="*/ 6228 w 28284"/>
                <a:gd name="connsiteY18" fmla="*/ 66590 h 6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284" h="69138">
                  <a:moveTo>
                    <a:pt x="6228" y="66590"/>
                  </a:moveTo>
                  <a:cubicBezTo>
                    <a:pt x="5255" y="66698"/>
                    <a:pt x="3956" y="58691"/>
                    <a:pt x="2658" y="45923"/>
                  </a:cubicBezTo>
                  <a:cubicBezTo>
                    <a:pt x="2009" y="38565"/>
                    <a:pt x="1251" y="30990"/>
                    <a:pt x="602" y="23416"/>
                  </a:cubicBezTo>
                  <a:cubicBezTo>
                    <a:pt x="494" y="19196"/>
                    <a:pt x="-697" y="14868"/>
                    <a:pt x="602" y="9025"/>
                  </a:cubicBezTo>
                  <a:cubicBezTo>
                    <a:pt x="1359" y="6104"/>
                    <a:pt x="3091" y="3182"/>
                    <a:pt x="6120" y="1343"/>
                  </a:cubicBezTo>
                  <a:cubicBezTo>
                    <a:pt x="9150" y="-713"/>
                    <a:pt x="13911" y="-281"/>
                    <a:pt x="16616" y="1775"/>
                  </a:cubicBezTo>
                  <a:cubicBezTo>
                    <a:pt x="21918" y="5995"/>
                    <a:pt x="23433" y="10864"/>
                    <a:pt x="25381" y="15409"/>
                  </a:cubicBezTo>
                  <a:cubicBezTo>
                    <a:pt x="27004" y="20062"/>
                    <a:pt x="27869" y="24823"/>
                    <a:pt x="28194" y="29367"/>
                  </a:cubicBezTo>
                  <a:cubicBezTo>
                    <a:pt x="28735" y="38456"/>
                    <a:pt x="26787" y="46463"/>
                    <a:pt x="24082" y="52631"/>
                  </a:cubicBezTo>
                  <a:cubicBezTo>
                    <a:pt x="18564" y="65183"/>
                    <a:pt x="10881" y="69727"/>
                    <a:pt x="10557" y="69078"/>
                  </a:cubicBezTo>
                  <a:cubicBezTo>
                    <a:pt x="9691" y="68213"/>
                    <a:pt x="15750" y="62694"/>
                    <a:pt x="19538" y="50900"/>
                  </a:cubicBezTo>
                  <a:cubicBezTo>
                    <a:pt x="21377" y="45057"/>
                    <a:pt x="22676" y="37699"/>
                    <a:pt x="21810" y="29800"/>
                  </a:cubicBezTo>
                  <a:cubicBezTo>
                    <a:pt x="21377" y="25796"/>
                    <a:pt x="20511" y="21685"/>
                    <a:pt x="18997" y="17681"/>
                  </a:cubicBezTo>
                  <a:cubicBezTo>
                    <a:pt x="17482" y="13786"/>
                    <a:pt x="15318" y="9241"/>
                    <a:pt x="12721" y="7402"/>
                  </a:cubicBezTo>
                  <a:cubicBezTo>
                    <a:pt x="11422" y="6644"/>
                    <a:pt x="10557" y="6536"/>
                    <a:pt x="9475" y="7185"/>
                  </a:cubicBezTo>
                  <a:cubicBezTo>
                    <a:pt x="8393" y="7835"/>
                    <a:pt x="7311" y="9241"/>
                    <a:pt x="6986" y="10756"/>
                  </a:cubicBezTo>
                  <a:cubicBezTo>
                    <a:pt x="6120" y="14002"/>
                    <a:pt x="6770" y="18763"/>
                    <a:pt x="6770" y="22983"/>
                  </a:cubicBezTo>
                  <a:cubicBezTo>
                    <a:pt x="6986" y="30666"/>
                    <a:pt x="7202" y="38132"/>
                    <a:pt x="7419" y="45598"/>
                  </a:cubicBezTo>
                  <a:cubicBezTo>
                    <a:pt x="7527" y="58582"/>
                    <a:pt x="7094" y="66481"/>
                    <a:pt x="6228" y="6659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52615C8F-4AF8-4F23-964B-9F0CF088D4D4}"/>
                </a:ext>
              </a:extLst>
            </p:cNvPr>
            <p:cNvSpPr/>
            <p:nvPr/>
          </p:nvSpPr>
          <p:spPr>
            <a:xfrm flipH="1">
              <a:off x="5873641" y="6592026"/>
              <a:ext cx="67026" cy="31158"/>
            </a:xfrm>
            <a:custGeom>
              <a:avLst/>
              <a:gdLst>
                <a:gd name="connsiteX0" fmla="*/ 905 w 60811"/>
                <a:gd name="connsiteY0" fmla="*/ 12727 h 28269"/>
                <a:gd name="connsiteX1" fmla="*/ 16702 w 60811"/>
                <a:gd name="connsiteY1" fmla="*/ 1690 h 28269"/>
                <a:gd name="connsiteX2" fmla="*/ 60417 w 60811"/>
                <a:gd name="connsiteY2" fmla="*/ 17272 h 28269"/>
                <a:gd name="connsiteX3" fmla="*/ 59768 w 60811"/>
                <a:gd name="connsiteY3" fmla="*/ 23223 h 28269"/>
                <a:gd name="connsiteX4" fmla="*/ 55764 w 60811"/>
                <a:gd name="connsiteY4" fmla="*/ 26577 h 28269"/>
                <a:gd name="connsiteX5" fmla="*/ 48514 w 60811"/>
                <a:gd name="connsiteY5" fmla="*/ 27984 h 28269"/>
                <a:gd name="connsiteX6" fmla="*/ 35963 w 60811"/>
                <a:gd name="connsiteY6" fmla="*/ 27984 h 28269"/>
                <a:gd name="connsiteX7" fmla="*/ 15620 w 60811"/>
                <a:gd name="connsiteY7" fmla="*/ 22790 h 28269"/>
                <a:gd name="connsiteX8" fmla="*/ 39 w 60811"/>
                <a:gd name="connsiteY8" fmla="*/ 11753 h 28269"/>
                <a:gd name="connsiteX9" fmla="*/ 17352 w 60811"/>
                <a:gd name="connsiteY9" fmla="*/ 18246 h 28269"/>
                <a:gd name="connsiteX10" fmla="*/ 36504 w 60811"/>
                <a:gd name="connsiteY10" fmla="*/ 21708 h 28269"/>
                <a:gd name="connsiteX11" fmla="*/ 47865 w 60811"/>
                <a:gd name="connsiteY11" fmla="*/ 21383 h 28269"/>
                <a:gd name="connsiteX12" fmla="*/ 53059 w 60811"/>
                <a:gd name="connsiteY12" fmla="*/ 20301 h 28269"/>
                <a:gd name="connsiteX13" fmla="*/ 54033 w 60811"/>
                <a:gd name="connsiteY13" fmla="*/ 19219 h 28269"/>
                <a:gd name="connsiteX14" fmla="*/ 51003 w 60811"/>
                <a:gd name="connsiteY14" fmla="*/ 15541 h 28269"/>
                <a:gd name="connsiteX15" fmla="*/ 46459 w 60811"/>
                <a:gd name="connsiteY15" fmla="*/ 11970 h 28269"/>
                <a:gd name="connsiteX16" fmla="*/ 36612 w 60811"/>
                <a:gd name="connsiteY16" fmla="*/ 7209 h 28269"/>
                <a:gd name="connsiteX17" fmla="*/ 18001 w 60811"/>
                <a:gd name="connsiteY17" fmla="*/ 6235 h 28269"/>
                <a:gd name="connsiteX18" fmla="*/ 905 w 60811"/>
                <a:gd name="connsiteY18" fmla="*/ 12727 h 2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0811" h="28269">
                  <a:moveTo>
                    <a:pt x="905" y="12727"/>
                  </a:moveTo>
                  <a:cubicBezTo>
                    <a:pt x="255" y="12294"/>
                    <a:pt x="4800" y="5586"/>
                    <a:pt x="16702" y="1690"/>
                  </a:cubicBezTo>
                  <a:cubicBezTo>
                    <a:pt x="28064" y="-1880"/>
                    <a:pt x="48190" y="-1123"/>
                    <a:pt x="60417" y="17272"/>
                  </a:cubicBezTo>
                  <a:cubicBezTo>
                    <a:pt x="61066" y="19003"/>
                    <a:pt x="60958" y="21492"/>
                    <a:pt x="59768" y="23223"/>
                  </a:cubicBezTo>
                  <a:cubicBezTo>
                    <a:pt x="58686" y="25062"/>
                    <a:pt x="57062" y="25928"/>
                    <a:pt x="55764" y="26577"/>
                  </a:cubicBezTo>
                  <a:cubicBezTo>
                    <a:pt x="52951" y="27767"/>
                    <a:pt x="50678" y="27767"/>
                    <a:pt x="48514" y="27984"/>
                  </a:cubicBezTo>
                  <a:cubicBezTo>
                    <a:pt x="44186" y="28417"/>
                    <a:pt x="39966" y="28309"/>
                    <a:pt x="35963" y="27984"/>
                  </a:cubicBezTo>
                  <a:cubicBezTo>
                    <a:pt x="27956" y="27226"/>
                    <a:pt x="21031" y="25171"/>
                    <a:pt x="15620" y="22790"/>
                  </a:cubicBezTo>
                  <a:cubicBezTo>
                    <a:pt x="4584" y="17921"/>
                    <a:pt x="-502" y="12294"/>
                    <a:pt x="39" y="11753"/>
                  </a:cubicBezTo>
                  <a:cubicBezTo>
                    <a:pt x="688" y="10888"/>
                    <a:pt x="6639" y="14891"/>
                    <a:pt x="17352" y="18246"/>
                  </a:cubicBezTo>
                  <a:cubicBezTo>
                    <a:pt x="22654" y="19869"/>
                    <a:pt x="29254" y="21383"/>
                    <a:pt x="36504" y="21708"/>
                  </a:cubicBezTo>
                  <a:cubicBezTo>
                    <a:pt x="40183" y="21925"/>
                    <a:pt x="43970" y="21816"/>
                    <a:pt x="47865" y="21383"/>
                  </a:cubicBezTo>
                  <a:cubicBezTo>
                    <a:pt x="49921" y="21167"/>
                    <a:pt x="51869" y="20951"/>
                    <a:pt x="53059" y="20301"/>
                  </a:cubicBezTo>
                  <a:cubicBezTo>
                    <a:pt x="54357" y="19544"/>
                    <a:pt x="54033" y="19760"/>
                    <a:pt x="54033" y="19219"/>
                  </a:cubicBezTo>
                  <a:cubicBezTo>
                    <a:pt x="53925" y="18462"/>
                    <a:pt x="52410" y="16947"/>
                    <a:pt x="51003" y="15541"/>
                  </a:cubicBezTo>
                  <a:cubicBezTo>
                    <a:pt x="49596" y="14242"/>
                    <a:pt x="48082" y="12943"/>
                    <a:pt x="46459" y="11970"/>
                  </a:cubicBezTo>
                  <a:cubicBezTo>
                    <a:pt x="43321" y="9805"/>
                    <a:pt x="39966" y="8291"/>
                    <a:pt x="36612" y="7209"/>
                  </a:cubicBezTo>
                  <a:cubicBezTo>
                    <a:pt x="29903" y="5045"/>
                    <a:pt x="23303" y="5153"/>
                    <a:pt x="18001" y="6235"/>
                  </a:cubicBezTo>
                  <a:cubicBezTo>
                    <a:pt x="7072" y="8615"/>
                    <a:pt x="1554" y="13593"/>
                    <a:pt x="905" y="12727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95A31160-2FAD-431B-BFAF-7626B75EA7E5}"/>
                </a:ext>
              </a:extLst>
            </p:cNvPr>
            <p:cNvSpPr/>
            <p:nvPr/>
          </p:nvSpPr>
          <p:spPr>
            <a:xfrm flipH="1">
              <a:off x="6065368" y="6522088"/>
              <a:ext cx="40200" cy="40200"/>
            </a:xfrm>
            <a:custGeom>
              <a:avLst/>
              <a:gdLst>
                <a:gd name="connsiteX0" fmla="*/ 36469 w 36473"/>
                <a:gd name="connsiteY0" fmla="*/ 18615 h 36473"/>
                <a:gd name="connsiteX1" fmla="*/ 17858 w 36473"/>
                <a:gd name="connsiteY1" fmla="*/ 36469 h 36473"/>
                <a:gd name="connsiteX2" fmla="*/ 4 w 36473"/>
                <a:gd name="connsiteY2" fmla="*/ 17858 h 36473"/>
                <a:gd name="connsiteX3" fmla="*/ 18615 w 36473"/>
                <a:gd name="connsiteY3" fmla="*/ 4 h 36473"/>
                <a:gd name="connsiteX4" fmla="*/ 36469 w 36473"/>
                <a:gd name="connsiteY4" fmla="*/ 18615 h 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73" h="36473">
                  <a:moveTo>
                    <a:pt x="36469" y="18615"/>
                  </a:moveTo>
                  <a:cubicBezTo>
                    <a:pt x="36253" y="28678"/>
                    <a:pt x="27921" y="36686"/>
                    <a:pt x="17858" y="36469"/>
                  </a:cubicBezTo>
                  <a:cubicBezTo>
                    <a:pt x="7795" y="36253"/>
                    <a:pt x="-212" y="27921"/>
                    <a:pt x="4" y="17858"/>
                  </a:cubicBezTo>
                  <a:cubicBezTo>
                    <a:pt x="221" y="7795"/>
                    <a:pt x="8552" y="-212"/>
                    <a:pt x="18615" y="4"/>
                  </a:cubicBezTo>
                  <a:cubicBezTo>
                    <a:pt x="28678" y="221"/>
                    <a:pt x="36685" y="8552"/>
                    <a:pt x="36469" y="18615"/>
                  </a:cubicBez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D85DB3F5-20EC-4E8D-B565-7AED401B3310}"/>
                </a:ext>
              </a:extLst>
            </p:cNvPr>
            <p:cNvSpPr/>
            <p:nvPr/>
          </p:nvSpPr>
          <p:spPr>
            <a:xfrm flipH="1">
              <a:off x="4698866" y="6522450"/>
              <a:ext cx="441628" cy="351227"/>
            </a:xfrm>
            <a:custGeom>
              <a:avLst/>
              <a:gdLst>
                <a:gd name="connsiteX0" fmla="*/ 195308 w 400679"/>
                <a:gd name="connsiteY0" fmla="*/ 0 h 318660"/>
                <a:gd name="connsiteX1" fmla="*/ 193252 w 400679"/>
                <a:gd name="connsiteY1" fmla="*/ 201584 h 318660"/>
                <a:gd name="connsiteX2" fmla="*/ 400679 w 400679"/>
                <a:gd name="connsiteY2" fmla="*/ 308706 h 318660"/>
                <a:gd name="connsiteX3" fmla="*/ 9630 w 400679"/>
                <a:gd name="connsiteY3" fmla="*/ 318661 h 318660"/>
                <a:gd name="connsiteX4" fmla="*/ 0 w 400679"/>
                <a:gd name="connsiteY4" fmla="*/ 4436 h 318660"/>
                <a:gd name="connsiteX5" fmla="*/ 195308 w 400679"/>
                <a:gd name="connsiteY5" fmla="*/ 0 h 31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0679" h="318660">
                  <a:moveTo>
                    <a:pt x="195308" y="0"/>
                  </a:moveTo>
                  <a:lnTo>
                    <a:pt x="193252" y="201584"/>
                  </a:lnTo>
                  <a:cubicBezTo>
                    <a:pt x="193252" y="201584"/>
                    <a:pt x="397433" y="271376"/>
                    <a:pt x="400679" y="308706"/>
                  </a:cubicBezTo>
                  <a:lnTo>
                    <a:pt x="9630" y="318661"/>
                  </a:lnTo>
                  <a:lnTo>
                    <a:pt x="0" y="4436"/>
                  </a:lnTo>
                  <a:lnTo>
                    <a:pt x="195308" y="0"/>
                  </a:ln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13944040-3C6C-466F-8866-A1FED38CA9C5}"/>
                </a:ext>
              </a:extLst>
            </p:cNvPr>
            <p:cNvSpPr/>
            <p:nvPr/>
          </p:nvSpPr>
          <p:spPr>
            <a:xfrm flipH="1">
              <a:off x="5039727" y="6728430"/>
              <a:ext cx="33605" cy="33566"/>
            </a:xfrm>
            <a:custGeom>
              <a:avLst/>
              <a:gdLst>
                <a:gd name="connsiteX0" fmla="*/ 11022 w 30489"/>
                <a:gd name="connsiteY0" fmla="*/ 853 h 30454"/>
                <a:gd name="connsiteX1" fmla="*/ 418 w 30489"/>
                <a:gd name="connsiteY1" fmla="*/ 19356 h 30454"/>
                <a:gd name="connsiteX2" fmla="*/ 18704 w 30489"/>
                <a:gd name="connsiteY2" fmla="*/ 29960 h 30454"/>
                <a:gd name="connsiteX3" fmla="*/ 29849 w 30489"/>
                <a:gd name="connsiteY3" fmla="*/ 10267 h 30454"/>
                <a:gd name="connsiteX4" fmla="*/ 9615 w 30489"/>
                <a:gd name="connsiteY4" fmla="*/ 1286 h 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9" h="30454">
                  <a:moveTo>
                    <a:pt x="11022" y="853"/>
                  </a:moveTo>
                  <a:cubicBezTo>
                    <a:pt x="3556" y="3125"/>
                    <a:pt x="-1530" y="11782"/>
                    <a:pt x="418" y="19356"/>
                  </a:cubicBezTo>
                  <a:cubicBezTo>
                    <a:pt x="2365" y="26930"/>
                    <a:pt x="11130" y="32124"/>
                    <a:pt x="18704" y="29960"/>
                  </a:cubicBezTo>
                  <a:cubicBezTo>
                    <a:pt x="26279" y="27796"/>
                    <a:pt x="32554" y="17625"/>
                    <a:pt x="29849" y="10267"/>
                  </a:cubicBezTo>
                  <a:cubicBezTo>
                    <a:pt x="27036" y="2909"/>
                    <a:pt x="16432" y="-2609"/>
                    <a:pt x="9615" y="1286"/>
                  </a:cubicBezTo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357000D7-C5FF-4B66-B7AF-338434236E3E}"/>
                </a:ext>
              </a:extLst>
            </p:cNvPr>
            <p:cNvSpPr/>
            <p:nvPr/>
          </p:nvSpPr>
          <p:spPr>
            <a:xfrm flipH="1">
              <a:off x="4698734" y="6838853"/>
              <a:ext cx="431026" cy="34943"/>
            </a:xfrm>
            <a:custGeom>
              <a:avLst/>
              <a:gdLst>
                <a:gd name="connsiteX0" fmla="*/ 0 w 391060"/>
                <a:gd name="connsiteY0" fmla="*/ 31704 h 31703"/>
                <a:gd name="connsiteX1" fmla="*/ 216 w 391060"/>
                <a:gd name="connsiteY1" fmla="*/ 0 h 31703"/>
                <a:gd name="connsiteX2" fmla="*/ 375035 w 391060"/>
                <a:gd name="connsiteY2" fmla="*/ 2272 h 31703"/>
                <a:gd name="connsiteX3" fmla="*/ 390941 w 391060"/>
                <a:gd name="connsiteY3" fmla="*/ 21749 h 31703"/>
                <a:gd name="connsiteX4" fmla="*/ 0 w 391060"/>
                <a:gd name="connsiteY4" fmla="*/ 31704 h 31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060" h="31703">
                  <a:moveTo>
                    <a:pt x="0" y="31704"/>
                  </a:moveTo>
                  <a:lnTo>
                    <a:pt x="216" y="0"/>
                  </a:lnTo>
                  <a:lnTo>
                    <a:pt x="375035" y="2272"/>
                  </a:lnTo>
                  <a:cubicBezTo>
                    <a:pt x="375035" y="2272"/>
                    <a:pt x="392672" y="9414"/>
                    <a:pt x="390941" y="21749"/>
                  </a:cubicBezTo>
                  <a:lnTo>
                    <a:pt x="0" y="31704"/>
                  </a:ln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7717DC5C-F5A3-4ADC-B435-47181A2D339C}"/>
                </a:ext>
              </a:extLst>
            </p:cNvPr>
            <p:cNvSpPr/>
            <p:nvPr/>
          </p:nvSpPr>
          <p:spPr>
            <a:xfrm flipH="1">
              <a:off x="4920561" y="6740508"/>
              <a:ext cx="38726" cy="27424"/>
            </a:xfrm>
            <a:custGeom>
              <a:avLst/>
              <a:gdLst>
                <a:gd name="connsiteX0" fmla="*/ 35123 w 35135"/>
                <a:gd name="connsiteY0" fmla="*/ 1582 h 24881"/>
                <a:gd name="connsiteX1" fmla="*/ 16296 w 35135"/>
                <a:gd name="connsiteY1" fmla="*/ 10996 h 24881"/>
                <a:gd name="connsiteX2" fmla="*/ 498 w 35135"/>
                <a:gd name="connsiteY2" fmla="*/ 24846 h 24881"/>
                <a:gd name="connsiteX3" fmla="*/ 12617 w 35135"/>
                <a:gd name="connsiteY3" fmla="*/ 5477 h 24881"/>
                <a:gd name="connsiteX4" fmla="*/ 35123 w 35135"/>
                <a:gd name="connsiteY4" fmla="*/ 1582 h 2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5" h="24881">
                  <a:moveTo>
                    <a:pt x="35123" y="1582"/>
                  </a:moveTo>
                  <a:cubicBezTo>
                    <a:pt x="35123" y="3529"/>
                    <a:pt x="25601" y="4611"/>
                    <a:pt x="16296" y="10996"/>
                  </a:cubicBezTo>
                  <a:cubicBezTo>
                    <a:pt x="6882" y="17163"/>
                    <a:pt x="2229" y="25495"/>
                    <a:pt x="498" y="24846"/>
                  </a:cubicBezTo>
                  <a:cubicBezTo>
                    <a:pt x="-1233" y="24521"/>
                    <a:pt x="1256" y="13051"/>
                    <a:pt x="12617" y="5477"/>
                  </a:cubicBezTo>
                  <a:cubicBezTo>
                    <a:pt x="23870" y="-2097"/>
                    <a:pt x="35556" y="-149"/>
                    <a:pt x="35123" y="158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E9D76BC5-0C53-444D-ACB5-097C90585491}"/>
                </a:ext>
              </a:extLst>
            </p:cNvPr>
            <p:cNvSpPr/>
            <p:nvPr/>
          </p:nvSpPr>
          <p:spPr>
            <a:xfrm flipH="1">
              <a:off x="4874878" y="6759038"/>
              <a:ext cx="27870" cy="34145"/>
            </a:xfrm>
            <a:custGeom>
              <a:avLst/>
              <a:gdLst>
                <a:gd name="connsiteX0" fmla="*/ 25270 w 25286"/>
                <a:gd name="connsiteY0" fmla="*/ 675 h 30979"/>
                <a:gd name="connsiteX1" fmla="*/ 11312 w 25286"/>
                <a:gd name="connsiteY1" fmla="*/ 14201 h 30979"/>
                <a:gd name="connsiteX2" fmla="*/ 1465 w 25286"/>
                <a:gd name="connsiteY2" fmla="*/ 30973 h 30979"/>
                <a:gd name="connsiteX3" fmla="*/ 6118 w 25286"/>
                <a:gd name="connsiteY3" fmla="*/ 10089 h 30979"/>
                <a:gd name="connsiteX4" fmla="*/ 25270 w 25286"/>
                <a:gd name="connsiteY4" fmla="*/ 675 h 30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86" h="30979">
                  <a:moveTo>
                    <a:pt x="25270" y="675"/>
                  </a:moveTo>
                  <a:cubicBezTo>
                    <a:pt x="25703" y="2515"/>
                    <a:pt x="17588" y="5977"/>
                    <a:pt x="11312" y="14201"/>
                  </a:cubicBezTo>
                  <a:cubicBezTo>
                    <a:pt x="4819" y="22208"/>
                    <a:pt x="3413" y="31081"/>
                    <a:pt x="1465" y="30973"/>
                  </a:cubicBezTo>
                  <a:cubicBezTo>
                    <a:pt x="-374" y="31297"/>
                    <a:pt x="-1889" y="20152"/>
                    <a:pt x="6118" y="10089"/>
                  </a:cubicBezTo>
                  <a:cubicBezTo>
                    <a:pt x="14017" y="26"/>
                    <a:pt x="25162" y="-1056"/>
                    <a:pt x="25270" y="675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062BFCE9-894A-4CAB-AD61-CA12CDFBFB21}"/>
                </a:ext>
              </a:extLst>
            </p:cNvPr>
            <p:cNvSpPr/>
            <p:nvPr/>
          </p:nvSpPr>
          <p:spPr>
            <a:xfrm flipH="1">
              <a:off x="4831932" y="6776633"/>
              <a:ext cx="18657" cy="36714"/>
            </a:xfrm>
            <a:custGeom>
              <a:avLst/>
              <a:gdLst>
                <a:gd name="connsiteX0" fmla="*/ 2509 w 16927"/>
                <a:gd name="connsiteY0" fmla="*/ 33296 h 33310"/>
                <a:gd name="connsiteX1" fmla="*/ 2509 w 16927"/>
                <a:gd name="connsiteY1" fmla="*/ 13711 h 33310"/>
                <a:gd name="connsiteX2" fmla="*/ 16792 w 16927"/>
                <a:gd name="connsiteY2" fmla="*/ 294 h 33310"/>
                <a:gd name="connsiteX3" fmla="*/ 8568 w 16927"/>
                <a:gd name="connsiteY3" fmla="*/ 16308 h 33310"/>
                <a:gd name="connsiteX4" fmla="*/ 2509 w 16927"/>
                <a:gd name="connsiteY4" fmla="*/ 33296 h 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27" h="33310">
                  <a:moveTo>
                    <a:pt x="2509" y="33296"/>
                  </a:moveTo>
                  <a:cubicBezTo>
                    <a:pt x="777" y="33729"/>
                    <a:pt x="-2144" y="24315"/>
                    <a:pt x="2509" y="13711"/>
                  </a:cubicBezTo>
                  <a:cubicBezTo>
                    <a:pt x="7053" y="3107"/>
                    <a:pt x="15926" y="-1221"/>
                    <a:pt x="16792" y="294"/>
                  </a:cubicBezTo>
                  <a:cubicBezTo>
                    <a:pt x="17874" y="1809"/>
                    <a:pt x="12247" y="7543"/>
                    <a:pt x="8568" y="16308"/>
                  </a:cubicBezTo>
                  <a:cubicBezTo>
                    <a:pt x="4781" y="24964"/>
                    <a:pt x="4456" y="32971"/>
                    <a:pt x="2509" y="33296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D7CF72CC-61F4-4A34-AD3C-20C531855D15}"/>
                </a:ext>
              </a:extLst>
            </p:cNvPr>
            <p:cNvSpPr/>
            <p:nvPr/>
          </p:nvSpPr>
          <p:spPr>
            <a:xfrm flipH="1">
              <a:off x="4925623" y="6684501"/>
              <a:ext cx="44810" cy="11192"/>
            </a:xfrm>
            <a:custGeom>
              <a:avLst/>
              <a:gdLst>
                <a:gd name="connsiteX0" fmla="*/ 40584 w 40655"/>
                <a:gd name="connsiteY0" fmla="*/ 6408 h 10154"/>
                <a:gd name="connsiteX1" fmla="*/ 20241 w 40655"/>
                <a:gd name="connsiteY1" fmla="*/ 6733 h 10154"/>
                <a:gd name="connsiteX2" fmla="*/ 115 w 40655"/>
                <a:gd name="connsiteY2" fmla="*/ 9763 h 10154"/>
                <a:gd name="connsiteX3" fmla="*/ 19701 w 40655"/>
                <a:gd name="connsiteY3" fmla="*/ 133 h 10154"/>
                <a:gd name="connsiteX4" fmla="*/ 40584 w 40655"/>
                <a:gd name="connsiteY4" fmla="*/ 6408 h 1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55" h="10154">
                  <a:moveTo>
                    <a:pt x="40584" y="6408"/>
                  </a:moveTo>
                  <a:cubicBezTo>
                    <a:pt x="39826" y="8140"/>
                    <a:pt x="30954" y="5759"/>
                    <a:pt x="20241" y="6733"/>
                  </a:cubicBezTo>
                  <a:cubicBezTo>
                    <a:pt x="9421" y="7491"/>
                    <a:pt x="1198" y="11386"/>
                    <a:pt x="115" y="9763"/>
                  </a:cubicBezTo>
                  <a:cubicBezTo>
                    <a:pt x="-1075" y="8464"/>
                    <a:pt x="7041" y="1107"/>
                    <a:pt x="19701" y="133"/>
                  </a:cubicBezTo>
                  <a:cubicBezTo>
                    <a:pt x="32469" y="-949"/>
                    <a:pt x="41558" y="4894"/>
                    <a:pt x="40584" y="640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8A864E83-1062-4239-8562-EC9AF385A6BA}"/>
                </a:ext>
              </a:extLst>
            </p:cNvPr>
            <p:cNvSpPr/>
            <p:nvPr/>
          </p:nvSpPr>
          <p:spPr>
            <a:xfrm flipH="1">
              <a:off x="4926059" y="6613394"/>
              <a:ext cx="66165" cy="35051"/>
            </a:xfrm>
            <a:custGeom>
              <a:avLst/>
              <a:gdLst>
                <a:gd name="connsiteX0" fmla="*/ 60029 w 60030"/>
                <a:gd name="connsiteY0" fmla="*/ 30238 h 31801"/>
                <a:gd name="connsiteX1" fmla="*/ 40444 w 60030"/>
                <a:gd name="connsiteY1" fmla="*/ 30670 h 31801"/>
                <a:gd name="connsiteX2" fmla="*/ 19777 w 60030"/>
                <a:gd name="connsiteY2" fmla="*/ 24936 h 31801"/>
                <a:gd name="connsiteX3" fmla="*/ 8416 w 60030"/>
                <a:gd name="connsiteY3" fmla="*/ 19201 h 31801"/>
                <a:gd name="connsiteX4" fmla="*/ 2356 w 60030"/>
                <a:gd name="connsiteY4" fmla="*/ 14764 h 31801"/>
                <a:gd name="connsiteX5" fmla="*/ 1274 w 60030"/>
                <a:gd name="connsiteY5" fmla="*/ 4594 h 31801"/>
                <a:gd name="connsiteX6" fmla="*/ 9498 w 60030"/>
                <a:gd name="connsiteY6" fmla="*/ 49 h 31801"/>
                <a:gd name="connsiteX7" fmla="*/ 16856 w 60030"/>
                <a:gd name="connsiteY7" fmla="*/ 914 h 31801"/>
                <a:gd name="connsiteX8" fmla="*/ 29191 w 60030"/>
                <a:gd name="connsiteY8" fmla="*/ 4810 h 31801"/>
                <a:gd name="connsiteX9" fmla="*/ 47586 w 60030"/>
                <a:gd name="connsiteY9" fmla="*/ 16171 h 31801"/>
                <a:gd name="connsiteX10" fmla="*/ 59488 w 60030"/>
                <a:gd name="connsiteY10" fmla="*/ 31753 h 31801"/>
                <a:gd name="connsiteX11" fmla="*/ 44664 w 60030"/>
                <a:gd name="connsiteY11" fmla="*/ 19850 h 31801"/>
                <a:gd name="connsiteX12" fmla="*/ 26919 w 60030"/>
                <a:gd name="connsiteY12" fmla="*/ 10436 h 31801"/>
                <a:gd name="connsiteX13" fmla="*/ 15557 w 60030"/>
                <a:gd name="connsiteY13" fmla="*/ 7299 h 31801"/>
                <a:gd name="connsiteX14" fmla="*/ 6901 w 60030"/>
                <a:gd name="connsiteY14" fmla="*/ 8272 h 31801"/>
                <a:gd name="connsiteX15" fmla="*/ 7334 w 60030"/>
                <a:gd name="connsiteY15" fmla="*/ 10436 h 31801"/>
                <a:gd name="connsiteX16" fmla="*/ 11770 w 60030"/>
                <a:gd name="connsiteY16" fmla="*/ 13683 h 31801"/>
                <a:gd name="connsiteX17" fmla="*/ 22266 w 60030"/>
                <a:gd name="connsiteY17" fmla="*/ 19309 h 31801"/>
                <a:gd name="connsiteX18" fmla="*/ 41418 w 60030"/>
                <a:gd name="connsiteY18" fmla="*/ 26126 h 31801"/>
                <a:gd name="connsiteX19" fmla="*/ 60029 w 60030"/>
                <a:gd name="connsiteY19" fmla="*/ 30238 h 31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0030" h="31801">
                  <a:moveTo>
                    <a:pt x="60029" y="30238"/>
                  </a:moveTo>
                  <a:cubicBezTo>
                    <a:pt x="60029" y="30995"/>
                    <a:pt x="52563" y="32402"/>
                    <a:pt x="40444" y="30670"/>
                  </a:cubicBezTo>
                  <a:cubicBezTo>
                    <a:pt x="34385" y="29805"/>
                    <a:pt x="27243" y="27965"/>
                    <a:pt x="19777" y="24936"/>
                  </a:cubicBezTo>
                  <a:cubicBezTo>
                    <a:pt x="15990" y="23421"/>
                    <a:pt x="12203" y="21473"/>
                    <a:pt x="8416" y="19201"/>
                  </a:cubicBezTo>
                  <a:cubicBezTo>
                    <a:pt x="6576" y="18119"/>
                    <a:pt x="4412" y="16929"/>
                    <a:pt x="2356" y="14764"/>
                  </a:cubicBezTo>
                  <a:cubicBezTo>
                    <a:pt x="192" y="12817"/>
                    <a:pt x="-1106" y="7840"/>
                    <a:pt x="1274" y="4594"/>
                  </a:cubicBezTo>
                  <a:cubicBezTo>
                    <a:pt x="3222" y="1564"/>
                    <a:pt x="6685" y="157"/>
                    <a:pt x="9498" y="49"/>
                  </a:cubicBezTo>
                  <a:cubicBezTo>
                    <a:pt x="12419" y="-167"/>
                    <a:pt x="14692" y="373"/>
                    <a:pt x="16856" y="914"/>
                  </a:cubicBezTo>
                  <a:cubicBezTo>
                    <a:pt x="21184" y="1888"/>
                    <a:pt x="25404" y="3187"/>
                    <a:pt x="29191" y="4810"/>
                  </a:cubicBezTo>
                  <a:cubicBezTo>
                    <a:pt x="36765" y="8056"/>
                    <a:pt x="42933" y="12168"/>
                    <a:pt x="47586" y="16171"/>
                  </a:cubicBezTo>
                  <a:cubicBezTo>
                    <a:pt x="56891" y="24286"/>
                    <a:pt x="60137" y="31428"/>
                    <a:pt x="59488" y="31753"/>
                  </a:cubicBezTo>
                  <a:cubicBezTo>
                    <a:pt x="58622" y="32402"/>
                    <a:pt x="54078" y="26559"/>
                    <a:pt x="44664" y="19850"/>
                  </a:cubicBezTo>
                  <a:cubicBezTo>
                    <a:pt x="40011" y="16496"/>
                    <a:pt x="33952" y="13141"/>
                    <a:pt x="26919" y="10436"/>
                  </a:cubicBezTo>
                  <a:cubicBezTo>
                    <a:pt x="23348" y="9138"/>
                    <a:pt x="19561" y="8056"/>
                    <a:pt x="15557" y="7299"/>
                  </a:cubicBezTo>
                  <a:cubicBezTo>
                    <a:pt x="11337" y="6325"/>
                    <a:pt x="7875" y="6325"/>
                    <a:pt x="6901" y="8272"/>
                  </a:cubicBezTo>
                  <a:cubicBezTo>
                    <a:pt x="6576" y="9030"/>
                    <a:pt x="6468" y="9246"/>
                    <a:pt x="7334" y="10436"/>
                  </a:cubicBezTo>
                  <a:cubicBezTo>
                    <a:pt x="8308" y="11518"/>
                    <a:pt x="9931" y="12601"/>
                    <a:pt x="11770" y="13683"/>
                  </a:cubicBezTo>
                  <a:cubicBezTo>
                    <a:pt x="15233" y="15847"/>
                    <a:pt x="18803" y="17686"/>
                    <a:pt x="22266" y="19309"/>
                  </a:cubicBezTo>
                  <a:cubicBezTo>
                    <a:pt x="29191" y="22555"/>
                    <a:pt x="35791" y="24611"/>
                    <a:pt x="41418" y="26126"/>
                  </a:cubicBezTo>
                  <a:cubicBezTo>
                    <a:pt x="52671" y="28939"/>
                    <a:pt x="60137" y="29264"/>
                    <a:pt x="60029" y="3023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DBC5F701-40E4-42BE-A818-ECE9707BCA72}"/>
                </a:ext>
              </a:extLst>
            </p:cNvPr>
            <p:cNvSpPr/>
            <p:nvPr/>
          </p:nvSpPr>
          <p:spPr>
            <a:xfrm flipH="1">
              <a:off x="4901559" y="6580877"/>
              <a:ext cx="33493" cy="68958"/>
            </a:xfrm>
            <a:custGeom>
              <a:avLst/>
              <a:gdLst>
                <a:gd name="connsiteX0" fmla="*/ 5777 w 30387"/>
                <a:gd name="connsiteY0" fmla="*/ 62553 h 62564"/>
                <a:gd name="connsiteX1" fmla="*/ 151 w 30387"/>
                <a:gd name="connsiteY1" fmla="*/ 43726 h 62564"/>
                <a:gd name="connsiteX2" fmla="*/ 2315 w 30387"/>
                <a:gd name="connsiteY2" fmla="*/ 22193 h 62564"/>
                <a:gd name="connsiteX3" fmla="*/ 6968 w 30387"/>
                <a:gd name="connsiteY3" fmla="*/ 10183 h 62564"/>
                <a:gd name="connsiteX4" fmla="*/ 19195 w 30387"/>
                <a:gd name="connsiteY4" fmla="*/ 11 h 62564"/>
                <a:gd name="connsiteX5" fmla="*/ 27526 w 30387"/>
                <a:gd name="connsiteY5" fmla="*/ 5314 h 62564"/>
                <a:gd name="connsiteX6" fmla="*/ 29691 w 30387"/>
                <a:gd name="connsiteY6" fmla="*/ 12455 h 62564"/>
                <a:gd name="connsiteX7" fmla="*/ 30015 w 30387"/>
                <a:gd name="connsiteY7" fmla="*/ 25656 h 62564"/>
                <a:gd name="connsiteX8" fmla="*/ 22116 w 30387"/>
                <a:gd name="connsiteY8" fmla="*/ 46106 h 62564"/>
                <a:gd name="connsiteX9" fmla="*/ 6643 w 30387"/>
                <a:gd name="connsiteY9" fmla="*/ 58225 h 62564"/>
                <a:gd name="connsiteX10" fmla="*/ 18113 w 30387"/>
                <a:gd name="connsiteY10" fmla="*/ 43510 h 62564"/>
                <a:gd name="connsiteX11" fmla="*/ 23847 w 30387"/>
                <a:gd name="connsiteY11" fmla="*/ 24898 h 62564"/>
                <a:gd name="connsiteX12" fmla="*/ 23198 w 30387"/>
                <a:gd name="connsiteY12" fmla="*/ 13645 h 62564"/>
                <a:gd name="connsiteX13" fmla="*/ 19303 w 30387"/>
                <a:gd name="connsiteY13" fmla="*/ 6612 h 62564"/>
                <a:gd name="connsiteX14" fmla="*/ 12594 w 30387"/>
                <a:gd name="connsiteY14" fmla="*/ 13212 h 62564"/>
                <a:gd name="connsiteX15" fmla="*/ 8050 w 30387"/>
                <a:gd name="connsiteY15" fmla="*/ 23925 h 62564"/>
                <a:gd name="connsiteX16" fmla="*/ 4804 w 30387"/>
                <a:gd name="connsiteY16" fmla="*/ 43510 h 62564"/>
                <a:gd name="connsiteX17" fmla="*/ 5777 w 30387"/>
                <a:gd name="connsiteY17" fmla="*/ 62553 h 62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387" h="62564">
                  <a:moveTo>
                    <a:pt x="5777" y="62553"/>
                  </a:moveTo>
                  <a:cubicBezTo>
                    <a:pt x="5128" y="62878"/>
                    <a:pt x="1125" y="56169"/>
                    <a:pt x="151" y="43726"/>
                  </a:cubicBezTo>
                  <a:cubicBezTo>
                    <a:pt x="-282" y="37558"/>
                    <a:pt x="151" y="30200"/>
                    <a:pt x="2315" y="22193"/>
                  </a:cubicBezTo>
                  <a:cubicBezTo>
                    <a:pt x="3397" y="18190"/>
                    <a:pt x="4912" y="14186"/>
                    <a:pt x="6968" y="10183"/>
                  </a:cubicBezTo>
                  <a:cubicBezTo>
                    <a:pt x="9132" y="6287"/>
                    <a:pt x="11837" y="985"/>
                    <a:pt x="19195" y="11"/>
                  </a:cubicBezTo>
                  <a:cubicBezTo>
                    <a:pt x="23090" y="-205"/>
                    <a:pt x="26336" y="2716"/>
                    <a:pt x="27526" y="5314"/>
                  </a:cubicBezTo>
                  <a:cubicBezTo>
                    <a:pt x="28933" y="7910"/>
                    <a:pt x="29150" y="10183"/>
                    <a:pt x="29691" y="12455"/>
                  </a:cubicBezTo>
                  <a:cubicBezTo>
                    <a:pt x="30556" y="16999"/>
                    <a:pt x="30556" y="21436"/>
                    <a:pt x="30015" y="25656"/>
                  </a:cubicBezTo>
                  <a:cubicBezTo>
                    <a:pt x="29041" y="33988"/>
                    <a:pt x="25795" y="41021"/>
                    <a:pt x="22116" y="46106"/>
                  </a:cubicBezTo>
                  <a:cubicBezTo>
                    <a:pt x="14758" y="56386"/>
                    <a:pt x="6860" y="58874"/>
                    <a:pt x="6643" y="58225"/>
                  </a:cubicBezTo>
                  <a:cubicBezTo>
                    <a:pt x="5994" y="57251"/>
                    <a:pt x="12594" y="53464"/>
                    <a:pt x="18113" y="43510"/>
                  </a:cubicBezTo>
                  <a:cubicBezTo>
                    <a:pt x="20926" y="38640"/>
                    <a:pt x="23306" y="32256"/>
                    <a:pt x="23847" y="24898"/>
                  </a:cubicBezTo>
                  <a:cubicBezTo>
                    <a:pt x="24172" y="21220"/>
                    <a:pt x="23956" y="17432"/>
                    <a:pt x="23198" y="13645"/>
                  </a:cubicBezTo>
                  <a:cubicBezTo>
                    <a:pt x="22441" y="9533"/>
                    <a:pt x="20818" y="6179"/>
                    <a:pt x="19303" y="6612"/>
                  </a:cubicBezTo>
                  <a:cubicBezTo>
                    <a:pt x="17355" y="6612"/>
                    <a:pt x="14109" y="9858"/>
                    <a:pt x="12594" y="13212"/>
                  </a:cubicBezTo>
                  <a:cubicBezTo>
                    <a:pt x="10647" y="16783"/>
                    <a:pt x="9132" y="20354"/>
                    <a:pt x="8050" y="23925"/>
                  </a:cubicBezTo>
                  <a:cubicBezTo>
                    <a:pt x="5777" y="31066"/>
                    <a:pt x="4912" y="37883"/>
                    <a:pt x="4804" y="43510"/>
                  </a:cubicBezTo>
                  <a:cubicBezTo>
                    <a:pt x="4587" y="55195"/>
                    <a:pt x="6860" y="62229"/>
                    <a:pt x="5777" y="62553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EA201CA1-9750-48A1-AA82-5F234A7A23DC}"/>
                </a:ext>
              </a:extLst>
            </p:cNvPr>
            <p:cNvSpPr/>
            <p:nvPr/>
          </p:nvSpPr>
          <p:spPr>
            <a:xfrm flipH="1">
              <a:off x="5052206" y="3929489"/>
              <a:ext cx="849062" cy="460910"/>
            </a:xfrm>
            <a:custGeom>
              <a:avLst/>
              <a:gdLst>
                <a:gd name="connsiteX0" fmla="*/ 28134 w 770335"/>
                <a:gd name="connsiteY0" fmla="*/ 418173 h 418173"/>
                <a:gd name="connsiteX1" fmla="*/ 20885 w 770335"/>
                <a:gd name="connsiteY1" fmla="*/ 388200 h 418173"/>
                <a:gd name="connsiteX2" fmla="*/ 21534 w 770335"/>
                <a:gd name="connsiteY2" fmla="*/ 361041 h 418173"/>
                <a:gd name="connsiteX3" fmla="*/ 44581 w 770335"/>
                <a:gd name="connsiteY3" fmla="*/ 339941 h 418173"/>
                <a:gd name="connsiteX4" fmla="*/ 18937 w 770335"/>
                <a:gd name="connsiteY4" fmla="*/ 321330 h 418173"/>
                <a:gd name="connsiteX5" fmla="*/ 867 w 770335"/>
                <a:gd name="connsiteY5" fmla="*/ 309644 h 418173"/>
                <a:gd name="connsiteX6" fmla="*/ 7900 w 770335"/>
                <a:gd name="connsiteY6" fmla="*/ 289194 h 418173"/>
                <a:gd name="connsiteX7" fmla="*/ 7143 w 770335"/>
                <a:gd name="connsiteY7" fmla="*/ 266687 h 418173"/>
                <a:gd name="connsiteX8" fmla="*/ 35059 w 770335"/>
                <a:gd name="connsiteY8" fmla="*/ 257490 h 418173"/>
                <a:gd name="connsiteX9" fmla="*/ 96519 w 770335"/>
                <a:gd name="connsiteY9" fmla="*/ 221458 h 418173"/>
                <a:gd name="connsiteX10" fmla="*/ 56376 w 770335"/>
                <a:gd name="connsiteY10" fmla="*/ 191594 h 418173"/>
                <a:gd name="connsiteX11" fmla="*/ 48260 w 770335"/>
                <a:gd name="connsiteY11" fmla="*/ 183046 h 418173"/>
                <a:gd name="connsiteX12" fmla="*/ 57674 w 770335"/>
                <a:gd name="connsiteY12" fmla="*/ 160647 h 418173"/>
                <a:gd name="connsiteX13" fmla="*/ 107556 w 770335"/>
                <a:gd name="connsiteY13" fmla="*/ 138898 h 418173"/>
                <a:gd name="connsiteX14" fmla="*/ 122813 w 770335"/>
                <a:gd name="connsiteY14" fmla="*/ 144741 h 418173"/>
                <a:gd name="connsiteX15" fmla="*/ 163498 w 770335"/>
                <a:gd name="connsiteY15" fmla="*/ 140197 h 418173"/>
                <a:gd name="connsiteX16" fmla="*/ 185138 w 770335"/>
                <a:gd name="connsiteY16" fmla="*/ 146797 h 418173"/>
                <a:gd name="connsiteX17" fmla="*/ 170855 w 770335"/>
                <a:gd name="connsiteY17" fmla="*/ 128835 h 418173"/>
                <a:gd name="connsiteX18" fmla="*/ 161550 w 770335"/>
                <a:gd name="connsiteY18" fmla="*/ 108493 h 418173"/>
                <a:gd name="connsiteX19" fmla="*/ 177889 w 770335"/>
                <a:gd name="connsiteY19" fmla="*/ 98538 h 418173"/>
                <a:gd name="connsiteX20" fmla="*/ 177781 w 770335"/>
                <a:gd name="connsiteY20" fmla="*/ 78737 h 418173"/>
                <a:gd name="connsiteX21" fmla="*/ 200287 w 770335"/>
                <a:gd name="connsiteY21" fmla="*/ 73110 h 418173"/>
                <a:gd name="connsiteX22" fmla="*/ 214245 w 770335"/>
                <a:gd name="connsiteY22" fmla="*/ 79170 h 418173"/>
                <a:gd name="connsiteX23" fmla="*/ 242162 w 770335"/>
                <a:gd name="connsiteY23" fmla="*/ 76897 h 418173"/>
                <a:gd name="connsiteX24" fmla="*/ 269538 w 770335"/>
                <a:gd name="connsiteY24" fmla="*/ 79061 h 418173"/>
                <a:gd name="connsiteX25" fmla="*/ 304163 w 770335"/>
                <a:gd name="connsiteY25" fmla="*/ 91938 h 418173"/>
                <a:gd name="connsiteX26" fmla="*/ 282847 w 770335"/>
                <a:gd name="connsiteY26" fmla="*/ 56122 h 418173"/>
                <a:gd name="connsiteX27" fmla="*/ 285985 w 770335"/>
                <a:gd name="connsiteY27" fmla="*/ 37511 h 418173"/>
                <a:gd name="connsiteX28" fmla="*/ 273866 w 770335"/>
                <a:gd name="connsiteY28" fmla="*/ 12408 h 418173"/>
                <a:gd name="connsiteX29" fmla="*/ 303189 w 770335"/>
                <a:gd name="connsiteY29" fmla="*/ 289 h 418173"/>
                <a:gd name="connsiteX30" fmla="*/ 312927 w 770335"/>
                <a:gd name="connsiteY30" fmla="*/ 14356 h 418173"/>
                <a:gd name="connsiteX31" fmla="*/ 338788 w 770335"/>
                <a:gd name="connsiteY31" fmla="*/ 14572 h 418173"/>
                <a:gd name="connsiteX32" fmla="*/ 346903 w 770335"/>
                <a:gd name="connsiteY32" fmla="*/ 39026 h 418173"/>
                <a:gd name="connsiteX33" fmla="*/ 363783 w 770335"/>
                <a:gd name="connsiteY33" fmla="*/ 42380 h 418173"/>
                <a:gd name="connsiteX34" fmla="*/ 367029 w 770335"/>
                <a:gd name="connsiteY34" fmla="*/ 61641 h 418173"/>
                <a:gd name="connsiteX35" fmla="*/ 396461 w 770335"/>
                <a:gd name="connsiteY35" fmla="*/ 77330 h 418173"/>
                <a:gd name="connsiteX36" fmla="*/ 428706 w 770335"/>
                <a:gd name="connsiteY36" fmla="*/ 70622 h 418173"/>
                <a:gd name="connsiteX37" fmla="*/ 431194 w 770335"/>
                <a:gd name="connsiteY37" fmla="*/ 44328 h 418173"/>
                <a:gd name="connsiteX38" fmla="*/ 457163 w 770335"/>
                <a:gd name="connsiteY38" fmla="*/ 39567 h 418173"/>
                <a:gd name="connsiteX39" fmla="*/ 484972 w 770335"/>
                <a:gd name="connsiteY39" fmla="*/ 22038 h 418173"/>
                <a:gd name="connsiteX40" fmla="*/ 515918 w 770335"/>
                <a:gd name="connsiteY40" fmla="*/ 7972 h 418173"/>
                <a:gd name="connsiteX41" fmla="*/ 514295 w 770335"/>
                <a:gd name="connsiteY41" fmla="*/ 46384 h 418173"/>
                <a:gd name="connsiteX42" fmla="*/ 492871 w 770335"/>
                <a:gd name="connsiteY42" fmla="*/ 86311 h 418173"/>
                <a:gd name="connsiteX43" fmla="*/ 562662 w 770335"/>
                <a:gd name="connsiteY43" fmla="*/ 48873 h 418173"/>
                <a:gd name="connsiteX44" fmla="*/ 569696 w 770335"/>
                <a:gd name="connsiteY44" fmla="*/ 46817 h 418173"/>
                <a:gd name="connsiteX45" fmla="*/ 578460 w 770335"/>
                <a:gd name="connsiteY45" fmla="*/ 51794 h 418173"/>
                <a:gd name="connsiteX46" fmla="*/ 592310 w 770335"/>
                <a:gd name="connsiteY46" fmla="*/ 54175 h 418173"/>
                <a:gd name="connsiteX47" fmla="*/ 595989 w 770335"/>
                <a:gd name="connsiteY47" fmla="*/ 86528 h 418173"/>
                <a:gd name="connsiteX48" fmla="*/ 565151 w 770335"/>
                <a:gd name="connsiteY48" fmla="*/ 109575 h 418173"/>
                <a:gd name="connsiteX49" fmla="*/ 596206 w 770335"/>
                <a:gd name="connsiteY49" fmla="*/ 115418 h 418173"/>
                <a:gd name="connsiteX50" fmla="*/ 637107 w 770335"/>
                <a:gd name="connsiteY50" fmla="*/ 93994 h 418173"/>
                <a:gd name="connsiteX51" fmla="*/ 668810 w 770335"/>
                <a:gd name="connsiteY51" fmla="*/ 81550 h 418173"/>
                <a:gd name="connsiteX52" fmla="*/ 699432 w 770335"/>
                <a:gd name="connsiteY52" fmla="*/ 90639 h 418173"/>
                <a:gd name="connsiteX53" fmla="*/ 699107 w 770335"/>
                <a:gd name="connsiteY53" fmla="*/ 129052 h 418173"/>
                <a:gd name="connsiteX54" fmla="*/ 665240 w 770335"/>
                <a:gd name="connsiteY54" fmla="*/ 152965 h 418173"/>
                <a:gd name="connsiteX55" fmla="*/ 688720 w 770335"/>
                <a:gd name="connsiteY55" fmla="*/ 163677 h 418173"/>
                <a:gd name="connsiteX56" fmla="*/ 716853 w 770335"/>
                <a:gd name="connsiteY56" fmla="*/ 161946 h 418173"/>
                <a:gd name="connsiteX57" fmla="*/ 746176 w 770335"/>
                <a:gd name="connsiteY57" fmla="*/ 186508 h 418173"/>
                <a:gd name="connsiteX58" fmla="*/ 757213 w 770335"/>
                <a:gd name="connsiteY58" fmla="*/ 190187 h 418173"/>
                <a:gd name="connsiteX59" fmla="*/ 764679 w 770335"/>
                <a:gd name="connsiteY59" fmla="*/ 204578 h 418173"/>
                <a:gd name="connsiteX60" fmla="*/ 769224 w 770335"/>
                <a:gd name="connsiteY60" fmla="*/ 224704 h 418173"/>
                <a:gd name="connsiteX61" fmla="*/ 770089 w 770335"/>
                <a:gd name="connsiteY61" fmla="*/ 234767 h 418173"/>
                <a:gd name="connsiteX62" fmla="*/ 742281 w 770335"/>
                <a:gd name="connsiteY62" fmla="*/ 243856 h 418173"/>
                <a:gd name="connsiteX63" fmla="*/ 712092 w 770335"/>
                <a:gd name="connsiteY63" fmla="*/ 229898 h 418173"/>
                <a:gd name="connsiteX64" fmla="*/ 750180 w 770335"/>
                <a:gd name="connsiteY64" fmla="*/ 259221 h 418173"/>
                <a:gd name="connsiteX65" fmla="*/ 739684 w 770335"/>
                <a:gd name="connsiteY65" fmla="*/ 300663 h 418173"/>
                <a:gd name="connsiteX66" fmla="*/ 697593 w 770335"/>
                <a:gd name="connsiteY66" fmla="*/ 280862 h 418173"/>
                <a:gd name="connsiteX67" fmla="*/ 655177 w 770335"/>
                <a:gd name="connsiteY67" fmla="*/ 262900 h 41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770335" h="418173">
                  <a:moveTo>
                    <a:pt x="28134" y="418173"/>
                  </a:moveTo>
                  <a:cubicBezTo>
                    <a:pt x="15583" y="415468"/>
                    <a:pt x="10930" y="396316"/>
                    <a:pt x="20885" y="388200"/>
                  </a:cubicBezTo>
                  <a:cubicBezTo>
                    <a:pt x="11687" y="383115"/>
                    <a:pt x="14284" y="368616"/>
                    <a:pt x="21534" y="361041"/>
                  </a:cubicBezTo>
                  <a:cubicBezTo>
                    <a:pt x="28675" y="353467"/>
                    <a:pt x="38955" y="348706"/>
                    <a:pt x="44581" y="339941"/>
                  </a:cubicBezTo>
                  <a:cubicBezTo>
                    <a:pt x="32895" y="342971"/>
                    <a:pt x="19694" y="333449"/>
                    <a:pt x="18937" y="321330"/>
                  </a:cubicBezTo>
                  <a:cubicBezTo>
                    <a:pt x="11255" y="321980"/>
                    <a:pt x="3356" y="316894"/>
                    <a:pt x="867" y="309644"/>
                  </a:cubicBezTo>
                  <a:cubicBezTo>
                    <a:pt x="-1622" y="302286"/>
                    <a:pt x="1408" y="293414"/>
                    <a:pt x="7900" y="289194"/>
                  </a:cubicBezTo>
                  <a:cubicBezTo>
                    <a:pt x="-1946" y="288328"/>
                    <a:pt x="-1081" y="272206"/>
                    <a:pt x="7143" y="266687"/>
                  </a:cubicBezTo>
                  <a:cubicBezTo>
                    <a:pt x="15366" y="261277"/>
                    <a:pt x="26078" y="261602"/>
                    <a:pt x="35059" y="257490"/>
                  </a:cubicBezTo>
                  <a:cubicBezTo>
                    <a:pt x="51074" y="239420"/>
                    <a:pt x="72931" y="226544"/>
                    <a:pt x="96519" y="221458"/>
                  </a:cubicBezTo>
                  <a:cubicBezTo>
                    <a:pt x="83102" y="211503"/>
                    <a:pt x="69793" y="201549"/>
                    <a:pt x="56376" y="191594"/>
                  </a:cubicBezTo>
                  <a:cubicBezTo>
                    <a:pt x="53238" y="189213"/>
                    <a:pt x="49883" y="186725"/>
                    <a:pt x="48260" y="183046"/>
                  </a:cubicBezTo>
                  <a:cubicBezTo>
                    <a:pt x="44798" y="175039"/>
                    <a:pt x="50965" y="166274"/>
                    <a:pt x="57674" y="160647"/>
                  </a:cubicBezTo>
                  <a:cubicBezTo>
                    <a:pt x="71632" y="148637"/>
                    <a:pt x="89270" y="140954"/>
                    <a:pt x="107556" y="138898"/>
                  </a:cubicBezTo>
                  <a:cubicBezTo>
                    <a:pt x="113399" y="138249"/>
                    <a:pt x="120973" y="139115"/>
                    <a:pt x="122813" y="144741"/>
                  </a:cubicBezTo>
                  <a:cubicBezTo>
                    <a:pt x="135256" y="138898"/>
                    <a:pt x="149647" y="139439"/>
                    <a:pt x="163498" y="140197"/>
                  </a:cubicBezTo>
                  <a:cubicBezTo>
                    <a:pt x="171180" y="140630"/>
                    <a:pt x="179620" y="141387"/>
                    <a:pt x="185138" y="146797"/>
                  </a:cubicBezTo>
                  <a:cubicBezTo>
                    <a:pt x="182217" y="139656"/>
                    <a:pt x="176049" y="134462"/>
                    <a:pt x="170855" y="128835"/>
                  </a:cubicBezTo>
                  <a:cubicBezTo>
                    <a:pt x="165553" y="123209"/>
                    <a:pt x="160792" y="116176"/>
                    <a:pt x="161550" y="108493"/>
                  </a:cubicBezTo>
                  <a:cubicBezTo>
                    <a:pt x="162307" y="100811"/>
                    <a:pt x="171613" y="94210"/>
                    <a:pt x="177889" y="98538"/>
                  </a:cubicBezTo>
                  <a:cubicBezTo>
                    <a:pt x="170747" y="95184"/>
                    <a:pt x="171721" y="83714"/>
                    <a:pt x="177781" y="78737"/>
                  </a:cubicBezTo>
                  <a:cubicBezTo>
                    <a:pt x="183840" y="73760"/>
                    <a:pt x="192388" y="73327"/>
                    <a:pt x="200287" y="73110"/>
                  </a:cubicBezTo>
                  <a:cubicBezTo>
                    <a:pt x="205805" y="73002"/>
                    <a:pt x="212730" y="73868"/>
                    <a:pt x="214245" y="79170"/>
                  </a:cubicBezTo>
                  <a:cubicBezTo>
                    <a:pt x="216734" y="66835"/>
                    <a:pt x="237726" y="65211"/>
                    <a:pt x="242162" y="76897"/>
                  </a:cubicBezTo>
                  <a:cubicBezTo>
                    <a:pt x="249520" y="69648"/>
                    <a:pt x="263370" y="70730"/>
                    <a:pt x="269538" y="79061"/>
                  </a:cubicBezTo>
                  <a:cubicBezTo>
                    <a:pt x="281548" y="71596"/>
                    <a:pt x="299835" y="78412"/>
                    <a:pt x="304163" y="91938"/>
                  </a:cubicBezTo>
                  <a:cubicBezTo>
                    <a:pt x="297021" y="80035"/>
                    <a:pt x="289988" y="68133"/>
                    <a:pt x="282847" y="56122"/>
                  </a:cubicBezTo>
                  <a:cubicBezTo>
                    <a:pt x="278843" y="49414"/>
                    <a:pt x="278086" y="36754"/>
                    <a:pt x="285985" y="37511"/>
                  </a:cubicBezTo>
                  <a:cubicBezTo>
                    <a:pt x="274731" y="37511"/>
                    <a:pt x="268347" y="22254"/>
                    <a:pt x="273866" y="12408"/>
                  </a:cubicBezTo>
                  <a:cubicBezTo>
                    <a:pt x="279384" y="2561"/>
                    <a:pt x="292044" y="-1118"/>
                    <a:pt x="303189" y="289"/>
                  </a:cubicBezTo>
                  <a:cubicBezTo>
                    <a:pt x="306435" y="4942"/>
                    <a:pt x="309681" y="9703"/>
                    <a:pt x="312927" y="14356"/>
                  </a:cubicBezTo>
                  <a:cubicBezTo>
                    <a:pt x="320502" y="9053"/>
                    <a:pt x="331322" y="9162"/>
                    <a:pt x="338788" y="14572"/>
                  </a:cubicBezTo>
                  <a:cubicBezTo>
                    <a:pt x="346254" y="19982"/>
                    <a:pt x="349609" y="30262"/>
                    <a:pt x="346903" y="39026"/>
                  </a:cubicBezTo>
                  <a:cubicBezTo>
                    <a:pt x="351448" y="34157"/>
                    <a:pt x="360212" y="36862"/>
                    <a:pt x="363783" y="42380"/>
                  </a:cubicBezTo>
                  <a:cubicBezTo>
                    <a:pt x="367354" y="47899"/>
                    <a:pt x="367246" y="55040"/>
                    <a:pt x="367029" y="61641"/>
                  </a:cubicBezTo>
                  <a:cubicBezTo>
                    <a:pt x="377958" y="52443"/>
                    <a:pt x="397976" y="63155"/>
                    <a:pt x="396461" y="77330"/>
                  </a:cubicBezTo>
                  <a:cubicBezTo>
                    <a:pt x="406307" y="72245"/>
                    <a:pt x="417561" y="69972"/>
                    <a:pt x="428706" y="70622"/>
                  </a:cubicBezTo>
                  <a:cubicBezTo>
                    <a:pt x="423728" y="62615"/>
                    <a:pt x="424810" y="51253"/>
                    <a:pt x="431194" y="44328"/>
                  </a:cubicBezTo>
                  <a:cubicBezTo>
                    <a:pt x="437578" y="37403"/>
                    <a:pt x="448723" y="35347"/>
                    <a:pt x="457163" y="39567"/>
                  </a:cubicBezTo>
                  <a:cubicBezTo>
                    <a:pt x="458245" y="26907"/>
                    <a:pt x="473069" y="17494"/>
                    <a:pt x="484972" y="22038"/>
                  </a:cubicBezTo>
                  <a:cubicBezTo>
                    <a:pt x="488434" y="9053"/>
                    <a:pt x="505530" y="-685"/>
                    <a:pt x="515918" y="7972"/>
                  </a:cubicBezTo>
                  <a:cubicBezTo>
                    <a:pt x="526630" y="16844"/>
                    <a:pt x="520895" y="34049"/>
                    <a:pt x="514295" y="46384"/>
                  </a:cubicBezTo>
                  <a:cubicBezTo>
                    <a:pt x="507154" y="59693"/>
                    <a:pt x="500012" y="73002"/>
                    <a:pt x="492871" y="86311"/>
                  </a:cubicBezTo>
                  <a:cubicBezTo>
                    <a:pt x="516134" y="73868"/>
                    <a:pt x="539398" y="61424"/>
                    <a:pt x="562662" y="48873"/>
                  </a:cubicBezTo>
                  <a:cubicBezTo>
                    <a:pt x="564826" y="47682"/>
                    <a:pt x="567207" y="46492"/>
                    <a:pt x="569696" y="46817"/>
                  </a:cubicBezTo>
                  <a:cubicBezTo>
                    <a:pt x="573050" y="47250"/>
                    <a:pt x="575430" y="50279"/>
                    <a:pt x="578460" y="51794"/>
                  </a:cubicBezTo>
                  <a:cubicBezTo>
                    <a:pt x="582680" y="53850"/>
                    <a:pt x="587766" y="52876"/>
                    <a:pt x="592310" y="54175"/>
                  </a:cubicBezTo>
                  <a:cubicBezTo>
                    <a:pt x="604645" y="57962"/>
                    <a:pt x="604429" y="76789"/>
                    <a:pt x="595989" y="86528"/>
                  </a:cubicBezTo>
                  <a:cubicBezTo>
                    <a:pt x="587549" y="96266"/>
                    <a:pt x="574673" y="100919"/>
                    <a:pt x="565151" y="109575"/>
                  </a:cubicBezTo>
                  <a:cubicBezTo>
                    <a:pt x="575539" y="111523"/>
                    <a:pt x="585818" y="113470"/>
                    <a:pt x="596206" y="115418"/>
                  </a:cubicBezTo>
                  <a:cubicBezTo>
                    <a:pt x="600101" y="98322"/>
                    <a:pt x="620876" y="87501"/>
                    <a:pt x="637107" y="93994"/>
                  </a:cubicBezTo>
                  <a:cubicBezTo>
                    <a:pt x="641327" y="82524"/>
                    <a:pt x="656692" y="81117"/>
                    <a:pt x="668810" y="81550"/>
                  </a:cubicBezTo>
                  <a:cubicBezTo>
                    <a:pt x="679739" y="81983"/>
                    <a:pt x="691750" y="82957"/>
                    <a:pt x="699432" y="90639"/>
                  </a:cubicBezTo>
                  <a:cubicBezTo>
                    <a:pt x="709279" y="100486"/>
                    <a:pt x="707439" y="117799"/>
                    <a:pt x="699107" y="129052"/>
                  </a:cubicBezTo>
                  <a:cubicBezTo>
                    <a:pt x="690776" y="140305"/>
                    <a:pt x="677791" y="146797"/>
                    <a:pt x="665240" y="152965"/>
                  </a:cubicBezTo>
                  <a:cubicBezTo>
                    <a:pt x="667295" y="162270"/>
                    <a:pt x="679414" y="165084"/>
                    <a:pt x="688720" y="163677"/>
                  </a:cubicBezTo>
                  <a:cubicBezTo>
                    <a:pt x="698134" y="162270"/>
                    <a:pt x="707872" y="158592"/>
                    <a:pt x="716853" y="161946"/>
                  </a:cubicBezTo>
                  <a:cubicBezTo>
                    <a:pt x="728972" y="166490"/>
                    <a:pt x="734057" y="182072"/>
                    <a:pt x="746176" y="186508"/>
                  </a:cubicBezTo>
                  <a:cubicBezTo>
                    <a:pt x="749855" y="187807"/>
                    <a:pt x="753967" y="188023"/>
                    <a:pt x="757213" y="190187"/>
                  </a:cubicBezTo>
                  <a:cubicBezTo>
                    <a:pt x="761866" y="193217"/>
                    <a:pt x="763489" y="199168"/>
                    <a:pt x="764679" y="204578"/>
                  </a:cubicBezTo>
                  <a:cubicBezTo>
                    <a:pt x="766194" y="211287"/>
                    <a:pt x="767709" y="217996"/>
                    <a:pt x="769224" y="224704"/>
                  </a:cubicBezTo>
                  <a:cubicBezTo>
                    <a:pt x="769981" y="228058"/>
                    <a:pt x="770739" y="231521"/>
                    <a:pt x="770089" y="234767"/>
                  </a:cubicBezTo>
                  <a:cubicBezTo>
                    <a:pt x="767925" y="245696"/>
                    <a:pt x="752560" y="248076"/>
                    <a:pt x="742281" y="243856"/>
                  </a:cubicBezTo>
                  <a:cubicBezTo>
                    <a:pt x="732002" y="239636"/>
                    <a:pt x="723129" y="231521"/>
                    <a:pt x="712092" y="229898"/>
                  </a:cubicBezTo>
                  <a:cubicBezTo>
                    <a:pt x="726700" y="237148"/>
                    <a:pt x="742064" y="245155"/>
                    <a:pt x="750180" y="259221"/>
                  </a:cubicBezTo>
                  <a:cubicBezTo>
                    <a:pt x="758295" y="273288"/>
                    <a:pt x="754941" y="295145"/>
                    <a:pt x="739684" y="300663"/>
                  </a:cubicBezTo>
                  <a:cubicBezTo>
                    <a:pt x="724211" y="306182"/>
                    <a:pt x="708954" y="292764"/>
                    <a:pt x="697593" y="280862"/>
                  </a:cubicBezTo>
                  <a:cubicBezTo>
                    <a:pt x="686339" y="268851"/>
                    <a:pt x="670109" y="256083"/>
                    <a:pt x="655177" y="262900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1A5BB4A2-67C3-467B-8FAF-1DD00C3AF6D4}"/>
                </a:ext>
              </a:extLst>
            </p:cNvPr>
            <p:cNvSpPr/>
            <p:nvPr/>
          </p:nvSpPr>
          <p:spPr>
            <a:xfrm flipH="1">
              <a:off x="5042144" y="4146388"/>
              <a:ext cx="869743" cy="556088"/>
            </a:xfrm>
            <a:custGeom>
              <a:avLst/>
              <a:gdLst>
                <a:gd name="connsiteX0" fmla="*/ 60166 w 789098"/>
                <a:gd name="connsiteY0" fmla="*/ 211755 h 504526"/>
                <a:gd name="connsiteX1" fmla="*/ 30193 w 789098"/>
                <a:gd name="connsiteY1" fmla="*/ 229068 h 504526"/>
                <a:gd name="connsiteX2" fmla="*/ 870 w 789098"/>
                <a:gd name="connsiteY2" fmla="*/ 260231 h 504526"/>
                <a:gd name="connsiteX3" fmla="*/ 14720 w 789098"/>
                <a:gd name="connsiteY3" fmla="*/ 300807 h 504526"/>
                <a:gd name="connsiteX4" fmla="*/ 44043 w 789098"/>
                <a:gd name="connsiteY4" fmla="*/ 297020 h 504526"/>
                <a:gd name="connsiteX5" fmla="*/ 66983 w 789098"/>
                <a:gd name="connsiteY5" fmla="*/ 316930 h 504526"/>
                <a:gd name="connsiteX6" fmla="*/ 79642 w 789098"/>
                <a:gd name="connsiteY6" fmla="*/ 361293 h 504526"/>
                <a:gd name="connsiteX7" fmla="*/ 85377 w 789098"/>
                <a:gd name="connsiteY7" fmla="*/ 416586 h 504526"/>
                <a:gd name="connsiteX8" fmla="*/ 98254 w 789098"/>
                <a:gd name="connsiteY8" fmla="*/ 450345 h 504526"/>
                <a:gd name="connsiteX9" fmla="*/ 132013 w 789098"/>
                <a:gd name="connsiteY9" fmla="*/ 437361 h 504526"/>
                <a:gd name="connsiteX10" fmla="*/ 149001 w 789098"/>
                <a:gd name="connsiteY10" fmla="*/ 462897 h 504526"/>
                <a:gd name="connsiteX11" fmla="*/ 175944 w 789098"/>
                <a:gd name="connsiteY11" fmla="*/ 458244 h 504526"/>
                <a:gd name="connsiteX12" fmla="*/ 225934 w 789098"/>
                <a:gd name="connsiteY12" fmla="*/ 479344 h 504526"/>
                <a:gd name="connsiteX13" fmla="*/ 244545 w 789098"/>
                <a:gd name="connsiteY13" fmla="*/ 504231 h 504526"/>
                <a:gd name="connsiteX14" fmla="*/ 270514 w 789098"/>
                <a:gd name="connsiteY14" fmla="*/ 487243 h 504526"/>
                <a:gd name="connsiteX15" fmla="*/ 328945 w 789098"/>
                <a:gd name="connsiteY15" fmla="*/ 491679 h 504526"/>
                <a:gd name="connsiteX16" fmla="*/ 367790 w 789098"/>
                <a:gd name="connsiteY16" fmla="*/ 492220 h 504526"/>
                <a:gd name="connsiteX17" fmla="*/ 414101 w 789098"/>
                <a:gd name="connsiteY17" fmla="*/ 475449 h 504526"/>
                <a:gd name="connsiteX18" fmla="*/ 428276 w 789098"/>
                <a:gd name="connsiteY18" fmla="*/ 468415 h 504526"/>
                <a:gd name="connsiteX19" fmla="*/ 445913 w 789098"/>
                <a:gd name="connsiteY19" fmla="*/ 472743 h 504526"/>
                <a:gd name="connsiteX20" fmla="*/ 537454 w 789098"/>
                <a:gd name="connsiteY20" fmla="*/ 459218 h 504526"/>
                <a:gd name="connsiteX21" fmla="*/ 550114 w 789098"/>
                <a:gd name="connsiteY21" fmla="*/ 450778 h 504526"/>
                <a:gd name="connsiteX22" fmla="*/ 567534 w 789098"/>
                <a:gd name="connsiteY22" fmla="*/ 449912 h 504526"/>
                <a:gd name="connsiteX23" fmla="*/ 610491 w 789098"/>
                <a:gd name="connsiteY23" fmla="*/ 447424 h 504526"/>
                <a:gd name="connsiteX24" fmla="*/ 642087 w 789098"/>
                <a:gd name="connsiteY24" fmla="*/ 430327 h 504526"/>
                <a:gd name="connsiteX25" fmla="*/ 631158 w 789098"/>
                <a:gd name="connsiteY25" fmla="*/ 401545 h 504526"/>
                <a:gd name="connsiteX26" fmla="*/ 639598 w 789098"/>
                <a:gd name="connsiteY26" fmla="*/ 379904 h 504526"/>
                <a:gd name="connsiteX27" fmla="*/ 661239 w 789098"/>
                <a:gd name="connsiteY27" fmla="*/ 380878 h 504526"/>
                <a:gd name="connsiteX28" fmla="*/ 654422 w 789098"/>
                <a:gd name="connsiteY28" fmla="*/ 399057 h 504526"/>
                <a:gd name="connsiteX29" fmla="*/ 690130 w 789098"/>
                <a:gd name="connsiteY29" fmla="*/ 382285 h 504526"/>
                <a:gd name="connsiteX30" fmla="*/ 661023 w 789098"/>
                <a:gd name="connsiteY30" fmla="*/ 350040 h 504526"/>
                <a:gd name="connsiteX31" fmla="*/ 665026 w 789098"/>
                <a:gd name="connsiteY31" fmla="*/ 314765 h 504526"/>
                <a:gd name="connsiteX32" fmla="*/ 700084 w 789098"/>
                <a:gd name="connsiteY32" fmla="*/ 321799 h 504526"/>
                <a:gd name="connsiteX33" fmla="*/ 727244 w 789098"/>
                <a:gd name="connsiteY33" fmla="*/ 345063 h 504526"/>
                <a:gd name="connsiteX34" fmla="*/ 758298 w 789098"/>
                <a:gd name="connsiteY34" fmla="*/ 331429 h 504526"/>
                <a:gd name="connsiteX35" fmla="*/ 742067 w 789098"/>
                <a:gd name="connsiteY35" fmla="*/ 305027 h 504526"/>
                <a:gd name="connsiteX36" fmla="*/ 724430 w 789098"/>
                <a:gd name="connsiteY36" fmla="*/ 269861 h 504526"/>
                <a:gd name="connsiteX37" fmla="*/ 705819 w 789098"/>
                <a:gd name="connsiteY37" fmla="*/ 229825 h 504526"/>
                <a:gd name="connsiteX38" fmla="*/ 733628 w 789098"/>
                <a:gd name="connsiteY38" fmla="*/ 221710 h 504526"/>
                <a:gd name="connsiteX39" fmla="*/ 770958 w 789098"/>
                <a:gd name="connsiteY39" fmla="*/ 226796 h 504526"/>
                <a:gd name="connsiteX40" fmla="*/ 788920 w 789098"/>
                <a:gd name="connsiteY40" fmla="*/ 200719 h 504526"/>
                <a:gd name="connsiteX41" fmla="*/ 779939 w 789098"/>
                <a:gd name="connsiteY41" fmla="*/ 183190 h 504526"/>
                <a:gd name="connsiteX42" fmla="*/ 736982 w 789098"/>
                <a:gd name="connsiteY42" fmla="*/ 168582 h 504526"/>
                <a:gd name="connsiteX43" fmla="*/ 723997 w 789098"/>
                <a:gd name="connsiteY43" fmla="*/ 108853 h 504526"/>
                <a:gd name="connsiteX44" fmla="*/ 763059 w 789098"/>
                <a:gd name="connsiteY44" fmla="*/ 82884 h 504526"/>
                <a:gd name="connsiteX45" fmla="*/ 678443 w 789098"/>
                <a:gd name="connsiteY45" fmla="*/ 30297 h 504526"/>
                <a:gd name="connsiteX46" fmla="*/ 475453 w 789098"/>
                <a:gd name="connsiteY46" fmla="*/ 0 h 504526"/>
                <a:gd name="connsiteX47" fmla="*/ 58976 w 789098"/>
                <a:gd name="connsiteY47" fmla="*/ 211106 h 504526"/>
                <a:gd name="connsiteX48" fmla="*/ 24026 w 789098"/>
                <a:gd name="connsiteY48" fmla="*/ 204722 h 504526"/>
                <a:gd name="connsiteX49" fmla="*/ 27272 w 789098"/>
                <a:gd name="connsiteY49" fmla="*/ 165877 h 504526"/>
                <a:gd name="connsiteX50" fmla="*/ 57244 w 789098"/>
                <a:gd name="connsiteY50" fmla="*/ 138068 h 504526"/>
                <a:gd name="connsiteX51" fmla="*/ 20455 w 789098"/>
                <a:gd name="connsiteY51" fmla="*/ 126382 h 504526"/>
                <a:gd name="connsiteX52" fmla="*/ 14828 w 789098"/>
                <a:gd name="connsiteY52" fmla="*/ 103768 h 504526"/>
                <a:gd name="connsiteX53" fmla="*/ 41014 w 789098"/>
                <a:gd name="connsiteY53" fmla="*/ 86780 h 504526"/>
                <a:gd name="connsiteX54" fmla="*/ 51834 w 789098"/>
                <a:gd name="connsiteY54" fmla="*/ 71847 h 504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789098" h="504526">
                  <a:moveTo>
                    <a:pt x="60166" y="211755"/>
                  </a:moveTo>
                  <a:cubicBezTo>
                    <a:pt x="48480" y="202991"/>
                    <a:pt x="28462" y="214569"/>
                    <a:pt x="30193" y="229068"/>
                  </a:cubicBezTo>
                  <a:cubicBezTo>
                    <a:pt x="15802" y="233071"/>
                    <a:pt x="4008" y="245623"/>
                    <a:pt x="870" y="260231"/>
                  </a:cubicBezTo>
                  <a:cubicBezTo>
                    <a:pt x="-2268" y="274838"/>
                    <a:pt x="3250" y="291069"/>
                    <a:pt x="14720" y="300807"/>
                  </a:cubicBezTo>
                  <a:cubicBezTo>
                    <a:pt x="23917" y="308490"/>
                    <a:pt x="42096" y="308814"/>
                    <a:pt x="44043" y="297020"/>
                  </a:cubicBezTo>
                  <a:cubicBezTo>
                    <a:pt x="47722" y="306867"/>
                    <a:pt x="56703" y="314657"/>
                    <a:pt x="66983" y="316930"/>
                  </a:cubicBezTo>
                  <a:cubicBezTo>
                    <a:pt x="57028" y="331429"/>
                    <a:pt x="63520" y="354260"/>
                    <a:pt x="79642" y="361293"/>
                  </a:cubicBezTo>
                  <a:cubicBezTo>
                    <a:pt x="61031" y="374061"/>
                    <a:pt x="64494" y="407929"/>
                    <a:pt x="85377" y="416586"/>
                  </a:cubicBezTo>
                  <a:cubicBezTo>
                    <a:pt x="79859" y="428813"/>
                    <a:pt x="86027" y="444935"/>
                    <a:pt x="98254" y="450345"/>
                  </a:cubicBezTo>
                  <a:cubicBezTo>
                    <a:pt x="110481" y="455755"/>
                    <a:pt x="126603" y="449588"/>
                    <a:pt x="132013" y="437361"/>
                  </a:cubicBezTo>
                  <a:cubicBezTo>
                    <a:pt x="136017" y="446883"/>
                    <a:pt x="140453" y="457054"/>
                    <a:pt x="149001" y="462897"/>
                  </a:cubicBezTo>
                  <a:cubicBezTo>
                    <a:pt x="157549" y="468740"/>
                    <a:pt x="171616" y="467658"/>
                    <a:pt x="175944" y="458244"/>
                  </a:cubicBezTo>
                  <a:cubicBezTo>
                    <a:pt x="180705" y="478803"/>
                    <a:pt x="207864" y="490272"/>
                    <a:pt x="225934" y="479344"/>
                  </a:cubicBezTo>
                  <a:cubicBezTo>
                    <a:pt x="224636" y="490705"/>
                    <a:pt x="233292" y="502283"/>
                    <a:pt x="244545" y="504231"/>
                  </a:cubicBezTo>
                  <a:cubicBezTo>
                    <a:pt x="255799" y="506178"/>
                    <a:pt x="267917" y="498280"/>
                    <a:pt x="270514" y="487243"/>
                  </a:cubicBezTo>
                  <a:cubicBezTo>
                    <a:pt x="289991" y="488758"/>
                    <a:pt x="309468" y="490272"/>
                    <a:pt x="328945" y="491679"/>
                  </a:cubicBezTo>
                  <a:cubicBezTo>
                    <a:pt x="341929" y="492653"/>
                    <a:pt x="354914" y="493627"/>
                    <a:pt x="367790" y="492220"/>
                  </a:cubicBezTo>
                  <a:cubicBezTo>
                    <a:pt x="384237" y="490381"/>
                    <a:pt x="400251" y="484646"/>
                    <a:pt x="414101" y="475449"/>
                  </a:cubicBezTo>
                  <a:cubicBezTo>
                    <a:pt x="418537" y="472527"/>
                    <a:pt x="422974" y="469065"/>
                    <a:pt x="428276" y="468415"/>
                  </a:cubicBezTo>
                  <a:cubicBezTo>
                    <a:pt x="434335" y="467550"/>
                    <a:pt x="440178" y="470471"/>
                    <a:pt x="445913" y="472743"/>
                  </a:cubicBezTo>
                  <a:cubicBezTo>
                    <a:pt x="475994" y="484538"/>
                    <a:pt x="512134" y="479236"/>
                    <a:pt x="537454" y="459218"/>
                  </a:cubicBezTo>
                  <a:cubicBezTo>
                    <a:pt x="541457" y="456080"/>
                    <a:pt x="545353" y="452509"/>
                    <a:pt x="550114" y="450778"/>
                  </a:cubicBezTo>
                  <a:cubicBezTo>
                    <a:pt x="555632" y="448830"/>
                    <a:pt x="561691" y="449479"/>
                    <a:pt x="567534" y="449912"/>
                  </a:cubicBezTo>
                  <a:cubicBezTo>
                    <a:pt x="581926" y="450886"/>
                    <a:pt x="596317" y="450129"/>
                    <a:pt x="610491" y="447424"/>
                  </a:cubicBezTo>
                  <a:cubicBezTo>
                    <a:pt x="622610" y="445151"/>
                    <a:pt x="635595" y="440823"/>
                    <a:pt x="642087" y="430327"/>
                  </a:cubicBezTo>
                  <a:cubicBezTo>
                    <a:pt x="648579" y="419832"/>
                    <a:pt x="643494" y="402411"/>
                    <a:pt x="631158" y="401545"/>
                  </a:cubicBezTo>
                  <a:cubicBezTo>
                    <a:pt x="630834" y="393538"/>
                    <a:pt x="633322" y="384990"/>
                    <a:pt x="639598" y="379904"/>
                  </a:cubicBezTo>
                  <a:cubicBezTo>
                    <a:pt x="645766" y="374819"/>
                    <a:pt x="656153" y="374711"/>
                    <a:pt x="661239" y="380878"/>
                  </a:cubicBezTo>
                  <a:cubicBezTo>
                    <a:pt x="666325" y="387046"/>
                    <a:pt x="662429" y="398732"/>
                    <a:pt x="654422" y="399057"/>
                  </a:cubicBezTo>
                  <a:cubicBezTo>
                    <a:pt x="666866" y="409336"/>
                    <a:pt x="688507" y="398299"/>
                    <a:pt x="690130" y="382285"/>
                  </a:cubicBezTo>
                  <a:cubicBezTo>
                    <a:pt x="691861" y="366271"/>
                    <a:pt x="677037" y="351555"/>
                    <a:pt x="661023" y="350040"/>
                  </a:cubicBezTo>
                  <a:cubicBezTo>
                    <a:pt x="665243" y="338895"/>
                    <a:pt x="666541" y="326668"/>
                    <a:pt x="665026" y="314765"/>
                  </a:cubicBezTo>
                  <a:cubicBezTo>
                    <a:pt x="672276" y="325910"/>
                    <a:pt x="689048" y="329265"/>
                    <a:pt x="700084" y="321799"/>
                  </a:cubicBezTo>
                  <a:cubicBezTo>
                    <a:pt x="705927" y="332619"/>
                    <a:pt x="715341" y="342141"/>
                    <a:pt x="727244" y="345063"/>
                  </a:cubicBezTo>
                  <a:cubicBezTo>
                    <a:pt x="739146" y="347984"/>
                    <a:pt x="753429" y="342790"/>
                    <a:pt x="758298" y="331429"/>
                  </a:cubicBezTo>
                  <a:cubicBezTo>
                    <a:pt x="763059" y="320068"/>
                    <a:pt x="754403" y="304594"/>
                    <a:pt x="742067" y="305027"/>
                  </a:cubicBezTo>
                  <a:cubicBezTo>
                    <a:pt x="751806" y="292043"/>
                    <a:pt x="740661" y="269753"/>
                    <a:pt x="724430" y="269861"/>
                  </a:cubicBezTo>
                  <a:cubicBezTo>
                    <a:pt x="728326" y="254388"/>
                    <a:pt x="720102" y="236750"/>
                    <a:pt x="705819" y="229825"/>
                  </a:cubicBezTo>
                  <a:cubicBezTo>
                    <a:pt x="714800" y="236534"/>
                    <a:pt x="729624" y="232206"/>
                    <a:pt x="733628" y="221710"/>
                  </a:cubicBezTo>
                  <a:cubicBezTo>
                    <a:pt x="740012" y="234045"/>
                    <a:pt x="758406" y="232747"/>
                    <a:pt x="770958" y="226796"/>
                  </a:cubicBezTo>
                  <a:cubicBezTo>
                    <a:pt x="780805" y="222143"/>
                    <a:pt x="790543" y="215001"/>
                    <a:pt x="788920" y="200719"/>
                  </a:cubicBezTo>
                  <a:cubicBezTo>
                    <a:pt x="788162" y="194010"/>
                    <a:pt x="784916" y="187842"/>
                    <a:pt x="779939" y="183190"/>
                  </a:cubicBezTo>
                  <a:cubicBezTo>
                    <a:pt x="768361" y="172261"/>
                    <a:pt x="752239" y="170313"/>
                    <a:pt x="736982" y="168582"/>
                  </a:cubicBezTo>
                  <a:cubicBezTo>
                    <a:pt x="729408" y="149538"/>
                    <a:pt x="725080" y="129304"/>
                    <a:pt x="723997" y="108853"/>
                  </a:cubicBezTo>
                  <a:cubicBezTo>
                    <a:pt x="741094" y="110909"/>
                    <a:pt x="759488" y="99656"/>
                    <a:pt x="763059" y="82884"/>
                  </a:cubicBezTo>
                  <a:lnTo>
                    <a:pt x="678443" y="30297"/>
                  </a:lnTo>
                  <a:cubicBezTo>
                    <a:pt x="678443" y="30297"/>
                    <a:pt x="482486" y="0"/>
                    <a:pt x="475453" y="0"/>
                  </a:cubicBezTo>
                  <a:cubicBezTo>
                    <a:pt x="468420" y="0"/>
                    <a:pt x="58976" y="211106"/>
                    <a:pt x="58976" y="211106"/>
                  </a:cubicBezTo>
                  <a:cubicBezTo>
                    <a:pt x="49454" y="221061"/>
                    <a:pt x="30951" y="216516"/>
                    <a:pt x="24026" y="204722"/>
                  </a:cubicBezTo>
                  <a:cubicBezTo>
                    <a:pt x="17101" y="192928"/>
                    <a:pt x="19914" y="177346"/>
                    <a:pt x="27272" y="165877"/>
                  </a:cubicBezTo>
                  <a:cubicBezTo>
                    <a:pt x="34738" y="154407"/>
                    <a:pt x="46099" y="146075"/>
                    <a:pt x="57244" y="138068"/>
                  </a:cubicBezTo>
                  <a:cubicBezTo>
                    <a:pt x="44152" y="137203"/>
                    <a:pt x="30193" y="135904"/>
                    <a:pt x="20455" y="126382"/>
                  </a:cubicBezTo>
                  <a:cubicBezTo>
                    <a:pt x="14395" y="120431"/>
                    <a:pt x="11582" y="111558"/>
                    <a:pt x="14828" y="103768"/>
                  </a:cubicBezTo>
                  <a:cubicBezTo>
                    <a:pt x="19589" y="92514"/>
                    <a:pt x="32574" y="93272"/>
                    <a:pt x="41014" y="86780"/>
                  </a:cubicBezTo>
                  <a:cubicBezTo>
                    <a:pt x="45883" y="82992"/>
                    <a:pt x="48696" y="77258"/>
                    <a:pt x="51834" y="71847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E9031EF8-8553-4293-8A31-181EA0406967}"/>
                </a:ext>
              </a:extLst>
            </p:cNvPr>
            <p:cNvSpPr/>
            <p:nvPr/>
          </p:nvSpPr>
          <p:spPr>
            <a:xfrm flipH="1">
              <a:off x="5236345" y="4167427"/>
              <a:ext cx="419853" cy="704552"/>
            </a:xfrm>
            <a:custGeom>
              <a:avLst/>
              <a:gdLst>
                <a:gd name="connsiteX0" fmla="*/ 261002 w 380923"/>
                <a:gd name="connsiteY0" fmla="*/ 639225 h 639224"/>
                <a:gd name="connsiteX1" fmla="*/ 268576 w 380923"/>
                <a:gd name="connsiteY1" fmla="*/ 511328 h 639224"/>
                <a:gd name="connsiteX2" fmla="*/ 375590 w 380923"/>
                <a:gd name="connsiteY2" fmla="*/ 379102 h 639224"/>
                <a:gd name="connsiteX3" fmla="*/ 375373 w 380923"/>
                <a:gd name="connsiteY3" fmla="*/ 148195 h 639224"/>
                <a:gd name="connsiteX4" fmla="*/ 253860 w 380923"/>
                <a:gd name="connsiteY4" fmla="*/ 496 h 639224"/>
                <a:gd name="connsiteX5" fmla="*/ 36478 w 380923"/>
                <a:gd name="connsiteY5" fmla="*/ 56979 h 639224"/>
                <a:gd name="connsiteX6" fmla="*/ 13 w 380923"/>
                <a:gd name="connsiteY6" fmla="*/ 98854 h 639224"/>
                <a:gd name="connsiteX7" fmla="*/ 20789 w 380923"/>
                <a:gd name="connsiteY7" fmla="*/ 537188 h 639224"/>
                <a:gd name="connsiteX8" fmla="*/ 261002 w 380923"/>
                <a:gd name="connsiteY8" fmla="*/ 639225 h 639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0923" h="639224">
                  <a:moveTo>
                    <a:pt x="261002" y="639225"/>
                  </a:moveTo>
                  <a:cubicBezTo>
                    <a:pt x="261002" y="639225"/>
                    <a:pt x="268576" y="510895"/>
                    <a:pt x="268576" y="511328"/>
                  </a:cubicBezTo>
                  <a:cubicBezTo>
                    <a:pt x="268576" y="511328"/>
                    <a:pt x="357844" y="495854"/>
                    <a:pt x="375590" y="379102"/>
                  </a:cubicBezTo>
                  <a:cubicBezTo>
                    <a:pt x="384354" y="320997"/>
                    <a:pt x="380892" y="225885"/>
                    <a:pt x="375373" y="148195"/>
                  </a:cubicBezTo>
                  <a:cubicBezTo>
                    <a:pt x="370504" y="78187"/>
                    <a:pt x="323543" y="-7294"/>
                    <a:pt x="253860" y="496"/>
                  </a:cubicBezTo>
                  <a:lnTo>
                    <a:pt x="36478" y="56979"/>
                  </a:lnTo>
                  <a:cubicBezTo>
                    <a:pt x="15270" y="59359"/>
                    <a:pt x="-527" y="77538"/>
                    <a:pt x="13" y="98854"/>
                  </a:cubicBezTo>
                  <a:lnTo>
                    <a:pt x="20789" y="537188"/>
                  </a:lnTo>
                  <a:lnTo>
                    <a:pt x="261002" y="639225"/>
                  </a:ln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9DFE4D4D-B64F-4CE8-AAA7-845261B1776A}"/>
                </a:ext>
              </a:extLst>
            </p:cNvPr>
            <p:cNvSpPr/>
            <p:nvPr/>
          </p:nvSpPr>
          <p:spPr>
            <a:xfrm flipH="1">
              <a:off x="5264275" y="4403970"/>
              <a:ext cx="32822" cy="31546"/>
            </a:xfrm>
            <a:custGeom>
              <a:avLst/>
              <a:gdLst>
                <a:gd name="connsiteX0" fmla="*/ 29768 w 29779"/>
                <a:gd name="connsiteY0" fmla="*/ 13439 h 28621"/>
                <a:gd name="connsiteX1" fmla="*/ 15485 w 29779"/>
                <a:gd name="connsiteY1" fmla="*/ 28588 h 28621"/>
                <a:gd name="connsiteX2" fmla="*/ 12 w 29779"/>
                <a:gd name="connsiteY2" fmla="*/ 15171 h 28621"/>
                <a:gd name="connsiteX3" fmla="*/ 14295 w 29779"/>
                <a:gd name="connsiteY3" fmla="*/ 22 h 28621"/>
                <a:gd name="connsiteX4" fmla="*/ 29768 w 29779"/>
                <a:gd name="connsiteY4" fmla="*/ 13439 h 2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79" h="28621">
                  <a:moveTo>
                    <a:pt x="29768" y="13439"/>
                  </a:moveTo>
                  <a:cubicBezTo>
                    <a:pt x="30093" y="21338"/>
                    <a:pt x="23709" y="28155"/>
                    <a:pt x="15485" y="28588"/>
                  </a:cubicBezTo>
                  <a:cubicBezTo>
                    <a:pt x="7261" y="29129"/>
                    <a:pt x="336" y="23070"/>
                    <a:pt x="12" y="15171"/>
                  </a:cubicBezTo>
                  <a:cubicBezTo>
                    <a:pt x="-313" y="7272"/>
                    <a:pt x="6071" y="455"/>
                    <a:pt x="14295" y="22"/>
                  </a:cubicBezTo>
                  <a:cubicBezTo>
                    <a:pt x="22410" y="-411"/>
                    <a:pt x="29443" y="5541"/>
                    <a:pt x="29768" y="13439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B8813CDF-E1AD-4366-BE50-3648BD5AA15C}"/>
                </a:ext>
              </a:extLst>
            </p:cNvPr>
            <p:cNvSpPr/>
            <p:nvPr/>
          </p:nvSpPr>
          <p:spPr>
            <a:xfrm flipH="1">
              <a:off x="5435775" y="4408740"/>
              <a:ext cx="32822" cy="31546"/>
            </a:xfrm>
            <a:custGeom>
              <a:avLst/>
              <a:gdLst>
                <a:gd name="connsiteX0" fmla="*/ 29768 w 29779"/>
                <a:gd name="connsiteY0" fmla="*/ 13440 h 28621"/>
                <a:gd name="connsiteX1" fmla="*/ 15485 w 29779"/>
                <a:gd name="connsiteY1" fmla="*/ 28588 h 28621"/>
                <a:gd name="connsiteX2" fmla="*/ 12 w 29779"/>
                <a:gd name="connsiteY2" fmla="*/ 15171 h 28621"/>
                <a:gd name="connsiteX3" fmla="*/ 14295 w 29779"/>
                <a:gd name="connsiteY3" fmla="*/ 22 h 28621"/>
                <a:gd name="connsiteX4" fmla="*/ 29768 w 29779"/>
                <a:gd name="connsiteY4" fmla="*/ 13440 h 2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79" h="28621">
                  <a:moveTo>
                    <a:pt x="29768" y="13440"/>
                  </a:moveTo>
                  <a:cubicBezTo>
                    <a:pt x="30093" y="21338"/>
                    <a:pt x="23708" y="28155"/>
                    <a:pt x="15485" y="28588"/>
                  </a:cubicBezTo>
                  <a:cubicBezTo>
                    <a:pt x="7261" y="29129"/>
                    <a:pt x="336" y="23070"/>
                    <a:pt x="12" y="15171"/>
                  </a:cubicBezTo>
                  <a:cubicBezTo>
                    <a:pt x="-313" y="7272"/>
                    <a:pt x="6071" y="455"/>
                    <a:pt x="14295" y="22"/>
                  </a:cubicBezTo>
                  <a:cubicBezTo>
                    <a:pt x="22410" y="-411"/>
                    <a:pt x="29443" y="5541"/>
                    <a:pt x="29768" y="1344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B4BA624E-D137-43FF-A561-A130A566C5F7}"/>
                </a:ext>
              </a:extLst>
            </p:cNvPr>
            <p:cNvSpPr/>
            <p:nvPr/>
          </p:nvSpPr>
          <p:spPr>
            <a:xfrm flipH="1">
              <a:off x="5264522" y="4368216"/>
              <a:ext cx="65467" cy="17648"/>
            </a:xfrm>
            <a:custGeom>
              <a:avLst/>
              <a:gdLst>
                <a:gd name="connsiteX0" fmla="*/ 59176 w 59397"/>
                <a:gd name="connsiteY0" fmla="*/ 15581 h 16012"/>
                <a:gd name="connsiteX1" fmla="*/ 29853 w 59397"/>
                <a:gd name="connsiteY1" fmla="*/ 9414 h 16012"/>
                <a:gd name="connsiteX2" fmla="*/ 205 w 59397"/>
                <a:gd name="connsiteY2" fmla="*/ 15690 h 16012"/>
                <a:gd name="connsiteX3" fmla="*/ 6373 w 59397"/>
                <a:gd name="connsiteY3" fmla="*/ 7466 h 16012"/>
                <a:gd name="connsiteX4" fmla="*/ 30070 w 59397"/>
                <a:gd name="connsiteY4" fmla="*/ 0 h 16012"/>
                <a:gd name="connsiteX5" fmla="*/ 53442 w 59397"/>
                <a:gd name="connsiteY5" fmla="*/ 7358 h 16012"/>
                <a:gd name="connsiteX6" fmla="*/ 59176 w 59397"/>
                <a:gd name="connsiteY6" fmla="*/ 15581 h 16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397" h="16012">
                  <a:moveTo>
                    <a:pt x="59176" y="15581"/>
                  </a:moveTo>
                  <a:cubicBezTo>
                    <a:pt x="57337" y="17529"/>
                    <a:pt x="45976" y="9197"/>
                    <a:pt x="29853" y="9414"/>
                  </a:cubicBezTo>
                  <a:cubicBezTo>
                    <a:pt x="13731" y="9306"/>
                    <a:pt x="2045" y="17745"/>
                    <a:pt x="205" y="15690"/>
                  </a:cubicBezTo>
                  <a:cubicBezTo>
                    <a:pt x="-660" y="14824"/>
                    <a:pt x="1179" y="11253"/>
                    <a:pt x="6373" y="7466"/>
                  </a:cubicBezTo>
                  <a:cubicBezTo>
                    <a:pt x="11458" y="3679"/>
                    <a:pt x="20006" y="0"/>
                    <a:pt x="30070" y="0"/>
                  </a:cubicBezTo>
                  <a:cubicBezTo>
                    <a:pt x="40132" y="0"/>
                    <a:pt x="48572" y="3571"/>
                    <a:pt x="53442" y="7358"/>
                  </a:cubicBezTo>
                  <a:cubicBezTo>
                    <a:pt x="58419" y="11253"/>
                    <a:pt x="60042" y="14716"/>
                    <a:pt x="59176" y="1558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E2C93471-0F1B-40F6-8F77-2BA648C8785D}"/>
                </a:ext>
              </a:extLst>
            </p:cNvPr>
            <p:cNvSpPr/>
            <p:nvPr/>
          </p:nvSpPr>
          <p:spPr>
            <a:xfrm flipH="1">
              <a:off x="5436021" y="4379188"/>
              <a:ext cx="65467" cy="17648"/>
            </a:xfrm>
            <a:custGeom>
              <a:avLst/>
              <a:gdLst>
                <a:gd name="connsiteX0" fmla="*/ 59176 w 59397"/>
                <a:gd name="connsiteY0" fmla="*/ 15581 h 16012"/>
                <a:gd name="connsiteX1" fmla="*/ 29853 w 59397"/>
                <a:gd name="connsiteY1" fmla="*/ 9414 h 16012"/>
                <a:gd name="connsiteX2" fmla="*/ 205 w 59397"/>
                <a:gd name="connsiteY2" fmla="*/ 15690 h 16012"/>
                <a:gd name="connsiteX3" fmla="*/ 6373 w 59397"/>
                <a:gd name="connsiteY3" fmla="*/ 7466 h 16012"/>
                <a:gd name="connsiteX4" fmla="*/ 30069 w 59397"/>
                <a:gd name="connsiteY4" fmla="*/ 0 h 16012"/>
                <a:gd name="connsiteX5" fmla="*/ 53442 w 59397"/>
                <a:gd name="connsiteY5" fmla="*/ 7358 h 16012"/>
                <a:gd name="connsiteX6" fmla="*/ 59176 w 59397"/>
                <a:gd name="connsiteY6" fmla="*/ 15581 h 16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397" h="16012">
                  <a:moveTo>
                    <a:pt x="59176" y="15581"/>
                  </a:moveTo>
                  <a:cubicBezTo>
                    <a:pt x="57337" y="17529"/>
                    <a:pt x="45975" y="9197"/>
                    <a:pt x="29853" y="9414"/>
                  </a:cubicBezTo>
                  <a:cubicBezTo>
                    <a:pt x="13731" y="9306"/>
                    <a:pt x="2045" y="17745"/>
                    <a:pt x="205" y="15690"/>
                  </a:cubicBezTo>
                  <a:cubicBezTo>
                    <a:pt x="-660" y="14824"/>
                    <a:pt x="1179" y="11253"/>
                    <a:pt x="6373" y="7466"/>
                  </a:cubicBezTo>
                  <a:cubicBezTo>
                    <a:pt x="11458" y="3679"/>
                    <a:pt x="20006" y="0"/>
                    <a:pt x="30069" y="0"/>
                  </a:cubicBezTo>
                  <a:cubicBezTo>
                    <a:pt x="40132" y="0"/>
                    <a:pt x="48572" y="3571"/>
                    <a:pt x="53442" y="7358"/>
                  </a:cubicBezTo>
                  <a:cubicBezTo>
                    <a:pt x="58419" y="11253"/>
                    <a:pt x="60042" y="14716"/>
                    <a:pt x="59176" y="1558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5E1F62AF-6B44-47FB-A001-8978208C91E0}"/>
                </a:ext>
              </a:extLst>
            </p:cNvPr>
            <p:cNvSpPr/>
            <p:nvPr/>
          </p:nvSpPr>
          <p:spPr>
            <a:xfrm flipH="1">
              <a:off x="5328708" y="4373335"/>
              <a:ext cx="54542" cy="148422"/>
            </a:xfrm>
            <a:custGeom>
              <a:avLst/>
              <a:gdLst>
                <a:gd name="connsiteX0" fmla="*/ 8493 w 49485"/>
                <a:gd name="connsiteY0" fmla="*/ 134074 h 134660"/>
                <a:gd name="connsiteX1" fmla="*/ 34570 w 49485"/>
                <a:gd name="connsiteY1" fmla="*/ 129204 h 134660"/>
                <a:gd name="connsiteX2" fmla="*/ 43226 w 49485"/>
                <a:gd name="connsiteY2" fmla="*/ 125093 h 134660"/>
                <a:gd name="connsiteX3" fmla="*/ 40413 w 49485"/>
                <a:gd name="connsiteY3" fmla="*/ 112974 h 134660"/>
                <a:gd name="connsiteX4" fmla="*/ 28077 w 49485"/>
                <a:gd name="connsiteY4" fmla="*/ 81703 h 134660"/>
                <a:gd name="connsiteX5" fmla="*/ 161 w 49485"/>
                <a:gd name="connsiteY5" fmla="*/ 9 h 134660"/>
                <a:gd name="connsiteX6" fmla="*/ 34570 w 49485"/>
                <a:gd name="connsiteY6" fmla="*/ 79322 h 134660"/>
                <a:gd name="connsiteX7" fmla="*/ 46472 w 49485"/>
                <a:gd name="connsiteY7" fmla="*/ 110701 h 134660"/>
                <a:gd name="connsiteX8" fmla="*/ 48744 w 49485"/>
                <a:gd name="connsiteY8" fmla="*/ 126824 h 134660"/>
                <a:gd name="connsiteX9" fmla="*/ 42036 w 49485"/>
                <a:gd name="connsiteY9" fmla="*/ 132883 h 134660"/>
                <a:gd name="connsiteX10" fmla="*/ 35111 w 49485"/>
                <a:gd name="connsiteY10" fmla="*/ 133857 h 134660"/>
                <a:gd name="connsiteX11" fmla="*/ 8493 w 49485"/>
                <a:gd name="connsiteY11" fmla="*/ 134074 h 134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485" h="134660">
                  <a:moveTo>
                    <a:pt x="8493" y="134074"/>
                  </a:moveTo>
                  <a:cubicBezTo>
                    <a:pt x="8384" y="133208"/>
                    <a:pt x="18447" y="131368"/>
                    <a:pt x="34570" y="129204"/>
                  </a:cubicBezTo>
                  <a:cubicBezTo>
                    <a:pt x="38682" y="128772"/>
                    <a:pt x="42577" y="127906"/>
                    <a:pt x="43226" y="125093"/>
                  </a:cubicBezTo>
                  <a:cubicBezTo>
                    <a:pt x="44200" y="122063"/>
                    <a:pt x="42469" y="117735"/>
                    <a:pt x="40413" y="112974"/>
                  </a:cubicBezTo>
                  <a:cubicBezTo>
                    <a:pt x="36517" y="103019"/>
                    <a:pt x="32406" y="92631"/>
                    <a:pt x="28077" y="81703"/>
                  </a:cubicBezTo>
                  <a:cubicBezTo>
                    <a:pt x="10873" y="37231"/>
                    <a:pt x="-1570" y="658"/>
                    <a:pt x="161" y="9"/>
                  </a:cubicBezTo>
                  <a:cubicBezTo>
                    <a:pt x="2000" y="-640"/>
                    <a:pt x="17365" y="34850"/>
                    <a:pt x="34570" y="79322"/>
                  </a:cubicBezTo>
                  <a:cubicBezTo>
                    <a:pt x="38682" y="90251"/>
                    <a:pt x="42685" y="100747"/>
                    <a:pt x="46472" y="110701"/>
                  </a:cubicBezTo>
                  <a:cubicBezTo>
                    <a:pt x="48095" y="115354"/>
                    <a:pt x="50800" y="120656"/>
                    <a:pt x="48744" y="126824"/>
                  </a:cubicBezTo>
                  <a:cubicBezTo>
                    <a:pt x="47663" y="129854"/>
                    <a:pt x="44633" y="132126"/>
                    <a:pt x="42036" y="132883"/>
                  </a:cubicBezTo>
                  <a:cubicBezTo>
                    <a:pt x="39439" y="133749"/>
                    <a:pt x="37058" y="133749"/>
                    <a:pt x="35111" y="133857"/>
                  </a:cubicBezTo>
                  <a:cubicBezTo>
                    <a:pt x="18664" y="134831"/>
                    <a:pt x="8601" y="134939"/>
                    <a:pt x="8493" y="13407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656822CA-E329-4F97-9082-5ACDAD817EAB}"/>
                </a:ext>
              </a:extLst>
            </p:cNvPr>
            <p:cNvSpPr/>
            <p:nvPr/>
          </p:nvSpPr>
          <p:spPr>
            <a:xfrm flipH="1">
              <a:off x="5360175" y="4686288"/>
              <a:ext cx="172572" cy="77717"/>
            </a:xfrm>
            <a:custGeom>
              <a:avLst/>
              <a:gdLst>
                <a:gd name="connsiteX0" fmla="*/ 156571 w 156571"/>
                <a:gd name="connsiteY0" fmla="*/ 40577 h 70511"/>
                <a:gd name="connsiteX1" fmla="*/ 0 w 156571"/>
                <a:gd name="connsiteY1" fmla="*/ 0 h 70511"/>
                <a:gd name="connsiteX2" fmla="*/ 156571 w 156571"/>
                <a:gd name="connsiteY2" fmla="*/ 69359 h 70511"/>
                <a:gd name="connsiteX3" fmla="*/ 156571 w 156571"/>
                <a:gd name="connsiteY3" fmla="*/ 40577 h 70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571" h="70511">
                  <a:moveTo>
                    <a:pt x="156571" y="40577"/>
                  </a:moveTo>
                  <a:cubicBezTo>
                    <a:pt x="156571" y="40577"/>
                    <a:pt x="78123" y="46203"/>
                    <a:pt x="0" y="0"/>
                  </a:cubicBezTo>
                  <a:cubicBezTo>
                    <a:pt x="0" y="0"/>
                    <a:pt x="39819" y="81045"/>
                    <a:pt x="156571" y="69359"/>
                  </a:cubicBezTo>
                  <a:lnTo>
                    <a:pt x="156571" y="40577"/>
                  </a:ln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EC56B805-92E5-4798-88C6-738160EC73F9}"/>
                </a:ext>
              </a:extLst>
            </p:cNvPr>
            <p:cNvSpPr/>
            <p:nvPr/>
          </p:nvSpPr>
          <p:spPr>
            <a:xfrm flipH="1">
              <a:off x="5369144" y="4541483"/>
              <a:ext cx="66767" cy="54023"/>
            </a:xfrm>
            <a:custGeom>
              <a:avLst/>
              <a:gdLst>
                <a:gd name="connsiteX0" fmla="*/ 58218 w 60576"/>
                <a:gd name="connsiteY0" fmla="*/ 17765 h 49014"/>
                <a:gd name="connsiteX1" fmla="*/ 24783 w 60576"/>
                <a:gd name="connsiteY1" fmla="*/ 19 h 49014"/>
                <a:gd name="connsiteX2" fmla="*/ 3358 w 60576"/>
                <a:gd name="connsiteY2" fmla="*/ 11922 h 49014"/>
                <a:gd name="connsiteX3" fmla="*/ 4116 w 60576"/>
                <a:gd name="connsiteY3" fmla="*/ 38648 h 49014"/>
                <a:gd name="connsiteX4" fmla="*/ 30842 w 60576"/>
                <a:gd name="connsiteY4" fmla="*/ 48278 h 49014"/>
                <a:gd name="connsiteX5" fmla="*/ 54755 w 60576"/>
                <a:gd name="connsiteY5" fmla="*/ 33238 h 49014"/>
                <a:gd name="connsiteX6" fmla="*/ 59841 w 60576"/>
                <a:gd name="connsiteY6" fmla="*/ 27070 h 49014"/>
                <a:gd name="connsiteX7" fmla="*/ 59083 w 60576"/>
                <a:gd name="connsiteY7" fmla="*/ 18630 h 49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576" h="49014">
                  <a:moveTo>
                    <a:pt x="58218" y="17765"/>
                  </a:moveTo>
                  <a:cubicBezTo>
                    <a:pt x="50103" y="6511"/>
                    <a:pt x="37118" y="-414"/>
                    <a:pt x="24783" y="19"/>
                  </a:cubicBezTo>
                  <a:cubicBezTo>
                    <a:pt x="16235" y="344"/>
                    <a:pt x="7903" y="4347"/>
                    <a:pt x="3358" y="11922"/>
                  </a:cubicBezTo>
                  <a:cubicBezTo>
                    <a:pt x="-1186" y="19496"/>
                    <a:pt x="-1294" y="30641"/>
                    <a:pt x="4116" y="38648"/>
                  </a:cubicBezTo>
                  <a:cubicBezTo>
                    <a:pt x="10175" y="47629"/>
                    <a:pt x="21645" y="50550"/>
                    <a:pt x="30842" y="48278"/>
                  </a:cubicBezTo>
                  <a:cubicBezTo>
                    <a:pt x="40039" y="46006"/>
                    <a:pt x="47614" y="39622"/>
                    <a:pt x="54755" y="33238"/>
                  </a:cubicBezTo>
                  <a:cubicBezTo>
                    <a:pt x="56703" y="31506"/>
                    <a:pt x="58759" y="29559"/>
                    <a:pt x="59841" y="27070"/>
                  </a:cubicBezTo>
                  <a:cubicBezTo>
                    <a:pt x="60923" y="24473"/>
                    <a:pt x="60923" y="21011"/>
                    <a:pt x="59083" y="18630"/>
                  </a:cubicBezTo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6867D1DB-627F-4BEB-8556-B96946DB1467}"/>
                </a:ext>
              </a:extLst>
            </p:cNvPr>
            <p:cNvSpPr/>
            <p:nvPr/>
          </p:nvSpPr>
          <p:spPr>
            <a:xfrm flipH="1">
              <a:off x="5369111" y="4533750"/>
              <a:ext cx="59782" cy="50720"/>
            </a:xfrm>
            <a:custGeom>
              <a:avLst/>
              <a:gdLst>
                <a:gd name="connsiteX0" fmla="*/ 2618 w 54239"/>
                <a:gd name="connsiteY0" fmla="*/ 2 h 46017"/>
                <a:gd name="connsiteX1" fmla="*/ 20472 w 54239"/>
                <a:gd name="connsiteY1" fmla="*/ 29650 h 46017"/>
                <a:gd name="connsiteX2" fmla="*/ 54231 w 54239"/>
                <a:gd name="connsiteY2" fmla="*/ 42310 h 46017"/>
                <a:gd name="connsiteX3" fmla="*/ 42221 w 54239"/>
                <a:gd name="connsiteY3" fmla="*/ 45989 h 46017"/>
                <a:gd name="connsiteX4" fmla="*/ 13979 w 54239"/>
                <a:gd name="connsiteY4" fmla="*/ 36359 h 46017"/>
                <a:gd name="connsiteX5" fmla="*/ 129 w 54239"/>
                <a:gd name="connsiteY5" fmla="*/ 11580 h 46017"/>
                <a:gd name="connsiteX6" fmla="*/ 2618 w 54239"/>
                <a:gd name="connsiteY6" fmla="*/ 2 h 46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239" h="46017">
                  <a:moveTo>
                    <a:pt x="2618" y="2"/>
                  </a:moveTo>
                  <a:cubicBezTo>
                    <a:pt x="5215" y="-214"/>
                    <a:pt x="5431" y="17315"/>
                    <a:pt x="20472" y="29650"/>
                  </a:cubicBezTo>
                  <a:cubicBezTo>
                    <a:pt x="35512" y="41985"/>
                    <a:pt x="54123" y="39929"/>
                    <a:pt x="54231" y="42310"/>
                  </a:cubicBezTo>
                  <a:cubicBezTo>
                    <a:pt x="54448" y="43392"/>
                    <a:pt x="50120" y="45772"/>
                    <a:pt x="42221" y="45989"/>
                  </a:cubicBezTo>
                  <a:cubicBezTo>
                    <a:pt x="34538" y="46313"/>
                    <a:pt x="23285" y="43933"/>
                    <a:pt x="13979" y="36359"/>
                  </a:cubicBezTo>
                  <a:cubicBezTo>
                    <a:pt x="4782" y="28784"/>
                    <a:pt x="779" y="18721"/>
                    <a:pt x="129" y="11580"/>
                  </a:cubicBezTo>
                  <a:cubicBezTo>
                    <a:pt x="-520" y="4222"/>
                    <a:pt x="1428" y="-106"/>
                    <a:pt x="2618" y="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F8A90993-4432-43AE-82F5-F14314C47448}"/>
                </a:ext>
              </a:extLst>
            </p:cNvPr>
            <p:cNvSpPr/>
            <p:nvPr/>
          </p:nvSpPr>
          <p:spPr>
            <a:xfrm flipH="1">
              <a:off x="5435943" y="4335411"/>
              <a:ext cx="80967" cy="24026"/>
            </a:xfrm>
            <a:custGeom>
              <a:avLst/>
              <a:gdLst>
                <a:gd name="connsiteX0" fmla="*/ 73385 w 73460"/>
                <a:gd name="connsiteY0" fmla="*/ 11802 h 21798"/>
                <a:gd name="connsiteX1" fmla="*/ 36921 w 73460"/>
                <a:gd name="connsiteY1" fmla="*/ 16671 h 21798"/>
                <a:gd name="connsiteX2" fmla="*/ 239 w 73460"/>
                <a:gd name="connsiteY2" fmla="*/ 20458 h 21798"/>
                <a:gd name="connsiteX3" fmla="*/ 7814 w 73460"/>
                <a:gd name="connsiteY3" fmla="*/ 10178 h 21798"/>
                <a:gd name="connsiteX4" fmla="*/ 34973 w 73460"/>
                <a:gd name="connsiteY4" fmla="*/ 440 h 21798"/>
                <a:gd name="connsiteX5" fmla="*/ 63647 w 73460"/>
                <a:gd name="connsiteY5" fmla="*/ 3578 h 21798"/>
                <a:gd name="connsiteX6" fmla="*/ 73385 w 73460"/>
                <a:gd name="connsiteY6" fmla="*/ 11802 h 2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60" h="21798">
                  <a:moveTo>
                    <a:pt x="73385" y="11802"/>
                  </a:moveTo>
                  <a:cubicBezTo>
                    <a:pt x="71870" y="16238"/>
                    <a:pt x="55748" y="14182"/>
                    <a:pt x="36921" y="16671"/>
                  </a:cubicBezTo>
                  <a:cubicBezTo>
                    <a:pt x="17985" y="18727"/>
                    <a:pt x="2836" y="24353"/>
                    <a:pt x="239" y="20458"/>
                  </a:cubicBezTo>
                  <a:cubicBezTo>
                    <a:pt x="-843" y="18619"/>
                    <a:pt x="1754" y="14399"/>
                    <a:pt x="7814" y="10178"/>
                  </a:cubicBezTo>
                  <a:cubicBezTo>
                    <a:pt x="13873" y="5850"/>
                    <a:pt x="23611" y="1847"/>
                    <a:pt x="34973" y="440"/>
                  </a:cubicBezTo>
                  <a:cubicBezTo>
                    <a:pt x="46334" y="-858"/>
                    <a:pt x="56722" y="873"/>
                    <a:pt x="63647" y="3578"/>
                  </a:cubicBezTo>
                  <a:cubicBezTo>
                    <a:pt x="70464" y="6283"/>
                    <a:pt x="74035" y="9746"/>
                    <a:pt x="73385" y="11802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82F0D5E-C44E-4D2E-B34D-8D6E4C0E2662}"/>
                </a:ext>
              </a:extLst>
            </p:cNvPr>
            <p:cNvSpPr/>
            <p:nvPr/>
          </p:nvSpPr>
          <p:spPr>
            <a:xfrm flipH="1">
              <a:off x="5271210" y="4315966"/>
              <a:ext cx="60967" cy="19938"/>
            </a:xfrm>
            <a:custGeom>
              <a:avLst/>
              <a:gdLst>
                <a:gd name="connsiteX0" fmla="*/ 54886 w 55314"/>
                <a:gd name="connsiteY0" fmla="*/ 16458 h 18089"/>
                <a:gd name="connsiteX1" fmla="*/ 27618 w 55314"/>
                <a:gd name="connsiteY1" fmla="*/ 16350 h 18089"/>
                <a:gd name="connsiteX2" fmla="*/ 351 w 55314"/>
                <a:gd name="connsiteY2" fmla="*/ 15160 h 18089"/>
                <a:gd name="connsiteX3" fmla="*/ 5869 w 55314"/>
                <a:gd name="connsiteY3" fmla="*/ 6179 h 18089"/>
                <a:gd name="connsiteX4" fmla="*/ 27943 w 55314"/>
                <a:gd name="connsiteY4" fmla="*/ 11 h 18089"/>
                <a:gd name="connsiteX5" fmla="*/ 49692 w 55314"/>
                <a:gd name="connsiteY5" fmla="*/ 7261 h 18089"/>
                <a:gd name="connsiteX6" fmla="*/ 54886 w 55314"/>
                <a:gd name="connsiteY6" fmla="*/ 16458 h 1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314" h="18089">
                  <a:moveTo>
                    <a:pt x="54886" y="16458"/>
                  </a:moveTo>
                  <a:cubicBezTo>
                    <a:pt x="52072" y="20137"/>
                    <a:pt x="40927" y="16458"/>
                    <a:pt x="27618" y="16350"/>
                  </a:cubicBezTo>
                  <a:cubicBezTo>
                    <a:pt x="14309" y="15809"/>
                    <a:pt x="3056" y="18947"/>
                    <a:pt x="351" y="15160"/>
                  </a:cubicBezTo>
                  <a:cubicBezTo>
                    <a:pt x="-840" y="13320"/>
                    <a:pt x="1000" y="9641"/>
                    <a:pt x="5869" y="6179"/>
                  </a:cubicBezTo>
                  <a:cubicBezTo>
                    <a:pt x="10738" y="2716"/>
                    <a:pt x="18854" y="-205"/>
                    <a:pt x="27943" y="11"/>
                  </a:cubicBezTo>
                  <a:cubicBezTo>
                    <a:pt x="37140" y="228"/>
                    <a:pt x="45039" y="3474"/>
                    <a:pt x="49692" y="7261"/>
                  </a:cubicBezTo>
                  <a:cubicBezTo>
                    <a:pt x="54561" y="10940"/>
                    <a:pt x="56184" y="14619"/>
                    <a:pt x="54886" y="16458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9F9CA190-3E91-4773-9A25-07847783214B}"/>
                </a:ext>
              </a:extLst>
            </p:cNvPr>
            <p:cNvSpPr/>
            <p:nvPr/>
          </p:nvSpPr>
          <p:spPr>
            <a:xfrm flipH="1">
              <a:off x="5503031" y="4424291"/>
              <a:ext cx="20369" cy="12906"/>
            </a:xfrm>
            <a:custGeom>
              <a:avLst/>
              <a:gdLst>
                <a:gd name="connsiteX0" fmla="*/ 18462 w 18480"/>
                <a:gd name="connsiteY0" fmla="*/ 1062 h 11709"/>
                <a:gd name="connsiteX1" fmla="*/ 10022 w 18480"/>
                <a:gd name="connsiteY1" fmla="*/ 7446 h 11709"/>
                <a:gd name="connsiteX2" fmla="*/ 284 w 18480"/>
                <a:gd name="connsiteY2" fmla="*/ 11449 h 11709"/>
                <a:gd name="connsiteX3" fmla="*/ 7209 w 18480"/>
                <a:gd name="connsiteY3" fmla="*/ 2577 h 11709"/>
                <a:gd name="connsiteX4" fmla="*/ 18462 w 18480"/>
                <a:gd name="connsiteY4" fmla="*/ 1062 h 1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0" h="11709">
                  <a:moveTo>
                    <a:pt x="18462" y="1062"/>
                  </a:moveTo>
                  <a:cubicBezTo>
                    <a:pt x="18787" y="2577"/>
                    <a:pt x="14675" y="4741"/>
                    <a:pt x="10022" y="7446"/>
                  </a:cubicBezTo>
                  <a:cubicBezTo>
                    <a:pt x="5370" y="10043"/>
                    <a:pt x="1474" y="12532"/>
                    <a:pt x="284" y="11449"/>
                  </a:cubicBezTo>
                  <a:cubicBezTo>
                    <a:pt x="-906" y="10476"/>
                    <a:pt x="1691" y="5715"/>
                    <a:pt x="7209" y="2577"/>
                  </a:cubicBezTo>
                  <a:cubicBezTo>
                    <a:pt x="12727" y="-669"/>
                    <a:pt x="18138" y="-453"/>
                    <a:pt x="18462" y="1062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E81C1BDF-903F-4E38-BDFB-9C8D17C864FA}"/>
                </a:ext>
              </a:extLst>
            </p:cNvPr>
            <p:cNvSpPr/>
            <p:nvPr/>
          </p:nvSpPr>
          <p:spPr>
            <a:xfrm flipH="1">
              <a:off x="5499710" y="4407297"/>
              <a:ext cx="24042" cy="8302"/>
            </a:xfrm>
            <a:custGeom>
              <a:avLst/>
              <a:gdLst>
                <a:gd name="connsiteX0" fmla="*/ 21812 w 21813"/>
                <a:gd name="connsiteY0" fmla="*/ 5769 h 7532"/>
                <a:gd name="connsiteX1" fmla="*/ 10126 w 21813"/>
                <a:gd name="connsiteY1" fmla="*/ 6851 h 7532"/>
                <a:gd name="connsiteX2" fmla="*/ 63 w 21813"/>
                <a:gd name="connsiteY2" fmla="*/ 791 h 7532"/>
                <a:gd name="connsiteX3" fmla="*/ 11424 w 21813"/>
                <a:gd name="connsiteY3" fmla="*/ 1332 h 7532"/>
                <a:gd name="connsiteX4" fmla="*/ 21812 w 21813"/>
                <a:gd name="connsiteY4" fmla="*/ 5769 h 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13" h="7532">
                  <a:moveTo>
                    <a:pt x="21812" y="5769"/>
                  </a:moveTo>
                  <a:cubicBezTo>
                    <a:pt x="21704" y="7284"/>
                    <a:pt x="16402" y="8257"/>
                    <a:pt x="10126" y="6851"/>
                  </a:cubicBezTo>
                  <a:cubicBezTo>
                    <a:pt x="3850" y="5444"/>
                    <a:pt x="-586" y="2198"/>
                    <a:pt x="63" y="791"/>
                  </a:cubicBezTo>
                  <a:cubicBezTo>
                    <a:pt x="712" y="-615"/>
                    <a:pt x="5581" y="34"/>
                    <a:pt x="11424" y="1332"/>
                  </a:cubicBezTo>
                  <a:cubicBezTo>
                    <a:pt x="17159" y="2631"/>
                    <a:pt x="21920" y="4254"/>
                    <a:pt x="21812" y="5769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07E3C487-513B-4659-AF84-1ED264F906C8}"/>
                </a:ext>
              </a:extLst>
            </p:cNvPr>
            <p:cNvSpPr/>
            <p:nvPr/>
          </p:nvSpPr>
          <p:spPr>
            <a:xfrm flipH="1">
              <a:off x="5245473" y="4407194"/>
              <a:ext cx="5669" cy="6048"/>
            </a:xfrm>
            <a:custGeom>
              <a:avLst/>
              <a:gdLst>
                <a:gd name="connsiteX0" fmla="*/ 4735 w 5143"/>
                <a:gd name="connsiteY0" fmla="*/ 1533 h 5487"/>
                <a:gd name="connsiteX1" fmla="*/ 3978 w 5143"/>
                <a:gd name="connsiteY1" fmla="*/ 5212 h 5487"/>
                <a:gd name="connsiteX2" fmla="*/ 407 w 5143"/>
                <a:gd name="connsiteY2" fmla="*/ 4022 h 5487"/>
                <a:gd name="connsiteX3" fmla="*/ 1165 w 5143"/>
                <a:gd name="connsiteY3" fmla="*/ 343 h 5487"/>
                <a:gd name="connsiteX4" fmla="*/ 4735 w 5143"/>
                <a:gd name="connsiteY4" fmla="*/ 1533 h 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487">
                  <a:moveTo>
                    <a:pt x="4735" y="1533"/>
                  </a:moveTo>
                  <a:cubicBezTo>
                    <a:pt x="5493" y="2832"/>
                    <a:pt x="5168" y="4563"/>
                    <a:pt x="3978" y="5212"/>
                  </a:cubicBezTo>
                  <a:cubicBezTo>
                    <a:pt x="2788" y="5861"/>
                    <a:pt x="1165" y="5320"/>
                    <a:pt x="407" y="4022"/>
                  </a:cubicBezTo>
                  <a:cubicBezTo>
                    <a:pt x="-350" y="2723"/>
                    <a:pt x="-25" y="992"/>
                    <a:pt x="1165" y="343"/>
                  </a:cubicBezTo>
                  <a:cubicBezTo>
                    <a:pt x="2355" y="-414"/>
                    <a:pt x="3978" y="127"/>
                    <a:pt x="4735" y="1533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8737CCD6-4FA0-4D06-A19D-4917AA7D82CD}"/>
                </a:ext>
              </a:extLst>
            </p:cNvPr>
            <p:cNvSpPr/>
            <p:nvPr/>
          </p:nvSpPr>
          <p:spPr>
            <a:xfrm flipH="1">
              <a:off x="5241863" y="4417562"/>
              <a:ext cx="11576" cy="6257"/>
            </a:xfrm>
            <a:custGeom>
              <a:avLst/>
              <a:gdLst>
                <a:gd name="connsiteX0" fmla="*/ 10500 w 10503"/>
                <a:gd name="connsiteY0" fmla="*/ 3163 h 5677"/>
                <a:gd name="connsiteX1" fmla="*/ 5089 w 10503"/>
                <a:gd name="connsiteY1" fmla="*/ 5652 h 5677"/>
                <a:gd name="connsiteX2" fmla="*/ 4 w 10503"/>
                <a:gd name="connsiteY2" fmla="*/ 2514 h 5677"/>
                <a:gd name="connsiteX3" fmla="*/ 5414 w 10503"/>
                <a:gd name="connsiteY3" fmla="*/ 25 h 5677"/>
                <a:gd name="connsiteX4" fmla="*/ 10500 w 10503"/>
                <a:gd name="connsiteY4" fmla="*/ 3163 h 5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03" h="5677">
                  <a:moveTo>
                    <a:pt x="10500" y="3163"/>
                  </a:moveTo>
                  <a:cubicBezTo>
                    <a:pt x="10391" y="4678"/>
                    <a:pt x="8011" y="5868"/>
                    <a:pt x="5089" y="5652"/>
                  </a:cubicBezTo>
                  <a:cubicBezTo>
                    <a:pt x="2168" y="5436"/>
                    <a:pt x="-105" y="4137"/>
                    <a:pt x="4" y="2514"/>
                  </a:cubicBezTo>
                  <a:cubicBezTo>
                    <a:pt x="112" y="999"/>
                    <a:pt x="2492" y="-191"/>
                    <a:pt x="5414" y="25"/>
                  </a:cubicBezTo>
                  <a:cubicBezTo>
                    <a:pt x="8335" y="242"/>
                    <a:pt x="10608" y="1648"/>
                    <a:pt x="10500" y="3163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C1655CE2-4952-4D80-AF61-5E3DF9537B05}"/>
                </a:ext>
              </a:extLst>
            </p:cNvPr>
            <p:cNvSpPr/>
            <p:nvPr/>
          </p:nvSpPr>
          <p:spPr>
            <a:xfrm flipH="1">
              <a:off x="5425231" y="4526837"/>
              <a:ext cx="20181" cy="10099"/>
            </a:xfrm>
            <a:custGeom>
              <a:avLst/>
              <a:gdLst>
                <a:gd name="connsiteX0" fmla="*/ 18255 w 18310"/>
                <a:gd name="connsiteY0" fmla="*/ 3028 h 9163"/>
                <a:gd name="connsiteX1" fmla="*/ 9382 w 18310"/>
                <a:gd name="connsiteY1" fmla="*/ 6058 h 9163"/>
                <a:gd name="connsiteX2" fmla="*/ 401 w 18310"/>
                <a:gd name="connsiteY2" fmla="*/ 8979 h 9163"/>
                <a:gd name="connsiteX3" fmla="*/ 7543 w 18310"/>
                <a:gd name="connsiteY3" fmla="*/ 756 h 9163"/>
                <a:gd name="connsiteX4" fmla="*/ 18255 w 18310"/>
                <a:gd name="connsiteY4" fmla="*/ 3028 h 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10" h="9163">
                  <a:moveTo>
                    <a:pt x="18255" y="3028"/>
                  </a:moveTo>
                  <a:cubicBezTo>
                    <a:pt x="17714" y="4543"/>
                    <a:pt x="13710" y="4543"/>
                    <a:pt x="9382" y="6058"/>
                  </a:cubicBezTo>
                  <a:cubicBezTo>
                    <a:pt x="4946" y="7464"/>
                    <a:pt x="1808" y="9845"/>
                    <a:pt x="401" y="8979"/>
                  </a:cubicBezTo>
                  <a:cubicBezTo>
                    <a:pt x="-1005" y="8222"/>
                    <a:pt x="1267" y="2812"/>
                    <a:pt x="7543" y="756"/>
                  </a:cubicBezTo>
                  <a:cubicBezTo>
                    <a:pt x="13818" y="-1408"/>
                    <a:pt x="18904" y="1621"/>
                    <a:pt x="18255" y="3028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DF88B35D-FF6A-4C18-88ED-6914945DDC1D}"/>
                </a:ext>
              </a:extLst>
            </p:cNvPr>
            <p:cNvSpPr/>
            <p:nvPr/>
          </p:nvSpPr>
          <p:spPr>
            <a:xfrm flipH="1">
              <a:off x="5205562" y="4092130"/>
              <a:ext cx="541826" cy="361835"/>
            </a:xfrm>
            <a:custGeom>
              <a:avLst/>
              <a:gdLst>
                <a:gd name="connsiteX0" fmla="*/ 82315 w 491587"/>
                <a:gd name="connsiteY0" fmla="*/ 286843 h 328285"/>
                <a:gd name="connsiteX1" fmla="*/ 87833 w 491587"/>
                <a:gd name="connsiteY1" fmla="*/ 309241 h 328285"/>
                <a:gd name="connsiteX2" fmla="*/ 106985 w 491587"/>
                <a:gd name="connsiteY2" fmla="*/ 303939 h 328285"/>
                <a:gd name="connsiteX3" fmla="*/ 122134 w 491587"/>
                <a:gd name="connsiteY3" fmla="*/ 294850 h 328285"/>
                <a:gd name="connsiteX4" fmla="*/ 134686 w 491587"/>
                <a:gd name="connsiteY4" fmla="*/ 281974 h 328285"/>
                <a:gd name="connsiteX5" fmla="*/ 150267 w 491587"/>
                <a:gd name="connsiteY5" fmla="*/ 265094 h 328285"/>
                <a:gd name="connsiteX6" fmla="*/ 157841 w 491587"/>
                <a:gd name="connsiteY6" fmla="*/ 253083 h 328285"/>
                <a:gd name="connsiteX7" fmla="*/ 169960 w 491587"/>
                <a:gd name="connsiteY7" fmla="*/ 209045 h 328285"/>
                <a:gd name="connsiteX8" fmla="*/ 183918 w 491587"/>
                <a:gd name="connsiteY8" fmla="*/ 165979 h 328285"/>
                <a:gd name="connsiteX9" fmla="*/ 187597 w 491587"/>
                <a:gd name="connsiteY9" fmla="*/ 136981 h 328285"/>
                <a:gd name="connsiteX10" fmla="*/ 193008 w 491587"/>
                <a:gd name="connsiteY10" fmla="*/ 130272 h 328285"/>
                <a:gd name="connsiteX11" fmla="*/ 203395 w 491587"/>
                <a:gd name="connsiteY11" fmla="*/ 145421 h 328285"/>
                <a:gd name="connsiteX12" fmla="*/ 221032 w 491587"/>
                <a:gd name="connsiteY12" fmla="*/ 145204 h 328285"/>
                <a:gd name="connsiteX13" fmla="*/ 238453 w 491587"/>
                <a:gd name="connsiteY13" fmla="*/ 141850 h 328285"/>
                <a:gd name="connsiteX14" fmla="*/ 249274 w 491587"/>
                <a:gd name="connsiteY14" fmla="*/ 144988 h 328285"/>
                <a:gd name="connsiteX15" fmla="*/ 252412 w 491587"/>
                <a:gd name="connsiteY15" fmla="*/ 173337 h 328285"/>
                <a:gd name="connsiteX16" fmla="*/ 262366 w 491587"/>
                <a:gd name="connsiteY16" fmla="*/ 189135 h 328285"/>
                <a:gd name="connsiteX17" fmla="*/ 273836 w 491587"/>
                <a:gd name="connsiteY17" fmla="*/ 180370 h 328285"/>
                <a:gd name="connsiteX18" fmla="*/ 287902 w 491587"/>
                <a:gd name="connsiteY18" fmla="*/ 178206 h 328285"/>
                <a:gd name="connsiteX19" fmla="*/ 291906 w 491587"/>
                <a:gd name="connsiteY19" fmla="*/ 160353 h 328285"/>
                <a:gd name="connsiteX20" fmla="*/ 278164 w 491587"/>
                <a:gd name="connsiteY20" fmla="*/ 118153 h 328285"/>
                <a:gd name="connsiteX21" fmla="*/ 308245 w 491587"/>
                <a:gd name="connsiteY21" fmla="*/ 146503 h 328285"/>
                <a:gd name="connsiteX22" fmla="*/ 315603 w 491587"/>
                <a:gd name="connsiteY22" fmla="*/ 151047 h 328285"/>
                <a:gd name="connsiteX23" fmla="*/ 324043 w 491587"/>
                <a:gd name="connsiteY23" fmla="*/ 159920 h 328285"/>
                <a:gd name="connsiteX24" fmla="*/ 335296 w 491587"/>
                <a:gd name="connsiteY24" fmla="*/ 152454 h 328285"/>
                <a:gd name="connsiteX25" fmla="*/ 343952 w 491587"/>
                <a:gd name="connsiteY25" fmla="*/ 122914 h 328285"/>
                <a:gd name="connsiteX26" fmla="*/ 346874 w 491587"/>
                <a:gd name="connsiteY26" fmla="*/ 113392 h 328285"/>
                <a:gd name="connsiteX27" fmla="*/ 380958 w 491587"/>
                <a:gd name="connsiteY27" fmla="*/ 139578 h 328285"/>
                <a:gd name="connsiteX28" fmla="*/ 374466 w 491587"/>
                <a:gd name="connsiteY28" fmla="*/ 147260 h 328285"/>
                <a:gd name="connsiteX29" fmla="*/ 381607 w 491587"/>
                <a:gd name="connsiteY29" fmla="*/ 157431 h 328285"/>
                <a:gd name="connsiteX30" fmla="*/ 377604 w 491587"/>
                <a:gd name="connsiteY30" fmla="*/ 173662 h 328285"/>
                <a:gd name="connsiteX31" fmla="*/ 364078 w 491587"/>
                <a:gd name="connsiteY31" fmla="*/ 187187 h 328285"/>
                <a:gd name="connsiteX32" fmla="*/ 382148 w 491587"/>
                <a:gd name="connsiteY32" fmla="*/ 201362 h 328285"/>
                <a:gd name="connsiteX33" fmla="*/ 397405 w 491587"/>
                <a:gd name="connsiteY33" fmla="*/ 191407 h 328285"/>
                <a:gd name="connsiteX34" fmla="*/ 409524 w 491587"/>
                <a:gd name="connsiteY34" fmla="*/ 174203 h 328285"/>
                <a:gd name="connsiteX35" fmla="*/ 420128 w 491587"/>
                <a:gd name="connsiteY35" fmla="*/ 160785 h 328285"/>
                <a:gd name="connsiteX36" fmla="*/ 414285 w 491587"/>
                <a:gd name="connsiteY36" fmla="*/ 120966 h 328285"/>
                <a:gd name="connsiteX37" fmla="*/ 417531 w 491587"/>
                <a:gd name="connsiteY37" fmla="*/ 123455 h 328285"/>
                <a:gd name="connsiteX38" fmla="*/ 416990 w 491587"/>
                <a:gd name="connsiteY38" fmla="*/ 118911 h 328285"/>
                <a:gd name="connsiteX39" fmla="*/ 436142 w 491587"/>
                <a:gd name="connsiteY39" fmla="*/ 166088 h 328285"/>
                <a:gd name="connsiteX40" fmla="*/ 446530 w 491587"/>
                <a:gd name="connsiteY40" fmla="*/ 205257 h 328285"/>
                <a:gd name="connsiteX41" fmla="*/ 451940 w 491587"/>
                <a:gd name="connsiteY41" fmla="*/ 219107 h 328285"/>
                <a:gd name="connsiteX42" fmla="*/ 455619 w 491587"/>
                <a:gd name="connsiteY42" fmla="*/ 218134 h 328285"/>
                <a:gd name="connsiteX43" fmla="*/ 486673 w 491587"/>
                <a:gd name="connsiteY43" fmla="*/ 182318 h 328285"/>
                <a:gd name="connsiteX44" fmla="*/ 491434 w 491587"/>
                <a:gd name="connsiteY44" fmla="*/ 165763 h 328285"/>
                <a:gd name="connsiteX45" fmla="*/ 486781 w 491587"/>
                <a:gd name="connsiteY45" fmla="*/ 129947 h 328285"/>
                <a:gd name="connsiteX46" fmla="*/ 485808 w 491587"/>
                <a:gd name="connsiteY46" fmla="*/ 114041 h 328285"/>
                <a:gd name="connsiteX47" fmla="*/ 473472 w 491587"/>
                <a:gd name="connsiteY47" fmla="*/ 93158 h 328285"/>
                <a:gd name="connsiteX48" fmla="*/ 411039 w 491587"/>
                <a:gd name="connsiteY48" fmla="*/ 40895 h 328285"/>
                <a:gd name="connsiteX49" fmla="*/ 364727 w 491587"/>
                <a:gd name="connsiteY49" fmla="*/ 30508 h 328285"/>
                <a:gd name="connsiteX50" fmla="*/ 337568 w 491587"/>
                <a:gd name="connsiteY50" fmla="*/ 17956 h 328285"/>
                <a:gd name="connsiteX51" fmla="*/ 219085 w 491587"/>
                <a:gd name="connsiteY51" fmla="*/ 1293 h 328285"/>
                <a:gd name="connsiteX52" fmla="*/ 153405 w 491587"/>
                <a:gd name="connsiteY52" fmla="*/ 16549 h 328285"/>
                <a:gd name="connsiteX53" fmla="*/ 91620 w 491587"/>
                <a:gd name="connsiteY53" fmla="*/ 63726 h 328285"/>
                <a:gd name="connsiteX54" fmla="*/ 18907 w 491587"/>
                <a:gd name="connsiteY54" fmla="*/ 161110 h 328285"/>
                <a:gd name="connsiteX55" fmla="*/ 1378 w 491587"/>
                <a:gd name="connsiteY55" fmla="*/ 257412 h 328285"/>
                <a:gd name="connsiteX56" fmla="*/ 54182 w 491587"/>
                <a:gd name="connsiteY56" fmla="*/ 328285 h 328285"/>
                <a:gd name="connsiteX57" fmla="*/ 65110 w 491587"/>
                <a:gd name="connsiteY57" fmla="*/ 315842 h 3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91587" h="328285">
                  <a:moveTo>
                    <a:pt x="82315" y="286843"/>
                  </a:moveTo>
                  <a:cubicBezTo>
                    <a:pt x="79069" y="294526"/>
                    <a:pt x="81666" y="304913"/>
                    <a:pt x="87833" y="309241"/>
                  </a:cubicBezTo>
                  <a:cubicBezTo>
                    <a:pt x="94109" y="313570"/>
                    <a:pt x="102982" y="311081"/>
                    <a:pt x="106985" y="303939"/>
                  </a:cubicBezTo>
                  <a:cubicBezTo>
                    <a:pt x="112071" y="310756"/>
                    <a:pt x="123757" y="303831"/>
                    <a:pt x="122134" y="294850"/>
                  </a:cubicBezTo>
                  <a:cubicBezTo>
                    <a:pt x="128410" y="298421"/>
                    <a:pt x="136741" y="289873"/>
                    <a:pt x="134686" y="281974"/>
                  </a:cubicBezTo>
                  <a:cubicBezTo>
                    <a:pt x="142044" y="284787"/>
                    <a:pt x="146372" y="272993"/>
                    <a:pt x="150267" y="265094"/>
                  </a:cubicBezTo>
                  <a:cubicBezTo>
                    <a:pt x="152323" y="260766"/>
                    <a:pt x="155244" y="257087"/>
                    <a:pt x="157841" y="253083"/>
                  </a:cubicBezTo>
                  <a:cubicBezTo>
                    <a:pt x="165740" y="240532"/>
                    <a:pt x="170177" y="224842"/>
                    <a:pt x="169960" y="209045"/>
                  </a:cubicBezTo>
                  <a:cubicBezTo>
                    <a:pt x="179482" y="198224"/>
                    <a:pt x="181971" y="181452"/>
                    <a:pt x="183918" y="165979"/>
                  </a:cubicBezTo>
                  <a:cubicBezTo>
                    <a:pt x="185109" y="156349"/>
                    <a:pt x="186299" y="146611"/>
                    <a:pt x="187597" y="136981"/>
                  </a:cubicBezTo>
                  <a:cubicBezTo>
                    <a:pt x="189437" y="134708"/>
                    <a:pt x="191168" y="132544"/>
                    <a:pt x="193008" y="130272"/>
                  </a:cubicBezTo>
                  <a:cubicBezTo>
                    <a:pt x="192575" y="137305"/>
                    <a:pt x="197769" y="143365"/>
                    <a:pt x="203395" y="145421"/>
                  </a:cubicBezTo>
                  <a:cubicBezTo>
                    <a:pt x="209022" y="147368"/>
                    <a:pt x="215189" y="146286"/>
                    <a:pt x="221032" y="145204"/>
                  </a:cubicBezTo>
                  <a:cubicBezTo>
                    <a:pt x="226767" y="144122"/>
                    <a:pt x="232610" y="143040"/>
                    <a:pt x="238453" y="141850"/>
                  </a:cubicBezTo>
                  <a:cubicBezTo>
                    <a:pt x="242024" y="142932"/>
                    <a:pt x="245703" y="144014"/>
                    <a:pt x="249274" y="144988"/>
                  </a:cubicBezTo>
                  <a:cubicBezTo>
                    <a:pt x="246028" y="153969"/>
                    <a:pt x="249274" y="164248"/>
                    <a:pt x="252412" y="173337"/>
                  </a:cubicBezTo>
                  <a:cubicBezTo>
                    <a:pt x="254576" y="179613"/>
                    <a:pt x="257173" y="186430"/>
                    <a:pt x="262366" y="189135"/>
                  </a:cubicBezTo>
                  <a:cubicBezTo>
                    <a:pt x="267560" y="191840"/>
                    <a:pt x="275351" y="186863"/>
                    <a:pt x="273836" y="180370"/>
                  </a:cubicBezTo>
                  <a:cubicBezTo>
                    <a:pt x="277623" y="184807"/>
                    <a:pt x="284548" y="183075"/>
                    <a:pt x="287902" y="178206"/>
                  </a:cubicBezTo>
                  <a:cubicBezTo>
                    <a:pt x="291365" y="173337"/>
                    <a:pt x="292014" y="166629"/>
                    <a:pt x="291906" y="160353"/>
                  </a:cubicBezTo>
                  <a:cubicBezTo>
                    <a:pt x="291473" y="144988"/>
                    <a:pt x="286604" y="129839"/>
                    <a:pt x="278164" y="118153"/>
                  </a:cubicBezTo>
                  <a:cubicBezTo>
                    <a:pt x="288227" y="127567"/>
                    <a:pt x="298182" y="137089"/>
                    <a:pt x="308245" y="146503"/>
                  </a:cubicBezTo>
                  <a:cubicBezTo>
                    <a:pt x="310409" y="148559"/>
                    <a:pt x="312789" y="150723"/>
                    <a:pt x="315603" y="151047"/>
                  </a:cubicBezTo>
                  <a:cubicBezTo>
                    <a:pt x="314737" y="156133"/>
                    <a:pt x="319714" y="160353"/>
                    <a:pt x="324043" y="159920"/>
                  </a:cubicBezTo>
                  <a:cubicBezTo>
                    <a:pt x="328371" y="159379"/>
                    <a:pt x="331942" y="155808"/>
                    <a:pt x="335296" y="152454"/>
                  </a:cubicBezTo>
                  <a:cubicBezTo>
                    <a:pt x="342654" y="144771"/>
                    <a:pt x="350553" y="131679"/>
                    <a:pt x="343952" y="122914"/>
                  </a:cubicBezTo>
                  <a:cubicBezTo>
                    <a:pt x="347415" y="122265"/>
                    <a:pt x="349146" y="116530"/>
                    <a:pt x="346874" y="113392"/>
                  </a:cubicBezTo>
                  <a:cubicBezTo>
                    <a:pt x="358235" y="122157"/>
                    <a:pt x="369596" y="130813"/>
                    <a:pt x="380958" y="139578"/>
                  </a:cubicBezTo>
                  <a:cubicBezTo>
                    <a:pt x="377604" y="137522"/>
                    <a:pt x="373708" y="142824"/>
                    <a:pt x="374466" y="147260"/>
                  </a:cubicBezTo>
                  <a:cubicBezTo>
                    <a:pt x="375223" y="151696"/>
                    <a:pt x="378469" y="154726"/>
                    <a:pt x="381607" y="157431"/>
                  </a:cubicBezTo>
                  <a:cubicBezTo>
                    <a:pt x="378686" y="161976"/>
                    <a:pt x="377171" y="167927"/>
                    <a:pt x="377604" y="173662"/>
                  </a:cubicBezTo>
                  <a:cubicBezTo>
                    <a:pt x="371436" y="168143"/>
                    <a:pt x="362131" y="178315"/>
                    <a:pt x="364078" y="187187"/>
                  </a:cubicBezTo>
                  <a:cubicBezTo>
                    <a:pt x="366026" y="196060"/>
                    <a:pt x="374466" y="200821"/>
                    <a:pt x="382148" y="201362"/>
                  </a:cubicBezTo>
                  <a:cubicBezTo>
                    <a:pt x="388532" y="201903"/>
                    <a:pt x="396323" y="198873"/>
                    <a:pt x="397405" y="191407"/>
                  </a:cubicBezTo>
                  <a:cubicBezTo>
                    <a:pt x="404871" y="193030"/>
                    <a:pt x="412229" y="182751"/>
                    <a:pt x="409524" y="174203"/>
                  </a:cubicBezTo>
                  <a:cubicBezTo>
                    <a:pt x="414934" y="177882"/>
                    <a:pt x="419803" y="168143"/>
                    <a:pt x="420128" y="160785"/>
                  </a:cubicBezTo>
                  <a:cubicBezTo>
                    <a:pt x="420777" y="147260"/>
                    <a:pt x="418721" y="133518"/>
                    <a:pt x="414285" y="120966"/>
                  </a:cubicBezTo>
                  <a:cubicBezTo>
                    <a:pt x="414068" y="122914"/>
                    <a:pt x="416233" y="124429"/>
                    <a:pt x="417531" y="123455"/>
                  </a:cubicBezTo>
                  <a:cubicBezTo>
                    <a:pt x="418938" y="122373"/>
                    <a:pt x="418505" y="119452"/>
                    <a:pt x="416990" y="118911"/>
                  </a:cubicBezTo>
                  <a:cubicBezTo>
                    <a:pt x="423374" y="134600"/>
                    <a:pt x="429758" y="150290"/>
                    <a:pt x="436142" y="166088"/>
                  </a:cubicBezTo>
                  <a:cubicBezTo>
                    <a:pt x="441228" y="178531"/>
                    <a:pt x="446313" y="191515"/>
                    <a:pt x="446530" y="205257"/>
                  </a:cubicBezTo>
                  <a:cubicBezTo>
                    <a:pt x="446638" y="210884"/>
                    <a:pt x="447179" y="218566"/>
                    <a:pt x="451940" y="219107"/>
                  </a:cubicBezTo>
                  <a:cubicBezTo>
                    <a:pt x="453238" y="219216"/>
                    <a:pt x="454429" y="218675"/>
                    <a:pt x="455619" y="218134"/>
                  </a:cubicBezTo>
                  <a:cubicBezTo>
                    <a:pt x="469252" y="211533"/>
                    <a:pt x="479748" y="197791"/>
                    <a:pt x="486673" y="182318"/>
                  </a:cubicBezTo>
                  <a:cubicBezTo>
                    <a:pt x="488946" y="177124"/>
                    <a:pt x="490893" y="171606"/>
                    <a:pt x="491434" y="165763"/>
                  </a:cubicBezTo>
                  <a:cubicBezTo>
                    <a:pt x="492516" y="153752"/>
                    <a:pt x="487539" y="142066"/>
                    <a:pt x="486781" y="129947"/>
                  </a:cubicBezTo>
                  <a:cubicBezTo>
                    <a:pt x="486457" y="124645"/>
                    <a:pt x="486890" y="119235"/>
                    <a:pt x="485808" y="114041"/>
                  </a:cubicBezTo>
                  <a:cubicBezTo>
                    <a:pt x="484076" y="105710"/>
                    <a:pt x="478666" y="99217"/>
                    <a:pt x="473472" y="93158"/>
                  </a:cubicBezTo>
                  <a:cubicBezTo>
                    <a:pt x="455078" y="71734"/>
                    <a:pt x="435709" y="49552"/>
                    <a:pt x="411039" y="40895"/>
                  </a:cubicBezTo>
                  <a:cubicBezTo>
                    <a:pt x="395998" y="35594"/>
                    <a:pt x="379876" y="35702"/>
                    <a:pt x="364727" y="30508"/>
                  </a:cubicBezTo>
                  <a:cubicBezTo>
                    <a:pt x="355422" y="27370"/>
                    <a:pt x="346657" y="22176"/>
                    <a:pt x="337568" y="17956"/>
                  </a:cubicBezTo>
                  <a:cubicBezTo>
                    <a:pt x="300346" y="319"/>
                    <a:pt x="259120" y="-2062"/>
                    <a:pt x="219085" y="1293"/>
                  </a:cubicBezTo>
                  <a:cubicBezTo>
                    <a:pt x="196686" y="3132"/>
                    <a:pt x="174180" y="6811"/>
                    <a:pt x="153405" y="16549"/>
                  </a:cubicBezTo>
                  <a:cubicBezTo>
                    <a:pt x="130466" y="27262"/>
                    <a:pt x="110448" y="45007"/>
                    <a:pt x="91620" y="63726"/>
                  </a:cubicBezTo>
                  <a:cubicBezTo>
                    <a:pt x="63487" y="91751"/>
                    <a:pt x="36869" y="123022"/>
                    <a:pt x="18907" y="161110"/>
                  </a:cubicBezTo>
                  <a:cubicBezTo>
                    <a:pt x="5057" y="190325"/>
                    <a:pt x="-3491" y="224409"/>
                    <a:pt x="1378" y="257412"/>
                  </a:cubicBezTo>
                  <a:cubicBezTo>
                    <a:pt x="6139" y="290414"/>
                    <a:pt x="26590" y="321469"/>
                    <a:pt x="54182" y="328285"/>
                  </a:cubicBezTo>
                  <a:cubicBezTo>
                    <a:pt x="57861" y="324174"/>
                    <a:pt x="61431" y="319954"/>
                    <a:pt x="65110" y="315842"/>
                  </a:cubicBezTo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4E9721D3-087B-4F39-815E-C2A1EB73D30F}"/>
                </a:ext>
              </a:extLst>
            </p:cNvPr>
            <p:cNvSpPr/>
            <p:nvPr/>
          </p:nvSpPr>
          <p:spPr>
            <a:xfrm flipH="1">
              <a:off x="5619803" y="4428979"/>
              <a:ext cx="72639" cy="109707"/>
            </a:xfrm>
            <a:custGeom>
              <a:avLst/>
              <a:gdLst>
                <a:gd name="connsiteX0" fmla="*/ 64385 w 65904"/>
                <a:gd name="connsiteY0" fmla="*/ 3517 h 99535"/>
                <a:gd name="connsiteX1" fmla="*/ 3 w 65904"/>
                <a:gd name="connsiteY1" fmla="*/ 47773 h 99535"/>
                <a:gd name="connsiteX2" fmla="*/ 65900 w 65904"/>
                <a:gd name="connsiteY2" fmla="*/ 97006 h 99535"/>
                <a:gd name="connsiteX3" fmla="*/ 64385 w 65904"/>
                <a:gd name="connsiteY3" fmla="*/ 3517 h 9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904" h="99535">
                  <a:moveTo>
                    <a:pt x="64385" y="3517"/>
                  </a:moveTo>
                  <a:cubicBezTo>
                    <a:pt x="62762" y="2760"/>
                    <a:pt x="-538" y="-17366"/>
                    <a:pt x="3" y="47773"/>
                  </a:cubicBezTo>
                  <a:cubicBezTo>
                    <a:pt x="545" y="112912"/>
                    <a:pt x="65792" y="98845"/>
                    <a:pt x="65900" y="97006"/>
                  </a:cubicBezTo>
                  <a:cubicBezTo>
                    <a:pt x="66008" y="95166"/>
                    <a:pt x="64385" y="3517"/>
                    <a:pt x="64385" y="3517"/>
                  </a:cubicBez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B49B8CB7-433B-4B36-A563-FC63D0D767A7}"/>
                </a:ext>
              </a:extLst>
            </p:cNvPr>
            <p:cNvSpPr/>
            <p:nvPr/>
          </p:nvSpPr>
          <p:spPr>
            <a:xfrm flipH="1">
              <a:off x="5641928" y="4452244"/>
              <a:ext cx="32287" cy="62675"/>
            </a:xfrm>
            <a:custGeom>
              <a:avLst/>
              <a:gdLst>
                <a:gd name="connsiteX0" fmla="*/ 29236 w 29293"/>
                <a:gd name="connsiteY0" fmla="*/ 51443 h 56864"/>
                <a:gd name="connsiteX1" fmla="*/ 26206 w 29293"/>
                <a:gd name="connsiteY1" fmla="*/ 53175 h 56864"/>
                <a:gd name="connsiteX2" fmla="*/ 17766 w 29293"/>
                <a:gd name="connsiteY2" fmla="*/ 53391 h 56864"/>
                <a:gd name="connsiteX3" fmla="*/ 4565 w 29293"/>
                <a:gd name="connsiteY3" fmla="*/ 28288 h 56864"/>
                <a:gd name="connsiteX4" fmla="*/ 7595 w 29293"/>
                <a:gd name="connsiteY4" fmla="*/ 12057 h 56864"/>
                <a:gd name="connsiteX5" fmla="*/ 16035 w 29293"/>
                <a:gd name="connsiteY5" fmla="*/ 3292 h 56864"/>
                <a:gd name="connsiteX6" fmla="*/ 22743 w 29293"/>
                <a:gd name="connsiteY6" fmla="*/ 6322 h 56864"/>
                <a:gd name="connsiteX7" fmla="*/ 23609 w 29293"/>
                <a:gd name="connsiteY7" fmla="*/ 9568 h 56864"/>
                <a:gd name="connsiteX8" fmla="*/ 24475 w 29293"/>
                <a:gd name="connsiteY8" fmla="*/ 5781 h 56864"/>
                <a:gd name="connsiteX9" fmla="*/ 21878 w 29293"/>
                <a:gd name="connsiteY9" fmla="*/ 1669 h 56864"/>
                <a:gd name="connsiteX10" fmla="*/ 15602 w 29293"/>
                <a:gd name="connsiteY10" fmla="*/ 46 h 56864"/>
                <a:gd name="connsiteX11" fmla="*/ 3808 w 29293"/>
                <a:gd name="connsiteY11" fmla="*/ 10218 h 56864"/>
                <a:gd name="connsiteX12" fmla="*/ 20 w 29293"/>
                <a:gd name="connsiteY12" fmla="*/ 28396 h 56864"/>
                <a:gd name="connsiteX13" fmla="*/ 16792 w 29293"/>
                <a:gd name="connsiteY13" fmla="*/ 56421 h 56864"/>
                <a:gd name="connsiteX14" fmla="*/ 27180 w 29293"/>
                <a:gd name="connsiteY14" fmla="*/ 54581 h 56864"/>
                <a:gd name="connsiteX15" fmla="*/ 29236 w 29293"/>
                <a:gd name="connsiteY15" fmla="*/ 51443 h 5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293" h="56864">
                  <a:moveTo>
                    <a:pt x="29236" y="51443"/>
                  </a:moveTo>
                  <a:cubicBezTo>
                    <a:pt x="28911" y="51227"/>
                    <a:pt x="28154" y="52201"/>
                    <a:pt x="26206" y="53175"/>
                  </a:cubicBezTo>
                  <a:cubicBezTo>
                    <a:pt x="24366" y="54040"/>
                    <a:pt x="21120" y="54689"/>
                    <a:pt x="17766" y="53391"/>
                  </a:cubicBezTo>
                  <a:cubicBezTo>
                    <a:pt x="10841" y="50902"/>
                    <a:pt x="4998" y="40082"/>
                    <a:pt x="4565" y="28288"/>
                  </a:cubicBezTo>
                  <a:cubicBezTo>
                    <a:pt x="4349" y="22336"/>
                    <a:pt x="5539" y="16710"/>
                    <a:pt x="7595" y="12057"/>
                  </a:cubicBezTo>
                  <a:cubicBezTo>
                    <a:pt x="9542" y="7296"/>
                    <a:pt x="12572" y="3942"/>
                    <a:pt x="16035" y="3292"/>
                  </a:cubicBezTo>
                  <a:cubicBezTo>
                    <a:pt x="19497" y="2427"/>
                    <a:pt x="21986" y="4483"/>
                    <a:pt x="22743" y="6322"/>
                  </a:cubicBezTo>
                  <a:cubicBezTo>
                    <a:pt x="23609" y="8162"/>
                    <a:pt x="23284" y="9460"/>
                    <a:pt x="23609" y="9568"/>
                  </a:cubicBezTo>
                  <a:cubicBezTo>
                    <a:pt x="23825" y="9676"/>
                    <a:pt x="25016" y="8486"/>
                    <a:pt x="24475" y="5781"/>
                  </a:cubicBezTo>
                  <a:cubicBezTo>
                    <a:pt x="24150" y="4483"/>
                    <a:pt x="23393" y="2968"/>
                    <a:pt x="21878" y="1669"/>
                  </a:cubicBezTo>
                  <a:cubicBezTo>
                    <a:pt x="20255" y="371"/>
                    <a:pt x="17982" y="-170"/>
                    <a:pt x="15602" y="46"/>
                  </a:cubicBezTo>
                  <a:cubicBezTo>
                    <a:pt x="10625" y="479"/>
                    <a:pt x="6080" y="5132"/>
                    <a:pt x="3808" y="10218"/>
                  </a:cubicBezTo>
                  <a:cubicBezTo>
                    <a:pt x="1319" y="15411"/>
                    <a:pt x="-196" y="21795"/>
                    <a:pt x="20" y="28396"/>
                  </a:cubicBezTo>
                  <a:cubicBezTo>
                    <a:pt x="562" y="41488"/>
                    <a:pt x="7378" y="53716"/>
                    <a:pt x="16792" y="56421"/>
                  </a:cubicBezTo>
                  <a:cubicBezTo>
                    <a:pt x="21337" y="57611"/>
                    <a:pt x="25232" y="56204"/>
                    <a:pt x="27180" y="54581"/>
                  </a:cubicBezTo>
                  <a:cubicBezTo>
                    <a:pt x="29127" y="53066"/>
                    <a:pt x="29452" y="51552"/>
                    <a:pt x="29236" y="51443"/>
                  </a:cubicBezTo>
                  <a:close/>
                </a:path>
              </a:pathLst>
            </a:custGeom>
            <a:solidFill>
              <a:srgbClr val="EB996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82409DE6-F6A3-46B6-9CDB-D847142BB75F}"/>
                </a:ext>
              </a:extLst>
            </p:cNvPr>
            <p:cNvSpPr/>
            <p:nvPr/>
          </p:nvSpPr>
          <p:spPr>
            <a:xfrm flipH="1">
              <a:off x="5386681" y="4324757"/>
              <a:ext cx="171946" cy="172666"/>
            </a:xfrm>
            <a:custGeom>
              <a:avLst/>
              <a:gdLst>
                <a:gd name="connsiteX0" fmla="*/ 155922 w 156003"/>
                <a:gd name="connsiteY0" fmla="*/ 78274 h 156656"/>
                <a:gd name="connsiteX1" fmla="*/ 153001 w 156003"/>
                <a:gd name="connsiteY1" fmla="*/ 59555 h 156656"/>
                <a:gd name="connsiteX2" fmla="*/ 124867 w 156003"/>
                <a:gd name="connsiteY2" fmla="*/ 17788 h 156656"/>
                <a:gd name="connsiteX3" fmla="*/ 92839 w 156003"/>
                <a:gd name="connsiteY3" fmla="*/ 3721 h 156656"/>
                <a:gd name="connsiteX4" fmla="*/ 53020 w 156003"/>
                <a:gd name="connsiteY4" fmla="*/ 7076 h 156656"/>
                <a:gd name="connsiteX5" fmla="*/ 33868 w 156003"/>
                <a:gd name="connsiteY5" fmla="*/ 17463 h 156656"/>
                <a:gd name="connsiteX6" fmla="*/ 17854 w 156003"/>
                <a:gd name="connsiteY6" fmla="*/ 33586 h 156656"/>
                <a:gd name="connsiteX7" fmla="*/ 3138 w 156003"/>
                <a:gd name="connsiteY7" fmla="*/ 78382 h 156656"/>
                <a:gd name="connsiteX8" fmla="*/ 17854 w 156003"/>
                <a:gd name="connsiteY8" fmla="*/ 123179 h 156656"/>
                <a:gd name="connsiteX9" fmla="*/ 33868 w 156003"/>
                <a:gd name="connsiteY9" fmla="*/ 139301 h 156656"/>
                <a:gd name="connsiteX10" fmla="*/ 53020 w 156003"/>
                <a:gd name="connsiteY10" fmla="*/ 149689 h 156656"/>
                <a:gd name="connsiteX11" fmla="*/ 92839 w 156003"/>
                <a:gd name="connsiteY11" fmla="*/ 153043 h 156656"/>
                <a:gd name="connsiteX12" fmla="*/ 124867 w 156003"/>
                <a:gd name="connsiteY12" fmla="*/ 138977 h 156656"/>
                <a:gd name="connsiteX13" fmla="*/ 153001 w 156003"/>
                <a:gd name="connsiteY13" fmla="*/ 97210 h 156656"/>
                <a:gd name="connsiteX14" fmla="*/ 155922 w 156003"/>
                <a:gd name="connsiteY14" fmla="*/ 78274 h 156656"/>
                <a:gd name="connsiteX15" fmla="*/ 155922 w 156003"/>
                <a:gd name="connsiteY15" fmla="*/ 83251 h 156656"/>
                <a:gd name="connsiteX16" fmla="*/ 155489 w 156003"/>
                <a:gd name="connsiteY16" fmla="*/ 89203 h 156656"/>
                <a:gd name="connsiteX17" fmla="*/ 154083 w 156003"/>
                <a:gd name="connsiteY17" fmla="*/ 97318 h 156656"/>
                <a:gd name="connsiteX18" fmla="*/ 126058 w 156003"/>
                <a:gd name="connsiteY18" fmla="*/ 140491 h 156656"/>
                <a:gd name="connsiteX19" fmla="*/ 93164 w 156003"/>
                <a:gd name="connsiteY19" fmla="*/ 155315 h 156656"/>
                <a:gd name="connsiteX20" fmla="*/ 51938 w 156003"/>
                <a:gd name="connsiteY20" fmla="*/ 152069 h 156656"/>
                <a:gd name="connsiteX21" fmla="*/ 32028 w 156003"/>
                <a:gd name="connsiteY21" fmla="*/ 141465 h 156656"/>
                <a:gd name="connsiteX22" fmla="*/ 15365 w 156003"/>
                <a:gd name="connsiteY22" fmla="*/ 124802 h 156656"/>
                <a:gd name="connsiteX23" fmla="*/ 0 w 156003"/>
                <a:gd name="connsiteY23" fmla="*/ 78274 h 156656"/>
                <a:gd name="connsiteX24" fmla="*/ 15365 w 156003"/>
                <a:gd name="connsiteY24" fmla="*/ 31854 h 156656"/>
                <a:gd name="connsiteX25" fmla="*/ 32028 w 156003"/>
                <a:gd name="connsiteY25" fmla="*/ 15191 h 156656"/>
                <a:gd name="connsiteX26" fmla="*/ 51938 w 156003"/>
                <a:gd name="connsiteY26" fmla="*/ 4587 h 156656"/>
                <a:gd name="connsiteX27" fmla="*/ 93164 w 156003"/>
                <a:gd name="connsiteY27" fmla="*/ 1341 h 156656"/>
                <a:gd name="connsiteX28" fmla="*/ 126058 w 156003"/>
                <a:gd name="connsiteY28" fmla="*/ 16165 h 156656"/>
                <a:gd name="connsiteX29" fmla="*/ 154083 w 156003"/>
                <a:gd name="connsiteY29" fmla="*/ 59338 h 156656"/>
                <a:gd name="connsiteX30" fmla="*/ 155489 w 156003"/>
                <a:gd name="connsiteY30" fmla="*/ 67454 h 156656"/>
                <a:gd name="connsiteX31" fmla="*/ 155922 w 156003"/>
                <a:gd name="connsiteY31" fmla="*/ 73405 h 156656"/>
                <a:gd name="connsiteX32" fmla="*/ 155922 w 156003"/>
                <a:gd name="connsiteY32" fmla="*/ 78274 h 15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6003" h="156656">
                  <a:moveTo>
                    <a:pt x="155922" y="78274"/>
                  </a:moveTo>
                  <a:cubicBezTo>
                    <a:pt x="155489" y="78274"/>
                    <a:pt x="155922" y="71349"/>
                    <a:pt x="153001" y="59555"/>
                  </a:cubicBezTo>
                  <a:cubicBezTo>
                    <a:pt x="150079" y="47977"/>
                    <a:pt x="142288" y="30881"/>
                    <a:pt x="124867" y="17788"/>
                  </a:cubicBezTo>
                  <a:cubicBezTo>
                    <a:pt x="116211" y="11404"/>
                    <a:pt x="105391" y="5886"/>
                    <a:pt x="92839" y="3721"/>
                  </a:cubicBezTo>
                  <a:cubicBezTo>
                    <a:pt x="80396" y="1666"/>
                    <a:pt x="66329" y="1990"/>
                    <a:pt x="53020" y="7076"/>
                  </a:cubicBezTo>
                  <a:cubicBezTo>
                    <a:pt x="46311" y="9456"/>
                    <a:pt x="39819" y="12919"/>
                    <a:pt x="33868" y="17463"/>
                  </a:cubicBezTo>
                  <a:cubicBezTo>
                    <a:pt x="27808" y="21792"/>
                    <a:pt x="22398" y="27310"/>
                    <a:pt x="17854" y="33586"/>
                  </a:cubicBezTo>
                  <a:cubicBezTo>
                    <a:pt x="8548" y="46029"/>
                    <a:pt x="3246" y="61935"/>
                    <a:pt x="3138" y="78382"/>
                  </a:cubicBezTo>
                  <a:cubicBezTo>
                    <a:pt x="3246" y="94829"/>
                    <a:pt x="8548" y="110735"/>
                    <a:pt x="17854" y="123179"/>
                  </a:cubicBezTo>
                  <a:cubicBezTo>
                    <a:pt x="22398" y="129455"/>
                    <a:pt x="27808" y="134865"/>
                    <a:pt x="33868" y="139301"/>
                  </a:cubicBezTo>
                  <a:cubicBezTo>
                    <a:pt x="39819" y="143738"/>
                    <a:pt x="46311" y="147308"/>
                    <a:pt x="53020" y="149689"/>
                  </a:cubicBezTo>
                  <a:cubicBezTo>
                    <a:pt x="66329" y="154774"/>
                    <a:pt x="80396" y="155207"/>
                    <a:pt x="92839" y="153043"/>
                  </a:cubicBezTo>
                  <a:cubicBezTo>
                    <a:pt x="105391" y="150879"/>
                    <a:pt x="116211" y="145361"/>
                    <a:pt x="124867" y="138977"/>
                  </a:cubicBezTo>
                  <a:cubicBezTo>
                    <a:pt x="142288" y="125776"/>
                    <a:pt x="150079" y="108788"/>
                    <a:pt x="153001" y="97210"/>
                  </a:cubicBezTo>
                  <a:cubicBezTo>
                    <a:pt x="155922" y="85091"/>
                    <a:pt x="155489" y="78166"/>
                    <a:pt x="155922" y="78274"/>
                  </a:cubicBezTo>
                  <a:cubicBezTo>
                    <a:pt x="156030" y="78274"/>
                    <a:pt x="156030" y="80005"/>
                    <a:pt x="155922" y="83251"/>
                  </a:cubicBezTo>
                  <a:cubicBezTo>
                    <a:pt x="155922" y="84875"/>
                    <a:pt x="155814" y="86930"/>
                    <a:pt x="155489" y="89203"/>
                  </a:cubicBezTo>
                  <a:cubicBezTo>
                    <a:pt x="155165" y="91583"/>
                    <a:pt x="154840" y="94288"/>
                    <a:pt x="154083" y="97318"/>
                  </a:cubicBezTo>
                  <a:cubicBezTo>
                    <a:pt x="151377" y="109112"/>
                    <a:pt x="143803" y="126749"/>
                    <a:pt x="126058" y="140491"/>
                  </a:cubicBezTo>
                  <a:cubicBezTo>
                    <a:pt x="117293" y="147200"/>
                    <a:pt x="106148" y="152935"/>
                    <a:pt x="93164" y="155315"/>
                  </a:cubicBezTo>
                  <a:cubicBezTo>
                    <a:pt x="80287" y="157588"/>
                    <a:pt x="65788" y="157263"/>
                    <a:pt x="51938" y="152069"/>
                  </a:cubicBezTo>
                  <a:cubicBezTo>
                    <a:pt x="45013" y="149689"/>
                    <a:pt x="38196" y="146010"/>
                    <a:pt x="32028" y="141465"/>
                  </a:cubicBezTo>
                  <a:cubicBezTo>
                    <a:pt x="25753" y="136921"/>
                    <a:pt x="20018" y="131294"/>
                    <a:pt x="15365" y="124802"/>
                  </a:cubicBezTo>
                  <a:cubicBezTo>
                    <a:pt x="5627" y="111926"/>
                    <a:pt x="216" y="95370"/>
                    <a:pt x="0" y="78274"/>
                  </a:cubicBezTo>
                  <a:cubicBezTo>
                    <a:pt x="108" y="61178"/>
                    <a:pt x="5627" y="44623"/>
                    <a:pt x="15365" y="31854"/>
                  </a:cubicBezTo>
                  <a:cubicBezTo>
                    <a:pt x="20018" y="25362"/>
                    <a:pt x="25753" y="19736"/>
                    <a:pt x="32028" y="15191"/>
                  </a:cubicBezTo>
                  <a:cubicBezTo>
                    <a:pt x="38196" y="10538"/>
                    <a:pt x="45013" y="6968"/>
                    <a:pt x="51938" y="4587"/>
                  </a:cubicBezTo>
                  <a:cubicBezTo>
                    <a:pt x="65788" y="-607"/>
                    <a:pt x="80287" y="-931"/>
                    <a:pt x="93164" y="1341"/>
                  </a:cubicBezTo>
                  <a:cubicBezTo>
                    <a:pt x="106040" y="3721"/>
                    <a:pt x="117185" y="9456"/>
                    <a:pt x="126058" y="16165"/>
                  </a:cubicBezTo>
                  <a:cubicBezTo>
                    <a:pt x="143803" y="29907"/>
                    <a:pt x="151377" y="47544"/>
                    <a:pt x="154083" y="59338"/>
                  </a:cubicBezTo>
                  <a:cubicBezTo>
                    <a:pt x="154948" y="62368"/>
                    <a:pt x="155165" y="65073"/>
                    <a:pt x="155489" y="67454"/>
                  </a:cubicBezTo>
                  <a:cubicBezTo>
                    <a:pt x="155922" y="69834"/>
                    <a:pt x="155922" y="71782"/>
                    <a:pt x="155922" y="73405"/>
                  </a:cubicBezTo>
                  <a:cubicBezTo>
                    <a:pt x="156030" y="76543"/>
                    <a:pt x="156030" y="78274"/>
                    <a:pt x="155922" y="78274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A3D28E5F-8B95-4E9D-B9BF-B78A7C1E5BAE}"/>
                </a:ext>
              </a:extLst>
            </p:cNvPr>
            <p:cNvSpPr/>
            <p:nvPr/>
          </p:nvSpPr>
          <p:spPr>
            <a:xfrm flipH="1">
              <a:off x="5184174" y="4324757"/>
              <a:ext cx="171946" cy="172666"/>
            </a:xfrm>
            <a:custGeom>
              <a:avLst/>
              <a:gdLst>
                <a:gd name="connsiteX0" fmla="*/ 155922 w 156003"/>
                <a:gd name="connsiteY0" fmla="*/ 78274 h 156656"/>
                <a:gd name="connsiteX1" fmla="*/ 153000 w 156003"/>
                <a:gd name="connsiteY1" fmla="*/ 59555 h 156656"/>
                <a:gd name="connsiteX2" fmla="*/ 124867 w 156003"/>
                <a:gd name="connsiteY2" fmla="*/ 17788 h 156656"/>
                <a:gd name="connsiteX3" fmla="*/ 92839 w 156003"/>
                <a:gd name="connsiteY3" fmla="*/ 3721 h 156656"/>
                <a:gd name="connsiteX4" fmla="*/ 53020 w 156003"/>
                <a:gd name="connsiteY4" fmla="*/ 7076 h 156656"/>
                <a:gd name="connsiteX5" fmla="*/ 33868 w 156003"/>
                <a:gd name="connsiteY5" fmla="*/ 17463 h 156656"/>
                <a:gd name="connsiteX6" fmla="*/ 17854 w 156003"/>
                <a:gd name="connsiteY6" fmla="*/ 33586 h 156656"/>
                <a:gd name="connsiteX7" fmla="*/ 3138 w 156003"/>
                <a:gd name="connsiteY7" fmla="*/ 78382 h 156656"/>
                <a:gd name="connsiteX8" fmla="*/ 17854 w 156003"/>
                <a:gd name="connsiteY8" fmla="*/ 123179 h 156656"/>
                <a:gd name="connsiteX9" fmla="*/ 33868 w 156003"/>
                <a:gd name="connsiteY9" fmla="*/ 139301 h 156656"/>
                <a:gd name="connsiteX10" fmla="*/ 53020 w 156003"/>
                <a:gd name="connsiteY10" fmla="*/ 149689 h 156656"/>
                <a:gd name="connsiteX11" fmla="*/ 92839 w 156003"/>
                <a:gd name="connsiteY11" fmla="*/ 153043 h 156656"/>
                <a:gd name="connsiteX12" fmla="*/ 124867 w 156003"/>
                <a:gd name="connsiteY12" fmla="*/ 138977 h 156656"/>
                <a:gd name="connsiteX13" fmla="*/ 153000 w 156003"/>
                <a:gd name="connsiteY13" fmla="*/ 97210 h 156656"/>
                <a:gd name="connsiteX14" fmla="*/ 155922 w 156003"/>
                <a:gd name="connsiteY14" fmla="*/ 78274 h 156656"/>
                <a:gd name="connsiteX15" fmla="*/ 155922 w 156003"/>
                <a:gd name="connsiteY15" fmla="*/ 83251 h 156656"/>
                <a:gd name="connsiteX16" fmla="*/ 155489 w 156003"/>
                <a:gd name="connsiteY16" fmla="*/ 89203 h 156656"/>
                <a:gd name="connsiteX17" fmla="*/ 154082 w 156003"/>
                <a:gd name="connsiteY17" fmla="*/ 97318 h 156656"/>
                <a:gd name="connsiteX18" fmla="*/ 126058 w 156003"/>
                <a:gd name="connsiteY18" fmla="*/ 140491 h 156656"/>
                <a:gd name="connsiteX19" fmla="*/ 93164 w 156003"/>
                <a:gd name="connsiteY19" fmla="*/ 155315 h 156656"/>
                <a:gd name="connsiteX20" fmla="*/ 51938 w 156003"/>
                <a:gd name="connsiteY20" fmla="*/ 152069 h 156656"/>
                <a:gd name="connsiteX21" fmla="*/ 32028 w 156003"/>
                <a:gd name="connsiteY21" fmla="*/ 141465 h 156656"/>
                <a:gd name="connsiteX22" fmla="*/ 15365 w 156003"/>
                <a:gd name="connsiteY22" fmla="*/ 124802 h 156656"/>
                <a:gd name="connsiteX23" fmla="*/ 0 w 156003"/>
                <a:gd name="connsiteY23" fmla="*/ 78274 h 156656"/>
                <a:gd name="connsiteX24" fmla="*/ 15365 w 156003"/>
                <a:gd name="connsiteY24" fmla="*/ 31854 h 156656"/>
                <a:gd name="connsiteX25" fmla="*/ 32028 w 156003"/>
                <a:gd name="connsiteY25" fmla="*/ 15191 h 156656"/>
                <a:gd name="connsiteX26" fmla="*/ 51938 w 156003"/>
                <a:gd name="connsiteY26" fmla="*/ 4587 h 156656"/>
                <a:gd name="connsiteX27" fmla="*/ 93164 w 156003"/>
                <a:gd name="connsiteY27" fmla="*/ 1341 h 156656"/>
                <a:gd name="connsiteX28" fmla="*/ 126058 w 156003"/>
                <a:gd name="connsiteY28" fmla="*/ 16165 h 156656"/>
                <a:gd name="connsiteX29" fmla="*/ 154082 w 156003"/>
                <a:gd name="connsiteY29" fmla="*/ 59338 h 156656"/>
                <a:gd name="connsiteX30" fmla="*/ 155489 w 156003"/>
                <a:gd name="connsiteY30" fmla="*/ 67454 h 156656"/>
                <a:gd name="connsiteX31" fmla="*/ 155922 w 156003"/>
                <a:gd name="connsiteY31" fmla="*/ 73405 h 156656"/>
                <a:gd name="connsiteX32" fmla="*/ 155922 w 156003"/>
                <a:gd name="connsiteY32" fmla="*/ 78274 h 15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6003" h="156656">
                  <a:moveTo>
                    <a:pt x="155922" y="78274"/>
                  </a:moveTo>
                  <a:cubicBezTo>
                    <a:pt x="155489" y="78274"/>
                    <a:pt x="155922" y="71349"/>
                    <a:pt x="153000" y="59555"/>
                  </a:cubicBezTo>
                  <a:cubicBezTo>
                    <a:pt x="149971" y="47977"/>
                    <a:pt x="142288" y="30881"/>
                    <a:pt x="124867" y="17788"/>
                  </a:cubicBezTo>
                  <a:cubicBezTo>
                    <a:pt x="116211" y="11404"/>
                    <a:pt x="105391" y="5886"/>
                    <a:pt x="92839" y="3721"/>
                  </a:cubicBezTo>
                  <a:cubicBezTo>
                    <a:pt x="80396" y="1666"/>
                    <a:pt x="66329" y="1990"/>
                    <a:pt x="53020" y="7076"/>
                  </a:cubicBezTo>
                  <a:cubicBezTo>
                    <a:pt x="46311" y="9456"/>
                    <a:pt x="39819" y="12919"/>
                    <a:pt x="33868" y="17463"/>
                  </a:cubicBezTo>
                  <a:cubicBezTo>
                    <a:pt x="27808" y="21792"/>
                    <a:pt x="22398" y="27310"/>
                    <a:pt x="17854" y="33586"/>
                  </a:cubicBezTo>
                  <a:cubicBezTo>
                    <a:pt x="8548" y="46029"/>
                    <a:pt x="3246" y="61935"/>
                    <a:pt x="3138" y="78382"/>
                  </a:cubicBezTo>
                  <a:cubicBezTo>
                    <a:pt x="3246" y="94829"/>
                    <a:pt x="8548" y="110735"/>
                    <a:pt x="17854" y="123179"/>
                  </a:cubicBezTo>
                  <a:cubicBezTo>
                    <a:pt x="22398" y="129455"/>
                    <a:pt x="27808" y="134865"/>
                    <a:pt x="33868" y="139301"/>
                  </a:cubicBezTo>
                  <a:cubicBezTo>
                    <a:pt x="39819" y="143738"/>
                    <a:pt x="46311" y="147308"/>
                    <a:pt x="53020" y="149689"/>
                  </a:cubicBezTo>
                  <a:cubicBezTo>
                    <a:pt x="66329" y="154774"/>
                    <a:pt x="80396" y="155207"/>
                    <a:pt x="92839" y="153043"/>
                  </a:cubicBezTo>
                  <a:cubicBezTo>
                    <a:pt x="105391" y="150879"/>
                    <a:pt x="116211" y="145361"/>
                    <a:pt x="124867" y="138977"/>
                  </a:cubicBezTo>
                  <a:cubicBezTo>
                    <a:pt x="142288" y="125776"/>
                    <a:pt x="150079" y="108788"/>
                    <a:pt x="153000" y="97210"/>
                  </a:cubicBezTo>
                  <a:cubicBezTo>
                    <a:pt x="155922" y="85091"/>
                    <a:pt x="155489" y="78166"/>
                    <a:pt x="155922" y="78274"/>
                  </a:cubicBezTo>
                  <a:cubicBezTo>
                    <a:pt x="156030" y="78274"/>
                    <a:pt x="156030" y="80005"/>
                    <a:pt x="155922" y="83251"/>
                  </a:cubicBezTo>
                  <a:cubicBezTo>
                    <a:pt x="155922" y="84875"/>
                    <a:pt x="155814" y="86930"/>
                    <a:pt x="155489" y="89203"/>
                  </a:cubicBezTo>
                  <a:cubicBezTo>
                    <a:pt x="155165" y="91583"/>
                    <a:pt x="154840" y="94288"/>
                    <a:pt x="154082" y="97318"/>
                  </a:cubicBezTo>
                  <a:cubicBezTo>
                    <a:pt x="151377" y="109112"/>
                    <a:pt x="143803" y="126749"/>
                    <a:pt x="126058" y="140491"/>
                  </a:cubicBezTo>
                  <a:cubicBezTo>
                    <a:pt x="117293" y="147200"/>
                    <a:pt x="106148" y="152935"/>
                    <a:pt x="93164" y="155315"/>
                  </a:cubicBezTo>
                  <a:cubicBezTo>
                    <a:pt x="80287" y="157588"/>
                    <a:pt x="65788" y="157263"/>
                    <a:pt x="51938" y="152069"/>
                  </a:cubicBezTo>
                  <a:cubicBezTo>
                    <a:pt x="45013" y="149689"/>
                    <a:pt x="38196" y="146010"/>
                    <a:pt x="32028" y="141465"/>
                  </a:cubicBezTo>
                  <a:cubicBezTo>
                    <a:pt x="25753" y="136921"/>
                    <a:pt x="20018" y="131294"/>
                    <a:pt x="15365" y="124802"/>
                  </a:cubicBezTo>
                  <a:cubicBezTo>
                    <a:pt x="5627" y="111926"/>
                    <a:pt x="216" y="95370"/>
                    <a:pt x="0" y="78274"/>
                  </a:cubicBezTo>
                  <a:cubicBezTo>
                    <a:pt x="108" y="61178"/>
                    <a:pt x="5627" y="44623"/>
                    <a:pt x="15365" y="31854"/>
                  </a:cubicBezTo>
                  <a:cubicBezTo>
                    <a:pt x="20018" y="25362"/>
                    <a:pt x="25753" y="19736"/>
                    <a:pt x="32028" y="15191"/>
                  </a:cubicBezTo>
                  <a:cubicBezTo>
                    <a:pt x="38196" y="10538"/>
                    <a:pt x="45013" y="6968"/>
                    <a:pt x="51938" y="4587"/>
                  </a:cubicBezTo>
                  <a:cubicBezTo>
                    <a:pt x="65788" y="-607"/>
                    <a:pt x="80287" y="-931"/>
                    <a:pt x="93164" y="1341"/>
                  </a:cubicBezTo>
                  <a:cubicBezTo>
                    <a:pt x="106040" y="3721"/>
                    <a:pt x="117185" y="9456"/>
                    <a:pt x="126058" y="16165"/>
                  </a:cubicBezTo>
                  <a:cubicBezTo>
                    <a:pt x="143803" y="29907"/>
                    <a:pt x="151377" y="47544"/>
                    <a:pt x="154082" y="59338"/>
                  </a:cubicBezTo>
                  <a:cubicBezTo>
                    <a:pt x="154948" y="62368"/>
                    <a:pt x="155165" y="65073"/>
                    <a:pt x="155489" y="67454"/>
                  </a:cubicBezTo>
                  <a:cubicBezTo>
                    <a:pt x="155922" y="69834"/>
                    <a:pt x="155922" y="71782"/>
                    <a:pt x="155922" y="73405"/>
                  </a:cubicBezTo>
                  <a:cubicBezTo>
                    <a:pt x="156030" y="76543"/>
                    <a:pt x="156030" y="78274"/>
                    <a:pt x="155922" y="78274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53EC24D3-379A-4333-8766-907AC952C471}"/>
                </a:ext>
              </a:extLst>
            </p:cNvPr>
            <p:cNvSpPr/>
            <p:nvPr/>
          </p:nvSpPr>
          <p:spPr>
            <a:xfrm flipH="1">
              <a:off x="5350734" y="4384996"/>
              <a:ext cx="38552" cy="6133"/>
            </a:xfrm>
            <a:custGeom>
              <a:avLst/>
              <a:gdLst>
                <a:gd name="connsiteX0" fmla="*/ 34960 w 34977"/>
                <a:gd name="connsiteY0" fmla="*/ 5443 h 5564"/>
                <a:gd name="connsiteX1" fmla="*/ 17539 w 34977"/>
                <a:gd name="connsiteY1" fmla="*/ 2954 h 5564"/>
                <a:gd name="connsiteX2" fmla="*/ 10 w 34977"/>
                <a:gd name="connsiteY2" fmla="*/ 4253 h 5564"/>
                <a:gd name="connsiteX3" fmla="*/ 17647 w 34977"/>
                <a:gd name="connsiteY3" fmla="*/ 33 h 5564"/>
                <a:gd name="connsiteX4" fmla="*/ 34960 w 34977"/>
                <a:gd name="connsiteY4" fmla="*/ 5443 h 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77" h="5564">
                  <a:moveTo>
                    <a:pt x="34960" y="5443"/>
                  </a:moveTo>
                  <a:cubicBezTo>
                    <a:pt x="34635" y="6200"/>
                    <a:pt x="27169" y="3171"/>
                    <a:pt x="17539" y="2954"/>
                  </a:cubicBezTo>
                  <a:cubicBezTo>
                    <a:pt x="7909" y="2521"/>
                    <a:pt x="226" y="5118"/>
                    <a:pt x="10" y="4253"/>
                  </a:cubicBezTo>
                  <a:cubicBezTo>
                    <a:pt x="-315" y="3603"/>
                    <a:pt x="7368" y="-400"/>
                    <a:pt x="17647" y="33"/>
                  </a:cubicBezTo>
                  <a:cubicBezTo>
                    <a:pt x="28035" y="357"/>
                    <a:pt x="35393" y="4794"/>
                    <a:pt x="34960" y="5443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EAE5F73C-FF5B-4AF9-A885-361483B714CF}"/>
                </a:ext>
              </a:extLst>
            </p:cNvPr>
            <p:cNvSpPr/>
            <p:nvPr/>
          </p:nvSpPr>
          <p:spPr>
            <a:xfrm flipH="1">
              <a:off x="5557552" y="4419257"/>
              <a:ext cx="72752" cy="12244"/>
            </a:xfrm>
            <a:custGeom>
              <a:avLst/>
              <a:gdLst>
                <a:gd name="connsiteX0" fmla="*/ 66005 w 66006"/>
                <a:gd name="connsiteY0" fmla="*/ 112 h 11109"/>
                <a:gd name="connsiteX1" fmla="*/ 33435 w 66006"/>
                <a:gd name="connsiteY1" fmla="*/ 8335 h 11109"/>
                <a:gd name="connsiteX2" fmla="*/ 0 w 66006"/>
                <a:gd name="connsiteY2" fmla="*/ 10715 h 11109"/>
                <a:gd name="connsiteX3" fmla="*/ 33002 w 66006"/>
                <a:gd name="connsiteY3" fmla="*/ 5414 h 11109"/>
                <a:gd name="connsiteX4" fmla="*/ 66005 w 66006"/>
                <a:gd name="connsiteY4" fmla="*/ 112 h 11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06" h="11109">
                  <a:moveTo>
                    <a:pt x="66005" y="112"/>
                  </a:moveTo>
                  <a:cubicBezTo>
                    <a:pt x="66221" y="869"/>
                    <a:pt x="51830" y="5414"/>
                    <a:pt x="33435" y="8335"/>
                  </a:cubicBezTo>
                  <a:cubicBezTo>
                    <a:pt x="15149" y="11365"/>
                    <a:pt x="0" y="11473"/>
                    <a:pt x="0" y="10715"/>
                  </a:cubicBezTo>
                  <a:cubicBezTo>
                    <a:pt x="0" y="9850"/>
                    <a:pt x="14824" y="8335"/>
                    <a:pt x="33002" y="5414"/>
                  </a:cubicBezTo>
                  <a:cubicBezTo>
                    <a:pt x="51181" y="2600"/>
                    <a:pt x="65788" y="-646"/>
                    <a:pt x="66005" y="112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AC5C5FE2-C21C-4F6C-A03A-A734B06D1A85}"/>
                </a:ext>
              </a:extLst>
            </p:cNvPr>
            <p:cNvSpPr/>
            <p:nvPr/>
          </p:nvSpPr>
          <p:spPr>
            <a:xfrm flipH="1">
              <a:off x="5395367" y="4397554"/>
              <a:ext cx="58073" cy="83931"/>
            </a:xfrm>
            <a:custGeom>
              <a:avLst/>
              <a:gdLst>
                <a:gd name="connsiteX0" fmla="*/ 52372 w 52688"/>
                <a:gd name="connsiteY0" fmla="*/ 0 h 76149"/>
                <a:gd name="connsiteX1" fmla="*/ 51615 w 52688"/>
                <a:gd name="connsiteY1" fmla="*/ 14608 h 76149"/>
                <a:gd name="connsiteX2" fmla="*/ 38847 w 52688"/>
                <a:gd name="connsiteY2" fmla="*/ 47393 h 76149"/>
                <a:gd name="connsiteX3" fmla="*/ 14284 w 52688"/>
                <a:gd name="connsiteY3" fmla="*/ 72605 h 76149"/>
                <a:gd name="connsiteX4" fmla="*/ 1 w 52688"/>
                <a:gd name="connsiteY4" fmla="*/ 75743 h 76149"/>
                <a:gd name="connsiteX5" fmla="*/ 13202 w 52688"/>
                <a:gd name="connsiteY5" fmla="*/ 70874 h 76149"/>
                <a:gd name="connsiteX6" fmla="*/ 36358 w 52688"/>
                <a:gd name="connsiteY6" fmla="*/ 45770 h 76149"/>
                <a:gd name="connsiteX7" fmla="*/ 49559 w 52688"/>
                <a:gd name="connsiteY7" fmla="*/ 14175 h 76149"/>
                <a:gd name="connsiteX8" fmla="*/ 52372 w 52688"/>
                <a:gd name="connsiteY8" fmla="*/ 0 h 7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88" h="76149">
                  <a:moveTo>
                    <a:pt x="52372" y="0"/>
                  </a:moveTo>
                  <a:cubicBezTo>
                    <a:pt x="52697" y="0"/>
                    <a:pt x="53130" y="5627"/>
                    <a:pt x="51615" y="14608"/>
                  </a:cubicBezTo>
                  <a:cubicBezTo>
                    <a:pt x="50100" y="23480"/>
                    <a:pt x="46313" y="35707"/>
                    <a:pt x="38847" y="47393"/>
                  </a:cubicBezTo>
                  <a:cubicBezTo>
                    <a:pt x="31381" y="59079"/>
                    <a:pt x="22183" y="68060"/>
                    <a:pt x="14284" y="72605"/>
                  </a:cubicBezTo>
                  <a:cubicBezTo>
                    <a:pt x="6169" y="77366"/>
                    <a:pt x="-107" y="76067"/>
                    <a:pt x="1" y="75743"/>
                  </a:cubicBezTo>
                  <a:cubicBezTo>
                    <a:pt x="-107" y="75202"/>
                    <a:pt x="5844" y="75743"/>
                    <a:pt x="13202" y="70874"/>
                  </a:cubicBezTo>
                  <a:cubicBezTo>
                    <a:pt x="20452" y="66113"/>
                    <a:pt x="29108" y="57132"/>
                    <a:pt x="36358" y="45770"/>
                  </a:cubicBezTo>
                  <a:cubicBezTo>
                    <a:pt x="43608" y="34409"/>
                    <a:pt x="47611" y="22723"/>
                    <a:pt x="49559" y="14175"/>
                  </a:cubicBezTo>
                  <a:cubicBezTo>
                    <a:pt x="51507" y="5519"/>
                    <a:pt x="51831" y="0"/>
                    <a:pt x="52372" y="0"/>
                  </a:cubicBez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17F56B1D-FE0F-4E7C-B7E1-790C250989E2}"/>
                </a:ext>
              </a:extLst>
            </p:cNvPr>
            <p:cNvSpPr/>
            <p:nvPr/>
          </p:nvSpPr>
          <p:spPr>
            <a:xfrm flipH="1">
              <a:off x="5193657" y="4357947"/>
              <a:ext cx="22469" cy="94238"/>
            </a:xfrm>
            <a:custGeom>
              <a:avLst/>
              <a:gdLst>
                <a:gd name="connsiteX0" fmla="*/ 5105 w 20386"/>
                <a:gd name="connsiteY0" fmla="*/ 85493 h 85500"/>
                <a:gd name="connsiteX1" fmla="*/ 11380 w 20386"/>
                <a:gd name="connsiteY1" fmla="*/ 73374 h 85500"/>
                <a:gd name="connsiteX2" fmla="*/ 16466 w 20386"/>
                <a:gd name="connsiteY2" fmla="*/ 59848 h 85500"/>
                <a:gd name="connsiteX3" fmla="*/ 16791 w 20386"/>
                <a:gd name="connsiteY3" fmla="*/ 42319 h 85500"/>
                <a:gd name="connsiteX4" fmla="*/ 7593 w 20386"/>
                <a:gd name="connsiteY4" fmla="*/ 11265 h 85500"/>
                <a:gd name="connsiteX5" fmla="*/ 19 w 20386"/>
                <a:gd name="connsiteY5" fmla="*/ 11 h 85500"/>
                <a:gd name="connsiteX6" fmla="*/ 3049 w 20386"/>
                <a:gd name="connsiteY6" fmla="*/ 2284 h 85500"/>
                <a:gd name="connsiteX7" fmla="*/ 9433 w 20386"/>
                <a:gd name="connsiteY7" fmla="*/ 10183 h 85500"/>
                <a:gd name="connsiteX8" fmla="*/ 19712 w 20386"/>
                <a:gd name="connsiteY8" fmla="*/ 41886 h 85500"/>
                <a:gd name="connsiteX9" fmla="*/ 19171 w 20386"/>
                <a:gd name="connsiteY9" fmla="*/ 60498 h 85500"/>
                <a:gd name="connsiteX10" fmla="*/ 13220 w 20386"/>
                <a:gd name="connsiteY10" fmla="*/ 74456 h 85500"/>
                <a:gd name="connsiteX11" fmla="*/ 5105 w 20386"/>
                <a:gd name="connsiteY11" fmla="*/ 85493 h 8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386" h="85500">
                  <a:moveTo>
                    <a:pt x="5105" y="85493"/>
                  </a:moveTo>
                  <a:cubicBezTo>
                    <a:pt x="4672" y="85276"/>
                    <a:pt x="7485" y="80732"/>
                    <a:pt x="11380" y="73374"/>
                  </a:cubicBezTo>
                  <a:cubicBezTo>
                    <a:pt x="13220" y="69695"/>
                    <a:pt x="15276" y="65150"/>
                    <a:pt x="16466" y="59848"/>
                  </a:cubicBezTo>
                  <a:cubicBezTo>
                    <a:pt x="17765" y="54546"/>
                    <a:pt x="17656" y="48595"/>
                    <a:pt x="16791" y="42319"/>
                  </a:cubicBezTo>
                  <a:cubicBezTo>
                    <a:pt x="15059" y="29659"/>
                    <a:pt x="11597" y="18514"/>
                    <a:pt x="7593" y="11265"/>
                  </a:cubicBezTo>
                  <a:cubicBezTo>
                    <a:pt x="3590" y="3907"/>
                    <a:pt x="-306" y="444"/>
                    <a:pt x="19" y="11"/>
                  </a:cubicBezTo>
                  <a:cubicBezTo>
                    <a:pt x="127" y="-97"/>
                    <a:pt x="1318" y="552"/>
                    <a:pt x="3049" y="2284"/>
                  </a:cubicBezTo>
                  <a:cubicBezTo>
                    <a:pt x="4780" y="3907"/>
                    <a:pt x="7160" y="6504"/>
                    <a:pt x="9433" y="10183"/>
                  </a:cubicBezTo>
                  <a:cubicBezTo>
                    <a:pt x="14086" y="17432"/>
                    <a:pt x="17981" y="28902"/>
                    <a:pt x="19712" y="41886"/>
                  </a:cubicBezTo>
                  <a:cubicBezTo>
                    <a:pt x="20686" y="48379"/>
                    <a:pt x="20686" y="54871"/>
                    <a:pt x="19171" y="60498"/>
                  </a:cubicBezTo>
                  <a:cubicBezTo>
                    <a:pt x="17765" y="66124"/>
                    <a:pt x="15384" y="70777"/>
                    <a:pt x="13220" y="74456"/>
                  </a:cubicBezTo>
                  <a:cubicBezTo>
                    <a:pt x="8784" y="81705"/>
                    <a:pt x="5321" y="85709"/>
                    <a:pt x="5105" y="85493"/>
                  </a:cubicBezTo>
                  <a:close/>
                </a:path>
              </a:pathLst>
            </a:custGeom>
            <a:solidFill>
              <a:srgbClr val="FFFFFF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37975EC8-8F1D-42A4-8E20-C01B486C0BCB}"/>
                </a:ext>
              </a:extLst>
            </p:cNvPr>
            <p:cNvSpPr/>
            <p:nvPr/>
          </p:nvSpPr>
          <p:spPr>
            <a:xfrm flipH="1">
              <a:off x="5636281" y="4523818"/>
              <a:ext cx="52438" cy="55857"/>
            </a:xfrm>
            <a:custGeom>
              <a:avLst/>
              <a:gdLst>
                <a:gd name="connsiteX0" fmla="*/ 15020 w 47576"/>
                <a:gd name="connsiteY0" fmla="*/ 8796 h 50678"/>
                <a:gd name="connsiteX1" fmla="*/ 10800 w 47576"/>
                <a:gd name="connsiteY1" fmla="*/ 11501 h 50678"/>
                <a:gd name="connsiteX2" fmla="*/ 3334 w 47576"/>
                <a:gd name="connsiteY2" fmla="*/ 22430 h 50678"/>
                <a:gd name="connsiteX3" fmla="*/ 7229 w 47576"/>
                <a:gd name="connsiteY3" fmla="*/ 40608 h 50678"/>
                <a:gd name="connsiteX4" fmla="*/ 28870 w 47576"/>
                <a:gd name="connsiteY4" fmla="*/ 46992 h 50678"/>
                <a:gd name="connsiteX5" fmla="*/ 44235 w 47576"/>
                <a:gd name="connsiteY5" fmla="*/ 30113 h 50678"/>
                <a:gd name="connsiteX6" fmla="*/ 40664 w 47576"/>
                <a:gd name="connsiteY6" fmla="*/ 11393 h 50678"/>
                <a:gd name="connsiteX7" fmla="*/ 30710 w 47576"/>
                <a:gd name="connsiteY7" fmla="*/ 2304 h 50678"/>
                <a:gd name="connsiteX8" fmla="*/ 26165 w 47576"/>
                <a:gd name="connsiteY8" fmla="*/ 32 h 50678"/>
                <a:gd name="connsiteX9" fmla="*/ 31251 w 47576"/>
                <a:gd name="connsiteY9" fmla="*/ 1330 h 50678"/>
                <a:gd name="connsiteX10" fmla="*/ 42396 w 47576"/>
                <a:gd name="connsiteY10" fmla="*/ 10203 h 50678"/>
                <a:gd name="connsiteX11" fmla="*/ 46940 w 47576"/>
                <a:gd name="connsiteY11" fmla="*/ 30762 h 50678"/>
                <a:gd name="connsiteX12" fmla="*/ 29736 w 47576"/>
                <a:gd name="connsiteY12" fmla="*/ 49806 h 50678"/>
                <a:gd name="connsiteX13" fmla="*/ 5174 w 47576"/>
                <a:gd name="connsiteY13" fmla="*/ 42448 h 50678"/>
                <a:gd name="connsiteX14" fmla="*/ 196 w 47576"/>
                <a:gd name="connsiteY14" fmla="*/ 31844 h 50678"/>
                <a:gd name="connsiteX15" fmla="*/ 1278 w 47576"/>
                <a:gd name="connsiteY15" fmla="*/ 21781 h 50678"/>
                <a:gd name="connsiteX16" fmla="*/ 10043 w 47576"/>
                <a:gd name="connsiteY16" fmla="*/ 10528 h 50678"/>
                <a:gd name="connsiteX17" fmla="*/ 15020 w 47576"/>
                <a:gd name="connsiteY17" fmla="*/ 8796 h 50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7576" h="50678">
                  <a:moveTo>
                    <a:pt x="15020" y="8796"/>
                  </a:moveTo>
                  <a:cubicBezTo>
                    <a:pt x="15128" y="9013"/>
                    <a:pt x="13289" y="9554"/>
                    <a:pt x="10800" y="11501"/>
                  </a:cubicBezTo>
                  <a:cubicBezTo>
                    <a:pt x="8203" y="13341"/>
                    <a:pt x="4957" y="17020"/>
                    <a:pt x="3334" y="22430"/>
                  </a:cubicBezTo>
                  <a:cubicBezTo>
                    <a:pt x="1603" y="27732"/>
                    <a:pt x="2144" y="35198"/>
                    <a:pt x="7229" y="40608"/>
                  </a:cubicBezTo>
                  <a:cubicBezTo>
                    <a:pt x="12099" y="46018"/>
                    <a:pt x="20755" y="49265"/>
                    <a:pt x="28870" y="46992"/>
                  </a:cubicBezTo>
                  <a:cubicBezTo>
                    <a:pt x="36986" y="44504"/>
                    <a:pt x="42612" y="37254"/>
                    <a:pt x="44235" y="30113"/>
                  </a:cubicBezTo>
                  <a:cubicBezTo>
                    <a:pt x="46075" y="22863"/>
                    <a:pt x="43802" y="15938"/>
                    <a:pt x="40664" y="11393"/>
                  </a:cubicBezTo>
                  <a:cubicBezTo>
                    <a:pt x="37418" y="6632"/>
                    <a:pt x="33523" y="3819"/>
                    <a:pt x="30710" y="2304"/>
                  </a:cubicBezTo>
                  <a:cubicBezTo>
                    <a:pt x="27896" y="789"/>
                    <a:pt x="26057" y="248"/>
                    <a:pt x="26165" y="32"/>
                  </a:cubicBezTo>
                  <a:cubicBezTo>
                    <a:pt x="26165" y="-76"/>
                    <a:pt x="28113" y="32"/>
                    <a:pt x="31251" y="1330"/>
                  </a:cubicBezTo>
                  <a:cubicBezTo>
                    <a:pt x="34280" y="2629"/>
                    <a:pt x="38717" y="5334"/>
                    <a:pt x="42396" y="10203"/>
                  </a:cubicBezTo>
                  <a:cubicBezTo>
                    <a:pt x="46075" y="14964"/>
                    <a:pt x="48888" y="22646"/>
                    <a:pt x="46940" y="30762"/>
                  </a:cubicBezTo>
                  <a:cubicBezTo>
                    <a:pt x="45209" y="38661"/>
                    <a:pt x="39150" y="46992"/>
                    <a:pt x="29736" y="49806"/>
                  </a:cubicBezTo>
                  <a:cubicBezTo>
                    <a:pt x="20322" y="52511"/>
                    <a:pt x="10584" y="48615"/>
                    <a:pt x="5174" y="42448"/>
                  </a:cubicBezTo>
                  <a:cubicBezTo>
                    <a:pt x="2360" y="39310"/>
                    <a:pt x="737" y="35523"/>
                    <a:pt x="196" y="31844"/>
                  </a:cubicBezTo>
                  <a:cubicBezTo>
                    <a:pt x="-345" y="28165"/>
                    <a:pt x="304" y="24702"/>
                    <a:pt x="1278" y="21781"/>
                  </a:cubicBezTo>
                  <a:cubicBezTo>
                    <a:pt x="3334" y="15938"/>
                    <a:pt x="7121" y="12259"/>
                    <a:pt x="10043" y="10528"/>
                  </a:cubicBezTo>
                  <a:cubicBezTo>
                    <a:pt x="13072" y="8796"/>
                    <a:pt x="15020" y="8688"/>
                    <a:pt x="15020" y="8796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990F0172-4E72-48BD-9B9D-843810F14CA5}"/>
                </a:ext>
              </a:extLst>
            </p:cNvPr>
            <p:cNvSpPr/>
            <p:nvPr/>
          </p:nvSpPr>
          <p:spPr>
            <a:xfrm flipH="1">
              <a:off x="5368147" y="4139232"/>
              <a:ext cx="111655" cy="65854"/>
            </a:xfrm>
            <a:custGeom>
              <a:avLst/>
              <a:gdLst>
                <a:gd name="connsiteX0" fmla="*/ 95551 w 101302"/>
                <a:gd name="connsiteY0" fmla="*/ 59729 h 59748"/>
                <a:gd name="connsiteX1" fmla="*/ 99879 w 101302"/>
                <a:gd name="connsiteY1" fmla="*/ 51397 h 59748"/>
                <a:gd name="connsiteX2" fmla="*/ 96958 w 101302"/>
                <a:gd name="connsiteY2" fmla="*/ 41550 h 59748"/>
                <a:gd name="connsiteX3" fmla="*/ 84514 w 101302"/>
                <a:gd name="connsiteY3" fmla="*/ 38304 h 59748"/>
                <a:gd name="connsiteX4" fmla="*/ 81809 w 101302"/>
                <a:gd name="connsiteY4" fmla="*/ 39170 h 59748"/>
                <a:gd name="connsiteX5" fmla="*/ 82999 w 101302"/>
                <a:gd name="connsiteY5" fmla="*/ 36573 h 59748"/>
                <a:gd name="connsiteX6" fmla="*/ 79537 w 101302"/>
                <a:gd name="connsiteY6" fmla="*/ 22182 h 59748"/>
                <a:gd name="connsiteX7" fmla="*/ 63306 w 101302"/>
                <a:gd name="connsiteY7" fmla="*/ 22723 h 59748"/>
                <a:gd name="connsiteX8" fmla="*/ 61142 w 101302"/>
                <a:gd name="connsiteY8" fmla="*/ 20667 h 59748"/>
                <a:gd name="connsiteX9" fmla="*/ 62008 w 101302"/>
                <a:gd name="connsiteY9" fmla="*/ 19044 h 59748"/>
                <a:gd name="connsiteX10" fmla="*/ 60926 w 101302"/>
                <a:gd name="connsiteY10" fmla="*/ 12876 h 59748"/>
                <a:gd name="connsiteX11" fmla="*/ 55624 w 101302"/>
                <a:gd name="connsiteY11" fmla="*/ 9522 h 59748"/>
                <a:gd name="connsiteX12" fmla="*/ 49131 w 101302"/>
                <a:gd name="connsiteY12" fmla="*/ 9847 h 59748"/>
                <a:gd name="connsiteX13" fmla="*/ 41773 w 101302"/>
                <a:gd name="connsiteY13" fmla="*/ 11470 h 59748"/>
                <a:gd name="connsiteX14" fmla="*/ 35714 w 101302"/>
                <a:gd name="connsiteY14" fmla="*/ 7574 h 59748"/>
                <a:gd name="connsiteX15" fmla="*/ 30628 w 101302"/>
                <a:gd name="connsiteY15" fmla="*/ 4436 h 59748"/>
                <a:gd name="connsiteX16" fmla="*/ 20133 w 101302"/>
                <a:gd name="connsiteY16" fmla="*/ 2056 h 59748"/>
                <a:gd name="connsiteX17" fmla="*/ 4984 w 101302"/>
                <a:gd name="connsiteY17" fmla="*/ 5735 h 59748"/>
                <a:gd name="connsiteX18" fmla="*/ 7 w 101302"/>
                <a:gd name="connsiteY18" fmla="*/ 8981 h 59748"/>
                <a:gd name="connsiteX19" fmla="*/ 4335 w 101302"/>
                <a:gd name="connsiteY19" fmla="*/ 4761 h 59748"/>
                <a:gd name="connsiteX20" fmla="*/ 20133 w 101302"/>
                <a:gd name="connsiteY20" fmla="*/ 0 h 59748"/>
                <a:gd name="connsiteX21" fmla="*/ 31494 w 101302"/>
                <a:gd name="connsiteY21" fmla="*/ 2272 h 59748"/>
                <a:gd name="connsiteX22" fmla="*/ 37121 w 101302"/>
                <a:gd name="connsiteY22" fmla="*/ 5627 h 59748"/>
                <a:gd name="connsiteX23" fmla="*/ 41990 w 101302"/>
                <a:gd name="connsiteY23" fmla="*/ 8873 h 59748"/>
                <a:gd name="connsiteX24" fmla="*/ 48157 w 101302"/>
                <a:gd name="connsiteY24" fmla="*/ 7250 h 59748"/>
                <a:gd name="connsiteX25" fmla="*/ 56056 w 101302"/>
                <a:gd name="connsiteY25" fmla="*/ 6817 h 59748"/>
                <a:gd name="connsiteX26" fmla="*/ 63198 w 101302"/>
                <a:gd name="connsiteY26" fmla="*/ 11361 h 59748"/>
                <a:gd name="connsiteX27" fmla="*/ 64605 w 101302"/>
                <a:gd name="connsiteY27" fmla="*/ 20018 h 59748"/>
                <a:gd name="connsiteX28" fmla="*/ 63198 w 101302"/>
                <a:gd name="connsiteY28" fmla="*/ 22615 h 59748"/>
                <a:gd name="connsiteX29" fmla="*/ 61034 w 101302"/>
                <a:gd name="connsiteY29" fmla="*/ 20559 h 59748"/>
                <a:gd name="connsiteX30" fmla="*/ 81052 w 101302"/>
                <a:gd name="connsiteY30" fmla="*/ 20018 h 59748"/>
                <a:gd name="connsiteX31" fmla="*/ 84947 w 101302"/>
                <a:gd name="connsiteY31" fmla="*/ 37655 h 59748"/>
                <a:gd name="connsiteX32" fmla="*/ 83432 w 101302"/>
                <a:gd name="connsiteY32" fmla="*/ 35924 h 59748"/>
                <a:gd name="connsiteX33" fmla="*/ 98148 w 101302"/>
                <a:gd name="connsiteY33" fmla="*/ 40144 h 59748"/>
                <a:gd name="connsiteX34" fmla="*/ 100961 w 101302"/>
                <a:gd name="connsiteY34" fmla="*/ 51613 h 59748"/>
                <a:gd name="connsiteX35" fmla="*/ 97390 w 101302"/>
                <a:gd name="connsiteY35" fmla="*/ 58214 h 59748"/>
                <a:gd name="connsiteX36" fmla="*/ 95551 w 101302"/>
                <a:gd name="connsiteY36" fmla="*/ 59729 h 5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1302" h="59748">
                  <a:moveTo>
                    <a:pt x="95551" y="59729"/>
                  </a:moveTo>
                  <a:cubicBezTo>
                    <a:pt x="95226" y="59512"/>
                    <a:pt x="98905" y="57456"/>
                    <a:pt x="99879" y="51397"/>
                  </a:cubicBezTo>
                  <a:cubicBezTo>
                    <a:pt x="100312" y="48476"/>
                    <a:pt x="99771" y="44580"/>
                    <a:pt x="96958" y="41550"/>
                  </a:cubicBezTo>
                  <a:cubicBezTo>
                    <a:pt x="94252" y="38629"/>
                    <a:pt x="89167" y="36789"/>
                    <a:pt x="84514" y="38304"/>
                  </a:cubicBezTo>
                  <a:lnTo>
                    <a:pt x="81809" y="39170"/>
                  </a:lnTo>
                  <a:lnTo>
                    <a:pt x="82999" y="36573"/>
                  </a:lnTo>
                  <a:cubicBezTo>
                    <a:pt x="84947" y="32137"/>
                    <a:pt x="83865" y="25753"/>
                    <a:pt x="79537" y="22182"/>
                  </a:cubicBezTo>
                  <a:cubicBezTo>
                    <a:pt x="75317" y="18503"/>
                    <a:pt x="67742" y="18503"/>
                    <a:pt x="63306" y="22723"/>
                  </a:cubicBezTo>
                  <a:lnTo>
                    <a:pt x="61142" y="20667"/>
                  </a:lnTo>
                  <a:cubicBezTo>
                    <a:pt x="61467" y="20234"/>
                    <a:pt x="61791" y="19693"/>
                    <a:pt x="62008" y="19044"/>
                  </a:cubicBezTo>
                  <a:cubicBezTo>
                    <a:pt x="62657" y="17096"/>
                    <a:pt x="62224" y="14716"/>
                    <a:pt x="60926" y="12876"/>
                  </a:cubicBezTo>
                  <a:cubicBezTo>
                    <a:pt x="59735" y="11037"/>
                    <a:pt x="57788" y="9955"/>
                    <a:pt x="55624" y="9522"/>
                  </a:cubicBezTo>
                  <a:cubicBezTo>
                    <a:pt x="53460" y="9089"/>
                    <a:pt x="51187" y="9197"/>
                    <a:pt x="49131" y="9847"/>
                  </a:cubicBezTo>
                  <a:cubicBezTo>
                    <a:pt x="47075" y="10388"/>
                    <a:pt x="44803" y="11794"/>
                    <a:pt x="41773" y="11470"/>
                  </a:cubicBezTo>
                  <a:cubicBezTo>
                    <a:pt x="38636" y="10929"/>
                    <a:pt x="37229" y="8548"/>
                    <a:pt x="35714" y="7574"/>
                  </a:cubicBezTo>
                  <a:cubicBezTo>
                    <a:pt x="34199" y="6276"/>
                    <a:pt x="32360" y="5302"/>
                    <a:pt x="30628" y="4436"/>
                  </a:cubicBezTo>
                  <a:cubicBezTo>
                    <a:pt x="27058" y="2813"/>
                    <a:pt x="23487" y="2164"/>
                    <a:pt x="20133" y="2056"/>
                  </a:cubicBezTo>
                  <a:cubicBezTo>
                    <a:pt x="13424" y="1840"/>
                    <a:pt x="8230" y="3895"/>
                    <a:pt x="4984" y="5735"/>
                  </a:cubicBezTo>
                  <a:cubicBezTo>
                    <a:pt x="1738" y="7574"/>
                    <a:pt x="223" y="9197"/>
                    <a:pt x="7" y="8981"/>
                  </a:cubicBezTo>
                  <a:cubicBezTo>
                    <a:pt x="-102" y="8873"/>
                    <a:pt x="1089" y="7033"/>
                    <a:pt x="4335" y="4761"/>
                  </a:cubicBezTo>
                  <a:cubicBezTo>
                    <a:pt x="7473" y="2489"/>
                    <a:pt x="12991" y="0"/>
                    <a:pt x="20133" y="0"/>
                  </a:cubicBezTo>
                  <a:cubicBezTo>
                    <a:pt x="23703" y="0"/>
                    <a:pt x="27599" y="541"/>
                    <a:pt x="31494" y="2272"/>
                  </a:cubicBezTo>
                  <a:cubicBezTo>
                    <a:pt x="33442" y="3138"/>
                    <a:pt x="35389" y="4220"/>
                    <a:pt x="37121" y="5627"/>
                  </a:cubicBezTo>
                  <a:cubicBezTo>
                    <a:pt x="38960" y="7033"/>
                    <a:pt x="40367" y="8765"/>
                    <a:pt x="41990" y="8873"/>
                  </a:cubicBezTo>
                  <a:cubicBezTo>
                    <a:pt x="43613" y="9089"/>
                    <a:pt x="45669" y="8007"/>
                    <a:pt x="48157" y="7250"/>
                  </a:cubicBezTo>
                  <a:cubicBezTo>
                    <a:pt x="50646" y="6492"/>
                    <a:pt x="53351" y="6276"/>
                    <a:pt x="56056" y="6817"/>
                  </a:cubicBezTo>
                  <a:cubicBezTo>
                    <a:pt x="58761" y="7358"/>
                    <a:pt x="61467" y="8765"/>
                    <a:pt x="63198" y="11361"/>
                  </a:cubicBezTo>
                  <a:cubicBezTo>
                    <a:pt x="64821" y="13850"/>
                    <a:pt x="65578" y="16988"/>
                    <a:pt x="64605" y="20018"/>
                  </a:cubicBezTo>
                  <a:cubicBezTo>
                    <a:pt x="64280" y="20992"/>
                    <a:pt x="63739" y="21857"/>
                    <a:pt x="63198" y="22615"/>
                  </a:cubicBezTo>
                  <a:lnTo>
                    <a:pt x="61034" y="20559"/>
                  </a:lnTo>
                  <a:cubicBezTo>
                    <a:pt x="66769" y="15257"/>
                    <a:pt x="75750" y="15365"/>
                    <a:pt x="81052" y="20018"/>
                  </a:cubicBezTo>
                  <a:cubicBezTo>
                    <a:pt x="86354" y="24671"/>
                    <a:pt x="87435" y="32245"/>
                    <a:pt x="84947" y="37655"/>
                  </a:cubicBezTo>
                  <a:lnTo>
                    <a:pt x="83432" y="35924"/>
                  </a:lnTo>
                  <a:cubicBezTo>
                    <a:pt x="89383" y="34193"/>
                    <a:pt x="95118" y="36573"/>
                    <a:pt x="98148" y="40144"/>
                  </a:cubicBezTo>
                  <a:cubicBezTo>
                    <a:pt x="101394" y="43823"/>
                    <a:pt x="101719" y="48476"/>
                    <a:pt x="100961" y="51613"/>
                  </a:cubicBezTo>
                  <a:cubicBezTo>
                    <a:pt x="100204" y="54860"/>
                    <a:pt x="98580" y="57024"/>
                    <a:pt x="97390" y="58214"/>
                  </a:cubicBezTo>
                  <a:cubicBezTo>
                    <a:pt x="96525" y="59512"/>
                    <a:pt x="95659" y="59837"/>
                    <a:pt x="95551" y="59729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177372F5-E39E-4F9E-9485-1706AA0C6596}"/>
                </a:ext>
              </a:extLst>
            </p:cNvPr>
            <p:cNvSpPr/>
            <p:nvPr/>
          </p:nvSpPr>
          <p:spPr>
            <a:xfrm flipH="1">
              <a:off x="5285719" y="4114124"/>
              <a:ext cx="133616" cy="111811"/>
            </a:xfrm>
            <a:custGeom>
              <a:avLst/>
              <a:gdLst>
                <a:gd name="connsiteX0" fmla="*/ 113512 w 121227"/>
                <a:gd name="connsiteY0" fmla="*/ 101444 h 101444"/>
                <a:gd name="connsiteX1" fmla="*/ 119031 w 121227"/>
                <a:gd name="connsiteY1" fmla="*/ 93329 h 101444"/>
                <a:gd name="connsiteX2" fmla="*/ 118381 w 121227"/>
                <a:gd name="connsiteY2" fmla="*/ 82292 h 101444"/>
                <a:gd name="connsiteX3" fmla="*/ 106912 w 121227"/>
                <a:gd name="connsiteY3" fmla="*/ 73961 h 101444"/>
                <a:gd name="connsiteX4" fmla="*/ 104856 w 121227"/>
                <a:gd name="connsiteY4" fmla="*/ 73636 h 101444"/>
                <a:gd name="connsiteX5" fmla="*/ 106263 w 121227"/>
                <a:gd name="connsiteY5" fmla="*/ 72013 h 101444"/>
                <a:gd name="connsiteX6" fmla="*/ 111240 w 121227"/>
                <a:gd name="connsiteY6" fmla="*/ 56107 h 101444"/>
                <a:gd name="connsiteX7" fmla="*/ 105397 w 121227"/>
                <a:gd name="connsiteY7" fmla="*/ 49506 h 101444"/>
                <a:gd name="connsiteX8" fmla="*/ 96741 w 121227"/>
                <a:gd name="connsiteY8" fmla="*/ 50697 h 101444"/>
                <a:gd name="connsiteX9" fmla="*/ 88409 w 121227"/>
                <a:gd name="connsiteY9" fmla="*/ 59461 h 101444"/>
                <a:gd name="connsiteX10" fmla="*/ 94468 w 121227"/>
                <a:gd name="connsiteY10" fmla="*/ 48966 h 101444"/>
                <a:gd name="connsiteX11" fmla="*/ 95334 w 121227"/>
                <a:gd name="connsiteY11" fmla="*/ 36306 h 101444"/>
                <a:gd name="connsiteX12" fmla="*/ 85271 w 121227"/>
                <a:gd name="connsiteY12" fmla="*/ 27649 h 101444"/>
                <a:gd name="connsiteX13" fmla="*/ 75533 w 121227"/>
                <a:gd name="connsiteY13" fmla="*/ 28623 h 101444"/>
                <a:gd name="connsiteX14" fmla="*/ 72070 w 121227"/>
                <a:gd name="connsiteY14" fmla="*/ 30246 h 101444"/>
                <a:gd name="connsiteX15" fmla="*/ 73477 w 121227"/>
                <a:gd name="connsiteY15" fmla="*/ 26675 h 101444"/>
                <a:gd name="connsiteX16" fmla="*/ 65253 w 121227"/>
                <a:gd name="connsiteY16" fmla="*/ 15206 h 101444"/>
                <a:gd name="connsiteX17" fmla="*/ 49780 w 121227"/>
                <a:gd name="connsiteY17" fmla="*/ 19101 h 101444"/>
                <a:gd name="connsiteX18" fmla="*/ 46967 w 121227"/>
                <a:gd name="connsiteY18" fmla="*/ 20616 h 101444"/>
                <a:gd name="connsiteX19" fmla="*/ 47832 w 121227"/>
                <a:gd name="connsiteY19" fmla="*/ 17586 h 101444"/>
                <a:gd name="connsiteX20" fmla="*/ 44370 w 121227"/>
                <a:gd name="connsiteY20" fmla="*/ 7199 h 101444"/>
                <a:gd name="connsiteX21" fmla="*/ 34415 w 121227"/>
                <a:gd name="connsiteY21" fmla="*/ 2762 h 101444"/>
                <a:gd name="connsiteX22" fmla="*/ 15696 w 121227"/>
                <a:gd name="connsiteY22" fmla="*/ 3195 h 101444"/>
                <a:gd name="connsiteX23" fmla="*/ 6 w 121227"/>
                <a:gd name="connsiteY23" fmla="*/ 8822 h 101444"/>
                <a:gd name="connsiteX24" fmla="*/ 3685 w 121227"/>
                <a:gd name="connsiteY24" fmla="*/ 6225 h 101444"/>
                <a:gd name="connsiteX25" fmla="*/ 15371 w 121227"/>
                <a:gd name="connsiteY25" fmla="*/ 1572 h 101444"/>
                <a:gd name="connsiteX26" fmla="*/ 34848 w 121227"/>
                <a:gd name="connsiteY26" fmla="*/ 490 h 101444"/>
                <a:gd name="connsiteX27" fmla="*/ 46101 w 121227"/>
                <a:gd name="connsiteY27" fmla="*/ 5251 h 101444"/>
                <a:gd name="connsiteX28" fmla="*/ 50538 w 121227"/>
                <a:gd name="connsiteY28" fmla="*/ 18236 h 101444"/>
                <a:gd name="connsiteX29" fmla="*/ 48590 w 121227"/>
                <a:gd name="connsiteY29" fmla="*/ 16721 h 101444"/>
                <a:gd name="connsiteX30" fmla="*/ 65794 w 121227"/>
                <a:gd name="connsiteY30" fmla="*/ 12393 h 101444"/>
                <a:gd name="connsiteX31" fmla="*/ 74342 w 121227"/>
                <a:gd name="connsiteY31" fmla="*/ 17478 h 101444"/>
                <a:gd name="connsiteX32" fmla="*/ 76182 w 121227"/>
                <a:gd name="connsiteY32" fmla="*/ 27758 h 101444"/>
                <a:gd name="connsiteX33" fmla="*/ 74126 w 121227"/>
                <a:gd name="connsiteY33" fmla="*/ 25918 h 101444"/>
                <a:gd name="connsiteX34" fmla="*/ 85812 w 121227"/>
                <a:gd name="connsiteY34" fmla="*/ 24728 h 101444"/>
                <a:gd name="connsiteX35" fmla="*/ 97931 w 121227"/>
                <a:gd name="connsiteY35" fmla="*/ 35224 h 101444"/>
                <a:gd name="connsiteX36" fmla="*/ 96849 w 121227"/>
                <a:gd name="connsiteY36" fmla="*/ 50372 h 101444"/>
                <a:gd name="connsiteX37" fmla="*/ 94577 w 121227"/>
                <a:gd name="connsiteY37" fmla="*/ 48641 h 101444"/>
                <a:gd name="connsiteX38" fmla="*/ 106371 w 121227"/>
                <a:gd name="connsiteY38" fmla="*/ 46910 h 101444"/>
                <a:gd name="connsiteX39" fmla="*/ 113620 w 121227"/>
                <a:gd name="connsiteY39" fmla="*/ 55350 h 101444"/>
                <a:gd name="connsiteX40" fmla="*/ 107778 w 121227"/>
                <a:gd name="connsiteY40" fmla="*/ 73420 h 101444"/>
                <a:gd name="connsiteX41" fmla="*/ 107128 w 121227"/>
                <a:gd name="connsiteY41" fmla="*/ 71580 h 101444"/>
                <a:gd name="connsiteX42" fmla="*/ 119896 w 121227"/>
                <a:gd name="connsiteY42" fmla="*/ 81318 h 101444"/>
                <a:gd name="connsiteX43" fmla="*/ 120113 w 121227"/>
                <a:gd name="connsiteY43" fmla="*/ 93546 h 101444"/>
                <a:gd name="connsiteX44" fmla="*/ 115676 w 121227"/>
                <a:gd name="connsiteY44" fmla="*/ 99821 h 101444"/>
                <a:gd name="connsiteX45" fmla="*/ 113512 w 121227"/>
                <a:gd name="connsiteY45" fmla="*/ 101444 h 10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21227" h="101444">
                  <a:moveTo>
                    <a:pt x="113512" y="101444"/>
                  </a:moveTo>
                  <a:cubicBezTo>
                    <a:pt x="113188" y="101228"/>
                    <a:pt x="116975" y="99389"/>
                    <a:pt x="119031" y="93329"/>
                  </a:cubicBezTo>
                  <a:cubicBezTo>
                    <a:pt x="120004" y="90408"/>
                    <a:pt x="120329" y="86296"/>
                    <a:pt x="118381" y="82292"/>
                  </a:cubicBezTo>
                  <a:cubicBezTo>
                    <a:pt x="116542" y="78397"/>
                    <a:pt x="112322" y="74718"/>
                    <a:pt x="106912" y="73961"/>
                  </a:cubicBezTo>
                  <a:lnTo>
                    <a:pt x="104856" y="73636"/>
                  </a:lnTo>
                  <a:lnTo>
                    <a:pt x="106263" y="72013"/>
                  </a:lnTo>
                  <a:cubicBezTo>
                    <a:pt x="109725" y="68118"/>
                    <a:pt x="112755" y="62058"/>
                    <a:pt x="111240" y="56107"/>
                  </a:cubicBezTo>
                  <a:cubicBezTo>
                    <a:pt x="110591" y="53186"/>
                    <a:pt x="108318" y="50805"/>
                    <a:pt x="105397" y="49506"/>
                  </a:cubicBezTo>
                  <a:cubicBezTo>
                    <a:pt x="102475" y="48208"/>
                    <a:pt x="98905" y="48425"/>
                    <a:pt x="96741" y="50697"/>
                  </a:cubicBezTo>
                  <a:lnTo>
                    <a:pt x="88409" y="59461"/>
                  </a:lnTo>
                  <a:lnTo>
                    <a:pt x="94468" y="48966"/>
                  </a:lnTo>
                  <a:cubicBezTo>
                    <a:pt x="96524" y="45287"/>
                    <a:pt x="96957" y="40526"/>
                    <a:pt x="95334" y="36306"/>
                  </a:cubicBezTo>
                  <a:cubicBezTo>
                    <a:pt x="93819" y="31977"/>
                    <a:pt x="89924" y="28731"/>
                    <a:pt x="85271" y="27649"/>
                  </a:cubicBezTo>
                  <a:cubicBezTo>
                    <a:pt x="81917" y="26892"/>
                    <a:pt x="78454" y="27216"/>
                    <a:pt x="75533" y="28623"/>
                  </a:cubicBezTo>
                  <a:lnTo>
                    <a:pt x="72070" y="30246"/>
                  </a:lnTo>
                  <a:lnTo>
                    <a:pt x="73477" y="26675"/>
                  </a:lnTo>
                  <a:cubicBezTo>
                    <a:pt x="75424" y="21698"/>
                    <a:pt x="70339" y="15855"/>
                    <a:pt x="65253" y="15206"/>
                  </a:cubicBezTo>
                  <a:cubicBezTo>
                    <a:pt x="59843" y="14340"/>
                    <a:pt x="54433" y="16613"/>
                    <a:pt x="49780" y="19101"/>
                  </a:cubicBezTo>
                  <a:lnTo>
                    <a:pt x="46967" y="20616"/>
                  </a:lnTo>
                  <a:lnTo>
                    <a:pt x="47832" y="17586"/>
                  </a:lnTo>
                  <a:cubicBezTo>
                    <a:pt x="48915" y="13799"/>
                    <a:pt x="47075" y="9687"/>
                    <a:pt x="44370" y="7199"/>
                  </a:cubicBezTo>
                  <a:cubicBezTo>
                    <a:pt x="41557" y="4602"/>
                    <a:pt x="37878" y="3412"/>
                    <a:pt x="34415" y="2762"/>
                  </a:cubicBezTo>
                  <a:cubicBezTo>
                    <a:pt x="27274" y="1572"/>
                    <a:pt x="20890" y="2113"/>
                    <a:pt x="15696" y="3195"/>
                  </a:cubicBezTo>
                  <a:cubicBezTo>
                    <a:pt x="5308" y="5468"/>
                    <a:pt x="223" y="9255"/>
                    <a:pt x="6" y="8822"/>
                  </a:cubicBezTo>
                  <a:cubicBezTo>
                    <a:pt x="-102" y="8714"/>
                    <a:pt x="1197" y="7740"/>
                    <a:pt x="3685" y="6225"/>
                  </a:cubicBezTo>
                  <a:cubicBezTo>
                    <a:pt x="6174" y="4818"/>
                    <a:pt x="10069" y="2979"/>
                    <a:pt x="15371" y="1572"/>
                  </a:cubicBezTo>
                  <a:cubicBezTo>
                    <a:pt x="20673" y="274"/>
                    <a:pt x="27274" y="-592"/>
                    <a:pt x="34848" y="490"/>
                  </a:cubicBezTo>
                  <a:cubicBezTo>
                    <a:pt x="38635" y="1031"/>
                    <a:pt x="42747" y="2329"/>
                    <a:pt x="46101" y="5251"/>
                  </a:cubicBezTo>
                  <a:cubicBezTo>
                    <a:pt x="49347" y="8173"/>
                    <a:pt x="51836" y="13042"/>
                    <a:pt x="50538" y="18236"/>
                  </a:cubicBezTo>
                  <a:lnTo>
                    <a:pt x="48590" y="16721"/>
                  </a:lnTo>
                  <a:cubicBezTo>
                    <a:pt x="53351" y="14124"/>
                    <a:pt x="59194" y="11419"/>
                    <a:pt x="65794" y="12393"/>
                  </a:cubicBezTo>
                  <a:cubicBezTo>
                    <a:pt x="69149" y="12934"/>
                    <a:pt x="72178" y="14773"/>
                    <a:pt x="74342" y="17478"/>
                  </a:cubicBezTo>
                  <a:cubicBezTo>
                    <a:pt x="76507" y="20075"/>
                    <a:pt x="77697" y="24079"/>
                    <a:pt x="76182" y="27758"/>
                  </a:cubicBezTo>
                  <a:lnTo>
                    <a:pt x="74126" y="25918"/>
                  </a:lnTo>
                  <a:cubicBezTo>
                    <a:pt x="77697" y="24187"/>
                    <a:pt x="81917" y="23754"/>
                    <a:pt x="85812" y="24728"/>
                  </a:cubicBezTo>
                  <a:cubicBezTo>
                    <a:pt x="91330" y="25918"/>
                    <a:pt x="96091" y="30030"/>
                    <a:pt x="97931" y="35224"/>
                  </a:cubicBezTo>
                  <a:cubicBezTo>
                    <a:pt x="99879" y="40309"/>
                    <a:pt x="99446" y="45936"/>
                    <a:pt x="96849" y="50372"/>
                  </a:cubicBezTo>
                  <a:lnTo>
                    <a:pt x="94577" y="48641"/>
                  </a:lnTo>
                  <a:cubicBezTo>
                    <a:pt x="97823" y="45287"/>
                    <a:pt x="102800" y="45395"/>
                    <a:pt x="106371" y="46910"/>
                  </a:cubicBezTo>
                  <a:cubicBezTo>
                    <a:pt x="109942" y="48425"/>
                    <a:pt x="112863" y="51671"/>
                    <a:pt x="113620" y="55350"/>
                  </a:cubicBezTo>
                  <a:cubicBezTo>
                    <a:pt x="115243" y="62707"/>
                    <a:pt x="111673" y="69200"/>
                    <a:pt x="107778" y="73420"/>
                  </a:cubicBezTo>
                  <a:lnTo>
                    <a:pt x="107128" y="71580"/>
                  </a:lnTo>
                  <a:cubicBezTo>
                    <a:pt x="113404" y="72554"/>
                    <a:pt x="117949" y="76882"/>
                    <a:pt x="119896" y="81318"/>
                  </a:cubicBezTo>
                  <a:cubicBezTo>
                    <a:pt x="121952" y="85863"/>
                    <a:pt x="121303" y="90408"/>
                    <a:pt x="120113" y="93546"/>
                  </a:cubicBezTo>
                  <a:cubicBezTo>
                    <a:pt x="118923" y="96683"/>
                    <a:pt x="116975" y="98739"/>
                    <a:pt x="115676" y="99821"/>
                  </a:cubicBezTo>
                  <a:cubicBezTo>
                    <a:pt x="114378" y="101120"/>
                    <a:pt x="113512" y="101444"/>
                    <a:pt x="113512" y="101444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78D2088A-FC71-49ED-9E74-6190E81A0973}"/>
                </a:ext>
              </a:extLst>
            </p:cNvPr>
            <p:cNvSpPr/>
            <p:nvPr/>
          </p:nvSpPr>
          <p:spPr>
            <a:xfrm flipH="1">
              <a:off x="5121054" y="4132279"/>
              <a:ext cx="154086" cy="108573"/>
            </a:xfrm>
            <a:custGeom>
              <a:avLst/>
              <a:gdLst>
                <a:gd name="connsiteX0" fmla="*/ 139475 w 139799"/>
                <a:gd name="connsiteY0" fmla="*/ 98498 h 98506"/>
                <a:gd name="connsiteX1" fmla="*/ 135688 w 139799"/>
                <a:gd name="connsiteY1" fmla="*/ 90491 h 98506"/>
                <a:gd name="connsiteX2" fmla="*/ 125949 w 139799"/>
                <a:gd name="connsiteY2" fmla="*/ 87028 h 98506"/>
                <a:gd name="connsiteX3" fmla="*/ 111991 w 139799"/>
                <a:gd name="connsiteY3" fmla="*/ 90274 h 98506"/>
                <a:gd name="connsiteX4" fmla="*/ 110368 w 139799"/>
                <a:gd name="connsiteY4" fmla="*/ 90923 h 98506"/>
                <a:gd name="connsiteX5" fmla="*/ 110585 w 139799"/>
                <a:gd name="connsiteY5" fmla="*/ 89192 h 98506"/>
                <a:gd name="connsiteX6" fmla="*/ 100305 w 139799"/>
                <a:gd name="connsiteY6" fmla="*/ 76857 h 98506"/>
                <a:gd name="connsiteX7" fmla="*/ 79638 w 139799"/>
                <a:gd name="connsiteY7" fmla="*/ 80211 h 98506"/>
                <a:gd name="connsiteX8" fmla="*/ 70549 w 139799"/>
                <a:gd name="connsiteY8" fmla="*/ 83565 h 98506"/>
                <a:gd name="connsiteX9" fmla="*/ 78340 w 139799"/>
                <a:gd name="connsiteY9" fmla="*/ 77723 h 98506"/>
                <a:gd name="connsiteX10" fmla="*/ 77582 w 139799"/>
                <a:gd name="connsiteY10" fmla="*/ 62790 h 98506"/>
                <a:gd name="connsiteX11" fmla="*/ 59404 w 139799"/>
                <a:gd name="connsiteY11" fmla="*/ 58462 h 98506"/>
                <a:gd name="connsiteX12" fmla="*/ 58538 w 139799"/>
                <a:gd name="connsiteY12" fmla="*/ 58570 h 98506"/>
                <a:gd name="connsiteX13" fmla="*/ 52804 w 139799"/>
                <a:gd name="connsiteY13" fmla="*/ 59111 h 98506"/>
                <a:gd name="connsiteX14" fmla="*/ 57565 w 139799"/>
                <a:gd name="connsiteY14" fmla="*/ 55865 h 98506"/>
                <a:gd name="connsiteX15" fmla="*/ 56374 w 139799"/>
                <a:gd name="connsiteY15" fmla="*/ 38336 h 98506"/>
                <a:gd name="connsiteX16" fmla="*/ 37655 w 139799"/>
                <a:gd name="connsiteY16" fmla="*/ 40176 h 98506"/>
                <a:gd name="connsiteX17" fmla="*/ 31704 w 139799"/>
                <a:gd name="connsiteY17" fmla="*/ 44937 h 98506"/>
                <a:gd name="connsiteX18" fmla="*/ 35707 w 139799"/>
                <a:gd name="connsiteY18" fmla="*/ 38444 h 98506"/>
                <a:gd name="connsiteX19" fmla="*/ 35599 w 139799"/>
                <a:gd name="connsiteY19" fmla="*/ 12800 h 98506"/>
                <a:gd name="connsiteX20" fmla="*/ 18287 w 139799"/>
                <a:gd name="connsiteY20" fmla="*/ 1763 h 98506"/>
                <a:gd name="connsiteX21" fmla="*/ 4545 w 139799"/>
                <a:gd name="connsiteY21" fmla="*/ 3495 h 98506"/>
                <a:gd name="connsiteX22" fmla="*/ 0 w 139799"/>
                <a:gd name="connsiteY22" fmla="*/ 5767 h 98506"/>
                <a:gd name="connsiteX23" fmla="*/ 974 w 139799"/>
                <a:gd name="connsiteY23" fmla="*/ 4793 h 98506"/>
                <a:gd name="connsiteX24" fmla="*/ 4220 w 139799"/>
                <a:gd name="connsiteY24" fmla="*/ 2737 h 98506"/>
                <a:gd name="connsiteX25" fmla="*/ 18503 w 139799"/>
                <a:gd name="connsiteY25" fmla="*/ 140 h 98506"/>
                <a:gd name="connsiteX26" fmla="*/ 37547 w 139799"/>
                <a:gd name="connsiteY26" fmla="*/ 11610 h 98506"/>
                <a:gd name="connsiteX27" fmla="*/ 37980 w 139799"/>
                <a:gd name="connsiteY27" fmla="*/ 39851 h 98506"/>
                <a:gd name="connsiteX28" fmla="*/ 36032 w 139799"/>
                <a:gd name="connsiteY28" fmla="*/ 38120 h 98506"/>
                <a:gd name="connsiteX29" fmla="*/ 57997 w 139799"/>
                <a:gd name="connsiteY29" fmla="*/ 35956 h 98506"/>
                <a:gd name="connsiteX30" fmla="*/ 64273 w 139799"/>
                <a:gd name="connsiteY30" fmla="*/ 46668 h 98506"/>
                <a:gd name="connsiteX31" fmla="*/ 59296 w 139799"/>
                <a:gd name="connsiteY31" fmla="*/ 58462 h 98506"/>
                <a:gd name="connsiteX32" fmla="*/ 58322 w 139799"/>
                <a:gd name="connsiteY32" fmla="*/ 55757 h 98506"/>
                <a:gd name="connsiteX33" fmla="*/ 59296 w 139799"/>
                <a:gd name="connsiteY33" fmla="*/ 55649 h 98506"/>
                <a:gd name="connsiteX34" fmla="*/ 79746 w 139799"/>
                <a:gd name="connsiteY34" fmla="*/ 60843 h 98506"/>
                <a:gd name="connsiteX35" fmla="*/ 84183 w 139799"/>
                <a:gd name="connsiteY35" fmla="*/ 70473 h 98506"/>
                <a:gd name="connsiteX36" fmla="*/ 80179 w 139799"/>
                <a:gd name="connsiteY36" fmla="*/ 79995 h 98506"/>
                <a:gd name="connsiteX37" fmla="*/ 78881 w 139799"/>
                <a:gd name="connsiteY37" fmla="*/ 77614 h 98506"/>
                <a:gd name="connsiteX38" fmla="*/ 101171 w 139799"/>
                <a:gd name="connsiteY38" fmla="*/ 74476 h 98506"/>
                <a:gd name="connsiteX39" fmla="*/ 112857 w 139799"/>
                <a:gd name="connsiteY39" fmla="*/ 89409 h 98506"/>
                <a:gd name="connsiteX40" fmla="*/ 111450 w 139799"/>
                <a:gd name="connsiteY40" fmla="*/ 88326 h 98506"/>
                <a:gd name="connsiteX41" fmla="*/ 126058 w 139799"/>
                <a:gd name="connsiteY41" fmla="*/ 85405 h 98506"/>
                <a:gd name="connsiteX42" fmla="*/ 136554 w 139799"/>
                <a:gd name="connsiteY42" fmla="*/ 89733 h 98506"/>
                <a:gd name="connsiteX43" fmla="*/ 139800 w 139799"/>
                <a:gd name="connsiteY43" fmla="*/ 96117 h 98506"/>
                <a:gd name="connsiteX44" fmla="*/ 139475 w 139799"/>
                <a:gd name="connsiteY44" fmla="*/ 98498 h 9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39799" h="98506">
                  <a:moveTo>
                    <a:pt x="139475" y="98498"/>
                  </a:moveTo>
                  <a:cubicBezTo>
                    <a:pt x="139150" y="98714"/>
                    <a:pt x="140232" y="94602"/>
                    <a:pt x="135688" y="90491"/>
                  </a:cubicBezTo>
                  <a:cubicBezTo>
                    <a:pt x="133524" y="88543"/>
                    <a:pt x="130169" y="86920"/>
                    <a:pt x="125949" y="87028"/>
                  </a:cubicBezTo>
                  <a:cubicBezTo>
                    <a:pt x="121730" y="87028"/>
                    <a:pt x="117077" y="88435"/>
                    <a:pt x="111991" y="90274"/>
                  </a:cubicBezTo>
                  <a:lnTo>
                    <a:pt x="110368" y="90923"/>
                  </a:lnTo>
                  <a:lnTo>
                    <a:pt x="110585" y="89192"/>
                  </a:lnTo>
                  <a:cubicBezTo>
                    <a:pt x="111234" y="83998"/>
                    <a:pt x="106473" y="78480"/>
                    <a:pt x="100305" y="76857"/>
                  </a:cubicBezTo>
                  <a:cubicBezTo>
                    <a:pt x="94029" y="75234"/>
                    <a:pt x="86780" y="77506"/>
                    <a:pt x="79638" y="80211"/>
                  </a:cubicBezTo>
                  <a:lnTo>
                    <a:pt x="70549" y="83565"/>
                  </a:lnTo>
                  <a:lnTo>
                    <a:pt x="78340" y="77723"/>
                  </a:lnTo>
                  <a:cubicBezTo>
                    <a:pt x="82560" y="74585"/>
                    <a:pt x="81802" y="66794"/>
                    <a:pt x="77582" y="62790"/>
                  </a:cubicBezTo>
                  <a:cubicBezTo>
                    <a:pt x="73146" y="58679"/>
                    <a:pt x="66113" y="57813"/>
                    <a:pt x="59404" y="58462"/>
                  </a:cubicBezTo>
                  <a:lnTo>
                    <a:pt x="58538" y="58570"/>
                  </a:lnTo>
                  <a:lnTo>
                    <a:pt x="52804" y="59111"/>
                  </a:lnTo>
                  <a:lnTo>
                    <a:pt x="57565" y="55865"/>
                  </a:lnTo>
                  <a:cubicBezTo>
                    <a:pt x="63408" y="51862"/>
                    <a:pt x="62001" y="41582"/>
                    <a:pt x="56374" y="38336"/>
                  </a:cubicBezTo>
                  <a:cubicBezTo>
                    <a:pt x="50531" y="34657"/>
                    <a:pt x="42632" y="36280"/>
                    <a:pt x="37655" y="40176"/>
                  </a:cubicBezTo>
                  <a:lnTo>
                    <a:pt x="31704" y="44937"/>
                  </a:lnTo>
                  <a:lnTo>
                    <a:pt x="35707" y="38444"/>
                  </a:lnTo>
                  <a:cubicBezTo>
                    <a:pt x="40901" y="30113"/>
                    <a:pt x="39819" y="19617"/>
                    <a:pt x="35599" y="12800"/>
                  </a:cubicBezTo>
                  <a:cubicBezTo>
                    <a:pt x="31379" y="5767"/>
                    <a:pt x="24130" y="2521"/>
                    <a:pt x="18287" y="1763"/>
                  </a:cubicBezTo>
                  <a:cubicBezTo>
                    <a:pt x="12335" y="1006"/>
                    <a:pt x="7574" y="2304"/>
                    <a:pt x="4545" y="3495"/>
                  </a:cubicBezTo>
                  <a:cubicBezTo>
                    <a:pt x="1515" y="4793"/>
                    <a:pt x="108" y="5875"/>
                    <a:pt x="0" y="5767"/>
                  </a:cubicBezTo>
                  <a:cubicBezTo>
                    <a:pt x="0" y="5659"/>
                    <a:pt x="325" y="5442"/>
                    <a:pt x="974" y="4793"/>
                  </a:cubicBezTo>
                  <a:cubicBezTo>
                    <a:pt x="1623" y="4252"/>
                    <a:pt x="2705" y="3495"/>
                    <a:pt x="4220" y="2737"/>
                  </a:cubicBezTo>
                  <a:cubicBezTo>
                    <a:pt x="7250" y="1222"/>
                    <a:pt x="12119" y="-509"/>
                    <a:pt x="18503" y="140"/>
                  </a:cubicBezTo>
                  <a:cubicBezTo>
                    <a:pt x="24671" y="681"/>
                    <a:pt x="32678" y="3927"/>
                    <a:pt x="37547" y="11610"/>
                  </a:cubicBezTo>
                  <a:cubicBezTo>
                    <a:pt x="42200" y="18968"/>
                    <a:pt x="43606" y="30329"/>
                    <a:pt x="37980" y="39851"/>
                  </a:cubicBezTo>
                  <a:lnTo>
                    <a:pt x="36032" y="38120"/>
                  </a:lnTo>
                  <a:cubicBezTo>
                    <a:pt x="41659" y="33575"/>
                    <a:pt x="50640" y="31519"/>
                    <a:pt x="57997" y="35956"/>
                  </a:cubicBezTo>
                  <a:cubicBezTo>
                    <a:pt x="61676" y="38228"/>
                    <a:pt x="63949" y="42340"/>
                    <a:pt x="64273" y="46668"/>
                  </a:cubicBezTo>
                  <a:cubicBezTo>
                    <a:pt x="64706" y="50888"/>
                    <a:pt x="63299" y="55865"/>
                    <a:pt x="59296" y="58462"/>
                  </a:cubicBezTo>
                  <a:lnTo>
                    <a:pt x="58322" y="55757"/>
                  </a:lnTo>
                  <a:lnTo>
                    <a:pt x="59296" y="55649"/>
                  </a:lnTo>
                  <a:cubicBezTo>
                    <a:pt x="66329" y="55000"/>
                    <a:pt x="74228" y="55649"/>
                    <a:pt x="79746" y="60843"/>
                  </a:cubicBezTo>
                  <a:cubicBezTo>
                    <a:pt x="82452" y="63440"/>
                    <a:pt x="83858" y="66902"/>
                    <a:pt x="84183" y="70473"/>
                  </a:cubicBezTo>
                  <a:cubicBezTo>
                    <a:pt x="84507" y="73935"/>
                    <a:pt x="83209" y="77831"/>
                    <a:pt x="80179" y="79995"/>
                  </a:cubicBezTo>
                  <a:lnTo>
                    <a:pt x="78881" y="77614"/>
                  </a:lnTo>
                  <a:cubicBezTo>
                    <a:pt x="86130" y="75017"/>
                    <a:pt x="93813" y="72529"/>
                    <a:pt x="101171" y="74476"/>
                  </a:cubicBezTo>
                  <a:cubicBezTo>
                    <a:pt x="108204" y="76424"/>
                    <a:pt x="113831" y="82808"/>
                    <a:pt x="112857" y="89409"/>
                  </a:cubicBezTo>
                  <a:lnTo>
                    <a:pt x="111450" y="88326"/>
                  </a:lnTo>
                  <a:cubicBezTo>
                    <a:pt x="116644" y="86595"/>
                    <a:pt x="121513" y="85189"/>
                    <a:pt x="126058" y="85405"/>
                  </a:cubicBezTo>
                  <a:cubicBezTo>
                    <a:pt x="130602" y="85513"/>
                    <a:pt x="134389" y="87461"/>
                    <a:pt x="136554" y="89733"/>
                  </a:cubicBezTo>
                  <a:cubicBezTo>
                    <a:pt x="138826" y="92006"/>
                    <a:pt x="139691" y="94494"/>
                    <a:pt x="139800" y="96117"/>
                  </a:cubicBezTo>
                  <a:cubicBezTo>
                    <a:pt x="139800" y="97740"/>
                    <a:pt x="139475" y="98606"/>
                    <a:pt x="139475" y="98498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FC5130DE-35B1-4A3D-A640-E8542EB97852}"/>
                </a:ext>
              </a:extLst>
            </p:cNvPr>
            <p:cNvSpPr/>
            <p:nvPr/>
          </p:nvSpPr>
          <p:spPr>
            <a:xfrm flipH="1">
              <a:off x="5211932" y="4076299"/>
              <a:ext cx="143364" cy="26200"/>
            </a:xfrm>
            <a:custGeom>
              <a:avLst/>
              <a:gdLst>
                <a:gd name="connsiteX0" fmla="*/ 130071 w 130071"/>
                <a:gd name="connsiteY0" fmla="*/ 75 h 23771"/>
                <a:gd name="connsiteX1" fmla="*/ 126176 w 130071"/>
                <a:gd name="connsiteY1" fmla="*/ 1481 h 23771"/>
                <a:gd name="connsiteX2" fmla="*/ 114815 w 130071"/>
                <a:gd name="connsiteY2" fmla="*/ 2022 h 23771"/>
                <a:gd name="connsiteX3" fmla="*/ 98368 w 130071"/>
                <a:gd name="connsiteY3" fmla="*/ 4511 h 23771"/>
                <a:gd name="connsiteX4" fmla="*/ 92633 w 130071"/>
                <a:gd name="connsiteY4" fmla="*/ 11652 h 23771"/>
                <a:gd name="connsiteX5" fmla="*/ 95663 w 130071"/>
                <a:gd name="connsiteY5" fmla="*/ 20201 h 23771"/>
                <a:gd name="connsiteX6" fmla="*/ 93607 w 130071"/>
                <a:gd name="connsiteY6" fmla="*/ 21607 h 23771"/>
                <a:gd name="connsiteX7" fmla="*/ 84193 w 130071"/>
                <a:gd name="connsiteY7" fmla="*/ 12951 h 23771"/>
                <a:gd name="connsiteX8" fmla="*/ 70451 w 130071"/>
                <a:gd name="connsiteY8" fmla="*/ 7000 h 23771"/>
                <a:gd name="connsiteX9" fmla="*/ 56493 w 130071"/>
                <a:gd name="connsiteY9" fmla="*/ 9164 h 23771"/>
                <a:gd name="connsiteX10" fmla="*/ 50433 w 130071"/>
                <a:gd name="connsiteY10" fmla="*/ 19984 h 23771"/>
                <a:gd name="connsiteX11" fmla="*/ 50866 w 130071"/>
                <a:gd name="connsiteY11" fmla="*/ 23555 h 23771"/>
                <a:gd name="connsiteX12" fmla="*/ 48161 w 130071"/>
                <a:gd name="connsiteY12" fmla="*/ 21174 h 23771"/>
                <a:gd name="connsiteX13" fmla="*/ 29009 w 130071"/>
                <a:gd name="connsiteY13" fmla="*/ 13276 h 23771"/>
                <a:gd name="connsiteX14" fmla="*/ 12562 w 130071"/>
                <a:gd name="connsiteY14" fmla="*/ 15656 h 23771"/>
                <a:gd name="connsiteX15" fmla="*/ 10 w 130071"/>
                <a:gd name="connsiteY15" fmla="*/ 23663 h 23771"/>
                <a:gd name="connsiteX16" fmla="*/ 2499 w 130071"/>
                <a:gd name="connsiteY16" fmla="*/ 20417 h 23771"/>
                <a:gd name="connsiteX17" fmla="*/ 11913 w 130071"/>
                <a:gd name="connsiteY17" fmla="*/ 14033 h 23771"/>
                <a:gd name="connsiteX18" fmla="*/ 29117 w 130071"/>
                <a:gd name="connsiteY18" fmla="*/ 10895 h 23771"/>
                <a:gd name="connsiteX19" fmla="*/ 49892 w 130071"/>
                <a:gd name="connsiteY19" fmla="*/ 19010 h 23771"/>
                <a:gd name="connsiteX20" fmla="*/ 47620 w 130071"/>
                <a:gd name="connsiteY20" fmla="*/ 20201 h 23771"/>
                <a:gd name="connsiteX21" fmla="*/ 54761 w 130071"/>
                <a:gd name="connsiteY21" fmla="*/ 6567 h 23771"/>
                <a:gd name="connsiteX22" fmla="*/ 70884 w 130071"/>
                <a:gd name="connsiteY22" fmla="*/ 3970 h 23771"/>
                <a:gd name="connsiteX23" fmla="*/ 85491 w 130071"/>
                <a:gd name="connsiteY23" fmla="*/ 10246 h 23771"/>
                <a:gd name="connsiteX24" fmla="*/ 91875 w 130071"/>
                <a:gd name="connsiteY24" fmla="*/ 14358 h 23771"/>
                <a:gd name="connsiteX25" fmla="*/ 96203 w 130071"/>
                <a:gd name="connsiteY25" fmla="*/ 20958 h 23771"/>
                <a:gd name="connsiteX26" fmla="*/ 96636 w 130071"/>
                <a:gd name="connsiteY26" fmla="*/ 23771 h 23771"/>
                <a:gd name="connsiteX27" fmla="*/ 94256 w 130071"/>
                <a:gd name="connsiteY27" fmla="*/ 22473 h 23771"/>
                <a:gd name="connsiteX28" fmla="*/ 90036 w 130071"/>
                <a:gd name="connsiteY28" fmla="*/ 10895 h 23771"/>
                <a:gd name="connsiteX29" fmla="*/ 97177 w 130071"/>
                <a:gd name="connsiteY29" fmla="*/ 2347 h 23771"/>
                <a:gd name="connsiteX30" fmla="*/ 114706 w 130071"/>
                <a:gd name="connsiteY30" fmla="*/ 291 h 23771"/>
                <a:gd name="connsiteX31" fmla="*/ 125851 w 130071"/>
                <a:gd name="connsiteY31" fmla="*/ 507 h 23771"/>
                <a:gd name="connsiteX32" fmla="*/ 130071 w 130071"/>
                <a:gd name="connsiteY32" fmla="*/ 75 h 2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0071" h="23771">
                  <a:moveTo>
                    <a:pt x="130071" y="75"/>
                  </a:moveTo>
                  <a:cubicBezTo>
                    <a:pt x="130071" y="183"/>
                    <a:pt x="128881" y="940"/>
                    <a:pt x="126176" y="1481"/>
                  </a:cubicBezTo>
                  <a:cubicBezTo>
                    <a:pt x="123579" y="2022"/>
                    <a:pt x="119576" y="2239"/>
                    <a:pt x="114815" y="2022"/>
                  </a:cubicBezTo>
                  <a:cubicBezTo>
                    <a:pt x="110054" y="1914"/>
                    <a:pt x="103994" y="1590"/>
                    <a:pt x="98368" y="4511"/>
                  </a:cubicBezTo>
                  <a:cubicBezTo>
                    <a:pt x="95554" y="5918"/>
                    <a:pt x="93282" y="8298"/>
                    <a:pt x="92633" y="11652"/>
                  </a:cubicBezTo>
                  <a:cubicBezTo>
                    <a:pt x="91875" y="14790"/>
                    <a:pt x="92741" y="18686"/>
                    <a:pt x="95663" y="20201"/>
                  </a:cubicBezTo>
                  <a:lnTo>
                    <a:pt x="93607" y="21607"/>
                  </a:lnTo>
                  <a:cubicBezTo>
                    <a:pt x="92957" y="17820"/>
                    <a:pt x="88305" y="15440"/>
                    <a:pt x="84193" y="12951"/>
                  </a:cubicBezTo>
                  <a:cubicBezTo>
                    <a:pt x="79865" y="10462"/>
                    <a:pt x="75428" y="8082"/>
                    <a:pt x="70451" y="7000"/>
                  </a:cubicBezTo>
                  <a:cubicBezTo>
                    <a:pt x="65474" y="5810"/>
                    <a:pt x="60496" y="6459"/>
                    <a:pt x="56493" y="9164"/>
                  </a:cubicBezTo>
                  <a:cubicBezTo>
                    <a:pt x="52489" y="11652"/>
                    <a:pt x="49892" y="15872"/>
                    <a:pt x="50433" y="19984"/>
                  </a:cubicBezTo>
                  <a:lnTo>
                    <a:pt x="50866" y="23555"/>
                  </a:lnTo>
                  <a:lnTo>
                    <a:pt x="48161" y="21174"/>
                  </a:lnTo>
                  <a:cubicBezTo>
                    <a:pt x="42426" y="16197"/>
                    <a:pt x="35393" y="13708"/>
                    <a:pt x="29009" y="13276"/>
                  </a:cubicBezTo>
                  <a:cubicBezTo>
                    <a:pt x="22625" y="12735"/>
                    <a:pt x="16998" y="13925"/>
                    <a:pt x="12562" y="15656"/>
                  </a:cubicBezTo>
                  <a:cubicBezTo>
                    <a:pt x="3689" y="19119"/>
                    <a:pt x="335" y="24096"/>
                    <a:pt x="10" y="23663"/>
                  </a:cubicBezTo>
                  <a:cubicBezTo>
                    <a:pt x="-98" y="23555"/>
                    <a:pt x="659" y="22365"/>
                    <a:pt x="2499" y="20417"/>
                  </a:cubicBezTo>
                  <a:cubicBezTo>
                    <a:pt x="4338" y="18578"/>
                    <a:pt x="7476" y="16089"/>
                    <a:pt x="11913" y="14033"/>
                  </a:cubicBezTo>
                  <a:cubicBezTo>
                    <a:pt x="16349" y="12085"/>
                    <a:pt x="22300" y="10462"/>
                    <a:pt x="29117" y="10895"/>
                  </a:cubicBezTo>
                  <a:cubicBezTo>
                    <a:pt x="35826" y="11111"/>
                    <a:pt x="43616" y="13600"/>
                    <a:pt x="49892" y="19010"/>
                  </a:cubicBezTo>
                  <a:lnTo>
                    <a:pt x="47620" y="20201"/>
                  </a:lnTo>
                  <a:cubicBezTo>
                    <a:pt x="46862" y="14790"/>
                    <a:pt x="50217" y="9488"/>
                    <a:pt x="54761" y="6567"/>
                  </a:cubicBezTo>
                  <a:cubicBezTo>
                    <a:pt x="59306" y="3429"/>
                    <a:pt x="65474" y="2672"/>
                    <a:pt x="70884" y="3970"/>
                  </a:cubicBezTo>
                  <a:cubicBezTo>
                    <a:pt x="76294" y="5160"/>
                    <a:pt x="81055" y="7757"/>
                    <a:pt x="85491" y="10246"/>
                  </a:cubicBezTo>
                  <a:cubicBezTo>
                    <a:pt x="87655" y="11544"/>
                    <a:pt x="89819" y="12735"/>
                    <a:pt x="91875" y="14358"/>
                  </a:cubicBezTo>
                  <a:cubicBezTo>
                    <a:pt x="93823" y="15872"/>
                    <a:pt x="95879" y="18145"/>
                    <a:pt x="96203" y="20958"/>
                  </a:cubicBezTo>
                  <a:lnTo>
                    <a:pt x="96636" y="23771"/>
                  </a:lnTo>
                  <a:lnTo>
                    <a:pt x="94256" y="22473"/>
                  </a:lnTo>
                  <a:cubicBezTo>
                    <a:pt x="89819" y="19984"/>
                    <a:pt x="89062" y="14574"/>
                    <a:pt x="90036" y="10895"/>
                  </a:cubicBezTo>
                  <a:cubicBezTo>
                    <a:pt x="90902" y="6891"/>
                    <a:pt x="94039" y="3754"/>
                    <a:pt x="97177" y="2347"/>
                  </a:cubicBezTo>
                  <a:cubicBezTo>
                    <a:pt x="103670" y="-683"/>
                    <a:pt x="109945" y="-34"/>
                    <a:pt x="114706" y="291"/>
                  </a:cubicBezTo>
                  <a:cubicBezTo>
                    <a:pt x="119576" y="724"/>
                    <a:pt x="123254" y="832"/>
                    <a:pt x="125851" y="507"/>
                  </a:cubicBezTo>
                  <a:cubicBezTo>
                    <a:pt x="128557" y="291"/>
                    <a:pt x="129963" y="-142"/>
                    <a:pt x="130071" y="75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E0A250A2-92B5-46C5-9981-50EAACAA2E86}"/>
                </a:ext>
              </a:extLst>
            </p:cNvPr>
            <p:cNvSpPr/>
            <p:nvPr/>
          </p:nvSpPr>
          <p:spPr>
            <a:xfrm flipH="1">
              <a:off x="5372339" y="4013465"/>
              <a:ext cx="70233" cy="82124"/>
            </a:xfrm>
            <a:custGeom>
              <a:avLst/>
              <a:gdLst>
                <a:gd name="connsiteX0" fmla="*/ 63721 w 63721"/>
                <a:gd name="connsiteY0" fmla="*/ 709 h 74509"/>
                <a:gd name="connsiteX1" fmla="*/ 56039 w 63721"/>
                <a:gd name="connsiteY1" fmla="*/ 1791 h 74509"/>
                <a:gd name="connsiteX2" fmla="*/ 48681 w 63721"/>
                <a:gd name="connsiteY2" fmla="*/ 6443 h 74509"/>
                <a:gd name="connsiteX3" fmla="*/ 44028 w 63721"/>
                <a:gd name="connsiteY3" fmla="*/ 16290 h 74509"/>
                <a:gd name="connsiteX4" fmla="*/ 43920 w 63721"/>
                <a:gd name="connsiteY4" fmla="*/ 17913 h 74509"/>
                <a:gd name="connsiteX5" fmla="*/ 42405 w 63721"/>
                <a:gd name="connsiteY5" fmla="*/ 17372 h 74509"/>
                <a:gd name="connsiteX6" fmla="*/ 31693 w 63721"/>
                <a:gd name="connsiteY6" fmla="*/ 23431 h 74509"/>
                <a:gd name="connsiteX7" fmla="*/ 31152 w 63721"/>
                <a:gd name="connsiteY7" fmla="*/ 39662 h 74509"/>
                <a:gd name="connsiteX8" fmla="*/ 32017 w 63721"/>
                <a:gd name="connsiteY8" fmla="*/ 45397 h 74509"/>
                <a:gd name="connsiteX9" fmla="*/ 28447 w 63721"/>
                <a:gd name="connsiteY9" fmla="*/ 40636 h 74509"/>
                <a:gd name="connsiteX10" fmla="*/ 27906 w 63721"/>
                <a:gd name="connsiteY10" fmla="*/ 39878 h 74509"/>
                <a:gd name="connsiteX11" fmla="*/ 17843 w 63721"/>
                <a:gd name="connsiteY11" fmla="*/ 35658 h 74509"/>
                <a:gd name="connsiteX12" fmla="*/ 8212 w 63721"/>
                <a:gd name="connsiteY12" fmla="*/ 39878 h 74509"/>
                <a:gd name="connsiteX13" fmla="*/ 2261 w 63721"/>
                <a:gd name="connsiteY13" fmla="*/ 57191 h 74509"/>
                <a:gd name="connsiteX14" fmla="*/ 5507 w 63721"/>
                <a:gd name="connsiteY14" fmla="*/ 69851 h 74509"/>
                <a:gd name="connsiteX15" fmla="*/ 7347 w 63721"/>
                <a:gd name="connsiteY15" fmla="*/ 74504 h 74509"/>
                <a:gd name="connsiteX16" fmla="*/ 4534 w 63721"/>
                <a:gd name="connsiteY16" fmla="*/ 70392 h 74509"/>
                <a:gd name="connsiteX17" fmla="*/ 205 w 63721"/>
                <a:gd name="connsiteY17" fmla="*/ 57408 h 74509"/>
                <a:gd name="connsiteX18" fmla="*/ 6265 w 63721"/>
                <a:gd name="connsiteY18" fmla="*/ 37931 h 74509"/>
                <a:gd name="connsiteX19" fmla="*/ 30178 w 63721"/>
                <a:gd name="connsiteY19" fmla="*/ 38039 h 74509"/>
                <a:gd name="connsiteX20" fmla="*/ 30935 w 63721"/>
                <a:gd name="connsiteY20" fmla="*/ 39013 h 74509"/>
                <a:gd name="connsiteX21" fmla="*/ 28230 w 63721"/>
                <a:gd name="connsiteY21" fmla="*/ 40095 h 74509"/>
                <a:gd name="connsiteX22" fmla="*/ 29204 w 63721"/>
                <a:gd name="connsiteY22" fmla="*/ 22241 h 74509"/>
                <a:gd name="connsiteX23" fmla="*/ 43271 w 63721"/>
                <a:gd name="connsiteY23" fmla="*/ 15100 h 74509"/>
                <a:gd name="connsiteX24" fmla="*/ 41647 w 63721"/>
                <a:gd name="connsiteY24" fmla="*/ 16182 h 74509"/>
                <a:gd name="connsiteX25" fmla="*/ 47382 w 63721"/>
                <a:gd name="connsiteY25" fmla="*/ 5037 h 74509"/>
                <a:gd name="connsiteX26" fmla="*/ 55714 w 63721"/>
                <a:gd name="connsiteY26" fmla="*/ 492 h 74509"/>
                <a:gd name="connsiteX27" fmla="*/ 61773 w 63721"/>
                <a:gd name="connsiteY27" fmla="*/ 167 h 74509"/>
                <a:gd name="connsiteX28" fmla="*/ 63721 w 63721"/>
                <a:gd name="connsiteY28" fmla="*/ 709 h 7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3721" h="74509">
                  <a:moveTo>
                    <a:pt x="63721" y="709"/>
                  </a:moveTo>
                  <a:cubicBezTo>
                    <a:pt x="63721" y="1141"/>
                    <a:pt x="60691" y="276"/>
                    <a:pt x="56039" y="1791"/>
                  </a:cubicBezTo>
                  <a:cubicBezTo>
                    <a:pt x="53766" y="2548"/>
                    <a:pt x="51061" y="3955"/>
                    <a:pt x="48681" y="6443"/>
                  </a:cubicBezTo>
                  <a:cubicBezTo>
                    <a:pt x="46300" y="8824"/>
                    <a:pt x="44353" y="12286"/>
                    <a:pt x="44028" y="16290"/>
                  </a:cubicBezTo>
                  <a:lnTo>
                    <a:pt x="43920" y="17913"/>
                  </a:lnTo>
                  <a:lnTo>
                    <a:pt x="42405" y="17372"/>
                  </a:lnTo>
                  <a:cubicBezTo>
                    <a:pt x="38618" y="16074"/>
                    <a:pt x="33749" y="18995"/>
                    <a:pt x="31693" y="23431"/>
                  </a:cubicBezTo>
                  <a:cubicBezTo>
                    <a:pt x="29637" y="27976"/>
                    <a:pt x="30178" y="33819"/>
                    <a:pt x="31152" y="39662"/>
                  </a:cubicBezTo>
                  <a:lnTo>
                    <a:pt x="32017" y="45397"/>
                  </a:lnTo>
                  <a:lnTo>
                    <a:pt x="28447" y="40636"/>
                  </a:lnTo>
                  <a:cubicBezTo>
                    <a:pt x="28230" y="40419"/>
                    <a:pt x="28122" y="40203"/>
                    <a:pt x="27906" y="39878"/>
                  </a:cubicBezTo>
                  <a:cubicBezTo>
                    <a:pt x="25525" y="36957"/>
                    <a:pt x="21522" y="35550"/>
                    <a:pt x="17843" y="35658"/>
                  </a:cubicBezTo>
                  <a:cubicBezTo>
                    <a:pt x="14055" y="35767"/>
                    <a:pt x="10701" y="37390"/>
                    <a:pt x="8212" y="39878"/>
                  </a:cubicBezTo>
                  <a:cubicBezTo>
                    <a:pt x="3235" y="44856"/>
                    <a:pt x="1828" y="51889"/>
                    <a:pt x="2261" y="57191"/>
                  </a:cubicBezTo>
                  <a:cubicBezTo>
                    <a:pt x="2694" y="62709"/>
                    <a:pt x="4317" y="66929"/>
                    <a:pt x="5507" y="69851"/>
                  </a:cubicBezTo>
                  <a:cubicBezTo>
                    <a:pt x="6698" y="72772"/>
                    <a:pt x="7455" y="74287"/>
                    <a:pt x="7347" y="74504"/>
                  </a:cubicBezTo>
                  <a:cubicBezTo>
                    <a:pt x="7239" y="74612"/>
                    <a:pt x="6048" y="73205"/>
                    <a:pt x="4534" y="70392"/>
                  </a:cubicBezTo>
                  <a:cubicBezTo>
                    <a:pt x="3019" y="67579"/>
                    <a:pt x="963" y="63250"/>
                    <a:pt x="205" y="57408"/>
                  </a:cubicBezTo>
                  <a:cubicBezTo>
                    <a:pt x="-552" y="51673"/>
                    <a:pt x="638" y="43882"/>
                    <a:pt x="6265" y="37931"/>
                  </a:cubicBezTo>
                  <a:cubicBezTo>
                    <a:pt x="11567" y="31871"/>
                    <a:pt x="23469" y="30248"/>
                    <a:pt x="30178" y="38039"/>
                  </a:cubicBezTo>
                  <a:cubicBezTo>
                    <a:pt x="30394" y="38364"/>
                    <a:pt x="30719" y="38688"/>
                    <a:pt x="30935" y="39013"/>
                  </a:cubicBezTo>
                  <a:lnTo>
                    <a:pt x="28230" y="40095"/>
                  </a:lnTo>
                  <a:cubicBezTo>
                    <a:pt x="27365" y="34252"/>
                    <a:pt x="26607" y="27868"/>
                    <a:pt x="29204" y="22241"/>
                  </a:cubicBezTo>
                  <a:cubicBezTo>
                    <a:pt x="31801" y="16831"/>
                    <a:pt x="37860" y="13152"/>
                    <a:pt x="43271" y="15100"/>
                  </a:cubicBezTo>
                  <a:lnTo>
                    <a:pt x="41647" y="16182"/>
                  </a:lnTo>
                  <a:cubicBezTo>
                    <a:pt x="42188" y="11421"/>
                    <a:pt x="44677" y="7525"/>
                    <a:pt x="47382" y="5037"/>
                  </a:cubicBezTo>
                  <a:cubicBezTo>
                    <a:pt x="50088" y="2440"/>
                    <a:pt x="53225" y="1141"/>
                    <a:pt x="55714" y="492"/>
                  </a:cubicBezTo>
                  <a:cubicBezTo>
                    <a:pt x="58311" y="-157"/>
                    <a:pt x="60367" y="-49"/>
                    <a:pt x="61773" y="167"/>
                  </a:cubicBezTo>
                  <a:cubicBezTo>
                    <a:pt x="63072" y="276"/>
                    <a:pt x="63721" y="600"/>
                    <a:pt x="63721" y="709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3381A0C3-A92F-48D3-B17C-A18B2F065D1F}"/>
                </a:ext>
              </a:extLst>
            </p:cNvPr>
            <p:cNvSpPr/>
            <p:nvPr/>
          </p:nvSpPr>
          <p:spPr>
            <a:xfrm flipH="1">
              <a:off x="5513771" y="4024499"/>
              <a:ext cx="43967" cy="87937"/>
            </a:xfrm>
            <a:custGeom>
              <a:avLst/>
              <a:gdLst>
                <a:gd name="connsiteX0" fmla="*/ 39877 w 39890"/>
                <a:gd name="connsiteY0" fmla="*/ 79749 h 79783"/>
                <a:gd name="connsiteX1" fmla="*/ 35982 w 39890"/>
                <a:gd name="connsiteY1" fmla="*/ 78884 h 79783"/>
                <a:gd name="connsiteX2" fmla="*/ 27109 w 39890"/>
                <a:gd name="connsiteY2" fmla="*/ 72608 h 79783"/>
                <a:gd name="connsiteX3" fmla="*/ 20400 w 39890"/>
                <a:gd name="connsiteY3" fmla="*/ 57892 h 79783"/>
                <a:gd name="connsiteX4" fmla="*/ 18453 w 39890"/>
                <a:gd name="connsiteY4" fmla="*/ 49885 h 79783"/>
                <a:gd name="connsiteX5" fmla="*/ 10987 w 39890"/>
                <a:gd name="connsiteY5" fmla="*/ 43068 h 79783"/>
                <a:gd name="connsiteX6" fmla="*/ 14774 w 39890"/>
                <a:gd name="connsiteY6" fmla="*/ 23267 h 79783"/>
                <a:gd name="connsiteX7" fmla="*/ 14666 w 39890"/>
                <a:gd name="connsiteY7" fmla="*/ 25431 h 79783"/>
                <a:gd name="connsiteX8" fmla="*/ 2114 w 39890"/>
                <a:gd name="connsiteY8" fmla="*/ 8010 h 79783"/>
                <a:gd name="connsiteX9" fmla="*/ 58 w 39890"/>
                <a:gd name="connsiteY9" fmla="*/ 3 h 79783"/>
                <a:gd name="connsiteX10" fmla="*/ 3629 w 39890"/>
                <a:gd name="connsiteY10" fmla="*/ 7361 h 79783"/>
                <a:gd name="connsiteX11" fmla="*/ 16397 w 39890"/>
                <a:gd name="connsiteY11" fmla="*/ 23375 h 79783"/>
                <a:gd name="connsiteX12" fmla="*/ 17804 w 39890"/>
                <a:gd name="connsiteY12" fmla="*/ 24565 h 79783"/>
                <a:gd name="connsiteX13" fmla="*/ 16289 w 39890"/>
                <a:gd name="connsiteY13" fmla="*/ 25539 h 79783"/>
                <a:gd name="connsiteX14" fmla="*/ 13475 w 39890"/>
                <a:gd name="connsiteY14" fmla="*/ 41445 h 79783"/>
                <a:gd name="connsiteX15" fmla="*/ 20725 w 39890"/>
                <a:gd name="connsiteY15" fmla="*/ 47937 h 79783"/>
                <a:gd name="connsiteX16" fmla="*/ 23214 w 39890"/>
                <a:gd name="connsiteY16" fmla="*/ 57568 h 79783"/>
                <a:gd name="connsiteX17" fmla="*/ 28840 w 39890"/>
                <a:gd name="connsiteY17" fmla="*/ 71201 h 79783"/>
                <a:gd name="connsiteX18" fmla="*/ 39877 w 39890"/>
                <a:gd name="connsiteY18" fmla="*/ 79749 h 7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890" h="79783">
                  <a:moveTo>
                    <a:pt x="39877" y="79749"/>
                  </a:moveTo>
                  <a:cubicBezTo>
                    <a:pt x="39877" y="79858"/>
                    <a:pt x="38362" y="79749"/>
                    <a:pt x="35982" y="78884"/>
                  </a:cubicBezTo>
                  <a:cubicBezTo>
                    <a:pt x="33601" y="77910"/>
                    <a:pt x="30247" y="76070"/>
                    <a:pt x="27109" y="72608"/>
                  </a:cubicBezTo>
                  <a:cubicBezTo>
                    <a:pt x="23971" y="69254"/>
                    <a:pt x="21050" y="64168"/>
                    <a:pt x="20400" y="57892"/>
                  </a:cubicBezTo>
                  <a:cubicBezTo>
                    <a:pt x="20076" y="54862"/>
                    <a:pt x="20292" y="51833"/>
                    <a:pt x="18453" y="49885"/>
                  </a:cubicBezTo>
                  <a:cubicBezTo>
                    <a:pt x="16830" y="47829"/>
                    <a:pt x="13151" y="46531"/>
                    <a:pt x="10987" y="43068"/>
                  </a:cubicBezTo>
                  <a:cubicBezTo>
                    <a:pt x="6659" y="36143"/>
                    <a:pt x="8931" y="27054"/>
                    <a:pt x="14774" y="23267"/>
                  </a:cubicBezTo>
                  <a:lnTo>
                    <a:pt x="14666" y="25431"/>
                  </a:lnTo>
                  <a:cubicBezTo>
                    <a:pt x="7957" y="19480"/>
                    <a:pt x="4062" y="12879"/>
                    <a:pt x="2114" y="8010"/>
                  </a:cubicBezTo>
                  <a:cubicBezTo>
                    <a:pt x="166" y="3141"/>
                    <a:pt x="-158" y="3"/>
                    <a:pt x="58" y="3"/>
                  </a:cubicBezTo>
                  <a:cubicBezTo>
                    <a:pt x="383" y="-105"/>
                    <a:pt x="1248" y="2816"/>
                    <a:pt x="3629" y="7361"/>
                  </a:cubicBezTo>
                  <a:cubicBezTo>
                    <a:pt x="5901" y="11905"/>
                    <a:pt x="9905" y="18073"/>
                    <a:pt x="16397" y="23375"/>
                  </a:cubicBezTo>
                  <a:lnTo>
                    <a:pt x="17804" y="24565"/>
                  </a:lnTo>
                  <a:lnTo>
                    <a:pt x="16289" y="25539"/>
                  </a:lnTo>
                  <a:cubicBezTo>
                    <a:pt x="11852" y="28461"/>
                    <a:pt x="10013" y="36143"/>
                    <a:pt x="13475" y="41445"/>
                  </a:cubicBezTo>
                  <a:cubicBezTo>
                    <a:pt x="14990" y="43934"/>
                    <a:pt x="18128" y="45124"/>
                    <a:pt x="20725" y="47937"/>
                  </a:cubicBezTo>
                  <a:cubicBezTo>
                    <a:pt x="23322" y="51075"/>
                    <a:pt x="22889" y="54862"/>
                    <a:pt x="23214" y="57568"/>
                  </a:cubicBezTo>
                  <a:cubicBezTo>
                    <a:pt x="23647" y="63086"/>
                    <a:pt x="26135" y="67847"/>
                    <a:pt x="28840" y="71201"/>
                  </a:cubicBezTo>
                  <a:cubicBezTo>
                    <a:pt x="34359" y="78018"/>
                    <a:pt x="40202" y="79208"/>
                    <a:pt x="39877" y="79749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642E4D3E-16E2-4852-8C2D-6B7770C7C66E}"/>
                </a:ext>
              </a:extLst>
            </p:cNvPr>
            <p:cNvSpPr/>
            <p:nvPr/>
          </p:nvSpPr>
          <p:spPr>
            <a:xfrm flipH="1">
              <a:off x="5555407" y="4086988"/>
              <a:ext cx="134318" cy="54272"/>
            </a:xfrm>
            <a:custGeom>
              <a:avLst/>
              <a:gdLst>
                <a:gd name="connsiteX0" fmla="*/ 121864 w 121864"/>
                <a:gd name="connsiteY0" fmla="*/ 48915 h 49240"/>
                <a:gd name="connsiteX1" fmla="*/ 119376 w 121864"/>
                <a:gd name="connsiteY1" fmla="*/ 49240 h 49240"/>
                <a:gd name="connsiteX2" fmla="*/ 112451 w 121864"/>
                <a:gd name="connsiteY2" fmla="*/ 48591 h 49240"/>
                <a:gd name="connsiteX3" fmla="*/ 90810 w 121864"/>
                <a:gd name="connsiteY3" fmla="*/ 36256 h 49240"/>
                <a:gd name="connsiteX4" fmla="*/ 92757 w 121864"/>
                <a:gd name="connsiteY4" fmla="*/ 36256 h 49240"/>
                <a:gd name="connsiteX5" fmla="*/ 75445 w 121864"/>
                <a:gd name="connsiteY5" fmla="*/ 45345 h 49240"/>
                <a:gd name="connsiteX6" fmla="*/ 64516 w 121864"/>
                <a:gd name="connsiteY6" fmla="*/ 44046 h 49240"/>
                <a:gd name="connsiteX7" fmla="*/ 55211 w 121864"/>
                <a:gd name="connsiteY7" fmla="*/ 36688 h 49240"/>
                <a:gd name="connsiteX8" fmla="*/ 54020 w 121864"/>
                <a:gd name="connsiteY8" fmla="*/ 32468 h 49240"/>
                <a:gd name="connsiteX9" fmla="*/ 52181 w 121864"/>
                <a:gd name="connsiteY9" fmla="*/ 29763 h 49240"/>
                <a:gd name="connsiteX10" fmla="*/ 45364 w 121864"/>
                <a:gd name="connsiteY10" fmla="*/ 26734 h 49240"/>
                <a:gd name="connsiteX11" fmla="*/ 37790 w 121864"/>
                <a:gd name="connsiteY11" fmla="*/ 23596 h 49240"/>
                <a:gd name="connsiteX12" fmla="*/ 33570 w 121864"/>
                <a:gd name="connsiteY12" fmla="*/ 16346 h 49240"/>
                <a:gd name="connsiteX13" fmla="*/ 35409 w 121864"/>
                <a:gd name="connsiteY13" fmla="*/ 17644 h 49240"/>
                <a:gd name="connsiteX14" fmla="*/ 17447 w 121864"/>
                <a:gd name="connsiteY14" fmla="*/ 18077 h 49240"/>
                <a:gd name="connsiteX15" fmla="*/ 5653 w 121864"/>
                <a:gd name="connsiteY15" fmla="*/ 10719 h 49240"/>
                <a:gd name="connsiteX16" fmla="*/ 784 w 121864"/>
                <a:gd name="connsiteY16" fmla="*/ 3145 h 49240"/>
                <a:gd name="connsiteX17" fmla="*/ 27 w 121864"/>
                <a:gd name="connsiteY17" fmla="*/ 7 h 49240"/>
                <a:gd name="connsiteX18" fmla="*/ 6735 w 121864"/>
                <a:gd name="connsiteY18" fmla="*/ 9529 h 49240"/>
                <a:gd name="connsiteX19" fmla="*/ 17988 w 121864"/>
                <a:gd name="connsiteY19" fmla="*/ 15913 h 49240"/>
                <a:gd name="connsiteX20" fmla="*/ 34219 w 121864"/>
                <a:gd name="connsiteY20" fmla="*/ 15156 h 49240"/>
                <a:gd name="connsiteX21" fmla="*/ 36167 w 121864"/>
                <a:gd name="connsiteY21" fmla="*/ 14290 h 49240"/>
                <a:gd name="connsiteX22" fmla="*/ 36059 w 121864"/>
                <a:gd name="connsiteY22" fmla="*/ 16454 h 49240"/>
                <a:gd name="connsiteX23" fmla="*/ 39088 w 121864"/>
                <a:gd name="connsiteY23" fmla="*/ 21215 h 49240"/>
                <a:gd name="connsiteX24" fmla="*/ 45905 w 121864"/>
                <a:gd name="connsiteY24" fmla="*/ 23812 h 49240"/>
                <a:gd name="connsiteX25" fmla="*/ 53804 w 121864"/>
                <a:gd name="connsiteY25" fmla="*/ 27383 h 49240"/>
                <a:gd name="connsiteX26" fmla="*/ 56509 w 121864"/>
                <a:gd name="connsiteY26" fmla="*/ 31495 h 49240"/>
                <a:gd name="connsiteX27" fmla="*/ 57591 w 121864"/>
                <a:gd name="connsiteY27" fmla="*/ 35390 h 49240"/>
                <a:gd name="connsiteX28" fmla="*/ 65274 w 121864"/>
                <a:gd name="connsiteY28" fmla="*/ 41125 h 49240"/>
                <a:gd name="connsiteX29" fmla="*/ 75012 w 121864"/>
                <a:gd name="connsiteY29" fmla="*/ 42315 h 49240"/>
                <a:gd name="connsiteX30" fmla="*/ 90593 w 121864"/>
                <a:gd name="connsiteY30" fmla="*/ 34416 h 49240"/>
                <a:gd name="connsiteX31" fmla="*/ 91567 w 121864"/>
                <a:gd name="connsiteY31" fmla="*/ 33226 h 49240"/>
                <a:gd name="connsiteX32" fmla="*/ 92541 w 121864"/>
                <a:gd name="connsiteY32" fmla="*/ 34308 h 49240"/>
                <a:gd name="connsiteX33" fmla="*/ 112667 w 121864"/>
                <a:gd name="connsiteY33" fmla="*/ 46860 h 49240"/>
                <a:gd name="connsiteX34" fmla="*/ 121864 w 121864"/>
                <a:gd name="connsiteY34" fmla="*/ 48915 h 49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21864" h="49240">
                  <a:moveTo>
                    <a:pt x="121864" y="48915"/>
                  </a:moveTo>
                  <a:cubicBezTo>
                    <a:pt x="121864" y="49024"/>
                    <a:pt x="120999" y="49132"/>
                    <a:pt x="119376" y="49240"/>
                  </a:cubicBezTo>
                  <a:cubicBezTo>
                    <a:pt x="117753" y="49240"/>
                    <a:pt x="115372" y="49240"/>
                    <a:pt x="112451" y="48591"/>
                  </a:cubicBezTo>
                  <a:cubicBezTo>
                    <a:pt x="106608" y="47509"/>
                    <a:pt x="97951" y="44263"/>
                    <a:pt x="90810" y="36256"/>
                  </a:cubicBezTo>
                  <a:lnTo>
                    <a:pt x="92757" y="36256"/>
                  </a:lnTo>
                  <a:cubicBezTo>
                    <a:pt x="88970" y="41125"/>
                    <a:pt x="82586" y="44695"/>
                    <a:pt x="75445" y="45345"/>
                  </a:cubicBezTo>
                  <a:cubicBezTo>
                    <a:pt x="71874" y="45669"/>
                    <a:pt x="68087" y="45345"/>
                    <a:pt x="64516" y="44046"/>
                  </a:cubicBezTo>
                  <a:cubicBezTo>
                    <a:pt x="61054" y="42640"/>
                    <a:pt x="57267" y="40908"/>
                    <a:pt x="55211" y="36688"/>
                  </a:cubicBezTo>
                  <a:cubicBezTo>
                    <a:pt x="54453" y="35065"/>
                    <a:pt x="54453" y="33550"/>
                    <a:pt x="54020" y="32468"/>
                  </a:cubicBezTo>
                  <a:cubicBezTo>
                    <a:pt x="53696" y="31386"/>
                    <a:pt x="53047" y="30521"/>
                    <a:pt x="52181" y="29763"/>
                  </a:cubicBezTo>
                  <a:cubicBezTo>
                    <a:pt x="50450" y="28249"/>
                    <a:pt x="47853" y="27491"/>
                    <a:pt x="45364" y="26734"/>
                  </a:cubicBezTo>
                  <a:cubicBezTo>
                    <a:pt x="42875" y="26084"/>
                    <a:pt x="40062" y="25219"/>
                    <a:pt x="37790" y="23596"/>
                  </a:cubicBezTo>
                  <a:cubicBezTo>
                    <a:pt x="35517" y="22189"/>
                    <a:pt x="33353" y="19376"/>
                    <a:pt x="33570" y="16346"/>
                  </a:cubicBezTo>
                  <a:lnTo>
                    <a:pt x="35409" y="17644"/>
                  </a:lnTo>
                  <a:cubicBezTo>
                    <a:pt x="29133" y="20133"/>
                    <a:pt x="22533" y="19809"/>
                    <a:pt x="17447" y="18077"/>
                  </a:cubicBezTo>
                  <a:cubicBezTo>
                    <a:pt x="12254" y="16454"/>
                    <a:pt x="8358" y="13533"/>
                    <a:pt x="5653" y="10719"/>
                  </a:cubicBezTo>
                  <a:cubicBezTo>
                    <a:pt x="2948" y="7906"/>
                    <a:pt x="1541" y="5093"/>
                    <a:pt x="784" y="3145"/>
                  </a:cubicBezTo>
                  <a:cubicBezTo>
                    <a:pt x="135" y="1198"/>
                    <a:pt x="-82" y="115"/>
                    <a:pt x="27" y="7"/>
                  </a:cubicBezTo>
                  <a:cubicBezTo>
                    <a:pt x="459" y="-209"/>
                    <a:pt x="1325" y="4444"/>
                    <a:pt x="6735" y="9529"/>
                  </a:cubicBezTo>
                  <a:cubicBezTo>
                    <a:pt x="9440" y="12018"/>
                    <a:pt x="13227" y="14615"/>
                    <a:pt x="17988" y="15913"/>
                  </a:cubicBezTo>
                  <a:cubicBezTo>
                    <a:pt x="22749" y="17428"/>
                    <a:pt x="28701" y="17536"/>
                    <a:pt x="34219" y="15156"/>
                  </a:cubicBezTo>
                  <a:lnTo>
                    <a:pt x="36167" y="14290"/>
                  </a:lnTo>
                  <a:lnTo>
                    <a:pt x="36059" y="16454"/>
                  </a:lnTo>
                  <a:cubicBezTo>
                    <a:pt x="35950" y="18294"/>
                    <a:pt x="37249" y="20025"/>
                    <a:pt x="39088" y="21215"/>
                  </a:cubicBezTo>
                  <a:cubicBezTo>
                    <a:pt x="41036" y="22514"/>
                    <a:pt x="43200" y="23163"/>
                    <a:pt x="45905" y="23812"/>
                  </a:cubicBezTo>
                  <a:cubicBezTo>
                    <a:pt x="48502" y="24569"/>
                    <a:pt x="51315" y="25327"/>
                    <a:pt x="53804" y="27383"/>
                  </a:cubicBezTo>
                  <a:cubicBezTo>
                    <a:pt x="55102" y="28357"/>
                    <a:pt x="56076" y="29872"/>
                    <a:pt x="56509" y="31495"/>
                  </a:cubicBezTo>
                  <a:cubicBezTo>
                    <a:pt x="56942" y="33010"/>
                    <a:pt x="57050" y="34416"/>
                    <a:pt x="57591" y="35390"/>
                  </a:cubicBezTo>
                  <a:cubicBezTo>
                    <a:pt x="58890" y="38095"/>
                    <a:pt x="62244" y="40043"/>
                    <a:pt x="65274" y="41125"/>
                  </a:cubicBezTo>
                  <a:cubicBezTo>
                    <a:pt x="68412" y="42207"/>
                    <a:pt x="71766" y="42640"/>
                    <a:pt x="75012" y="42315"/>
                  </a:cubicBezTo>
                  <a:cubicBezTo>
                    <a:pt x="81396" y="41774"/>
                    <a:pt x="87131" y="38636"/>
                    <a:pt x="90593" y="34416"/>
                  </a:cubicBezTo>
                  <a:lnTo>
                    <a:pt x="91567" y="33226"/>
                  </a:lnTo>
                  <a:lnTo>
                    <a:pt x="92541" y="34308"/>
                  </a:lnTo>
                  <a:cubicBezTo>
                    <a:pt x="99033" y="41882"/>
                    <a:pt x="107149" y="45345"/>
                    <a:pt x="112667" y="46860"/>
                  </a:cubicBezTo>
                  <a:cubicBezTo>
                    <a:pt x="118402" y="48699"/>
                    <a:pt x="121864" y="48591"/>
                    <a:pt x="121864" y="48915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B4321FA6-ABA6-41CB-A1BD-48DB729A33DD}"/>
                </a:ext>
              </a:extLst>
            </p:cNvPr>
            <p:cNvSpPr/>
            <p:nvPr/>
          </p:nvSpPr>
          <p:spPr>
            <a:xfrm flipH="1">
              <a:off x="5616469" y="4148980"/>
              <a:ext cx="195564" cy="91388"/>
            </a:xfrm>
            <a:custGeom>
              <a:avLst/>
              <a:gdLst>
                <a:gd name="connsiteX0" fmla="*/ 842 w 177431"/>
                <a:gd name="connsiteY0" fmla="*/ 82913 h 82914"/>
                <a:gd name="connsiteX1" fmla="*/ 518 w 177431"/>
                <a:gd name="connsiteY1" fmla="*/ 81939 h 82914"/>
                <a:gd name="connsiteX2" fmla="*/ 85 w 177431"/>
                <a:gd name="connsiteY2" fmla="*/ 78910 h 82914"/>
                <a:gd name="connsiteX3" fmla="*/ 1491 w 177431"/>
                <a:gd name="connsiteY3" fmla="*/ 67224 h 82914"/>
                <a:gd name="connsiteX4" fmla="*/ 9390 w 177431"/>
                <a:gd name="connsiteY4" fmla="*/ 50777 h 82914"/>
                <a:gd name="connsiteX5" fmla="*/ 15883 w 177431"/>
                <a:gd name="connsiteY5" fmla="*/ 41471 h 82914"/>
                <a:gd name="connsiteX6" fmla="*/ 20968 w 177431"/>
                <a:gd name="connsiteY6" fmla="*/ 37576 h 82914"/>
                <a:gd name="connsiteX7" fmla="*/ 28218 w 177431"/>
                <a:gd name="connsiteY7" fmla="*/ 37576 h 82914"/>
                <a:gd name="connsiteX8" fmla="*/ 26378 w 177431"/>
                <a:gd name="connsiteY8" fmla="*/ 38766 h 82914"/>
                <a:gd name="connsiteX9" fmla="*/ 35576 w 177431"/>
                <a:gd name="connsiteY9" fmla="*/ 20263 h 82914"/>
                <a:gd name="connsiteX10" fmla="*/ 58190 w 177431"/>
                <a:gd name="connsiteY10" fmla="*/ 21778 h 82914"/>
                <a:gd name="connsiteX11" fmla="*/ 55810 w 177431"/>
                <a:gd name="connsiteY11" fmla="*/ 22968 h 82914"/>
                <a:gd name="connsiteX12" fmla="*/ 61220 w 177431"/>
                <a:gd name="connsiteY12" fmla="*/ 11931 h 82914"/>
                <a:gd name="connsiteX13" fmla="*/ 73772 w 177431"/>
                <a:gd name="connsiteY13" fmla="*/ 10417 h 82914"/>
                <a:gd name="connsiteX14" fmla="*/ 79507 w 177431"/>
                <a:gd name="connsiteY14" fmla="*/ 14745 h 82914"/>
                <a:gd name="connsiteX15" fmla="*/ 76801 w 177431"/>
                <a:gd name="connsiteY15" fmla="*/ 15718 h 82914"/>
                <a:gd name="connsiteX16" fmla="*/ 79939 w 177431"/>
                <a:gd name="connsiteY16" fmla="*/ 8793 h 82914"/>
                <a:gd name="connsiteX17" fmla="*/ 86540 w 177431"/>
                <a:gd name="connsiteY17" fmla="*/ 5980 h 82914"/>
                <a:gd name="connsiteX18" fmla="*/ 99091 w 177431"/>
                <a:gd name="connsiteY18" fmla="*/ 9226 h 82914"/>
                <a:gd name="connsiteX19" fmla="*/ 97252 w 177431"/>
                <a:gd name="connsiteY19" fmla="*/ 9767 h 82914"/>
                <a:gd name="connsiteX20" fmla="*/ 110020 w 177431"/>
                <a:gd name="connsiteY20" fmla="*/ 895 h 82914"/>
                <a:gd name="connsiteX21" fmla="*/ 124411 w 177431"/>
                <a:gd name="connsiteY21" fmla="*/ 895 h 82914"/>
                <a:gd name="connsiteX22" fmla="*/ 146593 w 177431"/>
                <a:gd name="connsiteY22" fmla="*/ 11931 h 82914"/>
                <a:gd name="connsiteX23" fmla="*/ 145078 w 177431"/>
                <a:gd name="connsiteY23" fmla="*/ 13230 h 82914"/>
                <a:gd name="connsiteX24" fmla="*/ 145619 w 177431"/>
                <a:gd name="connsiteY24" fmla="*/ 8144 h 82914"/>
                <a:gd name="connsiteX25" fmla="*/ 149298 w 177431"/>
                <a:gd name="connsiteY25" fmla="*/ 5331 h 82914"/>
                <a:gd name="connsiteX26" fmla="*/ 157089 w 177431"/>
                <a:gd name="connsiteY26" fmla="*/ 4141 h 82914"/>
                <a:gd name="connsiteX27" fmla="*/ 168775 w 177431"/>
                <a:gd name="connsiteY27" fmla="*/ 7711 h 82914"/>
                <a:gd name="connsiteX28" fmla="*/ 175375 w 177431"/>
                <a:gd name="connsiteY28" fmla="*/ 11607 h 82914"/>
                <a:gd name="connsiteX29" fmla="*/ 177431 w 177431"/>
                <a:gd name="connsiteY29" fmla="*/ 13446 h 82914"/>
                <a:gd name="connsiteX30" fmla="*/ 168342 w 177431"/>
                <a:gd name="connsiteY30" fmla="*/ 8793 h 82914"/>
                <a:gd name="connsiteX31" fmla="*/ 156872 w 177431"/>
                <a:gd name="connsiteY31" fmla="*/ 5872 h 82914"/>
                <a:gd name="connsiteX32" fmla="*/ 150056 w 177431"/>
                <a:gd name="connsiteY32" fmla="*/ 7170 h 82914"/>
                <a:gd name="connsiteX33" fmla="*/ 147026 w 177431"/>
                <a:gd name="connsiteY33" fmla="*/ 12472 h 82914"/>
                <a:gd name="connsiteX34" fmla="*/ 148649 w 177431"/>
                <a:gd name="connsiteY34" fmla="*/ 15718 h 82914"/>
                <a:gd name="connsiteX35" fmla="*/ 145511 w 177431"/>
                <a:gd name="connsiteY35" fmla="*/ 13771 h 82914"/>
                <a:gd name="connsiteX36" fmla="*/ 123870 w 177431"/>
                <a:gd name="connsiteY36" fmla="*/ 3383 h 82914"/>
                <a:gd name="connsiteX37" fmla="*/ 110777 w 177431"/>
                <a:gd name="connsiteY37" fmla="*/ 3491 h 82914"/>
                <a:gd name="connsiteX38" fmla="*/ 99741 w 177431"/>
                <a:gd name="connsiteY38" fmla="*/ 11174 h 82914"/>
                <a:gd name="connsiteX39" fmla="*/ 99091 w 177431"/>
                <a:gd name="connsiteY39" fmla="*/ 12256 h 82914"/>
                <a:gd name="connsiteX40" fmla="*/ 97901 w 177431"/>
                <a:gd name="connsiteY40" fmla="*/ 11715 h 82914"/>
                <a:gd name="connsiteX41" fmla="*/ 86756 w 177431"/>
                <a:gd name="connsiteY41" fmla="*/ 8793 h 82914"/>
                <a:gd name="connsiteX42" fmla="*/ 79723 w 177431"/>
                <a:gd name="connsiteY42" fmla="*/ 15286 h 82914"/>
                <a:gd name="connsiteX43" fmla="*/ 80156 w 177431"/>
                <a:gd name="connsiteY43" fmla="*/ 20479 h 82914"/>
                <a:gd name="connsiteX44" fmla="*/ 77018 w 177431"/>
                <a:gd name="connsiteY44" fmla="*/ 16259 h 82914"/>
                <a:gd name="connsiteX45" fmla="*/ 72581 w 177431"/>
                <a:gd name="connsiteY45" fmla="*/ 12905 h 82914"/>
                <a:gd name="connsiteX46" fmla="*/ 62843 w 177431"/>
                <a:gd name="connsiteY46" fmla="*/ 14095 h 82914"/>
                <a:gd name="connsiteX47" fmla="*/ 58515 w 177431"/>
                <a:gd name="connsiteY47" fmla="*/ 22643 h 82914"/>
                <a:gd name="connsiteX48" fmla="*/ 58623 w 177431"/>
                <a:gd name="connsiteY48" fmla="*/ 25781 h 82914"/>
                <a:gd name="connsiteX49" fmla="*/ 56134 w 177431"/>
                <a:gd name="connsiteY49" fmla="*/ 23726 h 82914"/>
                <a:gd name="connsiteX50" fmla="*/ 36766 w 177431"/>
                <a:gd name="connsiteY50" fmla="*/ 22319 h 82914"/>
                <a:gd name="connsiteX51" fmla="*/ 28651 w 177431"/>
                <a:gd name="connsiteY51" fmla="*/ 38333 h 82914"/>
                <a:gd name="connsiteX52" fmla="*/ 28867 w 177431"/>
                <a:gd name="connsiteY52" fmla="*/ 40714 h 82914"/>
                <a:gd name="connsiteX53" fmla="*/ 26811 w 177431"/>
                <a:gd name="connsiteY53" fmla="*/ 39523 h 82914"/>
                <a:gd name="connsiteX54" fmla="*/ 17397 w 177431"/>
                <a:gd name="connsiteY54" fmla="*/ 42878 h 82914"/>
                <a:gd name="connsiteX55" fmla="*/ 10905 w 177431"/>
                <a:gd name="connsiteY55" fmla="*/ 51750 h 82914"/>
                <a:gd name="connsiteX56" fmla="*/ 2682 w 177431"/>
                <a:gd name="connsiteY56" fmla="*/ 67548 h 82914"/>
                <a:gd name="connsiteX57" fmla="*/ 842 w 177431"/>
                <a:gd name="connsiteY57" fmla="*/ 82913 h 8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7431" h="82914">
                  <a:moveTo>
                    <a:pt x="842" y="82913"/>
                  </a:moveTo>
                  <a:cubicBezTo>
                    <a:pt x="734" y="82913"/>
                    <a:pt x="626" y="82589"/>
                    <a:pt x="518" y="81939"/>
                  </a:cubicBezTo>
                  <a:cubicBezTo>
                    <a:pt x="301" y="81290"/>
                    <a:pt x="85" y="80208"/>
                    <a:pt x="85" y="78910"/>
                  </a:cubicBezTo>
                  <a:cubicBezTo>
                    <a:pt x="-132" y="76204"/>
                    <a:pt x="-23" y="72093"/>
                    <a:pt x="1491" y="67224"/>
                  </a:cubicBezTo>
                  <a:cubicBezTo>
                    <a:pt x="2898" y="62354"/>
                    <a:pt x="5711" y="56728"/>
                    <a:pt x="9390" y="50777"/>
                  </a:cubicBezTo>
                  <a:cubicBezTo>
                    <a:pt x="11338" y="47855"/>
                    <a:pt x="13069" y="44501"/>
                    <a:pt x="15883" y="41471"/>
                  </a:cubicBezTo>
                  <a:cubicBezTo>
                    <a:pt x="17289" y="39956"/>
                    <a:pt x="18912" y="38549"/>
                    <a:pt x="20968" y="37576"/>
                  </a:cubicBezTo>
                  <a:cubicBezTo>
                    <a:pt x="23024" y="36494"/>
                    <a:pt x="25837" y="36277"/>
                    <a:pt x="28218" y="37576"/>
                  </a:cubicBezTo>
                  <a:lnTo>
                    <a:pt x="26378" y="38766"/>
                  </a:lnTo>
                  <a:cubicBezTo>
                    <a:pt x="25729" y="31949"/>
                    <a:pt x="28975" y="24375"/>
                    <a:pt x="35576" y="20263"/>
                  </a:cubicBezTo>
                  <a:cubicBezTo>
                    <a:pt x="42176" y="16151"/>
                    <a:pt x="51590" y="16476"/>
                    <a:pt x="58190" y="21778"/>
                  </a:cubicBezTo>
                  <a:lnTo>
                    <a:pt x="55810" y="22968"/>
                  </a:lnTo>
                  <a:cubicBezTo>
                    <a:pt x="55702" y="18748"/>
                    <a:pt x="57758" y="14528"/>
                    <a:pt x="61220" y="11931"/>
                  </a:cubicBezTo>
                  <a:cubicBezTo>
                    <a:pt x="64683" y="9226"/>
                    <a:pt x="69660" y="8793"/>
                    <a:pt x="73772" y="10417"/>
                  </a:cubicBezTo>
                  <a:cubicBezTo>
                    <a:pt x="76044" y="11282"/>
                    <a:pt x="78100" y="12797"/>
                    <a:pt x="79507" y="14745"/>
                  </a:cubicBezTo>
                  <a:lnTo>
                    <a:pt x="76801" y="15718"/>
                  </a:lnTo>
                  <a:cubicBezTo>
                    <a:pt x="76585" y="12905"/>
                    <a:pt x="77992" y="10417"/>
                    <a:pt x="79939" y="8793"/>
                  </a:cubicBezTo>
                  <a:cubicBezTo>
                    <a:pt x="81779" y="7170"/>
                    <a:pt x="84159" y="6196"/>
                    <a:pt x="86540" y="5980"/>
                  </a:cubicBezTo>
                  <a:cubicBezTo>
                    <a:pt x="91301" y="5656"/>
                    <a:pt x="95413" y="7603"/>
                    <a:pt x="99091" y="9226"/>
                  </a:cubicBezTo>
                  <a:lnTo>
                    <a:pt x="97252" y="9767"/>
                  </a:lnTo>
                  <a:cubicBezTo>
                    <a:pt x="100174" y="5006"/>
                    <a:pt x="105151" y="2085"/>
                    <a:pt x="110020" y="895"/>
                  </a:cubicBezTo>
                  <a:cubicBezTo>
                    <a:pt x="114889" y="-404"/>
                    <a:pt x="119975" y="-188"/>
                    <a:pt x="124411" y="895"/>
                  </a:cubicBezTo>
                  <a:cubicBezTo>
                    <a:pt x="133392" y="3167"/>
                    <a:pt x="140425" y="8036"/>
                    <a:pt x="146593" y="11931"/>
                  </a:cubicBezTo>
                  <a:lnTo>
                    <a:pt x="145078" y="13230"/>
                  </a:lnTo>
                  <a:cubicBezTo>
                    <a:pt x="144321" y="11607"/>
                    <a:pt x="144645" y="9443"/>
                    <a:pt x="145619" y="8144"/>
                  </a:cubicBezTo>
                  <a:cubicBezTo>
                    <a:pt x="146593" y="6737"/>
                    <a:pt x="148000" y="5980"/>
                    <a:pt x="149298" y="5331"/>
                  </a:cubicBezTo>
                  <a:cubicBezTo>
                    <a:pt x="151895" y="4249"/>
                    <a:pt x="154600" y="3816"/>
                    <a:pt x="157089" y="4141"/>
                  </a:cubicBezTo>
                  <a:cubicBezTo>
                    <a:pt x="161850" y="4898"/>
                    <a:pt x="165745" y="6305"/>
                    <a:pt x="168775" y="7711"/>
                  </a:cubicBezTo>
                  <a:cubicBezTo>
                    <a:pt x="171805" y="9118"/>
                    <a:pt x="173969" y="10525"/>
                    <a:pt x="175375" y="11607"/>
                  </a:cubicBezTo>
                  <a:cubicBezTo>
                    <a:pt x="176782" y="12689"/>
                    <a:pt x="177431" y="13338"/>
                    <a:pt x="177431" y="13446"/>
                  </a:cubicBezTo>
                  <a:cubicBezTo>
                    <a:pt x="177323" y="13663"/>
                    <a:pt x="174401" y="11282"/>
                    <a:pt x="168342" y="8793"/>
                  </a:cubicBezTo>
                  <a:cubicBezTo>
                    <a:pt x="165312" y="7603"/>
                    <a:pt x="161417" y="6413"/>
                    <a:pt x="156872" y="5872"/>
                  </a:cubicBezTo>
                  <a:cubicBezTo>
                    <a:pt x="154708" y="5656"/>
                    <a:pt x="152220" y="6088"/>
                    <a:pt x="150056" y="7170"/>
                  </a:cubicBezTo>
                  <a:cubicBezTo>
                    <a:pt x="147783" y="8144"/>
                    <a:pt x="145944" y="10308"/>
                    <a:pt x="147026" y="12472"/>
                  </a:cubicBezTo>
                  <a:lnTo>
                    <a:pt x="148649" y="15718"/>
                  </a:lnTo>
                  <a:lnTo>
                    <a:pt x="145511" y="13771"/>
                  </a:lnTo>
                  <a:cubicBezTo>
                    <a:pt x="139343" y="9984"/>
                    <a:pt x="132310" y="5439"/>
                    <a:pt x="123870" y="3383"/>
                  </a:cubicBezTo>
                  <a:cubicBezTo>
                    <a:pt x="119650" y="2409"/>
                    <a:pt x="115106" y="2301"/>
                    <a:pt x="110777" y="3491"/>
                  </a:cubicBezTo>
                  <a:cubicBezTo>
                    <a:pt x="106449" y="4682"/>
                    <a:pt x="102229" y="7279"/>
                    <a:pt x="99741" y="11174"/>
                  </a:cubicBezTo>
                  <a:lnTo>
                    <a:pt x="99091" y="12256"/>
                  </a:lnTo>
                  <a:lnTo>
                    <a:pt x="97901" y="11715"/>
                  </a:lnTo>
                  <a:cubicBezTo>
                    <a:pt x="94222" y="10092"/>
                    <a:pt x="90435" y="8469"/>
                    <a:pt x="86756" y="8793"/>
                  </a:cubicBezTo>
                  <a:cubicBezTo>
                    <a:pt x="83294" y="9010"/>
                    <a:pt x="79398" y="11931"/>
                    <a:pt x="79723" y="15286"/>
                  </a:cubicBezTo>
                  <a:lnTo>
                    <a:pt x="80156" y="20479"/>
                  </a:lnTo>
                  <a:lnTo>
                    <a:pt x="77018" y="16259"/>
                  </a:lnTo>
                  <a:cubicBezTo>
                    <a:pt x="75936" y="14745"/>
                    <a:pt x="74313" y="13554"/>
                    <a:pt x="72581" y="12905"/>
                  </a:cubicBezTo>
                  <a:cubicBezTo>
                    <a:pt x="69335" y="11607"/>
                    <a:pt x="65548" y="11931"/>
                    <a:pt x="62843" y="14095"/>
                  </a:cubicBezTo>
                  <a:cubicBezTo>
                    <a:pt x="60138" y="16151"/>
                    <a:pt x="58407" y="19506"/>
                    <a:pt x="58515" y="22643"/>
                  </a:cubicBezTo>
                  <a:lnTo>
                    <a:pt x="58623" y="25781"/>
                  </a:lnTo>
                  <a:lnTo>
                    <a:pt x="56134" y="23726"/>
                  </a:lnTo>
                  <a:cubicBezTo>
                    <a:pt x="50616" y="19181"/>
                    <a:pt x="42284" y="18856"/>
                    <a:pt x="36766" y="22319"/>
                  </a:cubicBezTo>
                  <a:cubicBezTo>
                    <a:pt x="31139" y="25781"/>
                    <a:pt x="28110" y="32490"/>
                    <a:pt x="28651" y="38333"/>
                  </a:cubicBezTo>
                  <a:lnTo>
                    <a:pt x="28867" y="40714"/>
                  </a:lnTo>
                  <a:lnTo>
                    <a:pt x="26811" y="39523"/>
                  </a:lnTo>
                  <a:cubicBezTo>
                    <a:pt x="23673" y="37684"/>
                    <a:pt x="19886" y="40173"/>
                    <a:pt x="17397" y="42878"/>
                  </a:cubicBezTo>
                  <a:cubicBezTo>
                    <a:pt x="14801" y="45583"/>
                    <a:pt x="12853" y="48829"/>
                    <a:pt x="10905" y="51750"/>
                  </a:cubicBezTo>
                  <a:cubicBezTo>
                    <a:pt x="7118" y="57593"/>
                    <a:pt x="4197" y="62895"/>
                    <a:pt x="2682" y="67548"/>
                  </a:cubicBezTo>
                  <a:cubicBezTo>
                    <a:pt x="-564" y="77070"/>
                    <a:pt x="1275" y="83021"/>
                    <a:pt x="842" y="82913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131D8771-6C5E-4125-A67F-5F6F005CFE52}"/>
                </a:ext>
              </a:extLst>
            </p:cNvPr>
            <p:cNvSpPr/>
            <p:nvPr/>
          </p:nvSpPr>
          <p:spPr>
            <a:xfrm flipH="1">
              <a:off x="5632325" y="4212861"/>
              <a:ext cx="168931" cy="122439"/>
            </a:xfrm>
            <a:custGeom>
              <a:avLst/>
              <a:gdLst>
                <a:gd name="connsiteX0" fmla="*/ 7402 w 153267"/>
                <a:gd name="connsiteY0" fmla="*/ 111086 h 111086"/>
                <a:gd name="connsiteX1" fmla="*/ 5888 w 153267"/>
                <a:gd name="connsiteY1" fmla="*/ 109247 h 111086"/>
                <a:gd name="connsiteX2" fmla="*/ 2425 w 153267"/>
                <a:gd name="connsiteY2" fmla="*/ 103295 h 111086"/>
                <a:gd name="connsiteX3" fmla="*/ 45 w 153267"/>
                <a:gd name="connsiteY3" fmla="*/ 92475 h 111086"/>
                <a:gd name="connsiteX4" fmla="*/ 2317 w 153267"/>
                <a:gd name="connsiteY4" fmla="*/ 85766 h 111086"/>
                <a:gd name="connsiteX5" fmla="*/ 8809 w 153267"/>
                <a:gd name="connsiteY5" fmla="*/ 80789 h 111086"/>
                <a:gd name="connsiteX6" fmla="*/ 8160 w 153267"/>
                <a:gd name="connsiteY6" fmla="*/ 82412 h 111086"/>
                <a:gd name="connsiteX7" fmla="*/ 7619 w 153267"/>
                <a:gd name="connsiteY7" fmla="*/ 67804 h 111086"/>
                <a:gd name="connsiteX8" fmla="*/ 22876 w 153267"/>
                <a:gd name="connsiteY8" fmla="*/ 61312 h 111086"/>
                <a:gd name="connsiteX9" fmla="*/ 21469 w 153267"/>
                <a:gd name="connsiteY9" fmla="*/ 63368 h 111086"/>
                <a:gd name="connsiteX10" fmla="*/ 21902 w 153267"/>
                <a:gd name="connsiteY10" fmla="*/ 50275 h 111086"/>
                <a:gd name="connsiteX11" fmla="*/ 34453 w 153267"/>
                <a:gd name="connsiteY11" fmla="*/ 44433 h 111086"/>
                <a:gd name="connsiteX12" fmla="*/ 41054 w 153267"/>
                <a:gd name="connsiteY12" fmla="*/ 44433 h 111086"/>
                <a:gd name="connsiteX13" fmla="*/ 45166 w 153267"/>
                <a:gd name="connsiteY13" fmla="*/ 40862 h 111086"/>
                <a:gd name="connsiteX14" fmla="*/ 48953 w 153267"/>
                <a:gd name="connsiteY14" fmla="*/ 34478 h 111086"/>
                <a:gd name="connsiteX15" fmla="*/ 55878 w 153267"/>
                <a:gd name="connsiteY15" fmla="*/ 30691 h 111086"/>
                <a:gd name="connsiteX16" fmla="*/ 71567 w 153267"/>
                <a:gd name="connsiteY16" fmla="*/ 30366 h 111086"/>
                <a:gd name="connsiteX17" fmla="*/ 84227 w 153267"/>
                <a:gd name="connsiteY17" fmla="*/ 26687 h 111086"/>
                <a:gd name="connsiteX18" fmla="*/ 88231 w 153267"/>
                <a:gd name="connsiteY18" fmla="*/ 21060 h 111086"/>
                <a:gd name="connsiteX19" fmla="*/ 94182 w 153267"/>
                <a:gd name="connsiteY19" fmla="*/ 16516 h 111086"/>
                <a:gd name="connsiteX20" fmla="*/ 107924 w 153267"/>
                <a:gd name="connsiteY20" fmla="*/ 17273 h 111086"/>
                <a:gd name="connsiteX21" fmla="*/ 106193 w 153267"/>
                <a:gd name="connsiteY21" fmla="*/ 19113 h 111086"/>
                <a:gd name="connsiteX22" fmla="*/ 107816 w 153267"/>
                <a:gd name="connsiteY22" fmla="*/ 5587 h 111086"/>
                <a:gd name="connsiteX23" fmla="*/ 118853 w 153267"/>
                <a:gd name="connsiteY23" fmla="*/ 177 h 111086"/>
                <a:gd name="connsiteX24" fmla="*/ 138113 w 153267"/>
                <a:gd name="connsiteY24" fmla="*/ 2557 h 111086"/>
                <a:gd name="connsiteX25" fmla="*/ 149583 w 153267"/>
                <a:gd name="connsiteY25" fmla="*/ 7210 h 111086"/>
                <a:gd name="connsiteX26" fmla="*/ 153261 w 153267"/>
                <a:gd name="connsiteY26" fmla="*/ 9591 h 111086"/>
                <a:gd name="connsiteX27" fmla="*/ 137572 w 153267"/>
                <a:gd name="connsiteY27" fmla="*/ 4072 h 111086"/>
                <a:gd name="connsiteX28" fmla="*/ 119069 w 153267"/>
                <a:gd name="connsiteY28" fmla="*/ 2341 h 111086"/>
                <a:gd name="connsiteX29" fmla="*/ 109655 w 153267"/>
                <a:gd name="connsiteY29" fmla="*/ 7210 h 111086"/>
                <a:gd name="connsiteX30" fmla="*/ 108357 w 153267"/>
                <a:gd name="connsiteY30" fmla="*/ 17814 h 111086"/>
                <a:gd name="connsiteX31" fmla="*/ 111495 w 153267"/>
                <a:gd name="connsiteY31" fmla="*/ 22467 h 111086"/>
                <a:gd name="connsiteX32" fmla="*/ 106626 w 153267"/>
                <a:gd name="connsiteY32" fmla="*/ 19654 h 111086"/>
                <a:gd name="connsiteX33" fmla="*/ 95264 w 153267"/>
                <a:gd name="connsiteY33" fmla="*/ 19221 h 111086"/>
                <a:gd name="connsiteX34" fmla="*/ 90503 w 153267"/>
                <a:gd name="connsiteY34" fmla="*/ 23008 h 111086"/>
                <a:gd name="connsiteX35" fmla="*/ 86283 w 153267"/>
                <a:gd name="connsiteY35" fmla="*/ 28959 h 111086"/>
                <a:gd name="connsiteX36" fmla="*/ 79250 w 153267"/>
                <a:gd name="connsiteY36" fmla="*/ 32855 h 111086"/>
                <a:gd name="connsiteX37" fmla="*/ 71459 w 153267"/>
                <a:gd name="connsiteY37" fmla="*/ 33612 h 111086"/>
                <a:gd name="connsiteX38" fmla="*/ 56419 w 153267"/>
                <a:gd name="connsiteY38" fmla="*/ 33937 h 111086"/>
                <a:gd name="connsiteX39" fmla="*/ 51009 w 153267"/>
                <a:gd name="connsiteY39" fmla="*/ 36858 h 111086"/>
                <a:gd name="connsiteX40" fmla="*/ 47654 w 153267"/>
                <a:gd name="connsiteY40" fmla="*/ 42593 h 111086"/>
                <a:gd name="connsiteX41" fmla="*/ 41487 w 153267"/>
                <a:gd name="connsiteY41" fmla="*/ 47570 h 111086"/>
                <a:gd name="connsiteX42" fmla="*/ 34562 w 153267"/>
                <a:gd name="connsiteY42" fmla="*/ 47570 h 111086"/>
                <a:gd name="connsiteX43" fmla="*/ 24066 w 153267"/>
                <a:gd name="connsiteY43" fmla="*/ 52223 h 111086"/>
                <a:gd name="connsiteX44" fmla="*/ 23525 w 153267"/>
                <a:gd name="connsiteY44" fmla="*/ 62070 h 111086"/>
                <a:gd name="connsiteX45" fmla="*/ 25797 w 153267"/>
                <a:gd name="connsiteY45" fmla="*/ 65099 h 111086"/>
                <a:gd name="connsiteX46" fmla="*/ 22118 w 153267"/>
                <a:gd name="connsiteY46" fmla="*/ 64126 h 111086"/>
                <a:gd name="connsiteX47" fmla="*/ 9567 w 153267"/>
                <a:gd name="connsiteY47" fmla="*/ 69211 h 111086"/>
                <a:gd name="connsiteX48" fmla="*/ 9783 w 153267"/>
                <a:gd name="connsiteY48" fmla="*/ 81438 h 111086"/>
                <a:gd name="connsiteX49" fmla="*/ 10540 w 153267"/>
                <a:gd name="connsiteY49" fmla="*/ 82629 h 111086"/>
                <a:gd name="connsiteX50" fmla="*/ 9134 w 153267"/>
                <a:gd name="connsiteY50" fmla="*/ 82953 h 111086"/>
                <a:gd name="connsiteX51" fmla="*/ 1559 w 153267"/>
                <a:gd name="connsiteY51" fmla="*/ 92800 h 111086"/>
                <a:gd name="connsiteX52" fmla="*/ 3291 w 153267"/>
                <a:gd name="connsiteY52" fmla="*/ 102971 h 111086"/>
                <a:gd name="connsiteX53" fmla="*/ 7402 w 153267"/>
                <a:gd name="connsiteY53" fmla="*/ 111086 h 11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53267" h="111086">
                  <a:moveTo>
                    <a:pt x="7402" y="111086"/>
                  </a:moveTo>
                  <a:cubicBezTo>
                    <a:pt x="7294" y="111086"/>
                    <a:pt x="6753" y="110545"/>
                    <a:pt x="5888" y="109247"/>
                  </a:cubicBezTo>
                  <a:cubicBezTo>
                    <a:pt x="5022" y="107948"/>
                    <a:pt x="3723" y="106000"/>
                    <a:pt x="2425" y="103295"/>
                  </a:cubicBezTo>
                  <a:cubicBezTo>
                    <a:pt x="1235" y="100590"/>
                    <a:pt x="-280" y="97020"/>
                    <a:pt x="45" y="92475"/>
                  </a:cubicBezTo>
                  <a:cubicBezTo>
                    <a:pt x="261" y="90311"/>
                    <a:pt x="910" y="87930"/>
                    <a:pt x="2317" y="85766"/>
                  </a:cubicBezTo>
                  <a:cubicBezTo>
                    <a:pt x="3615" y="83602"/>
                    <a:pt x="5888" y="81546"/>
                    <a:pt x="8809" y="80789"/>
                  </a:cubicBezTo>
                  <a:lnTo>
                    <a:pt x="8160" y="82412"/>
                  </a:lnTo>
                  <a:cubicBezTo>
                    <a:pt x="5455" y="78517"/>
                    <a:pt x="4806" y="72782"/>
                    <a:pt x="7619" y="67804"/>
                  </a:cubicBezTo>
                  <a:cubicBezTo>
                    <a:pt x="10324" y="62935"/>
                    <a:pt x="16600" y="59906"/>
                    <a:pt x="22876" y="61312"/>
                  </a:cubicBezTo>
                  <a:lnTo>
                    <a:pt x="21469" y="63368"/>
                  </a:lnTo>
                  <a:cubicBezTo>
                    <a:pt x="18547" y="59581"/>
                    <a:pt x="19088" y="54063"/>
                    <a:pt x="21902" y="50275"/>
                  </a:cubicBezTo>
                  <a:cubicBezTo>
                    <a:pt x="24823" y="46380"/>
                    <a:pt x="29692" y="44649"/>
                    <a:pt x="34453" y="44433"/>
                  </a:cubicBezTo>
                  <a:cubicBezTo>
                    <a:pt x="36834" y="44324"/>
                    <a:pt x="39214" y="44757"/>
                    <a:pt x="41054" y="44433"/>
                  </a:cubicBezTo>
                  <a:cubicBezTo>
                    <a:pt x="42893" y="44108"/>
                    <a:pt x="44084" y="42918"/>
                    <a:pt x="45166" y="40862"/>
                  </a:cubicBezTo>
                  <a:cubicBezTo>
                    <a:pt x="46248" y="39022"/>
                    <a:pt x="47005" y="36425"/>
                    <a:pt x="48953" y="34478"/>
                  </a:cubicBezTo>
                  <a:cubicBezTo>
                    <a:pt x="50792" y="32530"/>
                    <a:pt x="53389" y="31123"/>
                    <a:pt x="55878" y="30691"/>
                  </a:cubicBezTo>
                  <a:cubicBezTo>
                    <a:pt x="61396" y="29500"/>
                    <a:pt x="66590" y="30366"/>
                    <a:pt x="71567" y="30366"/>
                  </a:cubicBezTo>
                  <a:cubicBezTo>
                    <a:pt x="76437" y="30474"/>
                    <a:pt x="81306" y="29717"/>
                    <a:pt x="84227" y="26687"/>
                  </a:cubicBezTo>
                  <a:cubicBezTo>
                    <a:pt x="85742" y="25172"/>
                    <a:pt x="86716" y="23116"/>
                    <a:pt x="88231" y="21060"/>
                  </a:cubicBezTo>
                  <a:cubicBezTo>
                    <a:pt x="89746" y="19005"/>
                    <a:pt x="91910" y="17490"/>
                    <a:pt x="94182" y="16516"/>
                  </a:cubicBezTo>
                  <a:cubicBezTo>
                    <a:pt x="98727" y="14568"/>
                    <a:pt x="103920" y="14893"/>
                    <a:pt x="107924" y="17273"/>
                  </a:cubicBezTo>
                  <a:lnTo>
                    <a:pt x="106193" y="19113"/>
                  </a:lnTo>
                  <a:cubicBezTo>
                    <a:pt x="103271" y="14460"/>
                    <a:pt x="105002" y="8941"/>
                    <a:pt x="107816" y="5587"/>
                  </a:cubicBezTo>
                  <a:cubicBezTo>
                    <a:pt x="110737" y="2016"/>
                    <a:pt x="115065" y="610"/>
                    <a:pt x="118853" y="177"/>
                  </a:cubicBezTo>
                  <a:cubicBezTo>
                    <a:pt x="126535" y="-580"/>
                    <a:pt x="132919" y="1259"/>
                    <a:pt x="138113" y="2557"/>
                  </a:cubicBezTo>
                  <a:cubicBezTo>
                    <a:pt x="143307" y="4072"/>
                    <a:pt x="147094" y="5804"/>
                    <a:pt x="149583" y="7210"/>
                  </a:cubicBezTo>
                  <a:cubicBezTo>
                    <a:pt x="152071" y="8509"/>
                    <a:pt x="153370" y="9374"/>
                    <a:pt x="153261" y="9591"/>
                  </a:cubicBezTo>
                  <a:cubicBezTo>
                    <a:pt x="153045" y="9915"/>
                    <a:pt x="147851" y="6777"/>
                    <a:pt x="137572" y="4072"/>
                  </a:cubicBezTo>
                  <a:cubicBezTo>
                    <a:pt x="132486" y="2882"/>
                    <a:pt x="126102" y="1476"/>
                    <a:pt x="119069" y="2341"/>
                  </a:cubicBezTo>
                  <a:cubicBezTo>
                    <a:pt x="115606" y="2882"/>
                    <a:pt x="111928" y="4181"/>
                    <a:pt x="109655" y="7210"/>
                  </a:cubicBezTo>
                  <a:cubicBezTo>
                    <a:pt x="107275" y="10024"/>
                    <a:pt x="106193" y="14568"/>
                    <a:pt x="108357" y="17814"/>
                  </a:cubicBezTo>
                  <a:lnTo>
                    <a:pt x="111495" y="22467"/>
                  </a:lnTo>
                  <a:lnTo>
                    <a:pt x="106626" y="19654"/>
                  </a:lnTo>
                  <a:cubicBezTo>
                    <a:pt x="103379" y="17814"/>
                    <a:pt x="99051" y="17598"/>
                    <a:pt x="95264" y="19221"/>
                  </a:cubicBezTo>
                  <a:cubicBezTo>
                    <a:pt x="93425" y="20087"/>
                    <a:pt x="91693" y="21277"/>
                    <a:pt x="90503" y="23008"/>
                  </a:cubicBezTo>
                  <a:cubicBezTo>
                    <a:pt x="89205" y="24739"/>
                    <a:pt x="88123" y="26903"/>
                    <a:pt x="86283" y="28959"/>
                  </a:cubicBezTo>
                  <a:cubicBezTo>
                    <a:pt x="84336" y="30907"/>
                    <a:pt x="81847" y="32205"/>
                    <a:pt x="79250" y="32855"/>
                  </a:cubicBezTo>
                  <a:cubicBezTo>
                    <a:pt x="76653" y="33504"/>
                    <a:pt x="74056" y="33612"/>
                    <a:pt x="71459" y="33612"/>
                  </a:cubicBezTo>
                  <a:cubicBezTo>
                    <a:pt x="66374" y="33612"/>
                    <a:pt x="61180" y="32963"/>
                    <a:pt x="56419" y="33937"/>
                  </a:cubicBezTo>
                  <a:cubicBezTo>
                    <a:pt x="54255" y="34369"/>
                    <a:pt x="52415" y="35343"/>
                    <a:pt x="51009" y="36858"/>
                  </a:cubicBezTo>
                  <a:cubicBezTo>
                    <a:pt x="49494" y="38265"/>
                    <a:pt x="48845" y="40429"/>
                    <a:pt x="47654" y="42593"/>
                  </a:cubicBezTo>
                  <a:cubicBezTo>
                    <a:pt x="46681" y="44757"/>
                    <a:pt x="44300" y="47246"/>
                    <a:pt x="41487" y="47570"/>
                  </a:cubicBezTo>
                  <a:cubicBezTo>
                    <a:pt x="38782" y="48003"/>
                    <a:pt x="36509" y="47462"/>
                    <a:pt x="34562" y="47570"/>
                  </a:cubicBezTo>
                  <a:cubicBezTo>
                    <a:pt x="30450" y="47679"/>
                    <a:pt x="26338" y="49302"/>
                    <a:pt x="24066" y="52223"/>
                  </a:cubicBezTo>
                  <a:cubicBezTo>
                    <a:pt x="21794" y="55145"/>
                    <a:pt x="21469" y="59473"/>
                    <a:pt x="23525" y="62070"/>
                  </a:cubicBezTo>
                  <a:lnTo>
                    <a:pt x="25797" y="65099"/>
                  </a:lnTo>
                  <a:lnTo>
                    <a:pt x="22118" y="64126"/>
                  </a:lnTo>
                  <a:cubicBezTo>
                    <a:pt x="17249" y="62827"/>
                    <a:pt x="11839" y="65316"/>
                    <a:pt x="9567" y="69211"/>
                  </a:cubicBezTo>
                  <a:cubicBezTo>
                    <a:pt x="7186" y="73215"/>
                    <a:pt x="7619" y="78192"/>
                    <a:pt x="9783" y="81438"/>
                  </a:cubicBezTo>
                  <a:lnTo>
                    <a:pt x="10540" y="82629"/>
                  </a:lnTo>
                  <a:lnTo>
                    <a:pt x="9134" y="82953"/>
                  </a:lnTo>
                  <a:cubicBezTo>
                    <a:pt x="4373" y="84143"/>
                    <a:pt x="2100" y="89013"/>
                    <a:pt x="1559" y="92800"/>
                  </a:cubicBezTo>
                  <a:cubicBezTo>
                    <a:pt x="1127" y="96803"/>
                    <a:pt x="2209" y="100266"/>
                    <a:pt x="3291" y="102971"/>
                  </a:cubicBezTo>
                  <a:cubicBezTo>
                    <a:pt x="5888" y="108273"/>
                    <a:pt x="7727" y="110978"/>
                    <a:pt x="7402" y="111086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00510DFC-08F3-4183-BE67-C288BA2CA71E}"/>
                </a:ext>
              </a:extLst>
            </p:cNvPr>
            <p:cNvSpPr/>
            <p:nvPr/>
          </p:nvSpPr>
          <p:spPr>
            <a:xfrm flipH="1">
              <a:off x="5735136" y="4382885"/>
              <a:ext cx="70767" cy="149821"/>
            </a:xfrm>
            <a:custGeom>
              <a:avLst/>
              <a:gdLst>
                <a:gd name="connsiteX0" fmla="*/ 16596 w 64205"/>
                <a:gd name="connsiteY0" fmla="*/ 135904 h 135929"/>
                <a:gd name="connsiteX1" fmla="*/ 13782 w 64205"/>
                <a:gd name="connsiteY1" fmla="*/ 134930 h 135929"/>
                <a:gd name="connsiteX2" fmla="*/ 7074 w 64205"/>
                <a:gd name="connsiteY2" fmla="*/ 129628 h 135929"/>
                <a:gd name="connsiteX3" fmla="*/ 2096 w 64205"/>
                <a:gd name="connsiteY3" fmla="*/ 117185 h 135929"/>
                <a:gd name="connsiteX4" fmla="*/ 8156 w 64205"/>
                <a:gd name="connsiteY4" fmla="*/ 100738 h 135929"/>
                <a:gd name="connsiteX5" fmla="*/ 8048 w 64205"/>
                <a:gd name="connsiteY5" fmla="*/ 102253 h 135929"/>
                <a:gd name="connsiteX6" fmla="*/ 365 w 64205"/>
                <a:gd name="connsiteY6" fmla="*/ 87645 h 135929"/>
                <a:gd name="connsiteX7" fmla="*/ 1014 w 64205"/>
                <a:gd name="connsiteY7" fmla="*/ 78231 h 135929"/>
                <a:gd name="connsiteX8" fmla="*/ 7939 w 64205"/>
                <a:gd name="connsiteY8" fmla="*/ 70982 h 135929"/>
                <a:gd name="connsiteX9" fmla="*/ 7615 w 64205"/>
                <a:gd name="connsiteY9" fmla="*/ 73579 h 135929"/>
                <a:gd name="connsiteX10" fmla="*/ 257 w 64205"/>
                <a:gd name="connsiteY10" fmla="*/ 58214 h 135929"/>
                <a:gd name="connsiteX11" fmla="*/ 3287 w 64205"/>
                <a:gd name="connsiteY11" fmla="*/ 48584 h 135929"/>
                <a:gd name="connsiteX12" fmla="*/ 10861 w 64205"/>
                <a:gd name="connsiteY12" fmla="*/ 42524 h 135929"/>
                <a:gd name="connsiteX13" fmla="*/ 15081 w 64205"/>
                <a:gd name="connsiteY13" fmla="*/ 37114 h 135929"/>
                <a:gd name="connsiteX14" fmla="*/ 17029 w 64205"/>
                <a:gd name="connsiteY14" fmla="*/ 28458 h 135929"/>
                <a:gd name="connsiteX15" fmla="*/ 27957 w 64205"/>
                <a:gd name="connsiteY15" fmla="*/ 16772 h 135929"/>
                <a:gd name="connsiteX16" fmla="*/ 38994 w 64205"/>
                <a:gd name="connsiteY16" fmla="*/ 8873 h 135929"/>
                <a:gd name="connsiteX17" fmla="*/ 56956 w 64205"/>
                <a:gd name="connsiteY17" fmla="*/ 433 h 135929"/>
                <a:gd name="connsiteX18" fmla="*/ 62366 w 64205"/>
                <a:gd name="connsiteY18" fmla="*/ 0 h 135929"/>
                <a:gd name="connsiteX19" fmla="*/ 64206 w 64205"/>
                <a:gd name="connsiteY19" fmla="*/ 325 h 135929"/>
                <a:gd name="connsiteX20" fmla="*/ 57172 w 64205"/>
                <a:gd name="connsiteY20" fmla="*/ 1623 h 135929"/>
                <a:gd name="connsiteX21" fmla="*/ 40184 w 64205"/>
                <a:gd name="connsiteY21" fmla="*/ 10604 h 135929"/>
                <a:gd name="connsiteX22" fmla="*/ 29364 w 64205"/>
                <a:gd name="connsiteY22" fmla="*/ 18828 h 135929"/>
                <a:gd name="connsiteX23" fmla="*/ 19409 w 64205"/>
                <a:gd name="connsiteY23" fmla="*/ 29756 h 135929"/>
                <a:gd name="connsiteX24" fmla="*/ 17786 w 64205"/>
                <a:gd name="connsiteY24" fmla="*/ 37547 h 135929"/>
                <a:gd name="connsiteX25" fmla="*/ 16163 w 64205"/>
                <a:gd name="connsiteY25" fmla="*/ 42416 h 135929"/>
                <a:gd name="connsiteX26" fmla="*/ 12051 w 64205"/>
                <a:gd name="connsiteY26" fmla="*/ 45338 h 135929"/>
                <a:gd name="connsiteX27" fmla="*/ 3070 w 64205"/>
                <a:gd name="connsiteY27" fmla="*/ 58538 h 135929"/>
                <a:gd name="connsiteX28" fmla="*/ 9021 w 64205"/>
                <a:gd name="connsiteY28" fmla="*/ 71306 h 135929"/>
                <a:gd name="connsiteX29" fmla="*/ 11510 w 64205"/>
                <a:gd name="connsiteY29" fmla="*/ 72821 h 135929"/>
                <a:gd name="connsiteX30" fmla="*/ 8697 w 64205"/>
                <a:gd name="connsiteY30" fmla="*/ 73795 h 135929"/>
                <a:gd name="connsiteX31" fmla="*/ 2746 w 64205"/>
                <a:gd name="connsiteY31" fmla="*/ 87212 h 135929"/>
                <a:gd name="connsiteX32" fmla="*/ 9779 w 64205"/>
                <a:gd name="connsiteY32" fmla="*/ 100954 h 135929"/>
                <a:gd name="connsiteX33" fmla="*/ 10320 w 64205"/>
                <a:gd name="connsiteY33" fmla="*/ 101820 h 135929"/>
                <a:gd name="connsiteX34" fmla="*/ 9563 w 64205"/>
                <a:gd name="connsiteY34" fmla="*/ 102577 h 135929"/>
                <a:gd name="connsiteX35" fmla="*/ 3720 w 64205"/>
                <a:gd name="connsiteY35" fmla="*/ 117185 h 135929"/>
                <a:gd name="connsiteX36" fmla="*/ 7831 w 64205"/>
                <a:gd name="connsiteY36" fmla="*/ 128871 h 135929"/>
                <a:gd name="connsiteX37" fmla="*/ 16596 w 64205"/>
                <a:gd name="connsiteY37" fmla="*/ 135904 h 13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4205" h="135929">
                  <a:moveTo>
                    <a:pt x="16596" y="135904"/>
                  </a:moveTo>
                  <a:cubicBezTo>
                    <a:pt x="16596" y="136012"/>
                    <a:pt x="15514" y="135796"/>
                    <a:pt x="13782" y="134930"/>
                  </a:cubicBezTo>
                  <a:cubicBezTo>
                    <a:pt x="12051" y="134065"/>
                    <a:pt x="9454" y="132550"/>
                    <a:pt x="7074" y="129628"/>
                  </a:cubicBezTo>
                  <a:cubicBezTo>
                    <a:pt x="4693" y="126815"/>
                    <a:pt x="2421" y="122487"/>
                    <a:pt x="2096" y="117185"/>
                  </a:cubicBezTo>
                  <a:cubicBezTo>
                    <a:pt x="1772" y="111883"/>
                    <a:pt x="3503" y="105607"/>
                    <a:pt x="8156" y="100738"/>
                  </a:cubicBezTo>
                  <a:lnTo>
                    <a:pt x="8048" y="102253"/>
                  </a:lnTo>
                  <a:cubicBezTo>
                    <a:pt x="5234" y="98249"/>
                    <a:pt x="1772" y="93596"/>
                    <a:pt x="365" y="87645"/>
                  </a:cubicBezTo>
                  <a:cubicBezTo>
                    <a:pt x="-284" y="84615"/>
                    <a:pt x="-68" y="81261"/>
                    <a:pt x="1014" y="78231"/>
                  </a:cubicBezTo>
                  <a:cubicBezTo>
                    <a:pt x="2205" y="75202"/>
                    <a:pt x="4477" y="72172"/>
                    <a:pt x="7939" y="70982"/>
                  </a:cubicBezTo>
                  <a:lnTo>
                    <a:pt x="7615" y="73579"/>
                  </a:lnTo>
                  <a:cubicBezTo>
                    <a:pt x="2529" y="70441"/>
                    <a:pt x="-68" y="64165"/>
                    <a:pt x="257" y="58214"/>
                  </a:cubicBezTo>
                  <a:cubicBezTo>
                    <a:pt x="473" y="54859"/>
                    <a:pt x="1447" y="51505"/>
                    <a:pt x="3287" y="48584"/>
                  </a:cubicBezTo>
                  <a:cubicBezTo>
                    <a:pt x="5018" y="45770"/>
                    <a:pt x="8156" y="43606"/>
                    <a:pt x="10861" y="42524"/>
                  </a:cubicBezTo>
                  <a:cubicBezTo>
                    <a:pt x="13674" y="41334"/>
                    <a:pt x="14973" y="39927"/>
                    <a:pt x="15081" y="37114"/>
                  </a:cubicBezTo>
                  <a:cubicBezTo>
                    <a:pt x="15189" y="34301"/>
                    <a:pt x="15838" y="31163"/>
                    <a:pt x="17029" y="28458"/>
                  </a:cubicBezTo>
                  <a:cubicBezTo>
                    <a:pt x="19409" y="22939"/>
                    <a:pt x="24062" y="19477"/>
                    <a:pt x="27957" y="16772"/>
                  </a:cubicBezTo>
                  <a:cubicBezTo>
                    <a:pt x="31961" y="13958"/>
                    <a:pt x="35532" y="11253"/>
                    <a:pt x="38994" y="8873"/>
                  </a:cubicBezTo>
                  <a:cubicBezTo>
                    <a:pt x="45919" y="4112"/>
                    <a:pt x="52303" y="1298"/>
                    <a:pt x="56956" y="433"/>
                  </a:cubicBezTo>
                  <a:cubicBezTo>
                    <a:pt x="59228" y="0"/>
                    <a:pt x="61176" y="0"/>
                    <a:pt x="62366" y="0"/>
                  </a:cubicBezTo>
                  <a:cubicBezTo>
                    <a:pt x="63556" y="108"/>
                    <a:pt x="64206" y="216"/>
                    <a:pt x="64206" y="325"/>
                  </a:cubicBezTo>
                  <a:cubicBezTo>
                    <a:pt x="64206" y="649"/>
                    <a:pt x="61609" y="325"/>
                    <a:pt x="57172" y="1623"/>
                  </a:cubicBezTo>
                  <a:cubicBezTo>
                    <a:pt x="52736" y="2705"/>
                    <a:pt x="46785" y="5735"/>
                    <a:pt x="40184" y="10604"/>
                  </a:cubicBezTo>
                  <a:cubicBezTo>
                    <a:pt x="36830" y="13093"/>
                    <a:pt x="33259" y="15906"/>
                    <a:pt x="29364" y="18828"/>
                  </a:cubicBezTo>
                  <a:cubicBezTo>
                    <a:pt x="25469" y="21749"/>
                    <a:pt x="21465" y="24887"/>
                    <a:pt x="19409" y="29756"/>
                  </a:cubicBezTo>
                  <a:cubicBezTo>
                    <a:pt x="18327" y="32137"/>
                    <a:pt x="17894" y="34625"/>
                    <a:pt x="17786" y="37547"/>
                  </a:cubicBezTo>
                  <a:cubicBezTo>
                    <a:pt x="17678" y="38954"/>
                    <a:pt x="17353" y="40901"/>
                    <a:pt x="16163" y="42416"/>
                  </a:cubicBezTo>
                  <a:cubicBezTo>
                    <a:pt x="14973" y="43931"/>
                    <a:pt x="13458" y="44688"/>
                    <a:pt x="12051" y="45338"/>
                  </a:cubicBezTo>
                  <a:cubicBezTo>
                    <a:pt x="6533" y="47285"/>
                    <a:pt x="3395" y="52587"/>
                    <a:pt x="3070" y="58538"/>
                  </a:cubicBezTo>
                  <a:cubicBezTo>
                    <a:pt x="2854" y="63624"/>
                    <a:pt x="5018" y="68818"/>
                    <a:pt x="9021" y="71306"/>
                  </a:cubicBezTo>
                  <a:lnTo>
                    <a:pt x="11510" y="72821"/>
                  </a:lnTo>
                  <a:lnTo>
                    <a:pt x="8697" y="73795"/>
                  </a:lnTo>
                  <a:cubicBezTo>
                    <a:pt x="3611" y="75635"/>
                    <a:pt x="1664" y="82235"/>
                    <a:pt x="2746" y="87212"/>
                  </a:cubicBezTo>
                  <a:cubicBezTo>
                    <a:pt x="3828" y="92406"/>
                    <a:pt x="6966" y="96843"/>
                    <a:pt x="9779" y="100954"/>
                  </a:cubicBezTo>
                  <a:lnTo>
                    <a:pt x="10320" y="101820"/>
                  </a:lnTo>
                  <a:lnTo>
                    <a:pt x="9563" y="102577"/>
                  </a:lnTo>
                  <a:cubicBezTo>
                    <a:pt x="5451" y="106797"/>
                    <a:pt x="3611" y="112424"/>
                    <a:pt x="3720" y="117185"/>
                  </a:cubicBezTo>
                  <a:cubicBezTo>
                    <a:pt x="3828" y="122054"/>
                    <a:pt x="5667" y="126058"/>
                    <a:pt x="7831" y="128871"/>
                  </a:cubicBezTo>
                  <a:cubicBezTo>
                    <a:pt x="12484" y="134389"/>
                    <a:pt x="16812" y="135471"/>
                    <a:pt x="16596" y="135904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AAEAE2A6-7FCC-4660-B00E-BCE1A82A30B2}"/>
                </a:ext>
              </a:extLst>
            </p:cNvPr>
            <p:cNvSpPr/>
            <p:nvPr/>
          </p:nvSpPr>
          <p:spPr>
            <a:xfrm flipH="1">
              <a:off x="5616105" y="4310112"/>
              <a:ext cx="101236" cy="138285"/>
            </a:xfrm>
            <a:custGeom>
              <a:avLst/>
              <a:gdLst>
                <a:gd name="connsiteX0" fmla="*/ 28328 w 91849"/>
                <a:gd name="connsiteY0" fmla="*/ 125429 h 125463"/>
                <a:gd name="connsiteX1" fmla="*/ 24324 w 91849"/>
                <a:gd name="connsiteY1" fmla="*/ 124563 h 125463"/>
                <a:gd name="connsiteX2" fmla="*/ 14045 w 91849"/>
                <a:gd name="connsiteY2" fmla="*/ 119153 h 125463"/>
                <a:gd name="connsiteX3" fmla="*/ 2359 w 91849"/>
                <a:gd name="connsiteY3" fmla="*/ 105411 h 125463"/>
                <a:gd name="connsiteX4" fmla="*/ 411 w 91849"/>
                <a:gd name="connsiteY4" fmla="*/ 94050 h 125463"/>
                <a:gd name="connsiteX5" fmla="*/ 4956 w 91849"/>
                <a:gd name="connsiteY5" fmla="*/ 89072 h 125463"/>
                <a:gd name="connsiteX6" fmla="*/ 12097 w 91849"/>
                <a:gd name="connsiteY6" fmla="*/ 90263 h 125463"/>
                <a:gd name="connsiteX7" fmla="*/ 9933 w 91849"/>
                <a:gd name="connsiteY7" fmla="*/ 91561 h 125463"/>
                <a:gd name="connsiteX8" fmla="*/ 7877 w 91849"/>
                <a:gd name="connsiteY8" fmla="*/ 80199 h 125463"/>
                <a:gd name="connsiteX9" fmla="*/ 11448 w 91849"/>
                <a:gd name="connsiteY9" fmla="*/ 74681 h 125463"/>
                <a:gd name="connsiteX10" fmla="*/ 18157 w 91849"/>
                <a:gd name="connsiteY10" fmla="*/ 73707 h 125463"/>
                <a:gd name="connsiteX11" fmla="*/ 23242 w 91849"/>
                <a:gd name="connsiteY11" fmla="*/ 74357 h 125463"/>
                <a:gd name="connsiteX12" fmla="*/ 24433 w 91849"/>
                <a:gd name="connsiteY12" fmla="*/ 70461 h 125463"/>
                <a:gd name="connsiteX13" fmla="*/ 29410 w 91849"/>
                <a:gd name="connsiteY13" fmla="*/ 58018 h 125463"/>
                <a:gd name="connsiteX14" fmla="*/ 49428 w 91849"/>
                <a:gd name="connsiteY14" fmla="*/ 52283 h 125463"/>
                <a:gd name="connsiteX15" fmla="*/ 47588 w 91849"/>
                <a:gd name="connsiteY15" fmla="*/ 54014 h 125463"/>
                <a:gd name="connsiteX16" fmla="*/ 50618 w 91849"/>
                <a:gd name="connsiteY16" fmla="*/ 37784 h 125463"/>
                <a:gd name="connsiteX17" fmla="*/ 58625 w 91849"/>
                <a:gd name="connsiteY17" fmla="*/ 35295 h 125463"/>
                <a:gd name="connsiteX18" fmla="*/ 65117 w 91849"/>
                <a:gd name="connsiteY18" fmla="*/ 40056 h 125463"/>
                <a:gd name="connsiteX19" fmla="*/ 62629 w 91849"/>
                <a:gd name="connsiteY19" fmla="*/ 40597 h 125463"/>
                <a:gd name="connsiteX20" fmla="*/ 67606 w 91849"/>
                <a:gd name="connsiteY20" fmla="*/ 19172 h 125463"/>
                <a:gd name="connsiteX21" fmla="*/ 78643 w 91849"/>
                <a:gd name="connsiteY21" fmla="*/ 6296 h 125463"/>
                <a:gd name="connsiteX22" fmla="*/ 88165 w 91849"/>
                <a:gd name="connsiteY22" fmla="*/ 994 h 125463"/>
                <a:gd name="connsiteX23" fmla="*/ 91844 w 91849"/>
                <a:gd name="connsiteY23" fmla="*/ 20 h 125463"/>
                <a:gd name="connsiteX24" fmla="*/ 79617 w 91849"/>
                <a:gd name="connsiteY24" fmla="*/ 7486 h 125463"/>
                <a:gd name="connsiteX25" fmla="*/ 69554 w 91849"/>
                <a:gd name="connsiteY25" fmla="*/ 20255 h 125463"/>
                <a:gd name="connsiteX26" fmla="*/ 65225 w 91849"/>
                <a:gd name="connsiteY26" fmla="*/ 40489 h 125463"/>
                <a:gd name="connsiteX27" fmla="*/ 65983 w 91849"/>
                <a:gd name="connsiteY27" fmla="*/ 51201 h 125463"/>
                <a:gd name="connsiteX28" fmla="*/ 62737 w 91849"/>
                <a:gd name="connsiteY28" fmla="*/ 41030 h 125463"/>
                <a:gd name="connsiteX29" fmla="*/ 52566 w 91849"/>
                <a:gd name="connsiteY29" fmla="*/ 39948 h 125463"/>
                <a:gd name="connsiteX30" fmla="*/ 50401 w 91849"/>
                <a:gd name="connsiteY30" fmla="*/ 53473 h 125463"/>
                <a:gd name="connsiteX31" fmla="*/ 51159 w 91849"/>
                <a:gd name="connsiteY31" fmla="*/ 56070 h 125463"/>
                <a:gd name="connsiteX32" fmla="*/ 48562 w 91849"/>
                <a:gd name="connsiteY32" fmla="*/ 55204 h 125463"/>
                <a:gd name="connsiteX33" fmla="*/ 31682 w 91849"/>
                <a:gd name="connsiteY33" fmla="*/ 60182 h 125463"/>
                <a:gd name="connsiteX34" fmla="*/ 27462 w 91849"/>
                <a:gd name="connsiteY34" fmla="*/ 70569 h 125463"/>
                <a:gd name="connsiteX35" fmla="*/ 27246 w 91849"/>
                <a:gd name="connsiteY35" fmla="*/ 74032 h 125463"/>
                <a:gd name="connsiteX36" fmla="*/ 24433 w 91849"/>
                <a:gd name="connsiteY36" fmla="*/ 77170 h 125463"/>
                <a:gd name="connsiteX37" fmla="*/ 17724 w 91849"/>
                <a:gd name="connsiteY37" fmla="*/ 76521 h 125463"/>
                <a:gd name="connsiteX38" fmla="*/ 13287 w 91849"/>
                <a:gd name="connsiteY38" fmla="*/ 76953 h 125463"/>
                <a:gd name="connsiteX39" fmla="*/ 10799 w 91849"/>
                <a:gd name="connsiteY39" fmla="*/ 80849 h 125463"/>
                <a:gd name="connsiteX40" fmla="*/ 12530 w 91849"/>
                <a:gd name="connsiteY40" fmla="*/ 90587 h 125463"/>
                <a:gd name="connsiteX41" fmla="*/ 15235 w 91849"/>
                <a:gd name="connsiteY41" fmla="*/ 97728 h 125463"/>
                <a:gd name="connsiteX42" fmla="*/ 10258 w 91849"/>
                <a:gd name="connsiteY42" fmla="*/ 91886 h 125463"/>
                <a:gd name="connsiteX43" fmla="*/ 2900 w 91849"/>
                <a:gd name="connsiteY43" fmla="*/ 94699 h 125463"/>
                <a:gd name="connsiteX44" fmla="*/ 4523 w 91849"/>
                <a:gd name="connsiteY44" fmla="*/ 104329 h 125463"/>
                <a:gd name="connsiteX45" fmla="*/ 15235 w 91849"/>
                <a:gd name="connsiteY45" fmla="*/ 117746 h 125463"/>
                <a:gd name="connsiteX46" fmla="*/ 28328 w 91849"/>
                <a:gd name="connsiteY46" fmla="*/ 125429 h 12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91849" h="125463">
                  <a:moveTo>
                    <a:pt x="28328" y="125429"/>
                  </a:moveTo>
                  <a:cubicBezTo>
                    <a:pt x="28328" y="125537"/>
                    <a:pt x="26813" y="125429"/>
                    <a:pt x="24324" y="124563"/>
                  </a:cubicBezTo>
                  <a:cubicBezTo>
                    <a:pt x="21727" y="123698"/>
                    <a:pt x="18048" y="122183"/>
                    <a:pt x="14045" y="119153"/>
                  </a:cubicBezTo>
                  <a:cubicBezTo>
                    <a:pt x="10041" y="116231"/>
                    <a:pt x="5497" y="111687"/>
                    <a:pt x="2359" y="105411"/>
                  </a:cubicBezTo>
                  <a:cubicBezTo>
                    <a:pt x="844" y="102381"/>
                    <a:pt x="-779" y="98486"/>
                    <a:pt x="411" y="94050"/>
                  </a:cubicBezTo>
                  <a:cubicBezTo>
                    <a:pt x="952" y="91886"/>
                    <a:pt x="2792" y="89938"/>
                    <a:pt x="4956" y="89072"/>
                  </a:cubicBezTo>
                  <a:cubicBezTo>
                    <a:pt x="7012" y="88098"/>
                    <a:pt x="10150" y="88098"/>
                    <a:pt x="12097" y="90263"/>
                  </a:cubicBezTo>
                  <a:lnTo>
                    <a:pt x="9933" y="91561"/>
                  </a:lnTo>
                  <a:cubicBezTo>
                    <a:pt x="8743" y="88315"/>
                    <a:pt x="7012" y="84636"/>
                    <a:pt x="7877" y="80199"/>
                  </a:cubicBezTo>
                  <a:cubicBezTo>
                    <a:pt x="8310" y="78144"/>
                    <a:pt x="9500" y="76088"/>
                    <a:pt x="11448" y="74681"/>
                  </a:cubicBezTo>
                  <a:cubicBezTo>
                    <a:pt x="13396" y="73166"/>
                    <a:pt x="16317" y="73166"/>
                    <a:pt x="18157" y="73707"/>
                  </a:cubicBezTo>
                  <a:cubicBezTo>
                    <a:pt x="20104" y="74140"/>
                    <a:pt x="22160" y="74789"/>
                    <a:pt x="23242" y="74357"/>
                  </a:cubicBezTo>
                  <a:cubicBezTo>
                    <a:pt x="24324" y="74032"/>
                    <a:pt x="24541" y="72625"/>
                    <a:pt x="24433" y="70461"/>
                  </a:cubicBezTo>
                  <a:cubicBezTo>
                    <a:pt x="24324" y="65917"/>
                    <a:pt x="26272" y="61372"/>
                    <a:pt x="29410" y="58018"/>
                  </a:cubicBezTo>
                  <a:cubicBezTo>
                    <a:pt x="34495" y="52607"/>
                    <a:pt x="42394" y="49902"/>
                    <a:pt x="49428" y="52283"/>
                  </a:cubicBezTo>
                  <a:lnTo>
                    <a:pt x="47588" y="54014"/>
                  </a:lnTo>
                  <a:cubicBezTo>
                    <a:pt x="46182" y="48604"/>
                    <a:pt x="46290" y="42112"/>
                    <a:pt x="50618" y="37784"/>
                  </a:cubicBezTo>
                  <a:cubicBezTo>
                    <a:pt x="52890" y="35728"/>
                    <a:pt x="55812" y="34970"/>
                    <a:pt x="58625" y="35295"/>
                  </a:cubicBezTo>
                  <a:cubicBezTo>
                    <a:pt x="61330" y="35511"/>
                    <a:pt x="64252" y="37242"/>
                    <a:pt x="65117" y="40056"/>
                  </a:cubicBezTo>
                  <a:lnTo>
                    <a:pt x="62629" y="40597"/>
                  </a:lnTo>
                  <a:cubicBezTo>
                    <a:pt x="62196" y="32373"/>
                    <a:pt x="64468" y="24907"/>
                    <a:pt x="67606" y="19172"/>
                  </a:cubicBezTo>
                  <a:cubicBezTo>
                    <a:pt x="70744" y="13329"/>
                    <a:pt x="74856" y="9110"/>
                    <a:pt x="78643" y="6296"/>
                  </a:cubicBezTo>
                  <a:cubicBezTo>
                    <a:pt x="82430" y="3375"/>
                    <a:pt x="85784" y="1860"/>
                    <a:pt x="88165" y="994"/>
                  </a:cubicBezTo>
                  <a:cubicBezTo>
                    <a:pt x="90545" y="237"/>
                    <a:pt x="91844" y="-88"/>
                    <a:pt x="91844" y="20"/>
                  </a:cubicBezTo>
                  <a:cubicBezTo>
                    <a:pt x="92060" y="453"/>
                    <a:pt x="86650" y="1643"/>
                    <a:pt x="79617" y="7486"/>
                  </a:cubicBezTo>
                  <a:cubicBezTo>
                    <a:pt x="76154" y="10408"/>
                    <a:pt x="72367" y="14628"/>
                    <a:pt x="69554" y="20255"/>
                  </a:cubicBezTo>
                  <a:cubicBezTo>
                    <a:pt x="66632" y="25773"/>
                    <a:pt x="64684" y="32914"/>
                    <a:pt x="65225" y="40489"/>
                  </a:cubicBezTo>
                  <a:lnTo>
                    <a:pt x="65983" y="51201"/>
                  </a:lnTo>
                  <a:lnTo>
                    <a:pt x="62737" y="41030"/>
                  </a:lnTo>
                  <a:cubicBezTo>
                    <a:pt x="61655" y="37567"/>
                    <a:pt x="55487" y="37026"/>
                    <a:pt x="52566" y="39948"/>
                  </a:cubicBezTo>
                  <a:cubicBezTo>
                    <a:pt x="49428" y="42977"/>
                    <a:pt x="49103" y="48604"/>
                    <a:pt x="50401" y="53473"/>
                  </a:cubicBezTo>
                  <a:lnTo>
                    <a:pt x="51159" y="56070"/>
                  </a:lnTo>
                  <a:lnTo>
                    <a:pt x="48562" y="55204"/>
                  </a:lnTo>
                  <a:cubicBezTo>
                    <a:pt x="42935" y="53257"/>
                    <a:pt x="36010" y="55529"/>
                    <a:pt x="31682" y="60182"/>
                  </a:cubicBezTo>
                  <a:cubicBezTo>
                    <a:pt x="28977" y="63103"/>
                    <a:pt x="27354" y="66782"/>
                    <a:pt x="27462" y="70569"/>
                  </a:cubicBezTo>
                  <a:cubicBezTo>
                    <a:pt x="27462" y="71543"/>
                    <a:pt x="27570" y="72733"/>
                    <a:pt x="27246" y="74032"/>
                  </a:cubicBezTo>
                  <a:cubicBezTo>
                    <a:pt x="26921" y="75330"/>
                    <a:pt x="25839" y="76737"/>
                    <a:pt x="24433" y="77170"/>
                  </a:cubicBezTo>
                  <a:cubicBezTo>
                    <a:pt x="21511" y="77927"/>
                    <a:pt x="19563" y="76845"/>
                    <a:pt x="17724" y="76521"/>
                  </a:cubicBezTo>
                  <a:cubicBezTo>
                    <a:pt x="15884" y="76088"/>
                    <a:pt x="14478" y="76088"/>
                    <a:pt x="13287" y="76953"/>
                  </a:cubicBezTo>
                  <a:cubicBezTo>
                    <a:pt x="12097" y="77819"/>
                    <a:pt x="11123" y="79334"/>
                    <a:pt x="10799" y="80849"/>
                  </a:cubicBezTo>
                  <a:cubicBezTo>
                    <a:pt x="10150" y="83987"/>
                    <a:pt x="11340" y="87449"/>
                    <a:pt x="12530" y="90587"/>
                  </a:cubicBezTo>
                  <a:lnTo>
                    <a:pt x="15235" y="97728"/>
                  </a:lnTo>
                  <a:lnTo>
                    <a:pt x="10258" y="91886"/>
                  </a:lnTo>
                  <a:cubicBezTo>
                    <a:pt x="8310" y="89613"/>
                    <a:pt x="3441" y="91669"/>
                    <a:pt x="2900" y="94699"/>
                  </a:cubicBezTo>
                  <a:cubicBezTo>
                    <a:pt x="1926" y="97837"/>
                    <a:pt x="3116" y="101408"/>
                    <a:pt x="4523" y="104329"/>
                  </a:cubicBezTo>
                  <a:cubicBezTo>
                    <a:pt x="7444" y="110389"/>
                    <a:pt x="11448" y="114717"/>
                    <a:pt x="15235" y="117746"/>
                  </a:cubicBezTo>
                  <a:cubicBezTo>
                    <a:pt x="22593" y="124022"/>
                    <a:pt x="28544" y="124996"/>
                    <a:pt x="28328" y="125429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06CB1CF9-A96C-4373-B5AA-0E9E4A3EBCBD}"/>
                </a:ext>
              </a:extLst>
            </p:cNvPr>
            <p:cNvSpPr/>
            <p:nvPr/>
          </p:nvSpPr>
          <p:spPr>
            <a:xfrm flipH="1">
              <a:off x="5523673" y="4195321"/>
              <a:ext cx="27595" cy="53222"/>
            </a:xfrm>
            <a:custGeom>
              <a:avLst/>
              <a:gdLst>
                <a:gd name="connsiteX0" fmla="*/ 25027 w 25036"/>
                <a:gd name="connsiteY0" fmla="*/ 48227 h 48287"/>
                <a:gd name="connsiteX1" fmla="*/ 16370 w 25036"/>
                <a:gd name="connsiteY1" fmla="*/ 44765 h 48287"/>
                <a:gd name="connsiteX2" fmla="*/ 8471 w 25036"/>
                <a:gd name="connsiteY2" fmla="*/ 37948 h 48287"/>
                <a:gd name="connsiteX3" fmla="*/ 5658 w 25036"/>
                <a:gd name="connsiteY3" fmla="*/ 25180 h 48287"/>
                <a:gd name="connsiteX4" fmla="*/ 6848 w 25036"/>
                <a:gd name="connsiteY4" fmla="*/ 22150 h 48287"/>
                <a:gd name="connsiteX5" fmla="*/ 7498 w 25036"/>
                <a:gd name="connsiteY5" fmla="*/ 24206 h 48287"/>
                <a:gd name="connsiteX6" fmla="*/ 248 w 25036"/>
                <a:gd name="connsiteY6" fmla="*/ 14468 h 48287"/>
                <a:gd name="connsiteX7" fmla="*/ 2087 w 25036"/>
                <a:gd name="connsiteY7" fmla="*/ 4946 h 48287"/>
                <a:gd name="connsiteX8" fmla="*/ 9121 w 25036"/>
                <a:gd name="connsiteY8" fmla="*/ 77 h 48287"/>
                <a:gd name="connsiteX9" fmla="*/ 3819 w 25036"/>
                <a:gd name="connsiteY9" fmla="*/ 5920 h 48287"/>
                <a:gd name="connsiteX10" fmla="*/ 2737 w 25036"/>
                <a:gd name="connsiteY10" fmla="*/ 13927 h 48287"/>
                <a:gd name="connsiteX11" fmla="*/ 8688 w 25036"/>
                <a:gd name="connsiteY11" fmla="*/ 21609 h 48287"/>
                <a:gd name="connsiteX12" fmla="*/ 9986 w 25036"/>
                <a:gd name="connsiteY12" fmla="*/ 22259 h 48287"/>
                <a:gd name="connsiteX13" fmla="*/ 9337 w 25036"/>
                <a:gd name="connsiteY13" fmla="*/ 23665 h 48287"/>
                <a:gd name="connsiteX14" fmla="*/ 8471 w 25036"/>
                <a:gd name="connsiteY14" fmla="*/ 26046 h 48287"/>
                <a:gd name="connsiteX15" fmla="*/ 10744 w 25036"/>
                <a:gd name="connsiteY15" fmla="*/ 36650 h 48287"/>
                <a:gd name="connsiteX16" fmla="*/ 17561 w 25036"/>
                <a:gd name="connsiteY16" fmla="*/ 43250 h 48287"/>
                <a:gd name="connsiteX17" fmla="*/ 25027 w 25036"/>
                <a:gd name="connsiteY17" fmla="*/ 48227 h 48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036" h="48287">
                  <a:moveTo>
                    <a:pt x="25027" y="48227"/>
                  </a:moveTo>
                  <a:cubicBezTo>
                    <a:pt x="24918" y="48552"/>
                    <a:pt x="21456" y="47578"/>
                    <a:pt x="16370" y="44765"/>
                  </a:cubicBezTo>
                  <a:cubicBezTo>
                    <a:pt x="13882" y="43250"/>
                    <a:pt x="10852" y="41194"/>
                    <a:pt x="8471" y="37948"/>
                  </a:cubicBezTo>
                  <a:cubicBezTo>
                    <a:pt x="6199" y="34702"/>
                    <a:pt x="4468" y="30049"/>
                    <a:pt x="5658" y="25180"/>
                  </a:cubicBezTo>
                  <a:cubicBezTo>
                    <a:pt x="5875" y="24098"/>
                    <a:pt x="6416" y="23016"/>
                    <a:pt x="6848" y="22150"/>
                  </a:cubicBezTo>
                  <a:lnTo>
                    <a:pt x="7498" y="24206"/>
                  </a:lnTo>
                  <a:cubicBezTo>
                    <a:pt x="3386" y="22150"/>
                    <a:pt x="1005" y="18147"/>
                    <a:pt x="248" y="14468"/>
                  </a:cubicBezTo>
                  <a:cubicBezTo>
                    <a:pt x="-510" y="10681"/>
                    <a:pt x="573" y="7218"/>
                    <a:pt x="2087" y="4946"/>
                  </a:cubicBezTo>
                  <a:cubicBezTo>
                    <a:pt x="5334" y="293"/>
                    <a:pt x="9121" y="-248"/>
                    <a:pt x="9121" y="77"/>
                  </a:cubicBezTo>
                  <a:cubicBezTo>
                    <a:pt x="9337" y="509"/>
                    <a:pt x="6199" y="1700"/>
                    <a:pt x="3819" y="5920"/>
                  </a:cubicBezTo>
                  <a:cubicBezTo>
                    <a:pt x="2737" y="7976"/>
                    <a:pt x="1979" y="10897"/>
                    <a:pt x="2737" y="13927"/>
                  </a:cubicBezTo>
                  <a:cubicBezTo>
                    <a:pt x="3494" y="16848"/>
                    <a:pt x="5550" y="19986"/>
                    <a:pt x="8688" y="21609"/>
                  </a:cubicBezTo>
                  <a:lnTo>
                    <a:pt x="9986" y="22259"/>
                  </a:lnTo>
                  <a:lnTo>
                    <a:pt x="9337" y="23665"/>
                  </a:lnTo>
                  <a:cubicBezTo>
                    <a:pt x="9013" y="24423"/>
                    <a:pt x="8580" y="25180"/>
                    <a:pt x="8471" y="26046"/>
                  </a:cubicBezTo>
                  <a:cubicBezTo>
                    <a:pt x="7606" y="29725"/>
                    <a:pt x="8904" y="33728"/>
                    <a:pt x="10744" y="36650"/>
                  </a:cubicBezTo>
                  <a:cubicBezTo>
                    <a:pt x="12691" y="39571"/>
                    <a:pt x="15288" y="41627"/>
                    <a:pt x="17561" y="43250"/>
                  </a:cubicBezTo>
                  <a:cubicBezTo>
                    <a:pt x="21997" y="46063"/>
                    <a:pt x="25243" y="47795"/>
                    <a:pt x="25027" y="48227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A56E48F8-C522-41BB-9425-4160D127FFB8}"/>
                </a:ext>
              </a:extLst>
            </p:cNvPr>
            <p:cNvSpPr/>
            <p:nvPr/>
          </p:nvSpPr>
          <p:spPr>
            <a:xfrm flipH="1">
              <a:off x="5443789" y="4163204"/>
              <a:ext cx="88609" cy="50340"/>
            </a:xfrm>
            <a:custGeom>
              <a:avLst/>
              <a:gdLst>
                <a:gd name="connsiteX0" fmla="*/ 76292 w 80393"/>
                <a:gd name="connsiteY0" fmla="*/ 45662 h 45672"/>
                <a:gd name="connsiteX1" fmla="*/ 78348 w 80393"/>
                <a:gd name="connsiteY1" fmla="*/ 34950 h 45672"/>
                <a:gd name="connsiteX2" fmla="*/ 71423 w 80393"/>
                <a:gd name="connsiteY2" fmla="*/ 25752 h 45672"/>
                <a:gd name="connsiteX3" fmla="*/ 57356 w 80393"/>
                <a:gd name="connsiteY3" fmla="*/ 27917 h 45672"/>
                <a:gd name="connsiteX4" fmla="*/ 55517 w 80393"/>
                <a:gd name="connsiteY4" fmla="*/ 29648 h 45672"/>
                <a:gd name="connsiteX5" fmla="*/ 55084 w 80393"/>
                <a:gd name="connsiteY5" fmla="*/ 27159 h 45672"/>
                <a:gd name="connsiteX6" fmla="*/ 51730 w 80393"/>
                <a:gd name="connsiteY6" fmla="*/ 18503 h 45672"/>
                <a:gd name="connsiteX7" fmla="*/ 44372 w 80393"/>
                <a:gd name="connsiteY7" fmla="*/ 13201 h 45672"/>
                <a:gd name="connsiteX8" fmla="*/ 35715 w 80393"/>
                <a:gd name="connsiteY8" fmla="*/ 20775 h 45672"/>
                <a:gd name="connsiteX9" fmla="*/ 32902 w 80393"/>
                <a:gd name="connsiteY9" fmla="*/ 21316 h 45672"/>
                <a:gd name="connsiteX10" fmla="*/ 24895 w 80393"/>
                <a:gd name="connsiteY10" fmla="*/ 6709 h 45672"/>
                <a:gd name="connsiteX11" fmla="*/ 12343 w 80393"/>
                <a:gd name="connsiteY11" fmla="*/ 1839 h 45672"/>
                <a:gd name="connsiteX12" fmla="*/ 8 w 80393"/>
                <a:gd name="connsiteY12" fmla="*/ 4003 h 45672"/>
                <a:gd name="connsiteX13" fmla="*/ 2930 w 80393"/>
                <a:gd name="connsiteY13" fmla="*/ 2056 h 45672"/>
                <a:gd name="connsiteX14" fmla="*/ 12452 w 80393"/>
                <a:gd name="connsiteY14" fmla="*/ 0 h 45672"/>
                <a:gd name="connsiteX15" fmla="*/ 26518 w 80393"/>
                <a:gd name="connsiteY15" fmla="*/ 4761 h 45672"/>
                <a:gd name="connsiteX16" fmla="*/ 35932 w 80393"/>
                <a:gd name="connsiteY16" fmla="*/ 20992 h 45672"/>
                <a:gd name="connsiteX17" fmla="*/ 33119 w 80393"/>
                <a:gd name="connsiteY17" fmla="*/ 21532 h 45672"/>
                <a:gd name="connsiteX18" fmla="*/ 36040 w 80393"/>
                <a:gd name="connsiteY18" fmla="*/ 12984 h 45672"/>
                <a:gd name="connsiteX19" fmla="*/ 44913 w 80393"/>
                <a:gd name="connsiteY19" fmla="*/ 10171 h 45672"/>
                <a:gd name="connsiteX20" fmla="*/ 54327 w 80393"/>
                <a:gd name="connsiteY20" fmla="*/ 16772 h 45672"/>
                <a:gd name="connsiteX21" fmla="*/ 58005 w 80393"/>
                <a:gd name="connsiteY21" fmla="*/ 26510 h 45672"/>
                <a:gd name="connsiteX22" fmla="*/ 55733 w 80393"/>
                <a:gd name="connsiteY22" fmla="*/ 25752 h 45672"/>
                <a:gd name="connsiteX23" fmla="*/ 72721 w 80393"/>
                <a:gd name="connsiteY23" fmla="*/ 23480 h 45672"/>
                <a:gd name="connsiteX24" fmla="*/ 80295 w 80393"/>
                <a:gd name="connsiteY24" fmla="*/ 34625 h 45672"/>
                <a:gd name="connsiteX25" fmla="*/ 78564 w 80393"/>
                <a:gd name="connsiteY25" fmla="*/ 43282 h 45672"/>
                <a:gd name="connsiteX26" fmla="*/ 76292 w 80393"/>
                <a:gd name="connsiteY26" fmla="*/ 45662 h 4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0393" h="45672">
                  <a:moveTo>
                    <a:pt x="76292" y="45662"/>
                  </a:moveTo>
                  <a:cubicBezTo>
                    <a:pt x="75859" y="45554"/>
                    <a:pt x="79430" y="41983"/>
                    <a:pt x="78348" y="34950"/>
                  </a:cubicBezTo>
                  <a:cubicBezTo>
                    <a:pt x="77807" y="31596"/>
                    <a:pt x="75643" y="27592"/>
                    <a:pt x="71423" y="25752"/>
                  </a:cubicBezTo>
                  <a:cubicBezTo>
                    <a:pt x="67311" y="23913"/>
                    <a:pt x="61252" y="24238"/>
                    <a:pt x="57356" y="27917"/>
                  </a:cubicBezTo>
                  <a:lnTo>
                    <a:pt x="55517" y="29648"/>
                  </a:lnTo>
                  <a:lnTo>
                    <a:pt x="55084" y="27159"/>
                  </a:lnTo>
                  <a:cubicBezTo>
                    <a:pt x="54543" y="24238"/>
                    <a:pt x="53461" y="21100"/>
                    <a:pt x="51730" y="18503"/>
                  </a:cubicBezTo>
                  <a:cubicBezTo>
                    <a:pt x="50107" y="15906"/>
                    <a:pt x="47293" y="13634"/>
                    <a:pt x="44372" y="13201"/>
                  </a:cubicBezTo>
                  <a:cubicBezTo>
                    <a:pt x="39719" y="12552"/>
                    <a:pt x="34417" y="16880"/>
                    <a:pt x="35715" y="20775"/>
                  </a:cubicBezTo>
                  <a:lnTo>
                    <a:pt x="32902" y="21316"/>
                  </a:lnTo>
                  <a:cubicBezTo>
                    <a:pt x="32253" y="15148"/>
                    <a:pt x="28899" y="9955"/>
                    <a:pt x="24895" y="6709"/>
                  </a:cubicBezTo>
                  <a:cubicBezTo>
                    <a:pt x="20891" y="3354"/>
                    <a:pt x="16130" y="2056"/>
                    <a:pt x="12343" y="1839"/>
                  </a:cubicBezTo>
                  <a:cubicBezTo>
                    <a:pt x="4444" y="1515"/>
                    <a:pt x="224" y="4545"/>
                    <a:pt x="8" y="4003"/>
                  </a:cubicBezTo>
                  <a:cubicBezTo>
                    <a:pt x="-100" y="3895"/>
                    <a:pt x="874" y="3030"/>
                    <a:pt x="2930" y="2056"/>
                  </a:cubicBezTo>
                  <a:cubicBezTo>
                    <a:pt x="4985" y="1082"/>
                    <a:pt x="8232" y="0"/>
                    <a:pt x="12452" y="0"/>
                  </a:cubicBezTo>
                  <a:cubicBezTo>
                    <a:pt x="16563" y="0"/>
                    <a:pt x="21865" y="1190"/>
                    <a:pt x="26518" y="4761"/>
                  </a:cubicBezTo>
                  <a:cubicBezTo>
                    <a:pt x="31063" y="8223"/>
                    <a:pt x="34958" y="14067"/>
                    <a:pt x="35932" y="20992"/>
                  </a:cubicBezTo>
                  <a:lnTo>
                    <a:pt x="33119" y="21532"/>
                  </a:lnTo>
                  <a:cubicBezTo>
                    <a:pt x="32145" y="18395"/>
                    <a:pt x="33659" y="14932"/>
                    <a:pt x="36040" y="12984"/>
                  </a:cubicBezTo>
                  <a:cubicBezTo>
                    <a:pt x="38420" y="10929"/>
                    <a:pt x="41558" y="9847"/>
                    <a:pt x="44913" y="10171"/>
                  </a:cubicBezTo>
                  <a:cubicBezTo>
                    <a:pt x="49241" y="10820"/>
                    <a:pt x="52379" y="13634"/>
                    <a:pt x="54327" y="16772"/>
                  </a:cubicBezTo>
                  <a:cubicBezTo>
                    <a:pt x="56382" y="19910"/>
                    <a:pt x="57356" y="23264"/>
                    <a:pt x="58005" y="26510"/>
                  </a:cubicBezTo>
                  <a:lnTo>
                    <a:pt x="55733" y="25752"/>
                  </a:lnTo>
                  <a:cubicBezTo>
                    <a:pt x="60819" y="21208"/>
                    <a:pt x="67852" y="21100"/>
                    <a:pt x="72721" y="23480"/>
                  </a:cubicBezTo>
                  <a:cubicBezTo>
                    <a:pt x="77807" y="25861"/>
                    <a:pt x="79971" y="30838"/>
                    <a:pt x="80295" y="34625"/>
                  </a:cubicBezTo>
                  <a:cubicBezTo>
                    <a:pt x="80728" y="38521"/>
                    <a:pt x="79646" y="41550"/>
                    <a:pt x="78564" y="43282"/>
                  </a:cubicBezTo>
                  <a:cubicBezTo>
                    <a:pt x="77266" y="45013"/>
                    <a:pt x="76400" y="45770"/>
                    <a:pt x="76292" y="45662"/>
                  </a:cubicBezTo>
                  <a:close/>
                </a:path>
              </a:pathLst>
            </a:custGeom>
            <a:solidFill>
              <a:srgbClr val="E0E0E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AED4FAB1-BF32-4A2F-8B46-E63D47CB6EF9}"/>
                </a:ext>
              </a:extLst>
            </p:cNvPr>
            <p:cNvSpPr/>
            <p:nvPr/>
          </p:nvSpPr>
          <p:spPr>
            <a:xfrm flipH="1">
              <a:off x="4865356" y="5897278"/>
              <a:ext cx="1113313" cy="774012"/>
            </a:xfrm>
            <a:custGeom>
              <a:avLst/>
              <a:gdLst>
                <a:gd name="connsiteX0" fmla="*/ 34301 w 1010084"/>
                <a:gd name="connsiteY0" fmla="*/ 445909 h 702244"/>
                <a:gd name="connsiteX1" fmla="*/ 497089 w 1010084"/>
                <a:gd name="connsiteY1" fmla="*/ 297020 h 702244"/>
                <a:gd name="connsiteX2" fmla="*/ 32137 w 1010084"/>
                <a:gd name="connsiteY2" fmla="*/ 311303 h 702244"/>
                <a:gd name="connsiteX3" fmla="*/ 0 w 1010084"/>
                <a:gd name="connsiteY3" fmla="*/ 0 h 702244"/>
                <a:gd name="connsiteX4" fmla="*/ 885109 w 1010084"/>
                <a:gd name="connsiteY4" fmla="*/ 77258 h 702244"/>
                <a:gd name="connsiteX5" fmla="*/ 1010085 w 1010084"/>
                <a:gd name="connsiteY5" fmla="*/ 257201 h 702244"/>
                <a:gd name="connsiteX6" fmla="*/ 977191 w 1010084"/>
                <a:gd name="connsiteY6" fmla="*/ 483023 h 702244"/>
                <a:gd name="connsiteX7" fmla="*/ 114804 w 1010084"/>
                <a:gd name="connsiteY7" fmla="*/ 702244 h 70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0084" h="702244">
                  <a:moveTo>
                    <a:pt x="34301" y="445909"/>
                  </a:moveTo>
                  <a:lnTo>
                    <a:pt x="497089" y="297020"/>
                  </a:lnTo>
                  <a:lnTo>
                    <a:pt x="32137" y="311303"/>
                  </a:lnTo>
                  <a:lnTo>
                    <a:pt x="0" y="0"/>
                  </a:lnTo>
                  <a:lnTo>
                    <a:pt x="885109" y="77258"/>
                  </a:lnTo>
                  <a:lnTo>
                    <a:pt x="1010085" y="257201"/>
                  </a:lnTo>
                  <a:lnTo>
                    <a:pt x="977191" y="483023"/>
                  </a:lnTo>
                  <a:lnTo>
                    <a:pt x="114804" y="702244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AD24DBD8-131D-4170-B1F5-AD9069CC8EEA}"/>
                </a:ext>
              </a:extLst>
            </p:cNvPr>
            <p:cNvSpPr/>
            <p:nvPr/>
          </p:nvSpPr>
          <p:spPr>
            <a:xfrm flipH="1">
              <a:off x="4827312" y="5529860"/>
              <a:ext cx="1361499" cy="1065698"/>
            </a:xfrm>
            <a:custGeom>
              <a:avLst/>
              <a:gdLst>
                <a:gd name="connsiteX0" fmla="*/ 1214159 w 1235258"/>
                <a:gd name="connsiteY0" fmla="*/ 953575 h 966884"/>
                <a:gd name="connsiteX1" fmla="*/ 1235259 w 1235258"/>
                <a:gd name="connsiteY1" fmla="*/ 205886 h 966884"/>
                <a:gd name="connsiteX2" fmla="*/ 1119697 w 1235258"/>
                <a:gd name="connsiteY2" fmla="*/ 28539 h 966884"/>
                <a:gd name="connsiteX3" fmla="*/ 1119697 w 1235258"/>
                <a:gd name="connsiteY3" fmla="*/ 28539 h 966884"/>
                <a:gd name="connsiteX4" fmla="*/ 930232 w 1235258"/>
                <a:gd name="connsiteY4" fmla="*/ 10902 h 966884"/>
                <a:gd name="connsiteX5" fmla="*/ 355993 w 1235258"/>
                <a:gd name="connsiteY5" fmla="*/ 186084 h 966884"/>
                <a:gd name="connsiteX6" fmla="*/ 40795 w 1235258"/>
                <a:gd name="connsiteY6" fmla="*/ 260204 h 966884"/>
                <a:gd name="connsiteX7" fmla="*/ 434 w 1235258"/>
                <a:gd name="connsiteY7" fmla="*/ 438632 h 966884"/>
                <a:gd name="connsiteX8" fmla="*/ 257094 w 1235258"/>
                <a:gd name="connsiteY8" fmla="*/ 660992 h 966884"/>
                <a:gd name="connsiteX9" fmla="*/ 931530 w 1235258"/>
                <a:gd name="connsiteY9" fmla="*/ 415044 h 966884"/>
                <a:gd name="connsiteX10" fmla="*/ 892901 w 1235258"/>
                <a:gd name="connsiteY10" fmla="*/ 966884 h 966884"/>
                <a:gd name="connsiteX11" fmla="*/ 1214159 w 1235258"/>
                <a:gd name="connsiteY11" fmla="*/ 953575 h 96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35258" h="966884">
                  <a:moveTo>
                    <a:pt x="1214159" y="953575"/>
                  </a:moveTo>
                  <a:lnTo>
                    <a:pt x="1235259" y="205886"/>
                  </a:lnTo>
                  <a:cubicBezTo>
                    <a:pt x="1232878" y="132415"/>
                    <a:pt x="1189164" y="65328"/>
                    <a:pt x="1119697" y="28539"/>
                  </a:cubicBezTo>
                  <a:lnTo>
                    <a:pt x="1119697" y="28539"/>
                  </a:lnTo>
                  <a:cubicBezTo>
                    <a:pt x="1062240" y="-1866"/>
                    <a:pt x="993206" y="-8359"/>
                    <a:pt x="930232" y="10902"/>
                  </a:cubicBezTo>
                  <a:lnTo>
                    <a:pt x="355993" y="186084"/>
                  </a:lnTo>
                  <a:lnTo>
                    <a:pt x="40795" y="260204"/>
                  </a:lnTo>
                  <a:cubicBezTo>
                    <a:pt x="40795" y="260204"/>
                    <a:pt x="6494" y="340383"/>
                    <a:pt x="434" y="438632"/>
                  </a:cubicBezTo>
                  <a:cubicBezTo>
                    <a:pt x="-8005" y="575402"/>
                    <a:pt x="107556" y="698539"/>
                    <a:pt x="257094" y="660992"/>
                  </a:cubicBezTo>
                  <a:cubicBezTo>
                    <a:pt x="395271" y="626258"/>
                    <a:pt x="931530" y="415044"/>
                    <a:pt x="931530" y="415044"/>
                  </a:cubicBezTo>
                  <a:lnTo>
                    <a:pt x="892901" y="966884"/>
                  </a:lnTo>
                  <a:lnTo>
                    <a:pt x="1214159" y="953575"/>
                  </a:ln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00DC392A-21A7-453F-BE00-459772FF1E91}"/>
                </a:ext>
              </a:extLst>
            </p:cNvPr>
            <p:cNvSpPr/>
            <p:nvPr/>
          </p:nvSpPr>
          <p:spPr>
            <a:xfrm flipH="1">
              <a:off x="5311630" y="6160039"/>
              <a:ext cx="118957" cy="66103"/>
            </a:xfrm>
            <a:custGeom>
              <a:avLst/>
              <a:gdLst>
                <a:gd name="connsiteX0" fmla="*/ 107923 w 107927"/>
                <a:gd name="connsiteY0" fmla="*/ 193 h 59974"/>
                <a:gd name="connsiteX1" fmla="*/ 48952 w 107927"/>
                <a:gd name="connsiteY1" fmla="*/ 20968 h 59974"/>
                <a:gd name="connsiteX2" fmla="*/ 43 w 107927"/>
                <a:gd name="connsiteY2" fmla="*/ 59921 h 59974"/>
                <a:gd name="connsiteX3" fmla="*/ 51549 w 107927"/>
                <a:gd name="connsiteY3" fmla="*/ 25621 h 59974"/>
                <a:gd name="connsiteX4" fmla="*/ 107923 w 107927"/>
                <a:gd name="connsiteY4" fmla="*/ 193 h 59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927" h="59974">
                  <a:moveTo>
                    <a:pt x="107923" y="193"/>
                  </a:moveTo>
                  <a:cubicBezTo>
                    <a:pt x="107815" y="-1106"/>
                    <a:pt x="79465" y="3980"/>
                    <a:pt x="48952" y="20968"/>
                  </a:cubicBezTo>
                  <a:cubicBezTo>
                    <a:pt x="18222" y="37848"/>
                    <a:pt x="-1039" y="59164"/>
                    <a:pt x="43" y="59921"/>
                  </a:cubicBezTo>
                  <a:cubicBezTo>
                    <a:pt x="1125" y="61112"/>
                    <a:pt x="21576" y="42068"/>
                    <a:pt x="51549" y="25621"/>
                  </a:cubicBezTo>
                  <a:cubicBezTo>
                    <a:pt x="81305" y="9065"/>
                    <a:pt x="108356" y="1816"/>
                    <a:pt x="107923" y="193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9CD642FA-BA6D-48AA-9E09-D0414F9FE71D}"/>
                </a:ext>
              </a:extLst>
            </p:cNvPr>
            <p:cNvSpPr/>
            <p:nvPr/>
          </p:nvSpPr>
          <p:spPr>
            <a:xfrm flipH="1">
              <a:off x="5162080" y="5930880"/>
              <a:ext cx="968066" cy="336924"/>
            </a:xfrm>
            <a:custGeom>
              <a:avLst/>
              <a:gdLst>
                <a:gd name="connsiteX0" fmla="*/ 878306 w 878305"/>
                <a:gd name="connsiteY0" fmla="*/ 27 h 305684"/>
                <a:gd name="connsiteX1" fmla="*/ 876141 w 878305"/>
                <a:gd name="connsiteY1" fmla="*/ 1326 h 305684"/>
                <a:gd name="connsiteX2" fmla="*/ 869649 w 878305"/>
                <a:gd name="connsiteY2" fmla="*/ 4572 h 305684"/>
                <a:gd name="connsiteX3" fmla="*/ 844438 w 878305"/>
                <a:gd name="connsiteY3" fmla="*/ 16691 h 305684"/>
                <a:gd name="connsiteX4" fmla="*/ 751166 w 878305"/>
                <a:gd name="connsiteY4" fmla="*/ 60297 h 305684"/>
                <a:gd name="connsiteX5" fmla="*/ 442784 w 878305"/>
                <a:gd name="connsiteY5" fmla="*/ 202261 h 305684"/>
                <a:gd name="connsiteX6" fmla="*/ 354706 w 878305"/>
                <a:gd name="connsiteY6" fmla="*/ 242405 h 305684"/>
                <a:gd name="connsiteX7" fmla="*/ 312831 w 878305"/>
                <a:gd name="connsiteY7" fmla="*/ 261448 h 305684"/>
                <a:gd name="connsiteX8" fmla="*/ 272255 w 878305"/>
                <a:gd name="connsiteY8" fmla="*/ 278977 h 305684"/>
                <a:gd name="connsiteX9" fmla="*/ 193699 w 878305"/>
                <a:gd name="connsiteY9" fmla="*/ 302133 h 305684"/>
                <a:gd name="connsiteX10" fmla="*/ 122284 w 878305"/>
                <a:gd name="connsiteY10" fmla="*/ 303756 h 305684"/>
                <a:gd name="connsiteX11" fmla="*/ 28255 w 878305"/>
                <a:gd name="connsiteY11" fmla="*/ 262963 h 305684"/>
                <a:gd name="connsiteX12" fmla="*/ 6939 w 878305"/>
                <a:gd name="connsiteY12" fmla="*/ 244677 h 305684"/>
                <a:gd name="connsiteX13" fmla="*/ 1637 w 878305"/>
                <a:gd name="connsiteY13" fmla="*/ 239700 h 305684"/>
                <a:gd name="connsiteX14" fmla="*/ 14 w 878305"/>
                <a:gd name="connsiteY14" fmla="*/ 237860 h 305684"/>
                <a:gd name="connsiteX15" fmla="*/ 7696 w 878305"/>
                <a:gd name="connsiteY15" fmla="*/ 243919 h 305684"/>
                <a:gd name="connsiteX16" fmla="*/ 29553 w 878305"/>
                <a:gd name="connsiteY16" fmla="*/ 261232 h 305684"/>
                <a:gd name="connsiteX17" fmla="*/ 122717 w 878305"/>
                <a:gd name="connsiteY17" fmla="*/ 299861 h 305684"/>
                <a:gd name="connsiteX18" fmla="*/ 192833 w 878305"/>
                <a:gd name="connsiteY18" fmla="*/ 297589 h 305684"/>
                <a:gd name="connsiteX19" fmla="*/ 270415 w 878305"/>
                <a:gd name="connsiteY19" fmla="*/ 274108 h 305684"/>
                <a:gd name="connsiteX20" fmla="*/ 310667 w 878305"/>
                <a:gd name="connsiteY20" fmla="*/ 256471 h 305684"/>
                <a:gd name="connsiteX21" fmla="*/ 352542 w 878305"/>
                <a:gd name="connsiteY21" fmla="*/ 237319 h 305684"/>
                <a:gd name="connsiteX22" fmla="*/ 440512 w 878305"/>
                <a:gd name="connsiteY22" fmla="*/ 196959 h 305684"/>
                <a:gd name="connsiteX23" fmla="*/ 749651 w 878305"/>
                <a:gd name="connsiteY23" fmla="*/ 56510 h 305684"/>
                <a:gd name="connsiteX24" fmla="*/ 843572 w 878305"/>
                <a:gd name="connsiteY24" fmla="*/ 14527 h 305684"/>
                <a:gd name="connsiteX25" fmla="*/ 869216 w 878305"/>
                <a:gd name="connsiteY25" fmla="*/ 3382 h 305684"/>
                <a:gd name="connsiteX26" fmla="*/ 875925 w 878305"/>
                <a:gd name="connsiteY26" fmla="*/ 569 h 305684"/>
                <a:gd name="connsiteX27" fmla="*/ 878306 w 878305"/>
                <a:gd name="connsiteY27" fmla="*/ 27 h 305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8305" h="305684">
                  <a:moveTo>
                    <a:pt x="878306" y="27"/>
                  </a:moveTo>
                  <a:cubicBezTo>
                    <a:pt x="878306" y="136"/>
                    <a:pt x="877656" y="569"/>
                    <a:pt x="876141" y="1326"/>
                  </a:cubicBezTo>
                  <a:cubicBezTo>
                    <a:pt x="874410" y="2192"/>
                    <a:pt x="872246" y="3274"/>
                    <a:pt x="869649" y="4572"/>
                  </a:cubicBezTo>
                  <a:cubicBezTo>
                    <a:pt x="863482" y="7602"/>
                    <a:pt x="855042" y="11605"/>
                    <a:pt x="844438" y="16691"/>
                  </a:cubicBezTo>
                  <a:cubicBezTo>
                    <a:pt x="821931" y="27187"/>
                    <a:pt x="790228" y="42011"/>
                    <a:pt x="751166" y="60297"/>
                  </a:cubicBezTo>
                  <a:cubicBezTo>
                    <a:pt x="671852" y="96762"/>
                    <a:pt x="562999" y="146860"/>
                    <a:pt x="442784" y="202261"/>
                  </a:cubicBezTo>
                  <a:cubicBezTo>
                    <a:pt x="412595" y="216003"/>
                    <a:pt x="383164" y="229420"/>
                    <a:pt x="354706" y="242405"/>
                  </a:cubicBezTo>
                  <a:cubicBezTo>
                    <a:pt x="340532" y="248897"/>
                    <a:pt x="326465" y="255281"/>
                    <a:pt x="312831" y="261448"/>
                  </a:cubicBezTo>
                  <a:cubicBezTo>
                    <a:pt x="299198" y="267616"/>
                    <a:pt x="285780" y="274000"/>
                    <a:pt x="272255" y="278977"/>
                  </a:cubicBezTo>
                  <a:cubicBezTo>
                    <a:pt x="245312" y="289149"/>
                    <a:pt x="219018" y="297372"/>
                    <a:pt x="193699" y="302133"/>
                  </a:cubicBezTo>
                  <a:cubicBezTo>
                    <a:pt x="168271" y="306245"/>
                    <a:pt x="144033" y="306786"/>
                    <a:pt x="122284" y="303756"/>
                  </a:cubicBezTo>
                  <a:cubicBezTo>
                    <a:pt x="78353" y="298021"/>
                    <a:pt x="47190" y="277679"/>
                    <a:pt x="28255" y="262963"/>
                  </a:cubicBezTo>
                  <a:cubicBezTo>
                    <a:pt x="18625" y="255389"/>
                    <a:pt x="11700" y="249005"/>
                    <a:pt x="6939" y="244677"/>
                  </a:cubicBezTo>
                  <a:cubicBezTo>
                    <a:pt x="4775" y="242621"/>
                    <a:pt x="3043" y="240998"/>
                    <a:pt x="1637" y="239700"/>
                  </a:cubicBezTo>
                  <a:cubicBezTo>
                    <a:pt x="446" y="238509"/>
                    <a:pt x="-95" y="237968"/>
                    <a:pt x="14" y="237860"/>
                  </a:cubicBezTo>
                  <a:cubicBezTo>
                    <a:pt x="122" y="237752"/>
                    <a:pt x="2827" y="239808"/>
                    <a:pt x="7696" y="243919"/>
                  </a:cubicBezTo>
                  <a:cubicBezTo>
                    <a:pt x="12673" y="247923"/>
                    <a:pt x="19815" y="254091"/>
                    <a:pt x="29553" y="261232"/>
                  </a:cubicBezTo>
                  <a:cubicBezTo>
                    <a:pt x="48814" y="275407"/>
                    <a:pt x="79652" y="294667"/>
                    <a:pt x="122717" y="299861"/>
                  </a:cubicBezTo>
                  <a:cubicBezTo>
                    <a:pt x="144033" y="302566"/>
                    <a:pt x="167946" y="301809"/>
                    <a:pt x="192833" y="297589"/>
                  </a:cubicBezTo>
                  <a:cubicBezTo>
                    <a:pt x="217720" y="292720"/>
                    <a:pt x="243689" y="284388"/>
                    <a:pt x="270415" y="274108"/>
                  </a:cubicBezTo>
                  <a:cubicBezTo>
                    <a:pt x="283724" y="269023"/>
                    <a:pt x="297034" y="262747"/>
                    <a:pt x="310667" y="256471"/>
                  </a:cubicBezTo>
                  <a:cubicBezTo>
                    <a:pt x="324301" y="250195"/>
                    <a:pt x="338259" y="243811"/>
                    <a:pt x="352542" y="237319"/>
                  </a:cubicBezTo>
                  <a:cubicBezTo>
                    <a:pt x="381000" y="224335"/>
                    <a:pt x="410431" y="210809"/>
                    <a:pt x="440512" y="196959"/>
                  </a:cubicBezTo>
                  <a:cubicBezTo>
                    <a:pt x="561051" y="142208"/>
                    <a:pt x="670121" y="92650"/>
                    <a:pt x="749651" y="56510"/>
                  </a:cubicBezTo>
                  <a:cubicBezTo>
                    <a:pt x="788929" y="38981"/>
                    <a:pt x="820957" y="24698"/>
                    <a:pt x="843572" y="14527"/>
                  </a:cubicBezTo>
                  <a:cubicBezTo>
                    <a:pt x="854392" y="9874"/>
                    <a:pt x="862941" y="6087"/>
                    <a:pt x="869216" y="3382"/>
                  </a:cubicBezTo>
                  <a:cubicBezTo>
                    <a:pt x="871921" y="2300"/>
                    <a:pt x="874086" y="1326"/>
                    <a:pt x="875925" y="569"/>
                  </a:cubicBezTo>
                  <a:cubicBezTo>
                    <a:pt x="877548" y="136"/>
                    <a:pt x="878306" y="-80"/>
                    <a:pt x="878306" y="27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C40DDE96-1DAD-4323-9BC5-67F7E00E8FB1}"/>
                </a:ext>
              </a:extLst>
            </p:cNvPr>
            <p:cNvSpPr/>
            <p:nvPr/>
          </p:nvSpPr>
          <p:spPr>
            <a:xfrm flipH="1">
              <a:off x="4828088" y="5548674"/>
              <a:ext cx="379789" cy="1050104"/>
            </a:xfrm>
            <a:custGeom>
              <a:avLst/>
              <a:gdLst>
                <a:gd name="connsiteX0" fmla="*/ 40144 w 344574"/>
                <a:gd name="connsiteY0" fmla="*/ 338138 h 952736"/>
                <a:gd name="connsiteX1" fmla="*/ 40144 w 344574"/>
                <a:gd name="connsiteY1" fmla="*/ 341059 h 952736"/>
                <a:gd name="connsiteX2" fmla="*/ 39819 w 344574"/>
                <a:gd name="connsiteY2" fmla="*/ 349715 h 952736"/>
                <a:gd name="connsiteX3" fmla="*/ 38196 w 344574"/>
                <a:gd name="connsiteY3" fmla="*/ 383151 h 952736"/>
                <a:gd name="connsiteX4" fmla="*/ 31271 w 344574"/>
                <a:gd name="connsiteY4" fmla="*/ 509100 h 952736"/>
                <a:gd name="connsiteX5" fmla="*/ 5519 w 344574"/>
                <a:gd name="connsiteY5" fmla="*/ 950031 h 952736"/>
                <a:gd name="connsiteX6" fmla="*/ 2813 w 344574"/>
                <a:gd name="connsiteY6" fmla="*/ 947326 h 952736"/>
                <a:gd name="connsiteX7" fmla="*/ 324071 w 344574"/>
                <a:gd name="connsiteY7" fmla="*/ 933801 h 952736"/>
                <a:gd name="connsiteX8" fmla="*/ 321366 w 344574"/>
                <a:gd name="connsiteY8" fmla="*/ 936506 h 952736"/>
                <a:gd name="connsiteX9" fmla="*/ 323422 w 344574"/>
                <a:gd name="connsiteY9" fmla="*/ 879699 h 952736"/>
                <a:gd name="connsiteX10" fmla="*/ 335649 w 344574"/>
                <a:gd name="connsiteY10" fmla="*/ 494060 h 952736"/>
                <a:gd name="connsiteX11" fmla="*/ 339761 w 344574"/>
                <a:gd name="connsiteY11" fmla="*/ 179186 h 952736"/>
                <a:gd name="connsiteX12" fmla="*/ 339003 w 344574"/>
                <a:gd name="connsiteY12" fmla="*/ 162631 h 952736"/>
                <a:gd name="connsiteX13" fmla="*/ 337488 w 344574"/>
                <a:gd name="connsiteY13" fmla="*/ 146616 h 952736"/>
                <a:gd name="connsiteX14" fmla="*/ 328724 w 344574"/>
                <a:gd name="connsiteY14" fmla="*/ 117293 h 952736"/>
                <a:gd name="connsiteX15" fmla="*/ 295613 w 344574"/>
                <a:gd name="connsiteY15" fmla="*/ 72172 h 952736"/>
                <a:gd name="connsiteX16" fmla="*/ 218897 w 344574"/>
                <a:gd name="connsiteY16" fmla="*/ 24238 h 952736"/>
                <a:gd name="connsiteX17" fmla="*/ 164578 w 344574"/>
                <a:gd name="connsiteY17" fmla="*/ 5086 h 952736"/>
                <a:gd name="connsiteX18" fmla="*/ 150079 w 344574"/>
                <a:gd name="connsiteY18" fmla="*/ 1298 h 952736"/>
                <a:gd name="connsiteX19" fmla="*/ 145102 w 344574"/>
                <a:gd name="connsiteY19" fmla="*/ 0 h 952736"/>
                <a:gd name="connsiteX20" fmla="*/ 150187 w 344574"/>
                <a:gd name="connsiteY20" fmla="*/ 758 h 952736"/>
                <a:gd name="connsiteX21" fmla="*/ 164903 w 344574"/>
                <a:gd name="connsiteY21" fmla="*/ 4112 h 952736"/>
                <a:gd name="connsiteX22" fmla="*/ 219762 w 344574"/>
                <a:gd name="connsiteY22" fmla="*/ 22290 h 952736"/>
                <a:gd name="connsiteX23" fmla="*/ 297778 w 344574"/>
                <a:gd name="connsiteY23" fmla="*/ 70008 h 952736"/>
                <a:gd name="connsiteX24" fmla="*/ 331970 w 344574"/>
                <a:gd name="connsiteY24" fmla="*/ 115995 h 952736"/>
                <a:gd name="connsiteX25" fmla="*/ 341167 w 344574"/>
                <a:gd name="connsiteY25" fmla="*/ 146184 h 952736"/>
                <a:gd name="connsiteX26" fmla="*/ 342790 w 344574"/>
                <a:gd name="connsiteY26" fmla="*/ 162414 h 952736"/>
                <a:gd name="connsiteX27" fmla="*/ 343656 w 344574"/>
                <a:gd name="connsiteY27" fmla="*/ 179078 h 952736"/>
                <a:gd name="connsiteX28" fmla="*/ 340735 w 344574"/>
                <a:gd name="connsiteY28" fmla="*/ 494276 h 952736"/>
                <a:gd name="connsiteX29" fmla="*/ 328940 w 344574"/>
                <a:gd name="connsiteY29" fmla="*/ 880023 h 952736"/>
                <a:gd name="connsiteX30" fmla="*/ 326884 w 344574"/>
                <a:gd name="connsiteY30" fmla="*/ 936830 h 952736"/>
                <a:gd name="connsiteX31" fmla="*/ 326776 w 344574"/>
                <a:gd name="connsiteY31" fmla="*/ 939427 h 952736"/>
                <a:gd name="connsiteX32" fmla="*/ 324179 w 344574"/>
                <a:gd name="connsiteY32" fmla="*/ 939535 h 952736"/>
                <a:gd name="connsiteX33" fmla="*/ 2922 w 344574"/>
                <a:gd name="connsiteY33" fmla="*/ 952628 h 952736"/>
                <a:gd name="connsiteX34" fmla="*/ 0 w 344574"/>
                <a:gd name="connsiteY34" fmla="*/ 952736 h 952736"/>
                <a:gd name="connsiteX35" fmla="*/ 216 w 344574"/>
                <a:gd name="connsiteY35" fmla="*/ 949815 h 952736"/>
                <a:gd name="connsiteX36" fmla="*/ 28025 w 344574"/>
                <a:gd name="connsiteY36" fmla="*/ 508992 h 952736"/>
                <a:gd name="connsiteX37" fmla="*/ 36465 w 344574"/>
                <a:gd name="connsiteY37" fmla="*/ 383151 h 952736"/>
                <a:gd name="connsiteX38" fmla="*/ 38954 w 344574"/>
                <a:gd name="connsiteY38" fmla="*/ 349715 h 952736"/>
                <a:gd name="connsiteX39" fmla="*/ 39711 w 344574"/>
                <a:gd name="connsiteY39" fmla="*/ 341167 h 952736"/>
                <a:gd name="connsiteX40" fmla="*/ 40144 w 344574"/>
                <a:gd name="connsiteY40" fmla="*/ 338138 h 95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44574" h="952736">
                  <a:moveTo>
                    <a:pt x="40144" y="338138"/>
                  </a:moveTo>
                  <a:cubicBezTo>
                    <a:pt x="40252" y="338138"/>
                    <a:pt x="40252" y="339111"/>
                    <a:pt x="40144" y="341059"/>
                  </a:cubicBezTo>
                  <a:cubicBezTo>
                    <a:pt x="40036" y="343223"/>
                    <a:pt x="39927" y="346037"/>
                    <a:pt x="39819" y="349715"/>
                  </a:cubicBezTo>
                  <a:cubicBezTo>
                    <a:pt x="39386" y="357614"/>
                    <a:pt x="38845" y="368759"/>
                    <a:pt x="38196" y="383151"/>
                  </a:cubicBezTo>
                  <a:cubicBezTo>
                    <a:pt x="36573" y="412690"/>
                    <a:pt x="34193" y="455322"/>
                    <a:pt x="31271" y="509100"/>
                  </a:cubicBezTo>
                  <a:cubicBezTo>
                    <a:pt x="24995" y="617304"/>
                    <a:pt x="16014" y="770196"/>
                    <a:pt x="5519" y="950031"/>
                  </a:cubicBezTo>
                  <a:lnTo>
                    <a:pt x="2813" y="947326"/>
                  </a:lnTo>
                  <a:cubicBezTo>
                    <a:pt x="101604" y="943215"/>
                    <a:pt x="210240" y="938562"/>
                    <a:pt x="324071" y="933801"/>
                  </a:cubicBezTo>
                  <a:lnTo>
                    <a:pt x="321366" y="936506"/>
                  </a:lnTo>
                  <a:cubicBezTo>
                    <a:pt x="322015" y="918544"/>
                    <a:pt x="322773" y="899176"/>
                    <a:pt x="323422" y="879699"/>
                  </a:cubicBezTo>
                  <a:cubicBezTo>
                    <a:pt x="328291" y="742929"/>
                    <a:pt x="332511" y="612543"/>
                    <a:pt x="335649" y="494060"/>
                  </a:cubicBezTo>
                  <a:cubicBezTo>
                    <a:pt x="338462" y="375576"/>
                    <a:pt x="341600" y="268670"/>
                    <a:pt x="339761" y="179186"/>
                  </a:cubicBezTo>
                  <a:cubicBezTo>
                    <a:pt x="339761" y="173559"/>
                    <a:pt x="339328" y="168149"/>
                    <a:pt x="339003" y="162631"/>
                  </a:cubicBezTo>
                  <a:cubicBezTo>
                    <a:pt x="338462" y="157220"/>
                    <a:pt x="338679" y="151810"/>
                    <a:pt x="337488" y="146616"/>
                  </a:cubicBezTo>
                  <a:cubicBezTo>
                    <a:pt x="336082" y="136229"/>
                    <a:pt x="332727" y="126382"/>
                    <a:pt x="328724" y="117293"/>
                  </a:cubicBezTo>
                  <a:cubicBezTo>
                    <a:pt x="320609" y="99007"/>
                    <a:pt x="308381" y="84291"/>
                    <a:pt x="295613" y="72172"/>
                  </a:cubicBezTo>
                  <a:cubicBezTo>
                    <a:pt x="269536" y="48259"/>
                    <a:pt x="241728" y="34193"/>
                    <a:pt x="218897" y="24238"/>
                  </a:cubicBezTo>
                  <a:cubicBezTo>
                    <a:pt x="195957" y="14391"/>
                    <a:pt x="177238" y="8764"/>
                    <a:pt x="164578" y="5086"/>
                  </a:cubicBezTo>
                  <a:cubicBezTo>
                    <a:pt x="158411" y="3463"/>
                    <a:pt x="153542" y="2164"/>
                    <a:pt x="150079" y="1298"/>
                  </a:cubicBezTo>
                  <a:cubicBezTo>
                    <a:pt x="146833" y="433"/>
                    <a:pt x="145102" y="0"/>
                    <a:pt x="145102" y="0"/>
                  </a:cubicBezTo>
                  <a:cubicBezTo>
                    <a:pt x="145102" y="0"/>
                    <a:pt x="146833" y="108"/>
                    <a:pt x="150187" y="758"/>
                  </a:cubicBezTo>
                  <a:cubicBezTo>
                    <a:pt x="153542" y="1407"/>
                    <a:pt x="158411" y="2489"/>
                    <a:pt x="164903" y="4112"/>
                  </a:cubicBezTo>
                  <a:cubicBezTo>
                    <a:pt x="177671" y="7358"/>
                    <a:pt x="196499" y="12660"/>
                    <a:pt x="219762" y="22290"/>
                  </a:cubicBezTo>
                  <a:cubicBezTo>
                    <a:pt x="242810" y="32028"/>
                    <a:pt x="270943" y="45878"/>
                    <a:pt x="297778" y="70008"/>
                  </a:cubicBezTo>
                  <a:cubicBezTo>
                    <a:pt x="310870" y="82235"/>
                    <a:pt x="323530" y="97275"/>
                    <a:pt x="331970" y="115995"/>
                  </a:cubicBezTo>
                  <a:cubicBezTo>
                    <a:pt x="336190" y="125300"/>
                    <a:pt x="339544" y="135471"/>
                    <a:pt x="341167" y="146184"/>
                  </a:cubicBezTo>
                  <a:cubicBezTo>
                    <a:pt x="342358" y="151486"/>
                    <a:pt x="342249" y="157004"/>
                    <a:pt x="342790" y="162414"/>
                  </a:cubicBezTo>
                  <a:cubicBezTo>
                    <a:pt x="343223" y="167933"/>
                    <a:pt x="343656" y="173451"/>
                    <a:pt x="343656" y="179078"/>
                  </a:cubicBezTo>
                  <a:cubicBezTo>
                    <a:pt x="346037" y="268887"/>
                    <a:pt x="343331" y="375684"/>
                    <a:pt x="340735" y="494276"/>
                  </a:cubicBezTo>
                  <a:cubicBezTo>
                    <a:pt x="337813" y="612867"/>
                    <a:pt x="333809" y="743253"/>
                    <a:pt x="328940" y="880023"/>
                  </a:cubicBezTo>
                  <a:cubicBezTo>
                    <a:pt x="328183" y="899500"/>
                    <a:pt x="327534" y="918760"/>
                    <a:pt x="326884" y="936830"/>
                  </a:cubicBezTo>
                  <a:lnTo>
                    <a:pt x="326776" y="939427"/>
                  </a:lnTo>
                  <a:lnTo>
                    <a:pt x="324179" y="939535"/>
                  </a:lnTo>
                  <a:cubicBezTo>
                    <a:pt x="210349" y="944188"/>
                    <a:pt x="101712" y="948625"/>
                    <a:pt x="2922" y="952628"/>
                  </a:cubicBezTo>
                  <a:lnTo>
                    <a:pt x="0" y="952736"/>
                  </a:lnTo>
                  <a:lnTo>
                    <a:pt x="216" y="949815"/>
                  </a:lnTo>
                  <a:cubicBezTo>
                    <a:pt x="11578" y="769980"/>
                    <a:pt x="21208" y="617196"/>
                    <a:pt x="28025" y="508992"/>
                  </a:cubicBezTo>
                  <a:cubicBezTo>
                    <a:pt x="31596" y="455214"/>
                    <a:pt x="34409" y="412582"/>
                    <a:pt x="36465" y="383151"/>
                  </a:cubicBezTo>
                  <a:cubicBezTo>
                    <a:pt x="37547" y="368759"/>
                    <a:pt x="38304" y="357614"/>
                    <a:pt x="38954" y="349715"/>
                  </a:cubicBezTo>
                  <a:cubicBezTo>
                    <a:pt x="39278" y="346145"/>
                    <a:pt x="39495" y="343223"/>
                    <a:pt x="39711" y="341167"/>
                  </a:cubicBezTo>
                  <a:cubicBezTo>
                    <a:pt x="39927" y="339111"/>
                    <a:pt x="40036" y="338138"/>
                    <a:pt x="40144" y="338138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0D8F95DF-32B8-471C-BB63-E076522E334A}"/>
                </a:ext>
              </a:extLst>
            </p:cNvPr>
            <p:cNvSpPr/>
            <p:nvPr/>
          </p:nvSpPr>
          <p:spPr>
            <a:xfrm flipH="1">
              <a:off x="5071185" y="5843572"/>
              <a:ext cx="92729" cy="94391"/>
            </a:xfrm>
            <a:custGeom>
              <a:avLst/>
              <a:gdLst>
                <a:gd name="connsiteX0" fmla="*/ 84116 w 84131"/>
                <a:gd name="connsiteY0" fmla="*/ 142 h 85639"/>
                <a:gd name="connsiteX1" fmla="*/ 34775 w 84131"/>
                <a:gd name="connsiteY1" fmla="*/ 35633 h 85639"/>
                <a:gd name="connsiteX2" fmla="*/ 149 w 84131"/>
                <a:gd name="connsiteY2" fmla="*/ 85623 h 85639"/>
                <a:gd name="connsiteX3" fmla="*/ 5560 w 84131"/>
                <a:gd name="connsiteY3" fmla="*/ 68094 h 85639"/>
                <a:gd name="connsiteX4" fmla="*/ 30771 w 84131"/>
                <a:gd name="connsiteY4" fmla="*/ 31738 h 85639"/>
                <a:gd name="connsiteX5" fmla="*/ 66695 w 84131"/>
                <a:gd name="connsiteY5" fmla="*/ 5877 h 85639"/>
                <a:gd name="connsiteX6" fmla="*/ 84116 w 84131"/>
                <a:gd name="connsiteY6" fmla="*/ 142 h 8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131" h="85639">
                  <a:moveTo>
                    <a:pt x="84116" y="142"/>
                  </a:moveTo>
                  <a:cubicBezTo>
                    <a:pt x="84873" y="1765"/>
                    <a:pt x="58363" y="11396"/>
                    <a:pt x="34775" y="35633"/>
                  </a:cubicBezTo>
                  <a:cubicBezTo>
                    <a:pt x="10970" y="59547"/>
                    <a:pt x="1772" y="86381"/>
                    <a:pt x="149" y="85623"/>
                  </a:cubicBezTo>
                  <a:cubicBezTo>
                    <a:pt x="-500" y="85407"/>
                    <a:pt x="907" y="78482"/>
                    <a:pt x="5560" y="68094"/>
                  </a:cubicBezTo>
                  <a:cubicBezTo>
                    <a:pt x="10212" y="57707"/>
                    <a:pt x="18544" y="44181"/>
                    <a:pt x="30771" y="31738"/>
                  </a:cubicBezTo>
                  <a:cubicBezTo>
                    <a:pt x="42998" y="19295"/>
                    <a:pt x="56415" y="10638"/>
                    <a:pt x="66695" y="5877"/>
                  </a:cubicBezTo>
                  <a:cubicBezTo>
                    <a:pt x="77082" y="1008"/>
                    <a:pt x="83899" y="-507"/>
                    <a:pt x="84116" y="142"/>
                  </a:cubicBezTo>
                  <a:close/>
                </a:path>
              </a:pathLst>
            </a:custGeom>
            <a:solidFill>
              <a:srgbClr val="455A64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9FA7A9A7-438F-4E95-8C53-970E316B305A}"/>
                </a:ext>
              </a:extLst>
            </p:cNvPr>
            <p:cNvSpPr/>
            <p:nvPr/>
          </p:nvSpPr>
          <p:spPr>
            <a:xfrm flipH="1">
              <a:off x="4353959" y="4640611"/>
              <a:ext cx="1029114" cy="496322"/>
            </a:xfrm>
            <a:custGeom>
              <a:avLst/>
              <a:gdLst>
                <a:gd name="connsiteX0" fmla="*/ 933693 w 933692"/>
                <a:gd name="connsiteY0" fmla="*/ 119457 h 450302"/>
                <a:gd name="connsiteX1" fmla="*/ 546971 w 933692"/>
                <a:gd name="connsiteY1" fmla="*/ 414638 h 450302"/>
                <a:gd name="connsiteX2" fmla="*/ 418858 w 933692"/>
                <a:gd name="connsiteY2" fmla="*/ 448830 h 450302"/>
                <a:gd name="connsiteX3" fmla="*/ 0 w 933692"/>
                <a:gd name="connsiteY3" fmla="*/ 435629 h 450302"/>
                <a:gd name="connsiteX4" fmla="*/ 21966 w 933692"/>
                <a:gd name="connsiteY4" fmla="*/ 197256 h 450302"/>
                <a:gd name="connsiteX5" fmla="*/ 479344 w 933692"/>
                <a:gd name="connsiteY5" fmla="*/ 204397 h 450302"/>
                <a:gd name="connsiteX6" fmla="*/ 851241 w 933692"/>
                <a:gd name="connsiteY6" fmla="*/ 0 h 450302"/>
                <a:gd name="connsiteX7" fmla="*/ 933693 w 933692"/>
                <a:gd name="connsiteY7" fmla="*/ 119457 h 450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3692" h="450302">
                  <a:moveTo>
                    <a:pt x="933693" y="119457"/>
                  </a:moveTo>
                  <a:lnTo>
                    <a:pt x="546971" y="414638"/>
                  </a:lnTo>
                  <a:cubicBezTo>
                    <a:pt x="510399" y="442555"/>
                    <a:pt x="464412" y="454781"/>
                    <a:pt x="418858" y="448830"/>
                  </a:cubicBezTo>
                  <a:lnTo>
                    <a:pt x="0" y="435629"/>
                  </a:lnTo>
                  <a:lnTo>
                    <a:pt x="21966" y="197256"/>
                  </a:lnTo>
                  <a:lnTo>
                    <a:pt x="479344" y="204397"/>
                  </a:lnTo>
                  <a:lnTo>
                    <a:pt x="851241" y="0"/>
                  </a:lnTo>
                  <a:lnTo>
                    <a:pt x="933693" y="119457"/>
                  </a:ln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7728CCC6-9CD7-4CC5-B886-2A5C43EB7A3A}"/>
                </a:ext>
              </a:extLst>
            </p:cNvPr>
            <p:cNvSpPr/>
            <p:nvPr/>
          </p:nvSpPr>
          <p:spPr>
            <a:xfrm flipH="1">
              <a:off x="4878952" y="5430008"/>
              <a:ext cx="229460" cy="192727"/>
            </a:xfrm>
            <a:custGeom>
              <a:avLst/>
              <a:gdLst>
                <a:gd name="connsiteX0" fmla="*/ 0 w 208184"/>
                <a:gd name="connsiteY0" fmla="*/ 0 h 174857"/>
                <a:gd name="connsiteX1" fmla="*/ 110043 w 208184"/>
                <a:gd name="connsiteY1" fmla="*/ 16555 h 174857"/>
                <a:gd name="connsiteX2" fmla="*/ 208184 w 208184"/>
                <a:gd name="connsiteY2" fmla="*/ 77474 h 174857"/>
                <a:gd name="connsiteX3" fmla="*/ 208184 w 208184"/>
                <a:gd name="connsiteY3" fmla="*/ 174858 h 174857"/>
                <a:gd name="connsiteX4" fmla="*/ 46744 w 208184"/>
                <a:gd name="connsiteY4" fmla="*/ 107014 h 174857"/>
                <a:gd name="connsiteX5" fmla="*/ 0 w 208184"/>
                <a:gd name="connsiteY5" fmla="*/ 0 h 17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184" h="174857">
                  <a:moveTo>
                    <a:pt x="0" y="0"/>
                  </a:moveTo>
                  <a:lnTo>
                    <a:pt x="110043" y="16555"/>
                  </a:lnTo>
                  <a:lnTo>
                    <a:pt x="208184" y="77474"/>
                  </a:lnTo>
                  <a:lnTo>
                    <a:pt x="208184" y="174858"/>
                  </a:lnTo>
                  <a:cubicBezTo>
                    <a:pt x="161765" y="139908"/>
                    <a:pt x="95003" y="103118"/>
                    <a:pt x="46744" y="1070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E9D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3B61614C-F16D-4334-9064-0FF20775EAE2}"/>
                </a:ext>
              </a:extLst>
            </p:cNvPr>
            <p:cNvSpPr/>
            <p:nvPr/>
          </p:nvSpPr>
          <p:spPr>
            <a:xfrm flipH="1">
              <a:off x="5268688" y="4724333"/>
              <a:ext cx="875884" cy="1159196"/>
            </a:xfrm>
            <a:custGeom>
              <a:avLst/>
              <a:gdLst>
                <a:gd name="connsiteX0" fmla="*/ 703551 w 794670"/>
                <a:gd name="connsiteY0" fmla="*/ 61135 h 1051713"/>
                <a:gd name="connsiteX1" fmla="*/ 794659 w 794670"/>
                <a:gd name="connsiteY1" fmla="*/ 431842 h 1051713"/>
                <a:gd name="connsiteX2" fmla="*/ 655509 w 794670"/>
                <a:gd name="connsiteY2" fmla="*/ 663940 h 1051713"/>
                <a:gd name="connsiteX3" fmla="*/ 515817 w 794670"/>
                <a:gd name="connsiteY3" fmla="*/ 887056 h 1051713"/>
                <a:gd name="connsiteX4" fmla="*/ 333 w 794670"/>
                <a:gd name="connsiteY4" fmla="*/ 974485 h 1051713"/>
                <a:gd name="connsiteX5" fmla="*/ 163721 w 794670"/>
                <a:gd name="connsiteY5" fmla="*/ 548053 h 1051713"/>
                <a:gd name="connsiteX6" fmla="*/ 265109 w 794670"/>
                <a:gd name="connsiteY6" fmla="*/ 311736 h 1051713"/>
                <a:gd name="connsiteX7" fmla="*/ 419516 w 794670"/>
                <a:gd name="connsiteY7" fmla="*/ 55617 h 1051713"/>
                <a:gd name="connsiteX8" fmla="*/ 502616 w 794670"/>
                <a:gd name="connsiteY8" fmla="*/ 0 h 1051713"/>
                <a:gd name="connsiteX9" fmla="*/ 703551 w 794670"/>
                <a:gd name="connsiteY9" fmla="*/ 61135 h 105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4670" h="1051713">
                  <a:moveTo>
                    <a:pt x="703551" y="61135"/>
                  </a:moveTo>
                  <a:cubicBezTo>
                    <a:pt x="703118" y="71631"/>
                    <a:pt x="795849" y="331862"/>
                    <a:pt x="794659" y="431842"/>
                  </a:cubicBezTo>
                  <a:cubicBezTo>
                    <a:pt x="793144" y="562877"/>
                    <a:pt x="655509" y="663940"/>
                    <a:pt x="655509" y="663940"/>
                  </a:cubicBezTo>
                  <a:lnTo>
                    <a:pt x="515817" y="887056"/>
                  </a:lnTo>
                  <a:cubicBezTo>
                    <a:pt x="303629" y="1030968"/>
                    <a:pt x="-11677" y="1126512"/>
                    <a:pt x="333" y="974485"/>
                  </a:cubicBezTo>
                  <a:lnTo>
                    <a:pt x="163721" y="548053"/>
                  </a:lnTo>
                  <a:lnTo>
                    <a:pt x="265109" y="311736"/>
                  </a:lnTo>
                  <a:cubicBezTo>
                    <a:pt x="294215" y="214785"/>
                    <a:pt x="347344" y="126707"/>
                    <a:pt x="419516" y="55617"/>
                  </a:cubicBezTo>
                  <a:lnTo>
                    <a:pt x="502616" y="0"/>
                  </a:lnTo>
                  <a:lnTo>
                    <a:pt x="703551" y="61135"/>
                  </a:ln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029E9D21-09DA-4488-B4C0-0B04EDB1FE90}"/>
                </a:ext>
              </a:extLst>
            </p:cNvPr>
            <p:cNvSpPr/>
            <p:nvPr/>
          </p:nvSpPr>
          <p:spPr>
            <a:xfrm flipH="1">
              <a:off x="5039836" y="4909201"/>
              <a:ext cx="842759" cy="838169"/>
            </a:xfrm>
            <a:custGeom>
              <a:avLst/>
              <a:gdLst>
                <a:gd name="connsiteX0" fmla="*/ 356795 w 764616"/>
                <a:gd name="connsiteY0" fmla="*/ 137949 h 760452"/>
                <a:gd name="connsiteX1" fmla="*/ 289493 w 764616"/>
                <a:gd name="connsiteY1" fmla="*/ 496213 h 760452"/>
                <a:gd name="connsiteX2" fmla="*/ 715708 w 764616"/>
                <a:gd name="connsiteY2" fmla="*/ 440163 h 760452"/>
                <a:gd name="connsiteX3" fmla="*/ 764616 w 764616"/>
                <a:gd name="connsiteY3" fmla="*/ 604417 h 760452"/>
                <a:gd name="connsiteX4" fmla="*/ 218078 w 764616"/>
                <a:gd name="connsiteY4" fmla="*/ 746597 h 760452"/>
                <a:gd name="connsiteX5" fmla="*/ 27963 w 764616"/>
                <a:gd name="connsiteY5" fmla="*/ 694875 h 760452"/>
                <a:gd name="connsiteX6" fmla="*/ 27963 w 764616"/>
                <a:gd name="connsiteY6" fmla="*/ 694875 h 760452"/>
                <a:gd name="connsiteX7" fmla="*/ 4808 w 764616"/>
                <a:gd name="connsiteY7" fmla="*/ 568060 h 760452"/>
                <a:gd name="connsiteX8" fmla="*/ 127619 w 764616"/>
                <a:gd name="connsiteY8" fmla="*/ 88284 h 760452"/>
                <a:gd name="connsiteX9" fmla="*/ 278672 w 764616"/>
                <a:gd name="connsiteY9" fmla="*/ 6157 h 760452"/>
                <a:gd name="connsiteX10" fmla="*/ 278672 w 764616"/>
                <a:gd name="connsiteY10" fmla="*/ 6157 h 760452"/>
                <a:gd name="connsiteX11" fmla="*/ 356795 w 764616"/>
                <a:gd name="connsiteY11" fmla="*/ 137949 h 76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4616" h="760452">
                  <a:moveTo>
                    <a:pt x="356795" y="137949"/>
                  </a:moveTo>
                  <a:lnTo>
                    <a:pt x="289493" y="496213"/>
                  </a:lnTo>
                  <a:lnTo>
                    <a:pt x="715708" y="440163"/>
                  </a:lnTo>
                  <a:lnTo>
                    <a:pt x="764616" y="604417"/>
                  </a:lnTo>
                  <a:lnTo>
                    <a:pt x="218078" y="746597"/>
                  </a:lnTo>
                  <a:cubicBezTo>
                    <a:pt x="150559" y="777327"/>
                    <a:pt x="70596" y="755578"/>
                    <a:pt x="27963" y="694875"/>
                  </a:cubicBezTo>
                  <a:lnTo>
                    <a:pt x="27963" y="694875"/>
                  </a:lnTo>
                  <a:cubicBezTo>
                    <a:pt x="2103" y="657978"/>
                    <a:pt x="-6337" y="611667"/>
                    <a:pt x="4808" y="568060"/>
                  </a:cubicBezTo>
                  <a:lnTo>
                    <a:pt x="127619" y="88284"/>
                  </a:lnTo>
                  <a:cubicBezTo>
                    <a:pt x="144499" y="22279"/>
                    <a:pt x="213966" y="-15592"/>
                    <a:pt x="278672" y="6157"/>
                  </a:cubicBezTo>
                  <a:lnTo>
                    <a:pt x="278672" y="6157"/>
                  </a:lnTo>
                  <a:cubicBezTo>
                    <a:pt x="333748" y="24660"/>
                    <a:pt x="366967" y="80709"/>
                    <a:pt x="356795" y="137949"/>
                  </a:cubicBezTo>
                  <a:close/>
                </a:path>
              </a:pathLst>
            </a:custGeom>
            <a:solidFill>
              <a:srgbClr val="F7AB9B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5D3EEF9D-5E27-4FF6-83CB-A0BF7016CE50}"/>
                </a:ext>
              </a:extLst>
            </p:cNvPr>
            <p:cNvSpPr/>
            <p:nvPr/>
          </p:nvSpPr>
          <p:spPr>
            <a:xfrm flipH="1">
              <a:off x="5551567" y="4937246"/>
              <a:ext cx="126705" cy="21469"/>
            </a:xfrm>
            <a:custGeom>
              <a:avLst/>
              <a:gdLst>
                <a:gd name="connsiteX0" fmla="*/ 23 w 114957"/>
                <a:gd name="connsiteY0" fmla="*/ 19341 h 19478"/>
                <a:gd name="connsiteX1" fmla="*/ 56830 w 114957"/>
                <a:gd name="connsiteY1" fmla="*/ 5708 h 19478"/>
                <a:gd name="connsiteX2" fmla="*/ 114936 w 114957"/>
                <a:gd name="connsiteY2" fmla="*/ 11551 h 19478"/>
                <a:gd name="connsiteX3" fmla="*/ 56506 w 114957"/>
                <a:gd name="connsiteY3" fmla="*/ 297 h 19478"/>
                <a:gd name="connsiteX4" fmla="*/ 23 w 114957"/>
                <a:gd name="connsiteY4" fmla="*/ 19341 h 19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957" h="19478">
                  <a:moveTo>
                    <a:pt x="23" y="19341"/>
                  </a:moveTo>
                  <a:cubicBezTo>
                    <a:pt x="672" y="20965"/>
                    <a:pt x="24369" y="7655"/>
                    <a:pt x="56830" y="5708"/>
                  </a:cubicBezTo>
                  <a:cubicBezTo>
                    <a:pt x="89183" y="3327"/>
                    <a:pt x="114503" y="13282"/>
                    <a:pt x="114936" y="11551"/>
                  </a:cubicBezTo>
                  <a:cubicBezTo>
                    <a:pt x="115801" y="10577"/>
                    <a:pt x="90374" y="-2083"/>
                    <a:pt x="56506" y="297"/>
                  </a:cubicBezTo>
                  <a:cubicBezTo>
                    <a:pt x="22638" y="2462"/>
                    <a:pt x="-842" y="18476"/>
                    <a:pt x="23" y="1934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67573423-6AD4-4708-A7FB-1B081A8FEA1F}"/>
                </a:ext>
              </a:extLst>
            </p:cNvPr>
            <p:cNvSpPr/>
            <p:nvPr/>
          </p:nvSpPr>
          <p:spPr>
            <a:xfrm flipH="1">
              <a:off x="5777712" y="5173475"/>
              <a:ext cx="166128" cy="529125"/>
            </a:xfrm>
            <a:custGeom>
              <a:avLst/>
              <a:gdLst>
                <a:gd name="connsiteX0" fmla="*/ 104954 w 150724"/>
                <a:gd name="connsiteY0" fmla="*/ 479452 h 480063"/>
                <a:gd name="connsiteX1" fmla="*/ 862 w 150724"/>
                <a:gd name="connsiteY1" fmla="*/ 401762 h 480063"/>
                <a:gd name="connsiteX2" fmla="*/ 14604 w 150724"/>
                <a:gd name="connsiteY2" fmla="*/ 323422 h 480063"/>
                <a:gd name="connsiteX3" fmla="*/ 150724 w 150724"/>
                <a:gd name="connsiteY3" fmla="*/ 0 h 480063"/>
                <a:gd name="connsiteX4" fmla="*/ 76496 w 150724"/>
                <a:gd name="connsiteY4" fmla="*/ 298210 h 480063"/>
                <a:gd name="connsiteX5" fmla="*/ 66866 w 150724"/>
                <a:gd name="connsiteY5" fmla="*/ 384016 h 480063"/>
                <a:gd name="connsiteX6" fmla="*/ 104954 w 150724"/>
                <a:gd name="connsiteY6" fmla="*/ 479452 h 48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724" h="480063">
                  <a:moveTo>
                    <a:pt x="104954" y="479452"/>
                  </a:moveTo>
                  <a:cubicBezTo>
                    <a:pt x="43278" y="485187"/>
                    <a:pt x="7462" y="449912"/>
                    <a:pt x="862" y="401762"/>
                  </a:cubicBezTo>
                  <a:cubicBezTo>
                    <a:pt x="-2817" y="375251"/>
                    <a:pt x="5947" y="348741"/>
                    <a:pt x="14604" y="323422"/>
                  </a:cubicBezTo>
                  <a:cubicBezTo>
                    <a:pt x="52475" y="212513"/>
                    <a:pt x="90671" y="100630"/>
                    <a:pt x="150724" y="0"/>
                  </a:cubicBezTo>
                  <a:cubicBezTo>
                    <a:pt x="128001" y="100738"/>
                    <a:pt x="99111" y="197472"/>
                    <a:pt x="76496" y="298210"/>
                  </a:cubicBezTo>
                  <a:cubicBezTo>
                    <a:pt x="69138" y="331104"/>
                    <a:pt x="66433" y="350256"/>
                    <a:pt x="66866" y="384016"/>
                  </a:cubicBezTo>
                  <a:cubicBezTo>
                    <a:pt x="67407" y="417667"/>
                    <a:pt x="82447" y="454349"/>
                    <a:pt x="104954" y="479452"/>
                  </a:cubicBezTo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23EC393C-6EEA-43CB-AB4B-FF8413A14A93}"/>
                </a:ext>
              </a:extLst>
            </p:cNvPr>
            <p:cNvSpPr/>
            <p:nvPr/>
          </p:nvSpPr>
          <p:spPr>
            <a:xfrm flipH="1">
              <a:off x="6041831" y="5815020"/>
              <a:ext cx="56793" cy="47012"/>
            </a:xfrm>
            <a:custGeom>
              <a:avLst/>
              <a:gdLst>
                <a:gd name="connsiteX0" fmla="*/ 51484 w 51527"/>
                <a:gd name="connsiteY0" fmla="*/ 42495 h 42653"/>
                <a:gd name="connsiteX1" fmla="*/ 22593 w 51527"/>
                <a:gd name="connsiteY1" fmla="*/ 25182 h 42653"/>
                <a:gd name="connsiteX2" fmla="*/ 87 w 51527"/>
                <a:gd name="connsiteY2" fmla="*/ 78 h 42653"/>
                <a:gd name="connsiteX3" fmla="*/ 26164 w 51527"/>
                <a:gd name="connsiteY3" fmla="*/ 20854 h 42653"/>
                <a:gd name="connsiteX4" fmla="*/ 51484 w 51527"/>
                <a:gd name="connsiteY4" fmla="*/ 42495 h 4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527" h="42653">
                  <a:moveTo>
                    <a:pt x="51484" y="42495"/>
                  </a:moveTo>
                  <a:cubicBezTo>
                    <a:pt x="50727" y="43793"/>
                    <a:pt x="36985" y="37084"/>
                    <a:pt x="22593" y="25182"/>
                  </a:cubicBezTo>
                  <a:cubicBezTo>
                    <a:pt x="8094" y="13279"/>
                    <a:pt x="-995" y="1052"/>
                    <a:pt x="87" y="78"/>
                  </a:cubicBezTo>
                  <a:cubicBezTo>
                    <a:pt x="1277" y="-1004"/>
                    <a:pt x="12098" y="9276"/>
                    <a:pt x="26164" y="20854"/>
                  </a:cubicBezTo>
                  <a:cubicBezTo>
                    <a:pt x="40231" y="32431"/>
                    <a:pt x="52350" y="41088"/>
                    <a:pt x="51484" y="42495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C1AD894E-65E6-4CFD-A18B-93440E8FD07D}"/>
                </a:ext>
              </a:extLst>
            </p:cNvPr>
            <p:cNvSpPr/>
            <p:nvPr/>
          </p:nvSpPr>
          <p:spPr>
            <a:xfrm flipH="1">
              <a:off x="5533821" y="5041211"/>
              <a:ext cx="342909" cy="704921"/>
            </a:xfrm>
            <a:custGeom>
              <a:avLst/>
              <a:gdLst>
                <a:gd name="connsiteX0" fmla="*/ 311115 w 311114"/>
                <a:gd name="connsiteY0" fmla="*/ 601184 h 639559"/>
                <a:gd name="connsiteX1" fmla="*/ 302242 w 311114"/>
                <a:gd name="connsiteY1" fmla="*/ 603889 h 639559"/>
                <a:gd name="connsiteX2" fmla="*/ 276814 w 311114"/>
                <a:gd name="connsiteY2" fmla="*/ 611031 h 639559"/>
                <a:gd name="connsiteX3" fmla="*/ 236887 w 311114"/>
                <a:gd name="connsiteY3" fmla="*/ 623258 h 639559"/>
                <a:gd name="connsiteX4" fmla="*/ 183001 w 311114"/>
                <a:gd name="connsiteY4" fmla="*/ 636783 h 639559"/>
                <a:gd name="connsiteX5" fmla="*/ 115590 w 311114"/>
                <a:gd name="connsiteY5" fmla="*/ 636567 h 639559"/>
                <a:gd name="connsiteX6" fmla="*/ 44825 w 311114"/>
                <a:gd name="connsiteY6" fmla="*/ 605188 h 639559"/>
                <a:gd name="connsiteX7" fmla="*/ 2625 w 311114"/>
                <a:gd name="connsiteY7" fmla="*/ 531393 h 639559"/>
                <a:gd name="connsiteX8" fmla="*/ 8360 w 311114"/>
                <a:gd name="connsiteY8" fmla="*/ 439744 h 639559"/>
                <a:gd name="connsiteX9" fmla="*/ 51858 w 311114"/>
                <a:gd name="connsiteY9" fmla="*/ 268890 h 639559"/>
                <a:gd name="connsiteX10" fmla="*/ 84427 w 311114"/>
                <a:gd name="connsiteY10" fmla="*/ 128657 h 639559"/>
                <a:gd name="connsiteX11" fmla="*/ 107475 w 311114"/>
                <a:gd name="connsiteY11" fmla="*/ 34303 h 639559"/>
                <a:gd name="connsiteX12" fmla="*/ 114400 w 311114"/>
                <a:gd name="connsiteY12" fmla="*/ 8767 h 639559"/>
                <a:gd name="connsiteX13" fmla="*/ 117213 w 311114"/>
                <a:gd name="connsiteY13" fmla="*/ 3 h 639559"/>
                <a:gd name="connsiteX14" fmla="*/ 115482 w 311114"/>
                <a:gd name="connsiteY14" fmla="*/ 9092 h 639559"/>
                <a:gd name="connsiteX15" fmla="*/ 109639 w 311114"/>
                <a:gd name="connsiteY15" fmla="*/ 34845 h 639559"/>
                <a:gd name="connsiteX16" fmla="*/ 88431 w 311114"/>
                <a:gd name="connsiteY16" fmla="*/ 129523 h 639559"/>
                <a:gd name="connsiteX17" fmla="*/ 57052 w 311114"/>
                <a:gd name="connsiteY17" fmla="*/ 270080 h 639559"/>
                <a:gd name="connsiteX18" fmla="*/ 13986 w 311114"/>
                <a:gd name="connsiteY18" fmla="*/ 441151 h 639559"/>
                <a:gd name="connsiteX19" fmla="*/ 8252 w 311114"/>
                <a:gd name="connsiteY19" fmla="*/ 530419 h 639559"/>
                <a:gd name="connsiteX20" fmla="*/ 48287 w 311114"/>
                <a:gd name="connsiteY20" fmla="*/ 601292 h 639559"/>
                <a:gd name="connsiteX21" fmla="*/ 116564 w 311114"/>
                <a:gd name="connsiteY21" fmla="*/ 632022 h 639559"/>
                <a:gd name="connsiteX22" fmla="*/ 182568 w 311114"/>
                <a:gd name="connsiteY22" fmla="*/ 632888 h 639559"/>
                <a:gd name="connsiteX23" fmla="*/ 236129 w 311114"/>
                <a:gd name="connsiteY23" fmla="*/ 620336 h 639559"/>
                <a:gd name="connsiteX24" fmla="*/ 276381 w 311114"/>
                <a:gd name="connsiteY24" fmla="*/ 608975 h 639559"/>
                <a:gd name="connsiteX25" fmla="*/ 302134 w 311114"/>
                <a:gd name="connsiteY25" fmla="*/ 602807 h 639559"/>
                <a:gd name="connsiteX26" fmla="*/ 311115 w 311114"/>
                <a:gd name="connsiteY26" fmla="*/ 601184 h 639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1114" h="639559">
                  <a:moveTo>
                    <a:pt x="311115" y="601184"/>
                  </a:moveTo>
                  <a:cubicBezTo>
                    <a:pt x="311115" y="601401"/>
                    <a:pt x="308085" y="602266"/>
                    <a:pt x="302242" y="603889"/>
                  </a:cubicBezTo>
                  <a:cubicBezTo>
                    <a:pt x="295966" y="605621"/>
                    <a:pt x="287526" y="608001"/>
                    <a:pt x="276814" y="611031"/>
                  </a:cubicBezTo>
                  <a:cubicBezTo>
                    <a:pt x="265669" y="614493"/>
                    <a:pt x="252360" y="618605"/>
                    <a:pt x="236887" y="623258"/>
                  </a:cubicBezTo>
                  <a:cubicBezTo>
                    <a:pt x="221305" y="628019"/>
                    <a:pt x="203452" y="633429"/>
                    <a:pt x="183001" y="636783"/>
                  </a:cubicBezTo>
                  <a:cubicBezTo>
                    <a:pt x="162659" y="640138"/>
                    <a:pt x="139611" y="640895"/>
                    <a:pt x="115590" y="636567"/>
                  </a:cubicBezTo>
                  <a:cubicBezTo>
                    <a:pt x="91677" y="632239"/>
                    <a:pt x="66357" y="622933"/>
                    <a:pt x="44825" y="605188"/>
                  </a:cubicBezTo>
                  <a:cubicBezTo>
                    <a:pt x="23292" y="587767"/>
                    <a:pt x="7602" y="561040"/>
                    <a:pt x="2625" y="531393"/>
                  </a:cubicBezTo>
                  <a:cubicBezTo>
                    <a:pt x="-2785" y="501745"/>
                    <a:pt x="677" y="470257"/>
                    <a:pt x="8360" y="439744"/>
                  </a:cubicBezTo>
                  <a:cubicBezTo>
                    <a:pt x="25456" y="379474"/>
                    <a:pt x="39414" y="321693"/>
                    <a:pt x="51858" y="268890"/>
                  </a:cubicBezTo>
                  <a:cubicBezTo>
                    <a:pt x="64085" y="216194"/>
                    <a:pt x="75122" y="168693"/>
                    <a:pt x="84427" y="128657"/>
                  </a:cubicBezTo>
                  <a:cubicBezTo>
                    <a:pt x="93733" y="88730"/>
                    <a:pt x="101632" y="56485"/>
                    <a:pt x="107475" y="34303"/>
                  </a:cubicBezTo>
                  <a:cubicBezTo>
                    <a:pt x="110288" y="23158"/>
                    <a:pt x="112668" y="14610"/>
                    <a:pt x="114400" y="8767"/>
                  </a:cubicBezTo>
                  <a:cubicBezTo>
                    <a:pt x="116023" y="2924"/>
                    <a:pt x="116997" y="-106"/>
                    <a:pt x="117213" y="3"/>
                  </a:cubicBezTo>
                  <a:cubicBezTo>
                    <a:pt x="117429" y="3"/>
                    <a:pt x="116780" y="3140"/>
                    <a:pt x="115482" y="9092"/>
                  </a:cubicBezTo>
                  <a:cubicBezTo>
                    <a:pt x="114075" y="15476"/>
                    <a:pt x="112127" y="24024"/>
                    <a:pt x="109639" y="34845"/>
                  </a:cubicBezTo>
                  <a:cubicBezTo>
                    <a:pt x="104553" y="57784"/>
                    <a:pt x="97303" y="89920"/>
                    <a:pt x="88431" y="129523"/>
                  </a:cubicBezTo>
                  <a:cubicBezTo>
                    <a:pt x="79450" y="169667"/>
                    <a:pt x="68846" y="217276"/>
                    <a:pt x="57052" y="270080"/>
                  </a:cubicBezTo>
                  <a:cubicBezTo>
                    <a:pt x="44933" y="322884"/>
                    <a:pt x="31083" y="381097"/>
                    <a:pt x="13986" y="441151"/>
                  </a:cubicBezTo>
                  <a:cubicBezTo>
                    <a:pt x="6412" y="471123"/>
                    <a:pt x="3058" y="501853"/>
                    <a:pt x="8252" y="530419"/>
                  </a:cubicBezTo>
                  <a:cubicBezTo>
                    <a:pt x="13013" y="558985"/>
                    <a:pt x="27728" y="584521"/>
                    <a:pt x="48287" y="601292"/>
                  </a:cubicBezTo>
                  <a:cubicBezTo>
                    <a:pt x="68738" y="618280"/>
                    <a:pt x="93300" y="627694"/>
                    <a:pt x="116564" y="632022"/>
                  </a:cubicBezTo>
                  <a:cubicBezTo>
                    <a:pt x="139936" y="636459"/>
                    <a:pt x="162442" y="635918"/>
                    <a:pt x="182568" y="632888"/>
                  </a:cubicBezTo>
                  <a:cubicBezTo>
                    <a:pt x="202694" y="629858"/>
                    <a:pt x="220548" y="624773"/>
                    <a:pt x="236129" y="620336"/>
                  </a:cubicBezTo>
                  <a:cubicBezTo>
                    <a:pt x="251711" y="615792"/>
                    <a:pt x="265236" y="611896"/>
                    <a:pt x="276381" y="608975"/>
                  </a:cubicBezTo>
                  <a:cubicBezTo>
                    <a:pt x="287526" y="606053"/>
                    <a:pt x="296183" y="603997"/>
                    <a:pt x="302134" y="602807"/>
                  </a:cubicBezTo>
                  <a:cubicBezTo>
                    <a:pt x="307977" y="601617"/>
                    <a:pt x="311115" y="601076"/>
                    <a:pt x="311115" y="60118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5E358917-E504-41D5-A971-FCC1C4CE42F7}"/>
                </a:ext>
              </a:extLst>
            </p:cNvPr>
            <p:cNvSpPr/>
            <p:nvPr/>
          </p:nvSpPr>
          <p:spPr>
            <a:xfrm flipH="1">
              <a:off x="5093743" y="5394183"/>
              <a:ext cx="541972" cy="146509"/>
            </a:xfrm>
            <a:custGeom>
              <a:avLst/>
              <a:gdLst>
                <a:gd name="connsiteX0" fmla="*/ 491720 w 491719"/>
                <a:gd name="connsiteY0" fmla="*/ 151 h 132924"/>
                <a:gd name="connsiteX1" fmla="*/ 486418 w 491719"/>
                <a:gd name="connsiteY1" fmla="*/ 1449 h 132924"/>
                <a:gd name="connsiteX2" fmla="*/ 471053 w 491719"/>
                <a:gd name="connsiteY2" fmla="*/ 4046 h 132924"/>
                <a:gd name="connsiteX3" fmla="*/ 414570 w 491719"/>
                <a:gd name="connsiteY3" fmla="*/ 12378 h 132924"/>
                <a:gd name="connsiteX4" fmla="*/ 227810 w 491719"/>
                <a:gd name="connsiteY4" fmla="*/ 37806 h 132924"/>
                <a:gd name="connsiteX5" fmla="*/ 65829 w 491719"/>
                <a:gd name="connsiteY5" fmla="*/ 58473 h 132924"/>
                <a:gd name="connsiteX6" fmla="*/ 66586 w 491719"/>
                <a:gd name="connsiteY6" fmla="*/ 58256 h 132924"/>
                <a:gd name="connsiteX7" fmla="*/ 12917 w 491719"/>
                <a:gd name="connsiteY7" fmla="*/ 108355 h 132924"/>
                <a:gd name="connsiteX8" fmla="*/ 41 w 491719"/>
                <a:gd name="connsiteY8" fmla="*/ 132917 h 132924"/>
                <a:gd name="connsiteX9" fmla="*/ 1988 w 491719"/>
                <a:gd name="connsiteY9" fmla="*/ 125884 h 132924"/>
                <a:gd name="connsiteX10" fmla="*/ 10753 w 491719"/>
                <a:gd name="connsiteY10" fmla="*/ 107056 h 132924"/>
                <a:gd name="connsiteX11" fmla="*/ 64530 w 491719"/>
                <a:gd name="connsiteY11" fmla="*/ 54361 h 132924"/>
                <a:gd name="connsiteX12" fmla="*/ 64855 w 491719"/>
                <a:gd name="connsiteY12" fmla="*/ 54144 h 132924"/>
                <a:gd name="connsiteX13" fmla="*/ 65288 w 491719"/>
                <a:gd name="connsiteY13" fmla="*/ 54036 h 132924"/>
                <a:gd name="connsiteX14" fmla="*/ 227161 w 491719"/>
                <a:gd name="connsiteY14" fmla="*/ 32179 h 132924"/>
                <a:gd name="connsiteX15" fmla="*/ 414137 w 491719"/>
                <a:gd name="connsiteY15" fmla="*/ 8374 h 132924"/>
                <a:gd name="connsiteX16" fmla="*/ 470836 w 491719"/>
                <a:gd name="connsiteY16" fmla="*/ 1774 h 132924"/>
                <a:gd name="connsiteX17" fmla="*/ 486309 w 491719"/>
                <a:gd name="connsiteY17" fmla="*/ 259 h 132924"/>
                <a:gd name="connsiteX18" fmla="*/ 491720 w 491719"/>
                <a:gd name="connsiteY18" fmla="*/ 151 h 132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1719" h="132924">
                  <a:moveTo>
                    <a:pt x="491720" y="151"/>
                  </a:moveTo>
                  <a:cubicBezTo>
                    <a:pt x="491720" y="367"/>
                    <a:pt x="489880" y="800"/>
                    <a:pt x="486418" y="1449"/>
                  </a:cubicBezTo>
                  <a:cubicBezTo>
                    <a:pt x="482306" y="2098"/>
                    <a:pt x="477220" y="2964"/>
                    <a:pt x="471053" y="4046"/>
                  </a:cubicBezTo>
                  <a:cubicBezTo>
                    <a:pt x="456878" y="6102"/>
                    <a:pt x="437726" y="8915"/>
                    <a:pt x="414570" y="12378"/>
                  </a:cubicBezTo>
                  <a:cubicBezTo>
                    <a:pt x="366852" y="19195"/>
                    <a:pt x="300848" y="28176"/>
                    <a:pt x="227810" y="37806"/>
                  </a:cubicBezTo>
                  <a:cubicBezTo>
                    <a:pt x="166675" y="45597"/>
                    <a:pt x="110409" y="52846"/>
                    <a:pt x="65829" y="58473"/>
                  </a:cubicBezTo>
                  <a:lnTo>
                    <a:pt x="66586" y="58256"/>
                  </a:lnTo>
                  <a:cubicBezTo>
                    <a:pt x="38994" y="72864"/>
                    <a:pt x="22222" y="93423"/>
                    <a:pt x="12917" y="108355"/>
                  </a:cubicBezTo>
                  <a:cubicBezTo>
                    <a:pt x="3611" y="123503"/>
                    <a:pt x="582" y="133242"/>
                    <a:pt x="41" y="132917"/>
                  </a:cubicBezTo>
                  <a:cubicBezTo>
                    <a:pt x="-176" y="132809"/>
                    <a:pt x="473" y="130428"/>
                    <a:pt x="1988" y="125884"/>
                  </a:cubicBezTo>
                  <a:cubicBezTo>
                    <a:pt x="3611" y="121447"/>
                    <a:pt x="6316" y="114847"/>
                    <a:pt x="10753" y="107056"/>
                  </a:cubicBezTo>
                  <a:cubicBezTo>
                    <a:pt x="19625" y="91475"/>
                    <a:pt x="36181" y="69942"/>
                    <a:pt x="64530" y="54361"/>
                  </a:cubicBezTo>
                  <a:lnTo>
                    <a:pt x="64855" y="54144"/>
                  </a:lnTo>
                  <a:lnTo>
                    <a:pt x="65288" y="54036"/>
                  </a:lnTo>
                  <a:cubicBezTo>
                    <a:pt x="109868" y="47977"/>
                    <a:pt x="166025" y="40403"/>
                    <a:pt x="227161" y="32179"/>
                  </a:cubicBezTo>
                  <a:cubicBezTo>
                    <a:pt x="300090" y="22549"/>
                    <a:pt x="366203" y="14217"/>
                    <a:pt x="414137" y="8374"/>
                  </a:cubicBezTo>
                  <a:cubicBezTo>
                    <a:pt x="437401" y="5669"/>
                    <a:pt x="456661" y="3505"/>
                    <a:pt x="470836" y="1774"/>
                  </a:cubicBezTo>
                  <a:cubicBezTo>
                    <a:pt x="477004" y="1125"/>
                    <a:pt x="482090" y="692"/>
                    <a:pt x="486309" y="259"/>
                  </a:cubicBezTo>
                  <a:cubicBezTo>
                    <a:pt x="489772" y="-66"/>
                    <a:pt x="491720" y="-66"/>
                    <a:pt x="491720" y="151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1D8760AA-AEE4-48D8-9DAB-FA1950EB65E2}"/>
                </a:ext>
              </a:extLst>
            </p:cNvPr>
            <p:cNvSpPr/>
            <p:nvPr/>
          </p:nvSpPr>
          <p:spPr>
            <a:xfrm flipH="1">
              <a:off x="5492939" y="5021892"/>
              <a:ext cx="70710" cy="434114"/>
            </a:xfrm>
            <a:custGeom>
              <a:avLst/>
              <a:gdLst>
                <a:gd name="connsiteX0" fmla="*/ 63961 w 64154"/>
                <a:gd name="connsiteY0" fmla="*/ 0 h 393862"/>
                <a:gd name="connsiteX1" fmla="*/ 63312 w 64154"/>
                <a:gd name="connsiteY1" fmla="*/ 15690 h 393862"/>
                <a:gd name="connsiteX2" fmla="*/ 58767 w 64154"/>
                <a:gd name="connsiteY2" fmla="*/ 58214 h 393862"/>
                <a:gd name="connsiteX3" fmla="*/ 37992 w 64154"/>
                <a:gd name="connsiteY3" fmla="*/ 197797 h 393862"/>
                <a:gd name="connsiteX4" fmla="*/ 12781 w 64154"/>
                <a:gd name="connsiteY4" fmla="*/ 336731 h 393862"/>
                <a:gd name="connsiteX5" fmla="*/ 4124 w 64154"/>
                <a:gd name="connsiteY5" fmla="*/ 378606 h 393862"/>
                <a:gd name="connsiteX6" fmla="*/ 121 w 64154"/>
                <a:gd name="connsiteY6" fmla="*/ 393863 h 393862"/>
                <a:gd name="connsiteX7" fmla="*/ 1960 w 64154"/>
                <a:gd name="connsiteY7" fmla="*/ 378282 h 393862"/>
                <a:gd name="connsiteX8" fmla="*/ 8885 w 64154"/>
                <a:gd name="connsiteY8" fmla="*/ 336082 h 393862"/>
                <a:gd name="connsiteX9" fmla="*/ 32474 w 64154"/>
                <a:gd name="connsiteY9" fmla="*/ 196931 h 393862"/>
                <a:gd name="connsiteX10" fmla="*/ 54872 w 64154"/>
                <a:gd name="connsiteY10" fmla="*/ 57673 h 393862"/>
                <a:gd name="connsiteX11" fmla="*/ 61148 w 64154"/>
                <a:gd name="connsiteY11" fmla="*/ 15365 h 393862"/>
                <a:gd name="connsiteX12" fmla="*/ 63961 w 64154"/>
                <a:gd name="connsiteY12" fmla="*/ 0 h 39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154" h="393862">
                  <a:moveTo>
                    <a:pt x="63961" y="0"/>
                  </a:moveTo>
                  <a:cubicBezTo>
                    <a:pt x="64394" y="0"/>
                    <a:pt x="64069" y="5627"/>
                    <a:pt x="63312" y="15690"/>
                  </a:cubicBezTo>
                  <a:cubicBezTo>
                    <a:pt x="62554" y="25753"/>
                    <a:pt x="60931" y="40360"/>
                    <a:pt x="58767" y="58214"/>
                  </a:cubicBezTo>
                  <a:cubicBezTo>
                    <a:pt x="54439" y="94138"/>
                    <a:pt x="47081" y="143479"/>
                    <a:pt x="37992" y="197797"/>
                  </a:cubicBezTo>
                  <a:cubicBezTo>
                    <a:pt x="28903" y="252224"/>
                    <a:pt x="19814" y="301240"/>
                    <a:pt x="12781" y="336731"/>
                  </a:cubicBezTo>
                  <a:cubicBezTo>
                    <a:pt x="9318" y="354477"/>
                    <a:pt x="6288" y="368760"/>
                    <a:pt x="4124" y="378606"/>
                  </a:cubicBezTo>
                  <a:cubicBezTo>
                    <a:pt x="1960" y="388453"/>
                    <a:pt x="554" y="393863"/>
                    <a:pt x="121" y="393863"/>
                  </a:cubicBezTo>
                  <a:cubicBezTo>
                    <a:pt x="-312" y="393755"/>
                    <a:pt x="445" y="388236"/>
                    <a:pt x="1960" y="378282"/>
                  </a:cubicBezTo>
                  <a:cubicBezTo>
                    <a:pt x="3800" y="367244"/>
                    <a:pt x="6072" y="353070"/>
                    <a:pt x="8885" y="336082"/>
                  </a:cubicBezTo>
                  <a:cubicBezTo>
                    <a:pt x="15053" y="299401"/>
                    <a:pt x="23385" y="250817"/>
                    <a:pt x="32474" y="196931"/>
                  </a:cubicBezTo>
                  <a:cubicBezTo>
                    <a:pt x="41563" y="142613"/>
                    <a:pt x="49570" y="93380"/>
                    <a:pt x="54872" y="57673"/>
                  </a:cubicBezTo>
                  <a:cubicBezTo>
                    <a:pt x="57361" y="40577"/>
                    <a:pt x="59525" y="26402"/>
                    <a:pt x="61148" y="15365"/>
                  </a:cubicBezTo>
                  <a:cubicBezTo>
                    <a:pt x="62554" y="5519"/>
                    <a:pt x="63636" y="0"/>
                    <a:pt x="63961" y="0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7091FD6F-A12F-4C86-87EB-13AD052EC5DD}"/>
                </a:ext>
              </a:extLst>
            </p:cNvPr>
            <p:cNvSpPr/>
            <p:nvPr/>
          </p:nvSpPr>
          <p:spPr>
            <a:xfrm flipH="1">
              <a:off x="5336315" y="4702150"/>
              <a:ext cx="326071" cy="183701"/>
            </a:xfrm>
            <a:custGeom>
              <a:avLst/>
              <a:gdLst>
                <a:gd name="connsiteX0" fmla="*/ 0 w 295837"/>
                <a:gd name="connsiteY0" fmla="*/ 63840 h 166668"/>
                <a:gd name="connsiteX1" fmla="*/ 18070 w 295837"/>
                <a:gd name="connsiteY1" fmla="*/ 0 h 166668"/>
                <a:gd name="connsiteX2" fmla="*/ 267913 w 295837"/>
                <a:gd name="connsiteY2" fmla="*/ 92947 h 166668"/>
                <a:gd name="connsiteX3" fmla="*/ 291069 w 295837"/>
                <a:gd name="connsiteY3" fmla="*/ 147482 h 166668"/>
                <a:gd name="connsiteX4" fmla="*/ 291069 w 295837"/>
                <a:gd name="connsiteY4" fmla="*/ 147482 h 166668"/>
                <a:gd name="connsiteX5" fmla="*/ 242810 w 295837"/>
                <a:gd name="connsiteY5" fmla="*/ 163280 h 166668"/>
                <a:gd name="connsiteX6" fmla="*/ 0 w 295837"/>
                <a:gd name="connsiteY6" fmla="*/ 63840 h 166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837" h="166668">
                  <a:moveTo>
                    <a:pt x="0" y="63840"/>
                  </a:moveTo>
                  <a:lnTo>
                    <a:pt x="18070" y="0"/>
                  </a:lnTo>
                  <a:lnTo>
                    <a:pt x="267913" y="92947"/>
                  </a:lnTo>
                  <a:cubicBezTo>
                    <a:pt x="291610" y="99223"/>
                    <a:pt x="302971" y="126166"/>
                    <a:pt x="291069" y="147482"/>
                  </a:cubicBezTo>
                  <a:lnTo>
                    <a:pt x="291069" y="147482"/>
                  </a:lnTo>
                  <a:cubicBezTo>
                    <a:pt x="281547" y="164470"/>
                    <a:pt x="260555" y="171395"/>
                    <a:pt x="242810" y="163280"/>
                  </a:cubicBezTo>
                  <a:lnTo>
                    <a:pt x="0" y="63840"/>
                  </a:lnTo>
                  <a:close/>
                </a:path>
              </a:pathLst>
            </a:custGeom>
            <a:solidFill>
              <a:srgbClr val="FF725E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A492B4EB-B462-4895-BC4C-CAC57F8AB809}"/>
                </a:ext>
              </a:extLst>
            </p:cNvPr>
            <p:cNvSpPr/>
            <p:nvPr/>
          </p:nvSpPr>
          <p:spPr>
            <a:xfrm flipH="1">
              <a:off x="5272102" y="4805724"/>
              <a:ext cx="86897" cy="331140"/>
            </a:xfrm>
            <a:custGeom>
              <a:avLst/>
              <a:gdLst>
                <a:gd name="connsiteX0" fmla="*/ 78680 w 78840"/>
                <a:gd name="connsiteY0" fmla="*/ 300434 h 300436"/>
                <a:gd name="connsiteX1" fmla="*/ 75325 w 78840"/>
                <a:gd name="connsiteY1" fmla="*/ 287991 h 300436"/>
                <a:gd name="connsiteX2" fmla="*/ 67210 w 78840"/>
                <a:gd name="connsiteY2" fmla="*/ 254015 h 300436"/>
                <a:gd name="connsiteX3" fmla="*/ 35290 w 78840"/>
                <a:gd name="connsiteY3" fmla="*/ 143322 h 300436"/>
                <a:gd name="connsiteX4" fmla="*/ 7265 w 78840"/>
                <a:gd name="connsiteY4" fmla="*/ 66497 h 300436"/>
                <a:gd name="connsiteX5" fmla="*/ 6508 w 78840"/>
                <a:gd name="connsiteY5" fmla="*/ 64658 h 300436"/>
                <a:gd name="connsiteX6" fmla="*/ 8023 w 78840"/>
                <a:gd name="connsiteY6" fmla="*/ 63576 h 300436"/>
                <a:gd name="connsiteX7" fmla="*/ 22846 w 78840"/>
                <a:gd name="connsiteY7" fmla="*/ 37174 h 300436"/>
                <a:gd name="connsiteX8" fmla="*/ 16462 w 78840"/>
                <a:gd name="connsiteY8" fmla="*/ 14126 h 300436"/>
                <a:gd name="connsiteX9" fmla="*/ 15 w 78840"/>
                <a:gd name="connsiteY9" fmla="*/ 60 h 300436"/>
                <a:gd name="connsiteX10" fmla="*/ 5642 w 78840"/>
                <a:gd name="connsiteY10" fmla="*/ 1791 h 300436"/>
                <a:gd name="connsiteX11" fmla="*/ 18735 w 78840"/>
                <a:gd name="connsiteY11" fmla="*/ 12395 h 300436"/>
                <a:gd name="connsiteX12" fmla="*/ 26850 w 78840"/>
                <a:gd name="connsiteY12" fmla="*/ 37390 h 300436"/>
                <a:gd name="connsiteX13" fmla="*/ 10836 w 78840"/>
                <a:gd name="connsiteY13" fmla="*/ 67471 h 300436"/>
                <a:gd name="connsiteX14" fmla="*/ 11593 w 78840"/>
                <a:gd name="connsiteY14" fmla="*/ 64549 h 300436"/>
                <a:gd name="connsiteX15" fmla="*/ 40484 w 78840"/>
                <a:gd name="connsiteY15" fmla="*/ 141591 h 300436"/>
                <a:gd name="connsiteX16" fmla="*/ 70889 w 78840"/>
                <a:gd name="connsiteY16" fmla="*/ 253149 h 300436"/>
                <a:gd name="connsiteX17" fmla="*/ 77273 w 78840"/>
                <a:gd name="connsiteY17" fmla="*/ 287558 h 300436"/>
                <a:gd name="connsiteX18" fmla="*/ 78680 w 78840"/>
                <a:gd name="connsiteY18" fmla="*/ 300434 h 30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840" h="300436">
                  <a:moveTo>
                    <a:pt x="78680" y="300434"/>
                  </a:moveTo>
                  <a:cubicBezTo>
                    <a:pt x="78247" y="300543"/>
                    <a:pt x="77165" y="296106"/>
                    <a:pt x="75325" y="287991"/>
                  </a:cubicBezTo>
                  <a:cubicBezTo>
                    <a:pt x="73161" y="278793"/>
                    <a:pt x="70348" y="267432"/>
                    <a:pt x="67210" y="254015"/>
                  </a:cubicBezTo>
                  <a:cubicBezTo>
                    <a:pt x="60069" y="225449"/>
                    <a:pt x="49248" y="186063"/>
                    <a:pt x="35290" y="143322"/>
                  </a:cubicBezTo>
                  <a:cubicBezTo>
                    <a:pt x="25984" y="114756"/>
                    <a:pt x="16354" y="88354"/>
                    <a:pt x="7265" y="66497"/>
                  </a:cubicBezTo>
                  <a:lnTo>
                    <a:pt x="6508" y="64658"/>
                  </a:lnTo>
                  <a:lnTo>
                    <a:pt x="8023" y="63576"/>
                  </a:lnTo>
                  <a:cubicBezTo>
                    <a:pt x="17328" y="56975"/>
                    <a:pt x="22197" y="46371"/>
                    <a:pt x="22846" y="37174"/>
                  </a:cubicBezTo>
                  <a:cubicBezTo>
                    <a:pt x="23604" y="27760"/>
                    <a:pt x="20358" y="19645"/>
                    <a:pt x="16462" y="14126"/>
                  </a:cubicBezTo>
                  <a:cubicBezTo>
                    <a:pt x="8347" y="2765"/>
                    <a:pt x="-417" y="817"/>
                    <a:pt x="15" y="60"/>
                  </a:cubicBezTo>
                  <a:cubicBezTo>
                    <a:pt x="124" y="-156"/>
                    <a:pt x="2179" y="168"/>
                    <a:pt x="5642" y="1791"/>
                  </a:cubicBezTo>
                  <a:cubicBezTo>
                    <a:pt x="9104" y="3414"/>
                    <a:pt x="14082" y="6552"/>
                    <a:pt x="18735" y="12395"/>
                  </a:cubicBezTo>
                  <a:cubicBezTo>
                    <a:pt x="23279" y="18130"/>
                    <a:pt x="27283" y="26895"/>
                    <a:pt x="26850" y="37390"/>
                  </a:cubicBezTo>
                  <a:cubicBezTo>
                    <a:pt x="26417" y="47778"/>
                    <a:pt x="21440" y="59572"/>
                    <a:pt x="10836" y="67471"/>
                  </a:cubicBezTo>
                  <a:lnTo>
                    <a:pt x="11593" y="64549"/>
                  </a:lnTo>
                  <a:cubicBezTo>
                    <a:pt x="21223" y="86515"/>
                    <a:pt x="31178" y="112917"/>
                    <a:pt x="40484" y="141591"/>
                  </a:cubicBezTo>
                  <a:cubicBezTo>
                    <a:pt x="54550" y="184548"/>
                    <a:pt x="64830" y="224151"/>
                    <a:pt x="70889" y="253149"/>
                  </a:cubicBezTo>
                  <a:cubicBezTo>
                    <a:pt x="74027" y="267648"/>
                    <a:pt x="76083" y="279443"/>
                    <a:pt x="77273" y="287558"/>
                  </a:cubicBezTo>
                  <a:cubicBezTo>
                    <a:pt x="78680" y="295782"/>
                    <a:pt x="79113" y="300326"/>
                    <a:pt x="78680" y="300434"/>
                  </a:cubicBezTo>
                  <a:close/>
                </a:path>
              </a:pathLst>
            </a:custGeom>
            <a:solidFill>
              <a:srgbClr val="263238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B8F95548-2011-4783-921F-72FA2FD88EED}"/>
                </a:ext>
              </a:extLst>
            </p:cNvPr>
            <p:cNvSpPr/>
            <p:nvPr/>
          </p:nvSpPr>
          <p:spPr>
            <a:xfrm flipH="1">
              <a:off x="5601161" y="5066496"/>
              <a:ext cx="19595" cy="73251"/>
            </a:xfrm>
            <a:custGeom>
              <a:avLst/>
              <a:gdLst>
                <a:gd name="connsiteX0" fmla="*/ 17523 w 17778"/>
                <a:gd name="connsiteY0" fmla="*/ 66438 h 66459"/>
                <a:gd name="connsiteX1" fmla="*/ 3565 w 17778"/>
                <a:gd name="connsiteY1" fmla="*/ 34626 h 66459"/>
                <a:gd name="connsiteX2" fmla="*/ 1076 w 17778"/>
                <a:gd name="connsiteY2" fmla="*/ 1 h 66459"/>
                <a:gd name="connsiteX3" fmla="*/ 8975 w 17778"/>
                <a:gd name="connsiteY3" fmla="*/ 33327 h 66459"/>
                <a:gd name="connsiteX4" fmla="*/ 17523 w 17778"/>
                <a:gd name="connsiteY4" fmla="*/ 66438 h 6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78" h="66459">
                  <a:moveTo>
                    <a:pt x="17523" y="66438"/>
                  </a:moveTo>
                  <a:cubicBezTo>
                    <a:pt x="16225" y="67087"/>
                    <a:pt x="8218" y="53453"/>
                    <a:pt x="3565" y="34626"/>
                  </a:cubicBezTo>
                  <a:cubicBezTo>
                    <a:pt x="-1088" y="15798"/>
                    <a:pt x="-330" y="1"/>
                    <a:pt x="1076" y="1"/>
                  </a:cubicBezTo>
                  <a:cubicBezTo>
                    <a:pt x="2699" y="-108"/>
                    <a:pt x="4431" y="15149"/>
                    <a:pt x="8975" y="33327"/>
                  </a:cubicBezTo>
                  <a:cubicBezTo>
                    <a:pt x="13520" y="51397"/>
                    <a:pt x="19038" y="65680"/>
                    <a:pt x="17523" y="6643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43DDAC98-EB57-4740-964E-602C469D07A9}"/>
                </a:ext>
              </a:extLst>
            </p:cNvPr>
            <p:cNvSpPr/>
            <p:nvPr/>
          </p:nvSpPr>
          <p:spPr>
            <a:xfrm flipH="1">
              <a:off x="5692432" y="5193080"/>
              <a:ext cx="51701" cy="45810"/>
            </a:xfrm>
            <a:custGeom>
              <a:avLst/>
              <a:gdLst>
                <a:gd name="connsiteX0" fmla="*/ 46792 w 46907"/>
                <a:gd name="connsiteY0" fmla="*/ 67 h 41562"/>
                <a:gd name="connsiteX1" fmla="*/ 26666 w 46907"/>
                <a:gd name="connsiteY1" fmla="*/ 24413 h 41562"/>
                <a:gd name="connsiteX2" fmla="*/ 48 w 46907"/>
                <a:gd name="connsiteY2" fmla="*/ 41401 h 41562"/>
                <a:gd name="connsiteX3" fmla="*/ 22987 w 46907"/>
                <a:gd name="connsiteY3" fmla="*/ 20192 h 41562"/>
                <a:gd name="connsiteX4" fmla="*/ 46792 w 46907"/>
                <a:gd name="connsiteY4" fmla="*/ 67 h 4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907" h="41562">
                  <a:moveTo>
                    <a:pt x="46792" y="67"/>
                  </a:moveTo>
                  <a:cubicBezTo>
                    <a:pt x="47982" y="1040"/>
                    <a:pt x="39867" y="12835"/>
                    <a:pt x="26666" y="24413"/>
                  </a:cubicBezTo>
                  <a:cubicBezTo>
                    <a:pt x="13573" y="36098"/>
                    <a:pt x="805" y="42699"/>
                    <a:pt x="48" y="41401"/>
                  </a:cubicBezTo>
                  <a:cubicBezTo>
                    <a:pt x="-818" y="40102"/>
                    <a:pt x="10219" y="31554"/>
                    <a:pt x="22987" y="20192"/>
                  </a:cubicBezTo>
                  <a:cubicBezTo>
                    <a:pt x="35755" y="8939"/>
                    <a:pt x="45493" y="-907"/>
                    <a:pt x="46792" y="6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540349D7-A251-4D88-BBD7-2CA70065970C}"/>
                </a:ext>
              </a:extLst>
            </p:cNvPr>
            <p:cNvSpPr/>
            <p:nvPr/>
          </p:nvSpPr>
          <p:spPr>
            <a:xfrm flipH="1">
              <a:off x="5597425" y="5266491"/>
              <a:ext cx="24450" cy="49706"/>
            </a:xfrm>
            <a:custGeom>
              <a:avLst/>
              <a:gdLst>
                <a:gd name="connsiteX0" fmla="*/ 22001 w 22183"/>
                <a:gd name="connsiteY0" fmla="*/ 45020 h 45097"/>
                <a:gd name="connsiteX1" fmla="*/ 6528 w 22183"/>
                <a:gd name="connsiteY1" fmla="*/ 24786 h 45097"/>
                <a:gd name="connsiteX2" fmla="*/ 577 w 22183"/>
                <a:gd name="connsiteY2" fmla="*/ 7 h 45097"/>
                <a:gd name="connsiteX3" fmla="*/ 11613 w 22183"/>
                <a:gd name="connsiteY3" fmla="*/ 22297 h 45097"/>
                <a:gd name="connsiteX4" fmla="*/ 22001 w 22183"/>
                <a:gd name="connsiteY4" fmla="*/ 45020 h 45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83" h="45097">
                  <a:moveTo>
                    <a:pt x="22001" y="45020"/>
                  </a:moveTo>
                  <a:cubicBezTo>
                    <a:pt x="20811" y="45994"/>
                    <a:pt x="12695" y="37662"/>
                    <a:pt x="6528" y="24786"/>
                  </a:cubicBezTo>
                  <a:cubicBezTo>
                    <a:pt x="360" y="11910"/>
                    <a:pt x="-938" y="332"/>
                    <a:pt x="577" y="7"/>
                  </a:cubicBezTo>
                  <a:cubicBezTo>
                    <a:pt x="2200" y="-317"/>
                    <a:pt x="5770" y="10179"/>
                    <a:pt x="11613" y="22297"/>
                  </a:cubicBezTo>
                  <a:cubicBezTo>
                    <a:pt x="17456" y="34524"/>
                    <a:pt x="23299" y="44046"/>
                    <a:pt x="22001" y="45020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45CC45DB-6638-427A-BF93-26F8474E3B01}"/>
                </a:ext>
              </a:extLst>
            </p:cNvPr>
            <p:cNvSpPr/>
            <p:nvPr/>
          </p:nvSpPr>
          <p:spPr>
            <a:xfrm flipH="1">
              <a:off x="5692057" y="5335784"/>
              <a:ext cx="18893" cy="67401"/>
            </a:xfrm>
            <a:custGeom>
              <a:avLst/>
              <a:gdLst>
                <a:gd name="connsiteX0" fmla="*/ 456 w 17141"/>
                <a:gd name="connsiteY0" fmla="*/ 61141 h 61151"/>
                <a:gd name="connsiteX1" fmla="*/ 5866 w 17141"/>
                <a:gd name="connsiteY1" fmla="*/ 29870 h 61151"/>
                <a:gd name="connsiteX2" fmla="*/ 16686 w 17141"/>
                <a:gd name="connsiteY2" fmla="*/ 6 h 61151"/>
                <a:gd name="connsiteX3" fmla="*/ 11276 w 17141"/>
                <a:gd name="connsiteY3" fmla="*/ 31277 h 61151"/>
                <a:gd name="connsiteX4" fmla="*/ 456 w 17141"/>
                <a:gd name="connsiteY4" fmla="*/ 61141 h 61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1" h="61151">
                  <a:moveTo>
                    <a:pt x="456" y="61141"/>
                  </a:moveTo>
                  <a:cubicBezTo>
                    <a:pt x="-1059" y="60708"/>
                    <a:pt x="1321" y="46750"/>
                    <a:pt x="5866" y="29870"/>
                  </a:cubicBezTo>
                  <a:cubicBezTo>
                    <a:pt x="10302" y="12990"/>
                    <a:pt x="15171" y="-319"/>
                    <a:pt x="16686" y="6"/>
                  </a:cubicBezTo>
                  <a:cubicBezTo>
                    <a:pt x="18201" y="439"/>
                    <a:pt x="15820" y="14397"/>
                    <a:pt x="11276" y="31277"/>
                  </a:cubicBezTo>
                  <a:cubicBezTo>
                    <a:pt x="6839" y="48157"/>
                    <a:pt x="1970" y="61574"/>
                    <a:pt x="456" y="6114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6DC25E8C-874B-4A3E-B5A4-E1013AA14904}"/>
                </a:ext>
              </a:extLst>
            </p:cNvPr>
            <p:cNvSpPr/>
            <p:nvPr/>
          </p:nvSpPr>
          <p:spPr>
            <a:xfrm flipH="1">
              <a:off x="5768012" y="5460873"/>
              <a:ext cx="20595" cy="49542"/>
            </a:xfrm>
            <a:custGeom>
              <a:avLst/>
              <a:gdLst>
                <a:gd name="connsiteX0" fmla="*/ 18324 w 18685"/>
                <a:gd name="connsiteY0" fmla="*/ 44927 h 44948"/>
                <a:gd name="connsiteX1" fmla="*/ 6746 w 18685"/>
                <a:gd name="connsiteY1" fmla="*/ 23502 h 44948"/>
                <a:gd name="connsiteX2" fmla="*/ 362 w 18685"/>
                <a:gd name="connsiteY2" fmla="*/ 22 h 44948"/>
                <a:gd name="connsiteX3" fmla="*/ 11940 w 18685"/>
                <a:gd name="connsiteY3" fmla="*/ 21446 h 44948"/>
                <a:gd name="connsiteX4" fmla="*/ 18324 w 18685"/>
                <a:gd name="connsiteY4" fmla="*/ 44927 h 4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85" h="44948">
                  <a:moveTo>
                    <a:pt x="18324" y="44927"/>
                  </a:moveTo>
                  <a:cubicBezTo>
                    <a:pt x="16917" y="45468"/>
                    <a:pt x="11723" y="35946"/>
                    <a:pt x="6746" y="23502"/>
                  </a:cubicBezTo>
                  <a:cubicBezTo>
                    <a:pt x="1768" y="11059"/>
                    <a:pt x="-1045" y="563"/>
                    <a:pt x="362" y="22"/>
                  </a:cubicBezTo>
                  <a:cubicBezTo>
                    <a:pt x="1768" y="-519"/>
                    <a:pt x="6962" y="9003"/>
                    <a:pt x="11940" y="21446"/>
                  </a:cubicBezTo>
                  <a:cubicBezTo>
                    <a:pt x="16917" y="33782"/>
                    <a:pt x="19730" y="44278"/>
                    <a:pt x="18324" y="4492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51A896F8-0AC5-4F68-A48E-06CE4AAC1E90}"/>
                </a:ext>
              </a:extLst>
            </p:cNvPr>
            <p:cNvSpPr/>
            <p:nvPr/>
          </p:nvSpPr>
          <p:spPr>
            <a:xfrm flipH="1">
              <a:off x="5595190" y="5435084"/>
              <a:ext cx="53958" cy="47247"/>
            </a:xfrm>
            <a:custGeom>
              <a:avLst/>
              <a:gdLst>
                <a:gd name="connsiteX0" fmla="*/ 48909 w 48955"/>
                <a:gd name="connsiteY0" fmla="*/ 155 h 42866"/>
                <a:gd name="connsiteX1" fmla="*/ 24996 w 48955"/>
                <a:gd name="connsiteY1" fmla="*/ 22013 h 42866"/>
                <a:gd name="connsiteX2" fmla="*/ 109 w 48955"/>
                <a:gd name="connsiteY2" fmla="*/ 42788 h 42866"/>
                <a:gd name="connsiteX3" fmla="*/ 21317 w 48955"/>
                <a:gd name="connsiteY3" fmla="*/ 17684 h 42866"/>
                <a:gd name="connsiteX4" fmla="*/ 48909 w 48955"/>
                <a:gd name="connsiteY4" fmla="*/ 155 h 4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55" h="42866">
                  <a:moveTo>
                    <a:pt x="48909" y="155"/>
                  </a:moveTo>
                  <a:cubicBezTo>
                    <a:pt x="49775" y="1454"/>
                    <a:pt x="38305" y="10327"/>
                    <a:pt x="24996" y="22013"/>
                  </a:cubicBezTo>
                  <a:cubicBezTo>
                    <a:pt x="11579" y="33699"/>
                    <a:pt x="1299" y="43870"/>
                    <a:pt x="109" y="42788"/>
                  </a:cubicBezTo>
                  <a:cubicBezTo>
                    <a:pt x="-1081" y="41814"/>
                    <a:pt x="7575" y="29695"/>
                    <a:pt x="21317" y="17684"/>
                  </a:cubicBezTo>
                  <a:cubicBezTo>
                    <a:pt x="34951" y="5782"/>
                    <a:pt x="48043" y="-1143"/>
                    <a:pt x="48909" y="155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C591DD22-4879-455C-9873-AD205521C18B}"/>
                </a:ext>
              </a:extLst>
            </p:cNvPr>
            <p:cNvSpPr/>
            <p:nvPr/>
          </p:nvSpPr>
          <p:spPr>
            <a:xfrm flipH="1">
              <a:off x="5747218" y="5617190"/>
              <a:ext cx="42555" cy="69016"/>
            </a:xfrm>
            <a:custGeom>
              <a:avLst/>
              <a:gdLst>
                <a:gd name="connsiteX0" fmla="*/ 38426 w 38609"/>
                <a:gd name="connsiteY0" fmla="*/ 62596 h 62617"/>
                <a:gd name="connsiteX1" fmla="*/ 18624 w 38609"/>
                <a:gd name="connsiteY1" fmla="*/ 31758 h 62617"/>
                <a:gd name="connsiteX2" fmla="*/ 121 w 38609"/>
                <a:gd name="connsiteY2" fmla="*/ 54 h 62617"/>
                <a:gd name="connsiteX3" fmla="*/ 23385 w 38609"/>
                <a:gd name="connsiteY3" fmla="*/ 28837 h 62617"/>
                <a:gd name="connsiteX4" fmla="*/ 38426 w 38609"/>
                <a:gd name="connsiteY4" fmla="*/ 62596 h 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09" h="62617">
                  <a:moveTo>
                    <a:pt x="38426" y="62596"/>
                  </a:moveTo>
                  <a:cubicBezTo>
                    <a:pt x="36911" y="63245"/>
                    <a:pt x="29120" y="48854"/>
                    <a:pt x="18624" y="31758"/>
                  </a:cubicBezTo>
                  <a:cubicBezTo>
                    <a:pt x="8129" y="14554"/>
                    <a:pt x="-1177" y="1028"/>
                    <a:pt x="121" y="54"/>
                  </a:cubicBezTo>
                  <a:cubicBezTo>
                    <a:pt x="1312" y="-920"/>
                    <a:pt x="12673" y="11308"/>
                    <a:pt x="23385" y="28837"/>
                  </a:cubicBezTo>
                  <a:cubicBezTo>
                    <a:pt x="34098" y="46257"/>
                    <a:pt x="39724" y="61947"/>
                    <a:pt x="38426" y="6259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9F438722-0034-4943-BC8A-9DB3D2A03ACB}"/>
                </a:ext>
              </a:extLst>
            </p:cNvPr>
            <p:cNvSpPr/>
            <p:nvPr/>
          </p:nvSpPr>
          <p:spPr>
            <a:xfrm flipH="1">
              <a:off x="5632859" y="5600978"/>
              <a:ext cx="61858" cy="31814"/>
            </a:xfrm>
            <a:custGeom>
              <a:avLst/>
              <a:gdLst>
                <a:gd name="connsiteX0" fmla="*/ 56060 w 56122"/>
                <a:gd name="connsiteY0" fmla="*/ 28721 h 28864"/>
                <a:gd name="connsiteX1" fmla="*/ 28035 w 56122"/>
                <a:gd name="connsiteY1" fmla="*/ 14547 h 28864"/>
                <a:gd name="connsiteX2" fmla="*/ 10 w 56122"/>
                <a:gd name="connsiteY2" fmla="*/ 372 h 28864"/>
                <a:gd name="connsiteX3" fmla="*/ 30524 w 56122"/>
                <a:gd name="connsiteY3" fmla="*/ 9461 h 28864"/>
                <a:gd name="connsiteX4" fmla="*/ 56060 w 56122"/>
                <a:gd name="connsiteY4" fmla="*/ 28721 h 28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22" h="28864">
                  <a:moveTo>
                    <a:pt x="56060" y="28721"/>
                  </a:moveTo>
                  <a:cubicBezTo>
                    <a:pt x="55086" y="30020"/>
                    <a:pt x="43400" y="22229"/>
                    <a:pt x="28035" y="14547"/>
                  </a:cubicBezTo>
                  <a:cubicBezTo>
                    <a:pt x="12778" y="6756"/>
                    <a:pt x="-422" y="1995"/>
                    <a:pt x="10" y="372"/>
                  </a:cubicBezTo>
                  <a:cubicBezTo>
                    <a:pt x="335" y="-1035"/>
                    <a:pt x="14726" y="1454"/>
                    <a:pt x="30524" y="9461"/>
                  </a:cubicBezTo>
                  <a:cubicBezTo>
                    <a:pt x="46538" y="17576"/>
                    <a:pt x="57034" y="27639"/>
                    <a:pt x="56060" y="2872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61622063-219D-422D-AE25-0C936DB7D9CA}"/>
                </a:ext>
              </a:extLst>
            </p:cNvPr>
            <p:cNvSpPr/>
            <p:nvPr/>
          </p:nvSpPr>
          <p:spPr>
            <a:xfrm flipH="1">
              <a:off x="5535694" y="5613203"/>
              <a:ext cx="23741" cy="49370"/>
            </a:xfrm>
            <a:custGeom>
              <a:avLst/>
              <a:gdLst>
                <a:gd name="connsiteX0" fmla="*/ 21400 w 21540"/>
                <a:gd name="connsiteY0" fmla="*/ 101 h 44792"/>
                <a:gd name="connsiteX1" fmla="*/ 10472 w 21540"/>
                <a:gd name="connsiteY1" fmla="*/ 22174 h 44792"/>
                <a:gd name="connsiteX2" fmla="*/ 842 w 21540"/>
                <a:gd name="connsiteY2" fmla="*/ 44789 h 44792"/>
                <a:gd name="connsiteX3" fmla="*/ 5386 w 21540"/>
                <a:gd name="connsiteY3" fmla="*/ 19794 h 44792"/>
                <a:gd name="connsiteX4" fmla="*/ 21400 w 21540"/>
                <a:gd name="connsiteY4" fmla="*/ 101 h 4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40" h="44792">
                  <a:moveTo>
                    <a:pt x="21400" y="101"/>
                  </a:moveTo>
                  <a:cubicBezTo>
                    <a:pt x="22591" y="1183"/>
                    <a:pt x="15990" y="10056"/>
                    <a:pt x="10472" y="22174"/>
                  </a:cubicBezTo>
                  <a:cubicBezTo>
                    <a:pt x="4845" y="34293"/>
                    <a:pt x="2465" y="45006"/>
                    <a:pt x="842" y="44789"/>
                  </a:cubicBezTo>
                  <a:cubicBezTo>
                    <a:pt x="-673" y="44681"/>
                    <a:pt x="-673" y="32779"/>
                    <a:pt x="5386" y="19794"/>
                  </a:cubicBezTo>
                  <a:cubicBezTo>
                    <a:pt x="11337" y="6701"/>
                    <a:pt x="20318" y="-981"/>
                    <a:pt x="21400" y="10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83A49DD1-F500-4430-A908-75D97F1C5868}"/>
                </a:ext>
              </a:extLst>
            </p:cNvPr>
            <p:cNvSpPr/>
            <p:nvPr/>
          </p:nvSpPr>
          <p:spPr>
            <a:xfrm flipH="1">
              <a:off x="5468643" y="5509638"/>
              <a:ext cx="55530" cy="26464"/>
            </a:xfrm>
            <a:custGeom>
              <a:avLst/>
              <a:gdLst>
                <a:gd name="connsiteX0" fmla="*/ 50327 w 50381"/>
                <a:gd name="connsiteY0" fmla="*/ 23839 h 24010"/>
                <a:gd name="connsiteX1" fmla="*/ 25007 w 50381"/>
                <a:gd name="connsiteY1" fmla="*/ 12478 h 24010"/>
                <a:gd name="connsiteX2" fmla="*/ 12 w 50381"/>
                <a:gd name="connsiteY2" fmla="*/ 467 h 24010"/>
                <a:gd name="connsiteX3" fmla="*/ 27387 w 50381"/>
                <a:gd name="connsiteY3" fmla="*/ 7392 h 24010"/>
                <a:gd name="connsiteX4" fmla="*/ 50327 w 50381"/>
                <a:gd name="connsiteY4" fmla="*/ 23839 h 24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381" h="24010">
                  <a:moveTo>
                    <a:pt x="50327" y="23839"/>
                  </a:moveTo>
                  <a:cubicBezTo>
                    <a:pt x="49353" y="25137"/>
                    <a:pt x="38749" y="18862"/>
                    <a:pt x="25007" y="12478"/>
                  </a:cubicBezTo>
                  <a:cubicBezTo>
                    <a:pt x="11265" y="6094"/>
                    <a:pt x="-421" y="1982"/>
                    <a:pt x="12" y="467"/>
                  </a:cubicBezTo>
                  <a:cubicBezTo>
                    <a:pt x="336" y="-940"/>
                    <a:pt x="13104" y="683"/>
                    <a:pt x="27387" y="7392"/>
                  </a:cubicBezTo>
                  <a:cubicBezTo>
                    <a:pt x="41670" y="13992"/>
                    <a:pt x="51192" y="22649"/>
                    <a:pt x="50327" y="23839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CF57D884-8D20-4E5C-9084-89206499D112}"/>
                </a:ext>
              </a:extLst>
            </p:cNvPr>
            <p:cNvSpPr/>
            <p:nvPr/>
          </p:nvSpPr>
          <p:spPr>
            <a:xfrm flipH="1">
              <a:off x="5415084" y="5585299"/>
              <a:ext cx="30196" cy="35875"/>
            </a:xfrm>
            <a:custGeom>
              <a:avLst/>
              <a:gdLst>
                <a:gd name="connsiteX0" fmla="*/ 27224 w 27396"/>
                <a:gd name="connsiteY0" fmla="*/ 98 h 32549"/>
                <a:gd name="connsiteX1" fmla="*/ 15862 w 27396"/>
                <a:gd name="connsiteY1" fmla="*/ 18060 h 32549"/>
                <a:gd name="connsiteX2" fmla="*/ 173 w 27396"/>
                <a:gd name="connsiteY2" fmla="*/ 32451 h 32549"/>
                <a:gd name="connsiteX3" fmla="*/ 11534 w 27396"/>
                <a:gd name="connsiteY3" fmla="*/ 14489 h 32549"/>
                <a:gd name="connsiteX4" fmla="*/ 27224 w 27396"/>
                <a:gd name="connsiteY4" fmla="*/ 98 h 3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96" h="32549">
                  <a:moveTo>
                    <a:pt x="27224" y="98"/>
                  </a:moveTo>
                  <a:cubicBezTo>
                    <a:pt x="28414" y="1072"/>
                    <a:pt x="23328" y="9188"/>
                    <a:pt x="15862" y="18060"/>
                  </a:cubicBezTo>
                  <a:cubicBezTo>
                    <a:pt x="8396" y="27041"/>
                    <a:pt x="1363" y="33425"/>
                    <a:pt x="173" y="32451"/>
                  </a:cubicBezTo>
                  <a:cubicBezTo>
                    <a:pt x="-1017" y="31478"/>
                    <a:pt x="4068" y="23362"/>
                    <a:pt x="11534" y="14489"/>
                  </a:cubicBezTo>
                  <a:cubicBezTo>
                    <a:pt x="19000" y="5508"/>
                    <a:pt x="26034" y="-876"/>
                    <a:pt x="27224" y="9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CA27B960-11DD-4131-A502-A3B15CA81528}"/>
                </a:ext>
              </a:extLst>
            </p:cNvPr>
            <p:cNvSpPr/>
            <p:nvPr/>
          </p:nvSpPr>
          <p:spPr>
            <a:xfrm flipH="1">
              <a:off x="5357366" y="5464154"/>
              <a:ext cx="30208" cy="43985"/>
            </a:xfrm>
            <a:custGeom>
              <a:avLst/>
              <a:gdLst>
                <a:gd name="connsiteX0" fmla="*/ 26914 w 27407"/>
                <a:gd name="connsiteY0" fmla="*/ 39894 h 39907"/>
                <a:gd name="connsiteX1" fmla="*/ 14363 w 27407"/>
                <a:gd name="connsiteY1" fmla="*/ 19444 h 39907"/>
                <a:gd name="connsiteX2" fmla="*/ 80 w 27407"/>
                <a:gd name="connsiteY2" fmla="*/ 183 h 39907"/>
                <a:gd name="connsiteX3" fmla="*/ 19016 w 27407"/>
                <a:gd name="connsiteY3" fmla="*/ 16306 h 39907"/>
                <a:gd name="connsiteX4" fmla="*/ 26914 w 27407"/>
                <a:gd name="connsiteY4" fmla="*/ 39894 h 3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07" h="39907">
                  <a:moveTo>
                    <a:pt x="26914" y="39894"/>
                  </a:moveTo>
                  <a:cubicBezTo>
                    <a:pt x="25291" y="40327"/>
                    <a:pt x="21721" y="30156"/>
                    <a:pt x="14363" y="19444"/>
                  </a:cubicBezTo>
                  <a:cubicBezTo>
                    <a:pt x="7221" y="8623"/>
                    <a:pt x="-894" y="1482"/>
                    <a:pt x="80" y="183"/>
                  </a:cubicBezTo>
                  <a:cubicBezTo>
                    <a:pt x="837" y="-1115"/>
                    <a:pt x="11117" y="4511"/>
                    <a:pt x="19016" y="16306"/>
                  </a:cubicBezTo>
                  <a:cubicBezTo>
                    <a:pt x="27023" y="27992"/>
                    <a:pt x="28321" y="39678"/>
                    <a:pt x="26914" y="39894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5774076A-09B6-440F-AB6C-7F636557D6B2}"/>
                </a:ext>
              </a:extLst>
            </p:cNvPr>
            <p:cNvSpPr/>
            <p:nvPr/>
          </p:nvSpPr>
          <p:spPr>
            <a:xfrm flipH="1">
              <a:off x="5278336" y="5480450"/>
              <a:ext cx="18893" cy="73239"/>
            </a:xfrm>
            <a:custGeom>
              <a:avLst/>
              <a:gdLst>
                <a:gd name="connsiteX0" fmla="*/ 455 w 17141"/>
                <a:gd name="connsiteY0" fmla="*/ 66443 h 66448"/>
                <a:gd name="connsiteX1" fmla="*/ 5866 w 17141"/>
                <a:gd name="connsiteY1" fmla="*/ 32575 h 66448"/>
                <a:gd name="connsiteX2" fmla="*/ 16686 w 17141"/>
                <a:gd name="connsiteY2" fmla="*/ 5 h 66448"/>
                <a:gd name="connsiteX3" fmla="*/ 11276 w 17141"/>
                <a:gd name="connsiteY3" fmla="*/ 33873 h 66448"/>
                <a:gd name="connsiteX4" fmla="*/ 455 w 17141"/>
                <a:gd name="connsiteY4" fmla="*/ 66443 h 66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1" h="66448">
                  <a:moveTo>
                    <a:pt x="455" y="66443"/>
                  </a:moveTo>
                  <a:cubicBezTo>
                    <a:pt x="-1059" y="66118"/>
                    <a:pt x="1321" y="50861"/>
                    <a:pt x="5866" y="32575"/>
                  </a:cubicBezTo>
                  <a:cubicBezTo>
                    <a:pt x="10302" y="14180"/>
                    <a:pt x="15171" y="-319"/>
                    <a:pt x="16686" y="5"/>
                  </a:cubicBezTo>
                  <a:cubicBezTo>
                    <a:pt x="18201" y="330"/>
                    <a:pt x="15820" y="15587"/>
                    <a:pt x="11276" y="33873"/>
                  </a:cubicBezTo>
                  <a:cubicBezTo>
                    <a:pt x="6839" y="52160"/>
                    <a:pt x="1970" y="66767"/>
                    <a:pt x="455" y="66443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B415DA8E-7E67-4E57-A598-562B016EAD37}"/>
                </a:ext>
              </a:extLst>
            </p:cNvPr>
            <p:cNvSpPr/>
            <p:nvPr/>
          </p:nvSpPr>
          <p:spPr>
            <a:xfrm flipH="1">
              <a:off x="5167371" y="5543594"/>
              <a:ext cx="49884" cy="35681"/>
            </a:xfrm>
            <a:custGeom>
              <a:avLst/>
              <a:gdLst>
                <a:gd name="connsiteX0" fmla="*/ 45190 w 45259"/>
                <a:gd name="connsiteY0" fmla="*/ 32201 h 32373"/>
                <a:gd name="connsiteX1" fmla="*/ 20953 w 45259"/>
                <a:gd name="connsiteY1" fmla="*/ 18459 h 32373"/>
                <a:gd name="connsiteX2" fmla="*/ 69 w 45259"/>
                <a:gd name="connsiteY2" fmla="*/ 173 h 32373"/>
                <a:gd name="connsiteX3" fmla="*/ 24307 w 45259"/>
                <a:gd name="connsiteY3" fmla="*/ 13914 h 32373"/>
                <a:gd name="connsiteX4" fmla="*/ 45190 w 45259"/>
                <a:gd name="connsiteY4" fmla="*/ 32201 h 32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59" h="32373">
                  <a:moveTo>
                    <a:pt x="45190" y="32201"/>
                  </a:moveTo>
                  <a:cubicBezTo>
                    <a:pt x="44325" y="33500"/>
                    <a:pt x="33504" y="27332"/>
                    <a:pt x="20953" y="18459"/>
                  </a:cubicBezTo>
                  <a:cubicBezTo>
                    <a:pt x="8509" y="9586"/>
                    <a:pt x="-905" y="1363"/>
                    <a:pt x="69" y="173"/>
                  </a:cubicBezTo>
                  <a:cubicBezTo>
                    <a:pt x="935" y="-1126"/>
                    <a:pt x="11755" y="5042"/>
                    <a:pt x="24307" y="13914"/>
                  </a:cubicBezTo>
                  <a:cubicBezTo>
                    <a:pt x="36750" y="22679"/>
                    <a:pt x="46164" y="30903"/>
                    <a:pt x="45190" y="3220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456FB34A-7B6B-4ABE-A9BC-815CD953E543}"/>
                </a:ext>
              </a:extLst>
            </p:cNvPr>
            <p:cNvSpPr/>
            <p:nvPr/>
          </p:nvSpPr>
          <p:spPr>
            <a:xfrm flipH="1">
              <a:off x="5129706" y="5438778"/>
              <a:ext cx="32094" cy="35916"/>
            </a:xfrm>
            <a:custGeom>
              <a:avLst/>
              <a:gdLst>
                <a:gd name="connsiteX0" fmla="*/ 28854 w 29118"/>
                <a:gd name="connsiteY0" fmla="*/ 50 h 32586"/>
                <a:gd name="connsiteX1" fmla="*/ 18358 w 29118"/>
                <a:gd name="connsiteY1" fmla="*/ 19635 h 32586"/>
                <a:gd name="connsiteX2" fmla="*/ 71 w 29118"/>
                <a:gd name="connsiteY2" fmla="*/ 32403 h 32586"/>
                <a:gd name="connsiteX3" fmla="*/ 14138 w 29118"/>
                <a:gd name="connsiteY3" fmla="*/ 15956 h 32586"/>
                <a:gd name="connsiteX4" fmla="*/ 28854 w 29118"/>
                <a:gd name="connsiteY4" fmla="*/ 50 h 3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18" h="32586">
                  <a:moveTo>
                    <a:pt x="28854" y="50"/>
                  </a:moveTo>
                  <a:cubicBezTo>
                    <a:pt x="30152" y="700"/>
                    <a:pt x="26689" y="10330"/>
                    <a:pt x="18358" y="19635"/>
                  </a:cubicBezTo>
                  <a:cubicBezTo>
                    <a:pt x="10134" y="28941"/>
                    <a:pt x="937" y="33593"/>
                    <a:pt x="71" y="32403"/>
                  </a:cubicBezTo>
                  <a:cubicBezTo>
                    <a:pt x="-794" y="31105"/>
                    <a:pt x="6347" y="24721"/>
                    <a:pt x="14138" y="15956"/>
                  </a:cubicBezTo>
                  <a:cubicBezTo>
                    <a:pt x="21928" y="7192"/>
                    <a:pt x="27339" y="-707"/>
                    <a:pt x="28854" y="50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42939B0D-7C05-4989-B115-36333906C6D1}"/>
                </a:ext>
              </a:extLst>
            </p:cNvPr>
            <p:cNvSpPr/>
            <p:nvPr/>
          </p:nvSpPr>
          <p:spPr>
            <a:xfrm flipH="1">
              <a:off x="5664300" y="4995416"/>
              <a:ext cx="41848" cy="39836"/>
            </a:xfrm>
            <a:custGeom>
              <a:avLst/>
              <a:gdLst>
                <a:gd name="connsiteX0" fmla="*/ 37866 w 37968"/>
                <a:gd name="connsiteY0" fmla="*/ 108 h 36142"/>
                <a:gd name="connsiteX1" fmla="*/ 20878 w 37968"/>
                <a:gd name="connsiteY1" fmla="*/ 20126 h 36142"/>
                <a:gd name="connsiteX2" fmla="*/ 103 w 37968"/>
                <a:gd name="connsiteY2" fmla="*/ 36032 h 36142"/>
                <a:gd name="connsiteX3" fmla="*/ 17091 w 37968"/>
                <a:gd name="connsiteY3" fmla="*/ 16014 h 36142"/>
                <a:gd name="connsiteX4" fmla="*/ 37866 w 37968"/>
                <a:gd name="connsiteY4" fmla="*/ 108 h 3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68" h="36142">
                  <a:moveTo>
                    <a:pt x="37866" y="108"/>
                  </a:moveTo>
                  <a:cubicBezTo>
                    <a:pt x="38948" y="1191"/>
                    <a:pt x="31374" y="10171"/>
                    <a:pt x="20878" y="20126"/>
                  </a:cubicBezTo>
                  <a:cubicBezTo>
                    <a:pt x="10490" y="30081"/>
                    <a:pt x="1077" y="37114"/>
                    <a:pt x="103" y="36032"/>
                  </a:cubicBezTo>
                  <a:cubicBezTo>
                    <a:pt x="-979" y="34950"/>
                    <a:pt x="6595" y="25969"/>
                    <a:pt x="17091" y="16014"/>
                  </a:cubicBezTo>
                  <a:cubicBezTo>
                    <a:pt x="27478" y="6168"/>
                    <a:pt x="36784" y="-974"/>
                    <a:pt x="37866" y="10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DBDE3DF1-F4A1-46F3-B185-05F96B7CF28C}"/>
                </a:ext>
              </a:extLst>
            </p:cNvPr>
            <p:cNvSpPr/>
            <p:nvPr/>
          </p:nvSpPr>
          <p:spPr>
            <a:xfrm flipH="1">
              <a:off x="5544544" y="4985153"/>
              <a:ext cx="15659" cy="59287"/>
            </a:xfrm>
            <a:custGeom>
              <a:avLst/>
              <a:gdLst>
                <a:gd name="connsiteX0" fmla="*/ 13657 w 14207"/>
                <a:gd name="connsiteY0" fmla="*/ 53784 h 53790"/>
                <a:gd name="connsiteX1" fmla="*/ 4352 w 14207"/>
                <a:gd name="connsiteY1" fmla="*/ 27598 h 53790"/>
                <a:gd name="connsiteX2" fmla="*/ 565 w 14207"/>
                <a:gd name="connsiteY2" fmla="*/ 7 h 53790"/>
                <a:gd name="connsiteX3" fmla="*/ 9870 w 14207"/>
                <a:gd name="connsiteY3" fmla="*/ 26192 h 53790"/>
                <a:gd name="connsiteX4" fmla="*/ 13657 w 14207"/>
                <a:gd name="connsiteY4" fmla="*/ 53784 h 5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" h="53790">
                  <a:moveTo>
                    <a:pt x="13657" y="53784"/>
                  </a:moveTo>
                  <a:cubicBezTo>
                    <a:pt x="12143" y="54109"/>
                    <a:pt x="8031" y="42423"/>
                    <a:pt x="4352" y="27598"/>
                  </a:cubicBezTo>
                  <a:cubicBezTo>
                    <a:pt x="673" y="12775"/>
                    <a:pt x="-950" y="440"/>
                    <a:pt x="565" y="7"/>
                  </a:cubicBezTo>
                  <a:cubicBezTo>
                    <a:pt x="2080" y="-318"/>
                    <a:pt x="6191" y="11368"/>
                    <a:pt x="9870" y="26192"/>
                  </a:cubicBezTo>
                  <a:cubicBezTo>
                    <a:pt x="13441" y="41124"/>
                    <a:pt x="15172" y="53459"/>
                    <a:pt x="13657" y="53784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C9B01D57-54F1-45DB-AD00-A9EAFA4F19A5}"/>
                </a:ext>
              </a:extLst>
            </p:cNvPr>
            <p:cNvSpPr/>
            <p:nvPr/>
          </p:nvSpPr>
          <p:spPr>
            <a:xfrm flipH="1">
              <a:off x="5565782" y="4843236"/>
              <a:ext cx="51526" cy="8589"/>
            </a:xfrm>
            <a:custGeom>
              <a:avLst/>
              <a:gdLst>
                <a:gd name="connsiteX0" fmla="*/ 46747 w 46748"/>
                <a:gd name="connsiteY0" fmla="*/ 6602 h 7793"/>
                <a:gd name="connsiteX1" fmla="*/ 23051 w 46748"/>
                <a:gd name="connsiteY1" fmla="*/ 6710 h 7793"/>
                <a:gd name="connsiteX2" fmla="*/ 3 w 46748"/>
                <a:gd name="connsiteY2" fmla="*/ 1192 h 7793"/>
                <a:gd name="connsiteX3" fmla="*/ 23700 w 46748"/>
                <a:gd name="connsiteY3" fmla="*/ 1084 h 7793"/>
                <a:gd name="connsiteX4" fmla="*/ 46747 w 46748"/>
                <a:gd name="connsiteY4" fmla="*/ 6602 h 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48" h="7793">
                  <a:moveTo>
                    <a:pt x="46747" y="6602"/>
                  </a:moveTo>
                  <a:cubicBezTo>
                    <a:pt x="46531" y="8117"/>
                    <a:pt x="35927" y="8225"/>
                    <a:pt x="23051" y="6710"/>
                  </a:cubicBezTo>
                  <a:cubicBezTo>
                    <a:pt x="10175" y="5195"/>
                    <a:pt x="-213" y="2815"/>
                    <a:pt x="3" y="1192"/>
                  </a:cubicBezTo>
                  <a:cubicBezTo>
                    <a:pt x="220" y="-323"/>
                    <a:pt x="10824" y="-431"/>
                    <a:pt x="23700" y="1084"/>
                  </a:cubicBezTo>
                  <a:cubicBezTo>
                    <a:pt x="36576" y="2598"/>
                    <a:pt x="46856" y="5087"/>
                    <a:pt x="46747" y="6602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EC2BD88-8173-4757-96E9-2491ED3D7832}"/>
                </a:ext>
              </a:extLst>
            </p:cNvPr>
            <p:cNvSpPr/>
            <p:nvPr/>
          </p:nvSpPr>
          <p:spPr>
            <a:xfrm flipH="1">
              <a:off x="5475480" y="4945665"/>
              <a:ext cx="6342" cy="39632"/>
            </a:xfrm>
            <a:custGeom>
              <a:avLst/>
              <a:gdLst>
                <a:gd name="connsiteX0" fmla="*/ 4653 w 5754"/>
                <a:gd name="connsiteY0" fmla="*/ 35941 h 35957"/>
                <a:gd name="connsiteX1" fmla="*/ 0 w 5754"/>
                <a:gd name="connsiteY1" fmla="*/ 17979 h 35957"/>
                <a:gd name="connsiteX2" fmla="*/ 4653 w 5754"/>
                <a:gd name="connsiteY2" fmla="*/ 17 h 35957"/>
                <a:gd name="connsiteX3" fmla="*/ 5627 w 5754"/>
                <a:gd name="connsiteY3" fmla="*/ 17979 h 35957"/>
                <a:gd name="connsiteX4" fmla="*/ 4653 w 5754"/>
                <a:gd name="connsiteY4" fmla="*/ 35941 h 3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4" h="35957">
                  <a:moveTo>
                    <a:pt x="4653" y="35941"/>
                  </a:moveTo>
                  <a:cubicBezTo>
                    <a:pt x="3138" y="36373"/>
                    <a:pt x="0" y="28366"/>
                    <a:pt x="0" y="17979"/>
                  </a:cubicBezTo>
                  <a:cubicBezTo>
                    <a:pt x="0" y="7591"/>
                    <a:pt x="3246" y="-416"/>
                    <a:pt x="4653" y="17"/>
                  </a:cubicBezTo>
                  <a:cubicBezTo>
                    <a:pt x="6168" y="341"/>
                    <a:pt x="5627" y="8348"/>
                    <a:pt x="5627" y="17979"/>
                  </a:cubicBezTo>
                  <a:cubicBezTo>
                    <a:pt x="5627" y="27609"/>
                    <a:pt x="6276" y="35508"/>
                    <a:pt x="4653" y="3594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0C8B0BEF-3777-4B7C-8085-D9AB875DE262}"/>
                </a:ext>
              </a:extLst>
            </p:cNvPr>
            <p:cNvSpPr/>
            <p:nvPr/>
          </p:nvSpPr>
          <p:spPr>
            <a:xfrm flipH="1">
              <a:off x="5367359" y="4972994"/>
              <a:ext cx="51807" cy="47704"/>
            </a:xfrm>
            <a:custGeom>
              <a:avLst/>
              <a:gdLst>
                <a:gd name="connsiteX0" fmla="*/ 46921 w 47003"/>
                <a:gd name="connsiteY0" fmla="*/ 43174 h 43281"/>
                <a:gd name="connsiteX1" fmla="*/ 21601 w 47003"/>
                <a:gd name="connsiteY1" fmla="*/ 23697 h 43281"/>
                <a:gd name="connsiteX2" fmla="*/ 68 w 47003"/>
                <a:gd name="connsiteY2" fmla="*/ 108 h 43281"/>
                <a:gd name="connsiteX3" fmla="*/ 25388 w 47003"/>
                <a:gd name="connsiteY3" fmla="*/ 19585 h 43281"/>
                <a:gd name="connsiteX4" fmla="*/ 46921 w 47003"/>
                <a:gd name="connsiteY4" fmla="*/ 43174 h 43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03" h="43281">
                  <a:moveTo>
                    <a:pt x="46921" y="43174"/>
                  </a:moveTo>
                  <a:cubicBezTo>
                    <a:pt x="45839" y="44364"/>
                    <a:pt x="34477" y="35599"/>
                    <a:pt x="21601" y="23697"/>
                  </a:cubicBezTo>
                  <a:cubicBezTo>
                    <a:pt x="8617" y="11794"/>
                    <a:pt x="-905" y="1299"/>
                    <a:pt x="68" y="108"/>
                  </a:cubicBezTo>
                  <a:cubicBezTo>
                    <a:pt x="1151" y="-1082"/>
                    <a:pt x="12404" y="7683"/>
                    <a:pt x="25388" y="19585"/>
                  </a:cubicBezTo>
                  <a:cubicBezTo>
                    <a:pt x="38373" y="31487"/>
                    <a:pt x="48003" y="42091"/>
                    <a:pt x="46921" y="43174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59C79ABF-0668-4DD3-B87F-75978D2BD2D8}"/>
                </a:ext>
              </a:extLst>
            </p:cNvPr>
            <p:cNvSpPr/>
            <p:nvPr/>
          </p:nvSpPr>
          <p:spPr>
            <a:xfrm flipH="1">
              <a:off x="5405167" y="5095959"/>
              <a:ext cx="33810" cy="22366"/>
            </a:xfrm>
            <a:custGeom>
              <a:avLst/>
              <a:gdLst>
                <a:gd name="connsiteX0" fmla="*/ 30595 w 30675"/>
                <a:gd name="connsiteY0" fmla="*/ 321 h 20292"/>
                <a:gd name="connsiteX1" fmla="*/ 16853 w 30675"/>
                <a:gd name="connsiteY1" fmla="*/ 12548 h 20292"/>
                <a:gd name="connsiteX2" fmla="*/ 81 w 30675"/>
                <a:gd name="connsiteY2" fmla="*/ 20014 h 20292"/>
                <a:gd name="connsiteX3" fmla="*/ 13823 w 30675"/>
                <a:gd name="connsiteY3" fmla="*/ 7787 h 20292"/>
                <a:gd name="connsiteX4" fmla="*/ 30595 w 30675"/>
                <a:gd name="connsiteY4" fmla="*/ 321 h 2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75" h="20292">
                  <a:moveTo>
                    <a:pt x="30595" y="321"/>
                  </a:moveTo>
                  <a:cubicBezTo>
                    <a:pt x="31460" y="1619"/>
                    <a:pt x="25293" y="7138"/>
                    <a:pt x="16853" y="12548"/>
                  </a:cubicBezTo>
                  <a:cubicBezTo>
                    <a:pt x="8413" y="17958"/>
                    <a:pt x="838" y="21312"/>
                    <a:pt x="81" y="20014"/>
                  </a:cubicBezTo>
                  <a:cubicBezTo>
                    <a:pt x="-785" y="18715"/>
                    <a:pt x="5383" y="13197"/>
                    <a:pt x="13823" y="7787"/>
                  </a:cubicBezTo>
                  <a:cubicBezTo>
                    <a:pt x="22155" y="2268"/>
                    <a:pt x="29729" y="-1086"/>
                    <a:pt x="30595" y="32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5B89E31-601C-409A-8850-2AEE073F2AF7}"/>
                </a:ext>
              </a:extLst>
            </p:cNvPr>
            <p:cNvSpPr/>
            <p:nvPr/>
          </p:nvSpPr>
          <p:spPr>
            <a:xfrm flipH="1">
              <a:off x="5324304" y="5139456"/>
              <a:ext cx="15552" cy="61688"/>
            </a:xfrm>
            <a:custGeom>
              <a:avLst/>
              <a:gdLst>
                <a:gd name="connsiteX0" fmla="*/ 1799 w 14110"/>
                <a:gd name="connsiteY0" fmla="*/ 55968 h 55968"/>
                <a:gd name="connsiteX1" fmla="*/ 2016 w 14110"/>
                <a:gd name="connsiteY1" fmla="*/ 26753 h 55968"/>
                <a:gd name="connsiteX2" fmla="*/ 13810 w 14110"/>
                <a:gd name="connsiteY2" fmla="*/ 26 h 55968"/>
                <a:gd name="connsiteX3" fmla="*/ 7534 w 14110"/>
                <a:gd name="connsiteY3" fmla="*/ 27943 h 55968"/>
                <a:gd name="connsiteX4" fmla="*/ 1799 w 14110"/>
                <a:gd name="connsiteY4" fmla="*/ 55968 h 55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10" h="55968">
                  <a:moveTo>
                    <a:pt x="1799" y="55968"/>
                  </a:moveTo>
                  <a:cubicBezTo>
                    <a:pt x="285" y="56076"/>
                    <a:pt x="-1447" y="42767"/>
                    <a:pt x="2016" y="26753"/>
                  </a:cubicBezTo>
                  <a:cubicBezTo>
                    <a:pt x="5370" y="10739"/>
                    <a:pt x="12512" y="-623"/>
                    <a:pt x="13810" y="26"/>
                  </a:cubicBezTo>
                  <a:cubicBezTo>
                    <a:pt x="15325" y="676"/>
                    <a:pt x="10780" y="12686"/>
                    <a:pt x="7534" y="27943"/>
                  </a:cubicBezTo>
                  <a:cubicBezTo>
                    <a:pt x="4180" y="43200"/>
                    <a:pt x="3422" y="55968"/>
                    <a:pt x="1799" y="5596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0D2DA899-86B3-477A-85D9-A3A3E1DD9B4A}"/>
                </a:ext>
              </a:extLst>
            </p:cNvPr>
            <p:cNvSpPr/>
            <p:nvPr/>
          </p:nvSpPr>
          <p:spPr>
            <a:xfrm flipH="1">
              <a:off x="5399088" y="5205043"/>
              <a:ext cx="24387" cy="47657"/>
            </a:xfrm>
            <a:custGeom>
              <a:avLst/>
              <a:gdLst>
                <a:gd name="connsiteX0" fmla="*/ 21832 w 22126"/>
                <a:gd name="connsiteY0" fmla="*/ 43206 h 43238"/>
                <a:gd name="connsiteX1" fmla="*/ 8523 w 22126"/>
                <a:gd name="connsiteY1" fmla="*/ 22864 h 43238"/>
                <a:gd name="connsiteX2" fmla="*/ 300 w 22126"/>
                <a:gd name="connsiteY2" fmla="*/ 33 h 43238"/>
                <a:gd name="connsiteX3" fmla="*/ 13609 w 22126"/>
                <a:gd name="connsiteY3" fmla="*/ 20375 h 43238"/>
                <a:gd name="connsiteX4" fmla="*/ 21832 w 22126"/>
                <a:gd name="connsiteY4" fmla="*/ 43206 h 4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26" h="43238">
                  <a:moveTo>
                    <a:pt x="21832" y="43206"/>
                  </a:moveTo>
                  <a:cubicBezTo>
                    <a:pt x="20426" y="43855"/>
                    <a:pt x="14474" y="34766"/>
                    <a:pt x="8523" y="22864"/>
                  </a:cubicBezTo>
                  <a:cubicBezTo>
                    <a:pt x="2572" y="10961"/>
                    <a:pt x="-1107" y="682"/>
                    <a:pt x="300" y="33"/>
                  </a:cubicBezTo>
                  <a:cubicBezTo>
                    <a:pt x="1706" y="-616"/>
                    <a:pt x="7658" y="8473"/>
                    <a:pt x="13609" y="20375"/>
                  </a:cubicBezTo>
                  <a:cubicBezTo>
                    <a:pt x="19452" y="32278"/>
                    <a:pt x="23239" y="42449"/>
                    <a:pt x="21832" y="4320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67ED4656-0460-45FC-ACCC-2D1C3C0711EE}"/>
                </a:ext>
              </a:extLst>
            </p:cNvPr>
            <p:cNvSpPr/>
            <p:nvPr/>
          </p:nvSpPr>
          <p:spPr>
            <a:xfrm flipH="1">
              <a:off x="5489747" y="5280543"/>
              <a:ext cx="26369" cy="57425"/>
            </a:xfrm>
            <a:custGeom>
              <a:avLst/>
              <a:gdLst>
                <a:gd name="connsiteX0" fmla="*/ 23648 w 23924"/>
                <a:gd name="connsiteY0" fmla="*/ 27 h 52100"/>
                <a:gd name="connsiteX1" fmla="*/ 14559 w 23924"/>
                <a:gd name="connsiteY1" fmla="*/ 27186 h 52100"/>
                <a:gd name="connsiteX2" fmla="*/ 276 w 23924"/>
                <a:gd name="connsiteY2" fmla="*/ 52073 h 52100"/>
                <a:gd name="connsiteX3" fmla="*/ 9365 w 23924"/>
                <a:gd name="connsiteY3" fmla="*/ 24914 h 52100"/>
                <a:gd name="connsiteX4" fmla="*/ 23648 w 23924"/>
                <a:gd name="connsiteY4" fmla="*/ 27 h 5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24" h="52100">
                  <a:moveTo>
                    <a:pt x="23648" y="27"/>
                  </a:moveTo>
                  <a:cubicBezTo>
                    <a:pt x="25055" y="676"/>
                    <a:pt x="20943" y="12795"/>
                    <a:pt x="14559" y="27186"/>
                  </a:cubicBezTo>
                  <a:cubicBezTo>
                    <a:pt x="8067" y="41577"/>
                    <a:pt x="1683" y="52722"/>
                    <a:pt x="276" y="52073"/>
                  </a:cubicBezTo>
                  <a:cubicBezTo>
                    <a:pt x="-1131" y="51424"/>
                    <a:pt x="2981" y="39305"/>
                    <a:pt x="9365" y="24914"/>
                  </a:cubicBezTo>
                  <a:cubicBezTo>
                    <a:pt x="15749" y="10523"/>
                    <a:pt x="22241" y="-622"/>
                    <a:pt x="23648" y="2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44EA9B2C-B9EE-44DE-9018-0123BFF6FAB3}"/>
                </a:ext>
              </a:extLst>
            </p:cNvPr>
            <p:cNvSpPr/>
            <p:nvPr/>
          </p:nvSpPr>
          <p:spPr>
            <a:xfrm flipH="1">
              <a:off x="5407403" y="5361364"/>
              <a:ext cx="69308" cy="12238"/>
            </a:xfrm>
            <a:custGeom>
              <a:avLst/>
              <a:gdLst>
                <a:gd name="connsiteX0" fmla="*/ 62882 w 62882"/>
                <a:gd name="connsiteY0" fmla="*/ 2117 h 11103"/>
                <a:gd name="connsiteX1" fmla="*/ 31503 w 62882"/>
                <a:gd name="connsiteY1" fmla="*/ 6770 h 11103"/>
                <a:gd name="connsiteX2" fmla="*/ 16 w 62882"/>
                <a:gd name="connsiteY2" fmla="*/ 10666 h 11103"/>
                <a:gd name="connsiteX3" fmla="*/ 30746 w 62882"/>
                <a:gd name="connsiteY3" fmla="*/ 1144 h 11103"/>
                <a:gd name="connsiteX4" fmla="*/ 62882 w 62882"/>
                <a:gd name="connsiteY4" fmla="*/ 2117 h 11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82" h="11103">
                  <a:moveTo>
                    <a:pt x="62882" y="2117"/>
                  </a:moveTo>
                  <a:cubicBezTo>
                    <a:pt x="62882" y="3740"/>
                    <a:pt x="48599" y="4390"/>
                    <a:pt x="31503" y="6770"/>
                  </a:cubicBezTo>
                  <a:cubicBezTo>
                    <a:pt x="14299" y="9043"/>
                    <a:pt x="449" y="12289"/>
                    <a:pt x="16" y="10666"/>
                  </a:cubicBezTo>
                  <a:cubicBezTo>
                    <a:pt x="-525" y="9259"/>
                    <a:pt x="13000" y="3524"/>
                    <a:pt x="30746" y="1144"/>
                  </a:cubicBezTo>
                  <a:cubicBezTo>
                    <a:pt x="48491" y="-1237"/>
                    <a:pt x="62990" y="603"/>
                    <a:pt x="62882" y="211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20EE69DC-0DC5-45C8-9DF1-2FACC046DA25}"/>
                </a:ext>
              </a:extLst>
            </p:cNvPr>
            <p:cNvSpPr/>
            <p:nvPr/>
          </p:nvSpPr>
          <p:spPr>
            <a:xfrm flipH="1">
              <a:off x="5860908" y="5205192"/>
              <a:ext cx="15006" cy="61433"/>
            </a:xfrm>
            <a:custGeom>
              <a:avLst/>
              <a:gdLst>
                <a:gd name="connsiteX0" fmla="*/ 13030 w 13615"/>
                <a:gd name="connsiteY0" fmla="*/ 55731 h 55737"/>
                <a:gd name="connsiteX1" fmla="*/ 4049 w 13615"/>
                <a:gd name="connsiteY1" fmla="*/ 28464 h 55737"/>
                <a:gd name="connsiteX2" fmla="*/ 586 w 13615"/>
                <a:gd name="connsiteY2" fmla="*/ 6 h 55737"/>
                <a:gd name="connsiteX3" fmla="*/ 9567 w 13615"/>
                <a:gd name="connsiteY3" fmla="*/ 27274 h 55737"/>
                <a:gd name="connsiteX4" fmla="*/ 13030 w 13615"/>
                <a:gd name="connsiteY4" fmla="*/ 55731 h 5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15" h="55737">
                  <a:moveTo>
                    <a:pt x="13030" y="55731"/>
                  </a:moveTo>
                  <a:cubicBezTo>
                    <a:pt x="11515" y="56056"/>
                    <a:pt x="7511" y="43829"/>
                    <a:pt x="4049" y="28464"/>
                  </a:cubicBezTo>
                  <a:cubicBezTo>
                    <a:pt x="586" y="13099"/>
                    <a:pt x="-929" y="331"/>
                    <a:pt x="586" y="6"/>
                  </a:cubicBezTo>
                  <a:cubicBezTo>
                    <a:pt x="2101" y="-318"/>
                    <a:pt x="6105" y="11908"/>
                    <a:pt x="9567" y="27274"/>
                  </a:cubicBezTo>
                  <a:cubicBezTo>
                    <a:pt x="13030" y="42638"/>
                    <a:pt x="14545" y="55407"/>
                    <a:pt x="13030" y="55731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33B52D85-EE64-4939-8551-0D34FB94C60A}"/>
                </a:ext>
              </a:extLst>
            </p:cNvPr>
            <p:cNvSpPr/>
            <p:nvPr/>
          </p:nvSpPr>
          <p:spPr>
            <a:xfrm flipH="1">
              <a:off x="5785528" y="5091810"/>
              <a:ext cx="41806" cy="9916"/>
            </a:xfrm>
            <a:custGeom>
              <a:avLst/>
              <a:gdLst>
                <a:gd name="connsiteX0" fmla="*/ 37880 w 37930"/>
                <a:gd name="connsiteY0" fmla="*/ 406 h 8997"/>
                <a:gd name="connsiteX1" fmla="*/ 19702 w 37930"/>
                <a:gd name="connsiteY1" fmla="*/ 8521 h 8997"/>
                <a:gd name="connsiteX2" fmla="*/ 9 w 37930"/>
                <a:gd name="connsiteY2" fmla="*/ 5708 h 8997"/>
                <a:gd name="connsiteX3" fmla="*/ 18836 w 37930"/>
                <a:gd name="connsiteY3" fmla="*/ 2895 h 8997"/>
                <a:gd name="connsiteX4" fmla="*/ 37880 w 37930"/>
                <a:gd name="connsiteY4" fmla="*/ 406 h 8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30" h="8997">
                  <a:moveTo>
                    <a:pt x="37880" y="406"/>
                  </a:moveTo>
                  <a:cubicBezTo>
                    <a:pt x="38637" y="1704"/>
                    <a:pt x="30847" y="7006"/>
                    <a:pt x="19702" y="8521"/>
                  </a:cubicBezTo>
                  <a:cubicBezTo>
                    <a:pt x="8557" y="10144"/>
                    <a:pt x="-316" y="7223"/>
                    <a:pt x="9" y="5708"/>
                  </a:cubicBezTo>
                  <a:cubicBezTo>
                    <a:pt x="225" y="4085"/>
                    <a:pt x="8773" y="4410"/>
                    <a:pt x="18836" y="2895"/>
                  </a:cubicBezTo>
                  <a:cubicBezTo>
                    <a:pt x="29116" y="1596"/>
                    <a:pt x="37123" y="-1001"/>
                    <a:pt x="37880" y="40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1A824B37-54CB-4C20-87C4-934BD6C4D81C}"/>
                </a:ext>
              </a:extLst>
            </p:cNvPr>
            <p:cNvSpPr/>
            <p:nvPr/>
          </p:nvSpPr>
          <p:spPr>
            <a:xfrm flipH="1">
              <a:off x="5865000" y="5398667"/>
              <a:ext cx="63352" cy="20701"/>
            </a:xfrm>
            <a:custGeom>
              <a:avLst/>
              <a:gdLst>
                <a:gd name="connsiteX0" fmla="*/ 11 w 57478"/>
                <a:gd name="connsiteY0" fmla="*/ 18372 h 18782"/>
                <a:gd name="connsiteX1" fmla="*/ 27928 w 57478"/>
                <a:gd name="connsiteY1" fmla="*/ 6686 h 18782"/>
                <a:gd name="connsiteX2" fmla="*/ 57467 w 57478"/>
                <a:gd name="connsiteY2" fmla="*/ 410 h 18782"/>
                <a:gd name="connsiteX3" fmla="*/ 29551 w 57478"/>
                <a:gd name="connsiteY3" fmla="*/ 12096 h 18782"/>
                <a:gd name="connsiteX4" fmla="*/ 11 w 57478"/>
                <a:gd name="connsiteY4" fmla="*/ 18372 h 18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78" h="18782">
                  <a:moveTo>
                    <a:pt x="11" y="18372"/>
                  </a:moveTo>
                  <a:cubicBezTo>
                    <a:pt x="-422" y="16857"/>
                    <a:pt x="12022" y="11663"/>
                    <a:pt x="27928" y="6686"/>
                  </a:cubicBezTo>
                  <a:cubicBezTo>
                    <a:pt x="43834" y="1708"/>
                    <a:pt x="57035" y="-1105"/>
                    <a:pt x="57467" y="410"/>
                  </a:cubicBezTo>
                  <a:cubicBezTo>
                    <a:pt x="57900" y="1925"/>
                    <a:pt x="45457" y="7119"/>
                    <a:pt x="29551" y="12096"/>
                  </a:cubicBezTo>
                  <a:cubicBezTo>
                    <a:pt x="13753" y="17074"/>
                    <a:pt x="552" y="19887"/>
                    <a:pt x="11" y="18372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F1058D6C-41DF-40D6-AA4C-DF68C92F5BA9}"/>
                </a:ext>
              </a:extLst>
            </p:cNvPr>
            <p:cNvSpPr/>
            <p:nvPr/>
          </p:nvSpPr>
          <p:spPr>
            <a:xfrm flipH="1">
              <a:off x="5976835" y="5478427"/>
              <a:ext cx="8677" cy="67384"/>
            </a:xfrm>
            <a:custGeom>
              <a:avLst/>
              <a:gdLst>
                <a:gd name="connsiteX0" fmla="*/ 6641 w 7872"/>
                <a:gd name="connsiteY0" fmla="*/ 61136 h 61136"/>
                <a:gd name="connsiteX1" fmla="*/ 1123 w 7872"/>
                <a:gd name="connsiteY1" fmla="*/ 30839 h 61136"/>
                <a:gd name="connsiteX2" fmla="*/ 1231 w 7872"/>
                <a:gd name="connsiteY2" fmla="*/ 1 h 61136"/>
                <a:gd name="connsiteX3" fmla="*/ 6750 w 7872"/>
                <a:gd name="connsiteY3" fmla="*/ 30298 h 61136"/>
                <a:gd name="connsiteX4" fmla="*/ 6641 w 7872"/>
                <a:gd name="connsiteY4" fmla="*/ 61136 h 6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2" h="61136">
                  <a:moveTo>
                    <a:pt x="6641" y="61136"/>
                  </a:moveTo>
                  <a:cubicBezTo>
                    <a:pt x="5127" y="61244"/>
                    <a:pt x="2638" y="47719"/>
                    <a:pt x="1123" y="30839"/>
                  </a:cubicBezTo>
                  <a:cubicBezTo>
                    <a:pt x="-392" y="13959"/>
                    <a:pt x="-392" y="217"/>
                    <a:pt x="1231" y="1"/>
                  </a:cubicBezTo>
                  <a:cubicBezTo>
                    <a:pt x="2746" y="-107"/>
                    <a:pt x="5235" y="13418"/>
                    <a:pt x="6750" y="30298"/>
                  </a:cubicBezTo>
                  <a:cubicBezTo>
                    <a:pt x="8264" y="47178"/>
                    <a:pt x="8264" y="61028"/>
                    <a:pt x="6641" y="6113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0D5478F9-3448-47CF-88E8-9F9525F70D70}"/>
                </a:ext>
              </a:extLst>
            </p:cNvPr>
            <p:cNvSpPr/>
            <p:nvPr/>
          </p:nvSpPr>
          <p:spPr>
            <a:xfrm flipH="1">
              <a:off x="5899639" y="5621510"/>
              <a:ext cx="40109" cy="71264"/>
            </a:xfrm>
            <a:custGeom>
              <a:avLst/>
              <a:gdLst>
                <a:gd name="connsiteX0" fmla="*/ 179 w 36390"/>
                <a:gd name="connsiteY0" fmla="*/ 64627 h 64656"/>
                <a:gd name="connsiteX1" fmla="*/ 15761 w 36390"/>
                <a:gd name="connsiteY1" fmla="*/ 30976 h 64656"/>
                <a:gd name="connsiteX2" fmla="*/ 36211 w 36390"/>
                <a:gd name="connsiteY2" fmla="*/ 30 h 64656"/>
                <a:gd name="connsiteX3" fmla="*/ 20630 w 36390"/>
                <a:gd name="connsiteY3" fmla="*/ 33681 h 64656"/>
                <a:gd name="connsiteX4" fmla="*/ 179 w 36390"/>
                <a:gd name="connsiteY4" fmla="*/ 64627 h 6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390" h="64656">
                  <a:moveTo>
                    <a:pt x="179" y="64627"/>
                  </a:moveTo>
                  <a:cubicBezTo>
                    <a:pt x="-1227" y="63870"/>
                    <a:pt x="5806" y="48830"/>
                    <a:pt x="15761" y="30976"/>
                  </a:cubicBezTo>
                  <a:cubicBezTo>
                    <a:pt x="25715" y="13123"/>
                    <a:pt x="34913" y="-728"/>
                    <a:pt x="36211" y="30"/>
                  </a:cubicBezTo>
                  <a:cubicBezTo>
                    <a:pt x="37618" y="787"/>
                    <a:pt x="30585" y="15828"/>
                    <a:pt x="20630" y="33681"/>
                  </a:cubicBezTo>
                  <a:cubicBezTo>
                    <a:pt x="10675" y="51427"/>
                    <a:pt x="1478" y="65385"/>
                    <a:pt x="179" y="6462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2CB45D3A-2DCF-45E5-A661-24803BFF8B38}"/>
                </a:ext>
              </a:extLst>
            </p:cNvPr>
            <p:cNvSpPr/>
            <p:nvPr/>
          </p:nvSpPr>
          <p:spPr>
            <a:xfrm flipH="1">
              <a:off x="6015685" y="5666971"/>
              <a:ext cx="21147" cy="69194"/>
            </a:xfrm>
            <a:custGeom>
              <a:avLst/>
              <a:gdLst>
                <a:gd name="connsiteX0" fmla="*/ 18795 w 19186"/>
                <a:gd name="connsiteY0" fmla="*/ 62768 h 62778"/>
                <a:gd name="connsiteX1" fmla="*/ 6892 w 19186"/>
                <a:gd name="connsiteY1" fmla="*/ 32146 h 62778"/>
                <a:gd name="connsiteX2" fmla="*/ 400 w 19186"/>
                <a:gd name="connsiteY2" fmla="*/ 10 h 62778"/>
                <a:gd name="connsiteX3" fmla="*/ 12302 w 19186"/>
                <a:gd name="connsiteY3" fmla="*/ 30632 h 62778"/>
                <a:gd name="connsiteX4" fmla="*/ 18795 w 19186"/>
                <a:gd name="connsiteY4" fmla="*/ 62768 h 6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86" h="62778">
                  <a:moveTo>
                    <a:pt x="18795" y="62768"/>
                  </a:moveTo>
                  <a:cubicBezTo>
                    <a:pt x="17280" y="63201"/>
                    <a:pt x="11978" y="49567"/>
                    <a:pt x="6892" y="32146"/>
                  </a:cubicBezTo>
                  <a:cubicBezTo>
                    <a:pt x="1807" y="14834"/>
                    <a:pt x="-1115" y="443"/>
                    <a:pt x="400" y="10"/>
                  </a:cubicBezTo>
                  <a:cubicBezTo>
                    <a:pt x="1915" y="-423"/>
                    <a:pt x="7217" y="13211"/>
                    <a:pt x="12302" y="30632"/>
                  </a:cubicBezTo>
                  <a:cubicBezTo>
                    <a:pt x="17280" y="47944"/>
                    <a:pt x="20310" y="62335"/>
                    <a:pt x="18795" y="6276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DF4BCD4A-383D-4DEA-8AD5-172F8F5C6FCB}"/>
                </a:ext>
              </a:extLst>
            </p:cNvPr>
            <p:cNvSpPr/>
            <p:nvPr/>
          </p:nvSpPr>
          <p:spPr>
            <a:xfrm flipH="1">
              <a:off x="5857001" y="5783151"/>
              <a:ext cx="55553" cy="32238"/>
            </a:xfrm>
            <a:custGeom>
              <a:avLst/>
              <a:gdLst>
                <a:gd name="connsiteX0" fmla="*/ 50384 w 50402"/>
                <a:gd name="connsiteY0" fmla="*/ 318 h 29249"/>
                <a:gd name="connsiteX1" fmla="*/ 25497 w 50402"/>
                <a:gd name="connsiteY1" fmla="*/ 15250 h 29249"/>
                <a:gd name="connsiteX2" fmla="*/ 69 w 50402"/>
                <a:gd name="connsiteY2" fmla="*/ 29100 h 29249"/>
                <a:gd name="connsiteX3" fmla="*/ 22684 w 50402"/>
                <a:gd name="connsiteY3" fmla="*/ 10381 h 29249"/>
                <a:gd name="connsiteX4" fmla="*/ 50384 w 50402"/>
                <a:gd name="connsiteY4" fmla="*/ 318 h 29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02" h="29249">
                  <a:moveTo>
                    <a:pt x="50384" y="318"/>
                  </a:moveTo>
                  <a:cubicBezTo>
                    <a:pt x="50925" y="1833"/>
                    <a:pt x="39239" y="7351"/>
                    <a:pt x="25497" y="15250"/>
                  </a:cubicBezTo>
                  <a:cubicBezTo>
                    <a:pt x="11755" y="23041"/>
                    <a:pt x="1043" y="30399"/>
                    <a:pt x="69" y="29100"/>
                  </a:cubicBezTo>
                  <a:cubicBezTo>
                    <a:pt x="-905" y="28018"/>
                    <a:pt x="8509" y="18388"/>
                    <a:pt x="22684" y="10381"/>
                  </a:cubicBezTo>
                  <a:cubicBezTo>
                    <a:pt x="36967" y="2157"/>
                    <a:pt x="49951" y="-1089"/>
                    <a:pt x="50384" y="31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8937EF61-0BB7-474B-94CC-F2E1050A06BD}"/>
                </a:ext>
              </a:extLst>
            </p:cNvPr>
            <p:cNvSpPr/>
            <p:nvPr/>
          </p:nvSpPr>
          <p:spPr>
            <a:xfrm flipH="1">
              <a:off x="5736786" y="4906088"/>
              <a:ext cx="8386" cy="65357"/>
            </a:xfrm>
            <a:custGeom>
              <a:avLst/>
              <a:gdLst>
                <a:gd name="connsiteX0" fmla="*/ 1207 w 7608"/>
                <a:gd name="connsiteY0" fmla="*/ 59297 h 59297"/>
                <a:gd name="connsiteX1" fmla="*/ 991 w 7608"/>
                <a:gd name="connsiteY1" fmla="*/ 29432 h 59297"/>
                <a:gd name="connsiteX2" fmla="*/ 6401 w 7608"/>
                <a:gd name="connsiteY2" fmla="*/ 1 h 59297"/>
                <a:gd name="connsiteX3" fmla="*/ 6617 w 7608"/>
                <a:gd name="connsiteY3" fmla="*/ 29865 h 59297"/>
                <a:gd name="connsiteX4" fmla="*/ 1207 w 7608"/>
                <a:gd name="connsiteY4" fmla="*/ 59297 h 5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08" h="59297">
                  <a:moveTo>
                    <a:pt x="1207" y="59297"/>
                  </a:moveTo>
                  <a:cubicBezTo>
                    <a:pt x="-308" y="59188"/>
                    <a:pt x="-416" y="45771"/>
                    <a:pt x="991" y="29432"/>
                  </a:cubicBezTo>
                  <a:cubicBezTo>
                    <a:pt x="2397" y="13093"/>
                    <a:pt x="4778" y="-107"/>
                    <a:pt x="6401" y="1"/>
                  </a:cubicBezTo>
                  <a:cubicBezTo>
                    <a:pt x="7916" y="109"/>
                    <a:pt x="8024" y="13526"/>
                    <a:pt x="6617" y="29865"/>
                  </a:cubicBezTo>
                  <a:cubicBezTo>
                    <a:pt x="5102" y="46204"/>
                    <a:pt x="2722" y="59405"/>
                    <a:pt x="1207" y="59297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4BD96E5B-7BE3-4158-8BE6-6E961E3D8FE9}"/>
                </a:ext>
              </a:extLst>
            </p:cNvPr>
            <p:cNvSpPr/>
            <p:nvPr/>
          </p:nvSpPr>
          <p:spPr>
            <a:xfrm flipH="1">
              <a:off x="5586604" y="4751498"/>
              <a:ext cx="9879" cy="27722"/>
            </a:xfrm>
            <a:custGeom>
              <a:avLst/>
              <a:gdLst>
                <a:gd name="connsiteX0" fmla="*/ 8052 w 8963"/>
                <a:gd name="connsiteY0" fmla="*/ 25128 h 25152"/>
                <a:gd name="connsiteX1" fmla="*/ 1777 w 8963"/>
                <a:gd name="connsiteY1" fmla="*/ 13334 h 25152"/>
                <a:gd name="connsiteX2" fmla="*/ 911 w 8963"/>
                <a:gd name="connsiteY2" fmla="*/ 25 h 25152"/>
                <a:gd name="connsiteX3" fmla="*/ 7187 w 8963"/>
                <a:gd name="connsiteY3" fmla="*/ 11819 h 25152"/>
                <a:gd name="connsiteX4" fmla="*/ 8052 w 8963"/>
                <a:gd name="connsiteY4" fmla="*/ 25128 h 25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3" h="25152">
                  <a:moveTo>
                    <a:pt x="8052" y="25128"/>
                  </a:moveTo>
                  <a:cubicBezTo>
                    <a:pt x="6538" y="25561"/>
                    <a:pt x="3724" y="20259"/>
                    <a:pt x="1777" y="13334"/>
                  </a:cubicBezTo>
                  <a:cubicBezTo>
                    <a:pt x="-171" y="6409"/>
                    <a:pt x="-604" y="457"/>
                    <a:pt x="911" y="25"/>
                  </a:cubicBezTo>
                  <a:cubicBezTo>
                    <a:pt x="2426" y="-408"/>
                    <a:pt x="5239" y="4894"/>
                    <a:pt x="7187" y="11819"/>
                  </a:cubicBezTo>
                  <a:cubicBezTo>
                    <a:pt x="9134" y="18744"/>
                    <a:pt x="9567" y="24695"/>
                    <a:pt x="8052" y="2512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48930E9E-4265-4D7F-A8DE-7CFEAA6D7A61}"/>
                </a:ext>
              </a:extLst>
            </p:cNvPr>
            <p:cNvSpPr/>
            <p:nvPr/>
          </p:nvSpPr>
          <p:spPr>
            <a:xfrm flipH="1">
              <a:off x="5464765" y="4785193"/>
              <a:ext cx="53614" cy="22615"/>
            </a:xfrm>
            <a:custGeom>
              <a:avLst/>
              <a:gdLst>
                <a:gd name="connsiteX0" fmla="*/ 48641 w 48643"/>
                <a:gd name="connsiteY0" fmla="*/ 19768 h 20518"/>
                <a:gd name="connsiteX1" fmla="*/ 22239 w 48643"/>
                <a:gd name="connsiteY1" fmla="*/ 15224 h 20518"/>
                <a:gd name="connsiteX2" fmla="*/ 57 w 48643"/>
                <a:gd name="connsiteY2" fmla="*/ 183 h 20518"/>
                <a:gd name="connsiteX3" fmla="*/ 24295 w 48643"/>
                <a:gd name="connsiteY3" fmla="*/ 10030 h 20518"/>
                <a:gd name="connsiteX4" fmla="*/ 48641 w 48643"/>
                <a:gd name="connsiteY4" fmla="*/ 19768 h 2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43" h="20518">
                  <a:moveTo>
                    <a:pt x="48641" y="19768"/>
                  </a:moveTo>
                  <a:cubicBezTo>
                    <a:pt x="48532" y="21283"/>
                    <a:pt x="36089" y="20850"/>
                    <a:pt x="22239" y="15224"/>
                  </a:cubicBezTo>
                  <a:cubicBezTo>
                    <a:pt x="8280" y="9597"/>
                    <a:pt x="-809" y="1265"/>
                    <a:pt x="57" y="183"/>
                  </a:cubicBezTo>
                  <a:cubicBezTo>
                    <a:pt x="1031" y="-1115"/>
                    <a:pt x="11094" y="4728"/>
                    <a:pt x="24295" y="10030"/>
                  </a:cubicBezTo>
                  <a:cubicBezTo>
                    <a:pt x="37496" y="15332"/>
                    <a:pt x="48857" y="18145"/>
                    <a:pt x="48641" y="1976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5DFDEF5F-AFEE-47B0-8CC6-92537C870502}"/>
                </a:ext>
              </a:extLst>
            </p:cNvPr>
            <p:cNvSpPr/>
            <p:nvPr/>
          </p:nvSpPr>
          <p:spPr>
            <a:xfrm flipH="1">
              <a:off x="5363551" y="4832581"/>
              <a:ext cx="39801" cy="16875"/>
            </a:xfrm>
            <a:custGeom>
              <a:avLst/>
              <a:gdLst>
                <a:gd name="connsiteX0" fmla="*/ 36036 w 36111"/>
                <a:gd name="connsiteY0" fmla="*/ 255 h 15310"/>
                <a:gd name="connsiteX1" fmla="*/ 19806 w 36111"/>
                <a:gd name="connsiteY1" fmla="*/ 11833 h 15310"/>
                <a:gd name="connsiteX2" fmla="*/ 4 w 36111"/>
                <a:gd name="connsiteY2" fmla="*/ 14430 h 15310"/>
                <a:gd name="connsiteX3" fmla="*/ 17750 w 36111"/>
                <a:gd name="connsiteY3" fmla="*/ 6639 h 15310"/>
                <a:gd name="connsiteX4" fmla="*/ 36036 w 36111"/>
                <a:gd name="connsiteY4" fmla="*/ 255 h 1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11" h="15310">
                  <a:moveTo>
                    <a:pt x="36036" y="255"/>
                  </a:moveTo>
                  <a:cubicBezTo>
                    <a:pt x="36902" y="1445"/>
                    <a:pt x="30193" y="7829"/>
                    <a:pt x="19806" y="11833"/>
                  </a:cubicBezTo>
                  <a:cubicBezTo>
                    <a:pt x="9418" y="15944"/>
                    <a:pt x="221" y="15836"/>
                    <a:pt x="4" y="14430"/>
                  </a:cubicBezTo>
                  <a:cubicBezTo>
                    <a:pt x="-212" y="12807"/>
                    <a:pt x="8011" y="10534"/>
                    <a:pt x="17750" y="6639"/>
                  </a:cubicBezTo>
                  <a:cubicBezTo>
                    <a:pt x="27380" y="2852"/>
                    <a:pt x="35062" y="-1043"/>
                    <a:pt x="36036" y="255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C05C6F58-A9BB-4F3C-9A5B-D7EF0C816E15}"/>
                </a:ext>
              </a:extLst>
            </p:cNvPr>
            <p:cNvSpPr/>
            <p:nvPr/>
          </p:nvSpPr>
          <p:spPr>
            <a:xfrm flipH="1">
              <a:off x="5216963" y="4921776"/>
              <a:ext cx="32018" cy="35954"/>
            </a:xfrm>
            <a:custGeom>
              <a:avLst/>
              <a:gdLst>
                <a:gd name="connsiteX0" fmla="*/ 70 w 29049"/>
                <a:gd name="connsiteY0" fmla="*/ 32403 h 32620"/>
                <a:gd name="connsiteX1" fmla="*/ 14137 w 29049"/>
                <a:gd name="connsiteY1" fmla="*/ 15956 h 32620"/>
                <a:gd name="connsiteX2" fmla="*/ 28745 w 29049"/>
                <a:gd name="connsiteY2" fmla="*/ 50 h 32620"/>
                <a:gd name="connsiteX3" fmla="*/ 18357 w 29049"/>
                <a:gd name="connsiteY3" fmla="*/ 19743 h 32620"/>
                <a:gd name="connsiteX4" fmla="*/ 70 w 29049"/>
                <a:gd name="connsiteY4" fmla="*/ 32403 h 3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049" h="32620">
                  <a:moveTo>
                    <a:pt x="70" y="32403"/>
                  </a:moveTo>
                  <a:cubicBezTo>
                    <a:pt x="-795" y="31104"/>
                    <a:pt x="6455" y="24720"/>
                    <a:pt x="14137" y="15956"/>
                  </a:cubicBezTo>
                  <a:cubicBezTo>
                    <a:pt x="21928" y="7299"/>
                    <a:pt x="27338" y="-708"/>
                    <a:pt x="28745" y="50"/>
                  </a:cubicBezTo>
                  <a:cubicBezTo>
                    <a:pt x="30151" y="699"/>
                    <a:pt x="26689" y="10437"/>
                    <a:pt x="18357" y="19743"/>
                  </a:cubicBezTo>
                  <a:cubicBezTo>
                    <a:pt x="10133" y="29157"/>
                    <a:pt x="828" y="33701"/>
                    <a:pt x="70" y="32403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7B8EA15A-53B1-4B51-87EB-41722CA5FDD0}"/>
                </a:ext>
              </a:extLst>
            </p:cNvPr>
            <p:cNvSpPr/>
            <p:nvPr/>
          </p:nvSpPr>
          <p:spPr>
            <a:xfrm flipH="1">
              <a:off x="5159845" y="5028722"/>
              <a:ext cx="53487" cy="53845"/>
            </a:xfrm>
            <a:custGeom>
              <a:avLst/>
              <a:gdLst>
                <a:gd name="connsiteX0" fmla="*/ 48448 w 48528"/>
                <a:gd name="connsiteY0" fmla="*/ 48772 h 48852"/>
                <a:gd name="connsiteX1" fmla="*/ 22262 w 48528"/>
                <a:gd name="connsiteY1" fmla="*/ 26374 h 48852"/>
                <a:gd name="connsiteX2" fmla="*/ 80 w 48528"/>
                <a:gd name="connsiteY2" fmla="*/ 80 h 48852"/>
                <a:gd name="connsiteX3" fmla="*/ 26266 w 48528"/>
                <a:gd name="connsiteY3" fmla="*/ 22479 h 48852"/>
                <a:gd name="connsiteX4" fmla="*/ 48448 w 48528"/>
                <a:gd name="connsiteY4" fmla="*/ 48772 h 4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28" h="48852">
                  <a:moveTo>
                    <a:pt x="48448" y="48772"/>
                  </a:moveTo>
                  <a:cubicBezTo>
                    <a:pt x="47366" y="49854"/>
                    <a:pt x="35571" y="39899"/>
                    <a:pt x="22262" y="26374"/>
                  </a:cubicBezTo>
                  <a:cubicBezTo>
                    <a:pt x="8953" y="12957"/>
                    <a:pt x="-1001" y="1163"/>
                    <a:pt x="80" y="80"/>
                  </a:cubicBezTo>
                  <a:cubicBezTo>
                    <a:pt x="1163" y="-1002"/>
                    <a:pt x="12957" y="8953"/>
                    <a:pt x="26266" y="22479"/>
                  </a:cubicBezTo>
                  <a:cubicBezTo>
                    <a:pt x="39575" y="35896"/>
                    <a:pt x="49530" y="47690"/>
                    <a:pt x="48448" y="48772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6464572D-68B9-42BF-A809-17BDB9F99619}"/>
                </a:ext>
              </a:extLst>
            </p:cNvPr>
            <p:cNvSpPr/>
            <p:nvPr/>
          </p:nvSpPr>
          <p:spPr>
            <a:xfrm flipH="1">
              <a:off x="5094153" y="4955530"/>
              <a:ext cx="36391" cy="57220"/>
            </a:xfrm>
            <a:custGeom>
              <a:avLst/>
              <a:gdLst>
                <a:gd name="connsiteX0" fmla="*/ 32848 w 33017"/>
                <a:gd name="connsiteY0" fmla="*/ 48 h 51914"/>
                <a:gd name="connsiteX1" fmla="*/ 18890 w 33017"/>
                <a:gd name="connsiteY1" fmla="*/ 27424 h 51914"/>
                <a:gd name="connsiteX2" fmla="*/ 170 w 33017"/>
                <a:gd name="connsiteY2" fmla="*/ 51878 h 51914"/>
                <a:gd name="connsiteX3" fmla="*/ 14129 w 33017"/>
                <a:gd name="connsiteY3" fmla="*/ 24502 h 51914"/>
                <a:gd name="connsiteX4" fmla="*/ 32848 w 33017"/>
                <a:gd name="connsiteY4" fmla="*/ 48 h 5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17" h="51914">
                  <a:moveTo>
                    <a:pt x="32848" y="48"/>
                  </a:moveTo>
                  <a:cubicBezTo>
                    <a:pt x="34146" y="914"/>
                    <a:pt x="27870" y="13141"/>
                    <a:pt x="18890" y="27424"/>
                  </a:cubicBezTo>
                  <a:cubicBezTo>
                    <a:pt x="9800" y="41707"/>
                    <a:pt x="1469" y="52635"/>
                    <a:pt x="170" y="51878"/>
                  </a:cubicBezTo>
                  <a:cubicBezTo>
                    <a:pt x="-1128" y="51012"/>
                    <a:pt x="5148" y="38785"/>
                    <a:pt x="14129" y="24502"/>
                  </a:cubicBezTo>
                  <a:cubicBezTo>
                    <a:pt x="23218" y="10111"/>
                    <a:pt x="31549" y="-817"/>
                    <a:pt x="32848" y="4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EEC5785D-89D7-44A0-BB86-E0BF399281E2}"/>
                </a:ext>
              </a:extLst>
            </p:cNvPr>
            <p:cNvSpPr/>
            <p:nvPr/>
          </p:nvSpPr>
          <p:spPr>
            <a:xfrm flipH="1">
              <a:off x="4989129" y="5038763"/>
              <a:ext cx="20873" cy="35670"/>
            </a:xfrm>
            <a:custGeom>
              <a:avLst/>
              <a:gdLst>
                <a:gd name="connsiteX0" fmla="*/ 18594 w 18938"/>
                <a:gd name="connsiteY0" fmla="*/ 32304 h 32363"/>
                <a:gd name="connsiteX1" fmla="*/ 7016 w 18938"/>
                <a:gd name="connsiteY1" fmla="*/ 17588 h 32363"/>
                <a:gd name="connsiteX2" fmla="*/ 308 w 18938"/>
                <a:gd name="connsiteY2" fmla="*/ 59 h 32363"/>
                <a:gd name="connsiteX3" fmla="*/ 11885 w 18938"/>
                <a:gd name="connsiteY3" fmla="*/ 14775 h 32363"/>
                <a:gd name="connsiteX4" fmla="*/ 18594 w 18938"/>
                <a:gd name="connsiteY4" fmla="*/ 32304 h 32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38" h="32363">
                  <a:moveTo>
                    <a:pt x="18594" y="32304"/>
                  </a:moveTo>
                  <a:cubicBezTo>
                    <a:pt x="17187" y="33061"/>
                    <a:pt x="12102" y="26461"/>
                    <a:pt x="7016" y="17588"/>
                  </a:cubicBezTo>
                  <a:cubicBezTo>
                    <a:pt x="1931" y="8715"/>
                    <a:pt x="-991" y="925"/>
                    <a:pt x="308" y="59"/>
                  </a:cubicBezTo>
                  <a:cubicBezTo>
                    <a:pt x="1714" y="-698"/>
                    <a:pt x="6800" y="5902"/>
                    <a:pt x="11885" y="14775"/>
                  </a:cubicBezTo>
                  <a:cubicBezTo>
                    <a:pt x="16971" y="23756"/>
                    <a:pt x="20001" y="31547"/>
                    <a:pt x="18594" y="32304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B1E9D62B-6B9A-4237-BE70-8A743435956E}"/>
                </a:ext>
              </a:extLst>
            </p:cNvPr>
            <p:cNvSpPr/>
            <p:nvPr/>
          </p:nvSpPr>
          <p:spPr>
            <a:xfrm flipH="1">
              <a:off x="4973433" y="4902051"/>
              <a:ext cx="20579" cy="29899"/>
            </a:xfrm>
            <a:custGeom>
              <a:avLst/>
              <a:gdLst>
                <a:gd name="connsiteX0" fmla="*/ 18371 w 18671"/>
                <a:gd name="connsiteY0" fmla="*/ 27035 h 27127"/>
                <a:gd name="connsiteX1" fmla="*/ 7009 w 18671"/>
                <a:gd name="connsiteY1" fmla="*/ 15133 h 27127"/>
                <a:gd name="connsiteX2" fmla="*/ 301 w 18671"/>
                <a:gd name="connsiteY2" fmla="*/ 93 h 27127"/>
                <a:gd name="connsiteX3" fmla="*/ 11662 w 18671"/>
                <a:gd name="connsiteY3" fmla="*/ 11995 h 27127"/>
                <a:gd name="connsiteX4" fmla="*/ 18371 w 18671"/>
                <a:gd name="connsiteY4" fmla="*/ 27035 h 2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71" h="27127">
                  <a:moveTo>
                    <a:pt x="18371" y="27035"/>
                  </a:moveTo>
                  <a:cubicBezTo>
                    <a:pt x="17072" y="27901"/>
                    <a:pt x="11987" y="22599"/>
                    <a:pt x="7009" y="15133"/>
                  </a:cubicBezTo>
                  <a:cubicBezTo>
                    <a:pt x="2032" y="7667"/>
                    <a:pt x="-998" y="958"/>
                    <a:pt x="301" y="93"/>
                  </a:cubicBezTo>
                  <a:cubicBezTo>
                    <a:pt x="1599" y="-773"/>
                    <a:pt x="6685" y="4529"/>
                    <a:pt x="11662" y="11995"/>
                  </a:cubicBezTo>
                  <a:cubicBezTo>
                    <a:pt x="16639" y="19461"/>
                    <a:pt x="19669" y="26170"/>
                    <a:pt x="18371" y="27035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79BC3628-3690-40A0-83B6-C449235BECE2}"/>
                </a:ext>
              </a:extLst>
            </p:cNvPr>
            <p:cNvSpPr/>
            <p:nvPr/>
          </p:nvSpPr>
          <p:spPr>
            <a:xfrm flipH="1">
              <a:off x="4867485" y="5033659"/>
              <a:ext cx="34741" cy="35119"/>
            </a:xfrm>
            <a:custGeom>
              <a:avLst/>
              <a:gdLst>
                <a:gd name="connsiteX0" fmla="*/ 31396 w 31520"/>
                <a:gd name="connsiteY0" fmla="*/ 145 h 31863"/>
                <a:gd name="connsiteX1" fmla="*/ 17762 w 31520"/>
                <a:gd name="connsiteY1" fmla="*/ 17891 h 31863"/>
                <a:gd name="connsiteX2" fmla="*/ 125 w 31520"/>
                <a:gd name="connsiteY2" fmla="*/ 31741 h 31863"/>
                <a:gd name="connsiteX3" fmla="*/ 13759 w 31520"/>
                <a:gd name="connsiteY3" fmla="*/ 13995 h 31863"/>
                <a:gd name="connsiteX4" fmla="*/ 31396 w 31520"/>
                <a:gd name="connsiteY4" fmla="*/ 145 h 3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20" h="31863">
                  <a:moveTo>
                    <a:pt x="31396" y="145"/>
                  </a:moveTo>
                  <a:cubicBezTo>
                    <a:pt x="32478" y="1227"/>
                    <a:pt x="26419" y="9234"/>
                    <a:pt x="17762" y="17891"/>
                  </a:cubicBezTo>
                  <a:cubicBezTo>
                    <a:pt x="9106" y="26655"/>
                    <a:pt x="1207" y="32823"/>
                    <a:pt x="125" y="31741"/>
                  </a:cubicBezTo>
                  <a:cubicBezTo>
                    <a:pt x="-957" y="30659"/>
                    <a:pt x="5102" y="22652"/>
                    <a:pt x="13759" y="13995"/>
                  </a:cubicBezTo>
                  <a:cubicBezTo>
                    <a:pt x="22415" y="5231"/>
                    <a:pt x="30314" y="-1045"/>
                    <a:pt x="31396" y="145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46F72F59-8C59-4894-A72B-5C7194A76EAF}"/>
                </a:ext>
              </a:extLst>
            </p:cNvPr>
            <p:cNvSpPr/>
            <p:nvPr/>
          </p:nvSpPr>
          <p:spPr>
            <a:xfrm flipH="1">
              <a:off x="4868690" y="4975618"/>
              <a:ext cx="43539" cy="8589"/>
            </a:xfrm>
            <a:custGeom>
              <a:avLst/>
              <a:gdLst>
                <a:gd name="connsiteX0" fmla="*/ 39498 w 39502"/>
                <a:gd name="connsiteY0" fmla="*/ 1192 h 7793"/>
                <a:gd name="connsiteX1" fmla="*/ 20130 w 39502"/>
                <a:gd name="connsiteY1" fmla="*/ 6710 h 7793"/>
                <a:gd name="connsiteX2" fmla="*/ 4 w 39502"/>
                <a:gd name="connsiteY2" fmla="*/ 6602 h 7793"/>
                <a:gd name="connsiteX3" fmla="*/ 19372 w 39502"/>
                <a:gd name="connsiteY3" fmla="*/ 1083 h 7793"/>
                <a:gd name="connsiteX4" fmla="*/ 39498 w 39502"/>
                <a:gd name="connsiteY4" fmla="*/ 1192 h 7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02" h="7793">
                  <a:moveTo>
                    <a:pt x="39498" y="1192"/>
                  </a:moveTo>
                  <a:cubicBezTo>
                    <a:pt x="39715" y="2707"/>
                    <a:pt x="31058" y="5195"/>
                    <a:pt x="20130" y="6710"/>
                  </a:cubicBezTo>
                  <a:cubicBezTo>
                    <a:pt x="9201" y="8225"/>
                    <a:pt x="220" y="8117"/>
                    <a:pt x="4" y="6602"/>
                  </a:cubicBezTo>
                  <a:cubicBezTo>
                    <a:pt x="-212" y="5087"/>
                    <a:pt x="8444" y="2598"/>
                    <a:pt x="19372" y="1083"/>
                  </a:cubicBezTo>
                  <a:cubicBezTo>
                    <a:pt x="30301" y="-431"/>
                    <a:pt x="39282" y="-323"/>
                    <a:pt x="39498" y="1192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0039F0B1-6281-4EE6-8197-E05A968894E7}"/>
                </a:ext>
              </a:extLst>
            </p:cNvPr>
            <p:cNvSpPr/>
            <p:nvPr/>
          </p:nvSpPr>
          <p:spPr>
            <a:xfrm flipH="1">
              <a:off x="4814589" y="4868101"/>
              <a:ext cx="33914" cy="49617"/>
            </a:xfrm>
            <a:custGeom>
              <a:avLst/>
              <a:gdLst>
                <a:gd name="connsiteX0" fmla="*/ 30589 w 30769"/>
                <a:gd name="connsiteY0" fmla="*/ 44960 h 45016"/>
                <a:gd name="connsiteX1" fmla="*/ 13060 w 30769"/>
                <a:gd name="connsiteY1" fmla="*/ 24077 h 45016"/>
                <a:gd name="connsiteX2" fmla="*/ 183 w 30769"/>
                <a:gd name="connsiteY2" fmla="*/ 56 h 45016"/>
                <a:gd name="connsiteX3" fmla="*/ 17712 w 30769"/>
                <a:gd name="connsiteY3" fmla="*/ 20939 h 45016"/>
                <a:gd name="connsiteX4" fmla="*/ 30589 w 30769"/>
                <a:gd name="connsiteY4" fmla="*/ 44960 h 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69" h="45016">
                  <a:moveTo>
                    <a:pt x="30589" y="44960"/>
                  </a:moveTo>
                  <a:cubicBezTo>
                    <a:pt x="29290" y="45826"/>
                    <a:pt x="21391" y="36521"/>
                    <a:pt x="13060" y="24077"/>
                  </a:cubicBezTo>
                  <a:cubicBezTo>
                    <a:pt x="4620" y="11634"/>
                    <a:pt x="-1115" y="921"/>
                    <a:pt x="183" y="56"/>
                  </a:cubicBezTo>
                  <a:cubicBezTo>
                    <a:pt x="1482" y="-810"/>
                    <a:pt x="9381" y="8496"/>
                    <a:pt x="17712" y="20939"/>
                  </a:cubicBezTo>
                  <a:cubicBezTo>
                    <a:pt x="26044" y="33383"/>
                    <a:pt x="31887" y="44095"/>
                    <a:pt x="30589" y="44960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C66BA6A7-E688-41BD-8F64-3BE014F89958}"/>
                </a:ext>
              </a:extLst>
            </p:cNvPr>
            <p:cNvSpPr/>
            <p:nvPr/>
          </p:nvSpPr>
          <p:spPr>
            <a:xfrm flipH="1">
              <a:off x="4763427" y="4997056"/>
              <a:ext cx="28540" cy="31637"/>
            </a:xfrm>
            <a:custGeom>
              <a:avLst/>
              <a:gdLst>
                <a:gd name="connsiteX0" fmla="*/ 25715 w 25894"/>
                <a:gd name="connsiteY0" fmla="*/ 135 h 28704"/>
                <a:gd name="connsiteX1" fmla="*/ 15003 w 25894"/>
                <a:gd name="connsiteY1" fmla="*/ 16258 h 28704"/>
                <a:gd name="connsiteX2" fmla="*/ 179 w 25894"/>
                <a:gd name="connsiteY2" fmla="*/ 28593 h 28704"/>
                <a:gd name="connsiteX3" fmla="*/ 10891 w 25894"/>
                <a:gd name="connsiteY3" fmla="*/ 12471 h 28704"/>
                <a:gd name="connsiteX4" fmla="*/ 25715 w 25894"/>
                <a:gd name="connsiteY4" fmla="*/ 135 h 28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94" h="28704">
                  <a:moveTo>
                    <a:pt x="25715" y="135"/>
                  </a:moveTo>
                  <a:cubicBezTo>
                    <a:pt x="26906" y="1217"/>
                    <a:pt x="22036" y="8359"/>
                    <a:pt x="15003" y="16258"/>
                  </a:cubicBezTo>
                  <a:cubicBezTo>
                    <a:pt x="7970" y="24048"/>
                    <a:pt x="1261" y="29567"/>
                    <a:pt x="179" y="28593"/>
                  </a:cubicBezTo>
                  <a:cubicBezTo>
                    <a:pt x="-1011" y="27511"/>
                    <a:pt x="3858" y="20370"/>
                    <a:pt x="10891" y="12471"/>
                  </a:cubicBezTo>
                  <a:cubicBezTo>
                    <a:pt x="17925" y="4572"/>
                    <a:pt x="24633" y="-947"/>
                    <a:pt x="25715" y="135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F6EAF6C-C104-446F-B864-C33BF200E2F4}"/>
                </a:ext>
              </a:extLst>
            </p:cNvPr>
            <p:cNvSpPr/>
            <p:nvPr/>
          </p:nvSpPr>
          <p:spPr>
            <a:xfrm flipH="1">
              <a:off x="4705914" y="4859900"/>
              <a:ext cx="39837" cy="28375"/>
            </a:xfrm>
            <a:custGeom>
              <a:avLst/>
              <a:gdLst>
                <a:gd name="connsiteX0" fmla="*/ 35938 w 36143"/>
                <a:gd name="connsiteY0" fmla="*/ 25676 h 25744"/>
                <a:gd name="connsiteX1" fmla="*/ 18517 w 36143"/>
                <a:gd name="connsiteY1" fmla="*/ 12367 h 25744"/>
                <a:gd name="connsiteX2" fmla="*/ 15 w 36143"/>
                <a:gd name="connsiteY2" fmla="*/ 572 h 25744"/>
                <a:gd name="connsiteX3" fmla="*/ 21764 w 36143"/>
                <a:gd name="connsiteY3" fmla="*/ 7822 h 25744"/>
                <a:gd name="connsiteX4" fmla="*/ 35938 w 36143"/>
                <a:gd name="connsiteY4" fmla="*/ 25676 h 2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43" h="25744">
                  <a:moveTo>
                    <a:pt x="35938" y="25676"/>
                  </a:moveTo>
                  <a:cubicBezTo>
                    <a:pt x="34640" y="26541"/>
                    <a:pt x="28256" y="19075"/>
                    <a:pt x="18517" y="12367"/>
                  </a:cubicBezTo>
                  <a:cubicBezTo>
                    <a:pt x="8887" y="5550"/>
                    <a:pt x="-418" y="2087"/>
                    <a:pt x="15" y="572"/>
                  </a:cubicBezTo>
                  <a:cubicBezTo>
                    <a:pt x="231" y="-942"/>
                    <a:pt x="11051" y="248"/>
                    <a:pt x="21764" y="7822"/>
                  </a:cubicBezTo>
                  <a:cubicBezTo>
                    <a:pt x="32368" y="15180"/>
                    <a:pt x="37237" y="24918"/>
                    <a:pt x="35938" y="25676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A235F3A7-C16D-4EA2-B79E-FF362DE65098}"/>
                </a:ext>
              </a:extLst>
            </p:cNvPr>
            <p:cNvSpPr/>
            <p:nvPr/>
          </p:nvSpPr>
          <p:spPr>
            <a:xfrm flipH="1">
              <a:off x="4609417" y="4881797"/>
              <a:ext cx="28148" cy="37848"/>
            </a:xfrm>
            <a:custGeom>
              <a:avLst/>
              <a:gdLst>
                <a:gd name="connsiteX0" fmla="*/ 25321 w 25538"/>
                <a:gd name="connsiteY0" fmla="*/ 74 h 34339"/>
                <a:gd name="connsiteX1" fmla="*/ 15041 w 25538"/>
                <a:gd name="connsiteY1" fmla="*/ 18793 h 34339"/>
                <a:gd name="connsiteX2" fmla="*/ 218 w 25538"/>
                <a:gd name="connsiteY2" fmla="*/ 34267 h 34339"/>
                <a:gd name="connsiteX3" fmla="*/ 10497 w 25538"/>
                <a:gd name="connsiteY3" fmla="*/ 15547 h 34339"/>
                <a:gd name="connsiteX4" fmla="*/ 25321 w 25538"/>
                <a:gd name="connsiteY4" fmla="*/ 74 h 3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38" h="34339">
                  <a:moveTo>
                    <a:pt x="25321" y="74"/>
                  </a:moveTo>
                  <a:cubicBezTo>
                    <a:pt x="26619" y="1048"/>
                    <a:pt x="21966" y="9380"/>
                    <a:pt x="15041" y="18793"/>
                  </a:cubicBezTo>
                  <a:cubicBezTo>
                    <a:pt x="8116" y="28207"/>
                    <a:pt x="1516" y="35132"/>
                    <a:pt x="218" y="34267"/>
                  </a:cubicBezTo>
                  <a:cubicBezTo>
                    <a:pt x="-1081" y="33293"/>
                    <a:pt x="3572" y="24961"/>
                    <a:pt x="10497" y="15547"/>
                  </a:cubicBezTo>
                  <a:cubicBezTo>
                    <a:pt x="17530" y="6025"/>
                    <a:pt x="24131" y="-792"/>
                    <a:pt x="25321" y="74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735FE847-744E-4D61-8ABE-ADDDA6FAA4E2}"/>
                </a:ext>
              </a:extLst>
            </p:cNvPr>
            <p:cNvSpPr/>
            <p:nvPr/>
          </p:nvSpPr>
          <p:spPr>
            <a:xfrm flipH="1">
              <a:off x="4600090" y="4771660"/>
              <a:ext cx="24096" cy="58836"/>
            </a:xfrm>
            <a:custGeom>
              <a:avLst/>
              <a:gdLst>
                <a:gd name="connsiteX0" fmla="*/ 21514 w 21862"/>
                <a:gd name="connsiteY0" fmla="*/ 53363 h 53381"/>
                <a:gd name="connsiteX1" fmla="*/ 8313 w 21862"/>
                <a:gd name="connsiteY1" fmla="*/ 27719 h 53381"/>
                <a:gd name="connsiteX2" fmla="*/ 306 w 21862"/>
                <a:gd name="connsiteY2" fmla="*/ 18 h 53381"/>
                <a:gd name="connsiteX3" fmla="*/ 13507 w 21862"/>
                <a:gd name="connsiteY3" fmla="*/ 25663 h 53381"/>
                <a:gd name="connsiteX4" fmla="*/ 21514 w 21862"/>
                <a:gd name="connsiteY4" fmla="*/ 53363 h 53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62" h="53381">
                  <a:moveTo>
                    <a:pt x="21514" y="53363"/>
                  </a:moveTo>
                  <a:cubicBezTo>
                    <a:pt x="20108" y="53904"/>
                    <a:pt x="14156" y="42434"/>
                    <a:pt x="8313" y="27719"/>
                  </a:cubicBezTo>
                  <a:cubicBezTo>
                    <a:pt x="2470" y="13003"/>
                    <a:pt x="-1100" y="559"/>
                    <a:pt x="306" y="18"/>
                  </a:cubicBezTo>
                  <a:cubicBezTo>
                    <a:pt x="1713" y="-523"/>
                    <a:pt x="7664" y="10947"/>
                    <a:pt x="13507" y="25663"/>
                  </a:cubicBezTo>
                  <a:cubicBezTo>
                    <a:pt x="19458" y="40378"/>
                    <a:pt x="23029" y="52714"/>
                    <a:pt x="21514" y="53363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7020813E-FFBC-4608-A066-57F6D37363EF}"/>
                </a:ext>
              </a:extLst>
            </p:cNvPr>
            <p:cNvSpPr/>
            <p:nvPr/>
          </p:nvSpPr>
          <p:spPr>
            <a:xfrm flipH="1">
              <a:off x="4493764" y="4712097"/>
              <a:ext cx="32141" cy="43670"/>
            </a:xfrm>
            <a:custGeom>
              <a:avLst/>
              <a:gdLst>
                <a:gd name="connsiteX0" fmla="*/ 190 w 29161"/>
                <a:gd name="connsiteY0" fmla="*/ 39558 h 39621"/>
                <a:gd name="connsiteX1" fmla="*/ 12308 w 29161"/>
                <a:gd name="connsiteY1" fmla="*/ 18134 h 39621"/>
                <a:gd name="connsiteX2" fmla="*/ 28972 w 29161"/>
                <a:gd name="connsiteY2" fmla="*/ 64 h 39621"/>
                <a:gd name="connsiteX3" fmla="*/ 16853 w 29161"/>
                <a:gd name="connsiteY3" fmla="*/ 21488 h 39621"/>
                <a:gd name="connsiteX4" fmla="*/ 190 w 29161"/>
                <a:gd name="connsiteY4" fmla="*/ 39558 h 3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61" h="39621">
                  <a:moveTo>
                    <a:pt x="190" y="39558"/>
                  </a:moveTo>
                  <a:cubicBezTo>
                    <a:pt x="-1109" y="38693"/>
                    <a:pt x="4409" y="29063"/>
                    <a:pt x="12308" y="18134"/>
                  </a:cubicBezTo>
                  <a:cubicBezTo>
                    <a:pt x="20315" y="7206"/>
                    <a:pt x="27781" y="-802"/>
                    <a:pt x="28972" y="64"/>
                  </a:cubicBezTo>
                  <a:cubicBezTo>
                    <a:pt x="30270" y="930"/>
                    <a:pt x="24752" y="10560"/>
                    <a:pt x="16853" y="21488"/>
                  </a:cubicBezTo>
                  <a:cubicBezTo>
                    <a:pt x="8954" y="32309"/>
                    <a:pt x="1488" y="40424"/>
                    <a:pt x="190" y="39558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7608DD98-B084-435F-B88F-6ED9903D2432}"/>
                </a:ext>
              </a:extLst>
            </p:cNvPr>
            <p:cNvSpPr/>
            <p:nvPr/>
          </p:nvSpPr>
          <p:spPr>
            <a:xfrm flipH="1">
              <a:off x="4444576" y="4779532"/>
              <a:ext cx="51678" cy="7683"/>
            </a:xfrm>
            <a:custGeom>
              <a:avLst/>
              <a:gdLst>
                <a:gd name="connsiteX0" fmla="*/ 46865 w 46886"/>
                <a:gd name="connsiteY0" fmla="*/ 6402 h 6971"/>
                <a:gd name="connsiteX1" fmla="*/ 23493 w 46886"/>
                <a:gd name="connsiteY1" fmla="*/ 5644 h 6971"/>
                <a:gd name="connsiteX2" fmla="*/ 13 w 46886"/>
                <a:gd name="connsiteY2" fmla="*/ 5320 h 6971"/>
                <a:gd name="connsiteX3" fmla="*/ 23602 w 46886"/>
                <a:gd name="connsiteY3" fmla="*/ 18 h 6971"/>
                <a:gd name="connsiteX4" fmla="*/ 46865 w 46886"/>
                <a:gd name="connsiteY4" fmla="*/ 6402 h 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86" h="6971">
                  <a:moveTo>
                    <a:pt x="46865" y="6402"/>
                  </a:moveTo>
                  <a:cubicBezTo>
                    <a:pt x="46433" y="7917"/>
                    <a:pt x="36153" y="5969"/>
                    <a:pt x="23493" y="5644"/>
                  </a:cubicBezTo>
                  <a:cubicBezTo>
                    <a:pt x="10833" y="5320"/>
                    <a:pt x="446" y="6835"/>
                    <a:pt x="13" y="5320"/>
                  </a:cubicBezTo>
                  <a:cubicBezTo>
                    <a:pt x="-420" y="3913"/>
                    <a:pt x="9968" y="-307"/>
                    <a:pt x="23602" y="18"/>
                  </a:cubicBezTo>
                  <a:cubicBezTo>
                    <a:pt x="37235" y="342"/>
                    <a:pt x="47406" y="4995"/>
                    <a:pt x="46865" y="6402"/>
                  </a:cubicBezTo>
                  <a:close/>
                </a:path>
              </a:pathLst>
            </a:custGeom>
            <a:solidFill>
              <a:srgbClr val="FAFAFA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9782053E-4E10-488A-8BD6-119FE2AD1FD0}"/>
                </a:ext>
              </a:extLst>
            </p:cNvPr>
            <p:cNvSpPr/>
            <p:nvPr/>
          </p:nvSpPr>
          <p:spPr>
            <a:xfrm flipH="1">
              <a:off x="2939150" y="5473062"/>
              <a:ext cx="284083" cy="113600"/>
            </a:xfrm>
            <a:custGeom>
              <a:avLst/>
              <a:gdLst>
                <a:gd name="connsiteX0" fmla="*/ 140016 w 257742"/>
                <a:gd name="connsiteY0" fmla="*/ 51072 h 103067"/>
                <a:gd name="connsiteX1" fmla="*/ 32353 w 257742"/>
                <a:gd name="connsiteY1" fmla="*/ 0 h 103067"/>
                <a:gd name="connsiteX2" fmla="*/ 0 w 257742"/>
                <a:gd name="connsiteY2" fmla="*/ 14283 h 103067"/>
                <a:gd name="connsiteX3" fmla="*/ 46636 w 257742"/>
                <a:gd name="connsiteY3" fmla="*/ 86563 h 103067"/>
                <a:gd name="connsiteX4" fmla="*/ 172694 w 257742"/>
                <a:gd name="connsiteY4" fmla="*/ 96085 h 103067"/>
                <a:gd name="connsiteX5" fmla="*/ 257742 w 257742"/>
                <a:gd name="connsiteY5" fmla="*/ 1190 h 103067"/>
                <a:gd name="connsiteX6" fmla="*/ 140016 w 257742"/>
                <a:gd name="connsiteY6" fmla="*/ 51072 h 103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742" h="103067">
                  <a:moveTo>
                    <a:pt x="140016" y="51072"/>
                  </a:moveTo>
                  <a:cubicBezTo>
                    <a:pt x="98033" y="54535"/>
                    <a:pt x="51506" y="37547"/>
                    <a:pt x="32353" y="0"/>
                  </a:cubicBezTo>
                  <a:lnTo>
                    <a:pt x="0" y="14283"/>
                  </a:lnTo>
                  <a:cubicBezTo>
                    <a:pt x="-108" y="35707"/>
                    <a:pt x="26943" y="78448"/>
                    <a:pt x="46636" y="86563"/>
                  </a:cubicBezTo>
                  <a:cubicBezTo>
                    <a:pt x="86347" y="103010"/>
                    <a:pt x="131576" y="108962"/>
                    <a:pt x="172694" y="96085"/>
                  </a:cubicBezTo>
                  <a:cubicBezTo>
                    <a:pt x="213703" y="83209"/>
                    <a:pt x="249302" y="43390"/>
                    <a:pt x="257742" y="1190"/>
                  </a:cubicBezTo>
                  <a:cubicBezTo>
                    <a:pt x="220304" y="28349"/>
                    <a:pt x="182000" y="47610"/>
                    <a:pt x="140016" y="51072"/>
                  </a:cubicBezTo>
                  <a:close/>
                </a:path>
              </a:pathLst>
            </a:custGeom>
            <a:solidFill>
              <a:srgbClr val="000000"/>
            </a:solidFill>
            <a:ln w="1082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621" name="Straight Connector 620">
            <a:extLst>
              <a:ext uri="{FF2B5EF4-FFF2-40B4-BE49-F238E27FC236}">
                <a16:creationId xmlns:a16="http://schemas.microsoft.com/office/drawing/2014/main" id="{372BFFC0-1ED8-4078-B859-0942EE876FD7}"/>
              </a:ext>
            </a:extLst>
          </p:cNvPr>
          <p:cNvCxnSpPr>
            <a:cxnSpLocks/>
          </p:cNvCxnSpPr>
          <p:nvPr/>
        </p:nvCxnSpPr>
        <p:spPr>
          <a:xfrm>
            <a:off x="1467992" y="1129408"/>
            <a:ext cx="585826" cy="585826"/>
          </a:xfrm>
          <a:prstGeom prst="line">
            <a:avLst/>
          </a:prstGeom>
          <a:ln w="38100">
            <a:solidFill>
              <a:srgbClr val="FDDA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6" name="TextBox 625">
            <a:extLst>
              <a:ext uri="{FF2B5EF4-FFF2-40B4-BE49-F238E27FC236}">
                <a16:creationId xmlns:a16="http://schemas.microsoft.com/office/drawing/2014/main" id="{5C696D75-BF73-492A-AE30-F6D26470D2C9}"/>
              </a:ext>
            </a:extLst>
          </p:cNvPr>
          <p:cNvSpPr txBox="1"/>
          <p:nvPr/>
        </p:nvSpPr>
        <p:spPr>
          <a:xfrm>
            <a:off x="6773923" y="2698928"/>
            <a:ext cx="5422706" cy="163205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lvl="0">
              <a:defRPr/>
            </a:pPr>
            <a:r>
              <a:rPr lang="en-US"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tal Health Assist and Diagnosis Conversational Interfac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Georgia" panose="02040502050405020303" pitchFamily="18" charset="0"/>
            </a:endParaRPr>
          </a:p>
        </p:txBody>
      </p:sp>
      <p:pic>
        <p:nvPicPr>
          <p:cNvPr id="640" name="Graphic 639">
            <a:extLst>
              <a:ext uri="{FF2B5EF4-FFF2-40B4-BE49-F238E27FC236}">
                <a16:creationId xmlns:a16="http://schemas.microsoft.com/office/drawing/2014/main" id="{7E331315-32DE-4B19-A9CF-034254FD48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47497"/>
          <a:stretch>
            <a:fillRect/>
          </a:stretch>
        </p:blipFill>
        <p:spPr>
          <a:xfrm>
            <a:off x="8986114" y="5428343"/>
            <a:ext cx="2756958" cy="1447476"/>
          </a:xfrm>
          <a:custGeom>
            <a:avLst/>
            <a:gdLst>
              <a:gd name="connsiteX0" fmla="*/ 0 w 2756958"/>
              <a:gd name="connsiteY0" fmla="*/ 0 h 1447476"/>
              <a:gd name="connsiteX1" fmla="*/ 2756958 w 2756958"/>
              <a:gd name="connsiteY1" fmla="*/ 0 h 1447476"/>
              <a:gd name="connsiteX2" fmla="*/ 2756958 w 2756958"/>
              <a:gd name="connsiteY2" fmla="*/ 1447476 h 1447476"/>
              <a:gd name="connsiteX3" fmla="*/ 0 w 2756958"/>
              <a:gd name="connsiteY3" fmla="*/ 1447476 h 144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6958" h="1447476">
                <a:moveTo>
                  <a:pt x="0" y="0"/>
                </a:moveTo>
                <a:lnTo>
                  <a:pt x="2756958" y="0"/>
                </a:lnTo>
                <a:lnTo>
                  <a:pt x="2756958" y="1447476"/>
                </a:lnTo>
                <a:lnTo>
                  <a:pt x="0" y="1447476"/>
                </a:lnTo>
                <a:close/>
              </a:path>
            </a:pathLst>
          </a:custGeom>
        </p:spPr>
      </p:pic>
      <p:pic>
        <p:nvPicPr>
          <p:cNvPr id="642" name="Graphic 641">
            <a:extLst>
              <a:ext uri="{FF2B5EF4-FFF2-40B4-BE49-F238E27FC236}">
                <a16:creationId xmlns:a16="http://schemas.microsoft.com/office/drawing/2014/main" id="{DB53912D-FE2B-4352-9371-541E61F776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69266" y="6383689"/>
            <a:ext cx="333375" cy="333375"/>
          </a:xfrm>
          <a:prstGeom prst="rect">
            <a:avLst/>
          </a:prstGeom>
        </p:spPr>
      </p:pic>
      <p:sp>
        <p:nvSpPr>
          <p:cNvPr id="645" name="Freeform: Shape 644">
            <a:extLst>
              <a:ext uri="{FF2B5EF4-FFF2-40B4-BE49-F238E27FC236}">
                <a16:creationId xmlns:a16="http://schemas.microsoft.com/office/drawing/2014/main" id="{50B99355-2D62-450C-A0C7-324959C62A0C}"/>
              </a:ext>
            </a:extLst>
          </p:cNvPr>
          <p:cNvSpPr/>
          <p:nvPr/>
        </p:nvSpPr>
        <p:spPr>
          <a:xfrm>
            <a:off x="3209582" y="0"/>
            <a:ext cx="4868304" cy="539839"/>
          </a:xfrm>
          <a:custGeom>
            <a:avLst/>
            <a:gdLst>
              <a:gd name="connsiteX0" fmla="*/ 0 w 6479712"/>
              <a:gd name="connsiteY0" fmla="*/ 0 h 718525"/>
              <a:gd name="connsiteX1" fmla="*/ 6479712 w 6479712"/>
              <a:gd name="connsiteY1" fmla="*/ 0 h 718525"/>
              <a:gd name="connsiteX2" fmla="*/ 6443912 w 6479712"/>
              <a:gd name="connsiteY2" fmla="*/ 22038 h 718525"/>
              <a:gd name="connsiteX3" fmla="*/ 4737151 w 6479712"/>
              <a:gd name="connsiteY3" fmla="*/ 712799 h 718525"/>
              <a:gd name="connsiteX4" fmla="*/ 3372808 w 6479712"/>
              <a:gd name="connsiteY4" fmla="*/ 306399 h 718525"/>
              <a:gd name="connsiteX5" fmla="*/ 1311779 w 6479712"/>
              <a:gd name="connsiteY5" fmla="*/ 538628 h 718525"/>
              <a:gd name="connsiteX6" fmla="*/ 127278 w 6479712"/>
              <a:gd name="connsiteY6" fmla="*/ 80578 h 71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9712" h="718525">
                <a:moveTo>
                  <a:pt x="0" y="0"/>
                </a:moveTo>
                <a:lnTo>
                  <a:pt x="6479712" y="0"/>
                </a:lnTo>
                <a:lnTo>
                  <a:pt x="6443912" y="22038"/>
                </a:lnTo>
                <a:cubicBezTo>
                  <a:pt x="6079647" y="238401"/>
                  <a:pt x="5202817" y="659883"/>
                  <a:pt x="4737151" y="712799"/>
                </a:cubicBezTo>
                <a:cubicBezTo>
                  <a:pt x="4204961" y="773275"/>
                  <a:pt x="3943703" y="335428"/>
                  <a:pt x="3372808" y="306399"/>
                </a:cubicBezTo>
                <a:cubicBezTo>
                  <a:pt x="2801913" y="277370"/>
                  <a:pt x="1911703" y="613618"/>
                  <a:pt x="1311779" y="538628"/>
                </a:cubicBezTo>
                <a:cubicBezTo>
                  <a:pt x="861836" y="482386"/>
                  <a:pt x="485372" y="297555"/>
                  <a:pt x="127278" y="80578"/>
                </a:cubicBezTo>
                <a:close/>
              </a:path>
            </a:pathLst>
          </a:custGeom>
          <a:solidFill>
            <a:srgbClr val="FDD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C85C9B59-BB5D-4F18-A425-57C9F622E8C1}"/>
              </a:ext>
            </a:extLst>
          </p:cNvPr>
          <p:cNvCxnSpPr/>
          <p:nvPr/>
        </p:nvCxnSpPr>
        <p:spPr>
          <a:xfrm>
            <a:off x="8270545" y="2448052"/>
            <a:ext cx="392145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TextBox 586">
            <a:extLst>
              <a:ext uri="{FF2B5EF4-FFF2-40B4-BE49-F238E27FC236}">
                <a16:creationId xmlns:a16="http://schemas.microsoft.com/office/drawing/2014/main" id="{2DA96BC3-72B7-94C0-58B8-7486530BF3E5}"/>
              </a:ext>
            </a:extLst>
          </p:cNvPr>
          <p:cNvSpPr txBox="1"/>
          <p:nvPr/>
        </p:nvSpPr>
        <p:spPr>
          <a:xfrm>
            <a:off x="6823067" y="4543203"/>
            <a:ext cx="13085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  <a:latin typeface="Georgia" panose="02040502050405020303" pitchFamily="18" charset="0"/>
              </a:rPr>
              <a:t>Team 6</a:t>
            </a:r>
            <a:endParaRPr lang="en-US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cxnSp>
        <p:nvCxnSpPr>
          <p:cNvPr id="588" name="Straight Connector 587">
            <a:extLst>
              <a:ext uri="{FF2B5EF4-FFF2-40B4-BE49-F238E27FC236}">
                <a16:creationId xmlns:a16="http://schemas.microsoft.com/office/drawing/2014/main" id="{D92FE2C8-2123-AD0A-5B2F-A212429D93F4}"/>
              </a:ext>
            </a:extLst>
          </p:cNvPr>
          <p:cNvCxnSpPr/>
          <p:nvPr/>
        </p:nvCxnSpPr>
        <p:spPr>
          <a:xfrm>
            <a:off x="6877459" y="4475246"/>
            <a:ext cx="392145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6F37434-6E15-8FCD-88E0-0188F5BE89AB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770786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Rectangle 895">
            <a:extLst>
              <a:ext uri="{FF2B5EF4-FFF2-40B4-BE49-F238E27FC236}">
                <a16:creationId xmlns:a16="http://schemas.microsoft.com/office/drawing/2014/main" id="{09D6DD6F-1B2E-42E0-8C04-506DF36351FE}"/>
              </a:ext>
            </a:extLst>
          </p:cNvPr>
          <p:cNvSpPr/>
          <p:nvPr/>
        </p:nvSpPr>
        <p:spPr>
          <a:xfrm>
            <a:off x="9497226" y="936952"/>
            <a:ext cx="2694774" cy="169200"/>
          </a:xfrm>
          <a:prstGeom prst="rect">
            <a:avLst/>
          </a:pr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5" name="Rectangle: Rounded Corners 894">
            <a:extLst>
              <a:ext uri="{FF2B5EF4-FFF2-40B4-BE49-F238E27FC236}">
                <a16:creationId xmlns:a16="http://schemas.microsoft.com/office/drawing/2014/main" id="{679B0751-A0DE-4D96-BCFE-37AD01B37EC1}"/>
              </a:ext>
            </a:extLst>
          </p:cNvPr>
          <p:cNvSpPr/>
          <p:nvPr/>
        </p:nvSpPr>
        <p:spPr>
          <a:xfrm>
            <a:off x="9857137" y="782893"/>
            <a:ext cx="1440089" cy="463317"/>
          </a:xfrm>
          <a:prstGeom prst="roundRect">
            <a:avLst>
              <a:gd name="adj" fmla="val 50000"/>
            </a:avLst>
          </a:prstGeom>
          <a:solidFill>
            <a:srgbClr val="094A44"/>
          </a:solidFill>
          <a:ln w="25400">
            <a:solidFill>
              <a:srgbClr val="FDDA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0" rIns="0" bIns="36000" rtlCol="0" anchor="ctr"/>
          <a:lstStyle/>
          <a:p>
            <a:r>
              <a:rPr lang="en-US" sz="2000" b="1">
                <a:latin typeface="Georgia" panose="02040502050405020303" pitchFamily="18" charset="0"/>
              </a:rPr>
              <a:t>our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3BBF2F-4728-42D1-BD5B-C428C7EE7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73767"/>
            <a:ext cx="395914" cy="362202"/>
          </a:xfrm>
        </p:spPr>
        <p:txBody>
          <a:bodyPr/>
          <a:lstStyle/>
          <a:p>
            <a:fld id="{366E39CD-16F1-4381-8EB5-8BA4094A64D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FFA279-D347-4DA0-92DD-8AC77327D44D}"/>
              </a:ext>
            </a:extLst>
          </p:cNvPr>
          <p:cNvSpPr txBox="1"/>
          <p:nvPr/>
        </p:nvSpPr>
        <p:spPr>
          <a:xfrm>
            <a:off x="531001" y="508200"/>
            <a:ext cx="3924019" cy="176830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4400" b="1">
                <a:solidFill>
                  <a:srgbClr val="094A44"/>
                </a:solidFill>
                <a:latin typeface="Georgia" panose="02040502050405020303" pitchFamily="18" charset="0"/>
              </a:rPr>
              <a:t>Future steps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7F05254-7DF0-4F2D-8650-B364BB3D649C}"/>
              </a:ext>
            </a:extLst>
          </p:cNvPr>
          <p:cNvSpPr/>
          <p:nvPr/>
        </p:nvSpPr>
        <p:spPr>
          <a:xfrm flipV="1">
            <a:off x="0" y="5879689"/>
            <a:ext cx="4868304" cy="539839"/>
          </a:xfrm>
          <a:custGeom>
            <a:avLst/>
            <a:gdLst>
              <a:gd name="connsiteX0" fmla="*/ 0 w 6479712"/>
              <a:gd name="connsiteY0" fmla="*/ 0 h 718525"/>
              <a:gd name="connsiteX1" fmla="*/ 6479712 w 6479712"/>
              <a:gd name="connsiteY1" fmla="*/ 0 h 718525"/>
              <a:gd name="connsiteX2" fmla="*/ 6443912 w 6479712"/>
              <a:gd name="connsiteY2" fmla="*/ 22038 h 718525"/>
              <a:gd name="connsiteX3" fmla="*/ 4737151 w 6479712"/>
              <a:gd name="connsiteY3" fmla="*/ 712799 h 718525"/>
              <a:gd name="connsiteX4" fmla="*/ 3372808 w 6479712"/>
              <a:gd name="connsiteY4" fmla="*/ 306399 h 718525"/>
              <a:gd name="connsiteX5" fmla="*/ 1311779 w 6479712"/>
              <a:gd name="connsiteY5" fmla="*/ 538628 h 718525"/>
              <a:gd name="connsiteX6" fmla="*/ 127278 w 6479712"/>
              <a:gd name="connsiteY6" fmla="*/ 80578 h 71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9712" h="718525">
                <a:moveTo>
                  <a:pt x="0" y="0"/>
                </a:moveTo>
                <a:lnTo>
                  <a:pt x="6479712" y="0"/>
                </a:lnTo>
                <a:lnTo>
                  <a:pt x="6443912" y="22038"/>
                </a:lnTo>
                <a:cubicBezTo>
                  <a:pt x="6079647" y="238401"/>
                  <a:pt x="5202817" y="659883"/>
                  <a:pt x="4737151" y="712799"/>
                </a:cubicBezTo>
                <a:cubicBezTo>
                  <a:pt x="4204961" y="773275"/>
                  <a:pt x="3943703" y="335428"/>
                  <a:pt x="3372808" y="306399"/>
                </a:cubicBezTo>
                <a:cubicBezTo>
                  <a:pt x="2801913" y="277370"/>
                  <a:pt x="1911703" y="613618"/>
                  <a:pt x="1311779" y="538628"/>
                </a:cubicBezTo>
                <a:cubicBezTo>
                  <a:pt x="861836" y="482386"/>
                  <a:pt x="485372" y="297555"/>
                  <a:pt x="127278" y="80578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7" name="Freeform: Shape 196">
            <a:extLst>
              <a:ext uri="{FF2B5EF4-FFF2-40B4-BE49-F238E27FC236}">
                <a16:creationId xmlns:a16="http://schemas.microsoft.com/office/drawing/2014/main" id="{B40CAD41-9811-40CB-BFE8-A4906A2CAE77}"/>
              </a:ext>
            </a:extLst>
          </p:cNvPr>
          <p:cNvSpPr/>
          <p:nvPr/>
        </p:nvSpPr>
        <p:spPr>
          <a:xfrm flipH="1">
            <a:off x="4847232" y="5106316"/>
            <a:ext cx="572578" cy="567371"/>
          </a:xfrm>
          <a:custGeom>
            <a:avLst/>
            <a:gdLst>
              <a:gd name="connsiteX0" fmla="*/ 399874 w 570193"/>
              <a:gd name="connsiteY0" fmla="*/ 0 h 565008"/>
              <a:gd name="connsiteX1" fmla="*/ 570193 w 570193"/>
              <a:gd name="connsiteY1" fmla="*/ 0 h 565008"/>
              <a:gd name="connsiteX2" fmla="*/ 559070 w 570193"/>
              <a:gd name="connsiteY2" fmla="*/ 110332 h 565008"/>
              <a:gd name="connsiteX3" fmla="*/ 1202 w 570193"/>
              <a:gd name="connsiteY3" fmla="*/ 565008 h 565008"/>
              <a:gd name="connsiteX4" fmla="*/ 0 w 570193"/>
              <a:gd name="connsiteY4" fmla="*/ 564902 h 565008"/>
              <a:gd name="connsiteX5" fmla="*/ 0 w 570193"/>
              <a:gd name="connsiteY5" fmla="*/ 394583 h 565008"/>
              <a:gd name="connsiteX6" fmla="*/ 1202 w 570193"/>
              <a:gd name="connsiteY6" fmla="*/ 394689 h 565008"/>
              <a:gd name="connsiteX7" fmla="*/ 392212 w 570193"/>
              <a:gd name="connsiteY7" fmla="*/ 76007 h 5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193" h="565008">
                <a:moveTo>
                  <a:pt x="399874" y="0"/>
                </a:moveTo>
                <a:lnTo>
                  <a:pt x="570193" y="0"/>
                </a:lnTo>
                <a:lnTo>
                  <a:pt x="559070" y="110332"/>
                </a:lnTo>
                <a:cubicBezTo>
                  <a:pt x="505972" y="369815"/>
                  <a:pt x="276382" y="565008"/>
                  <a:pt x="1202" y="565008"/>
                </a:cubicBezTo>
                <a:lnTo>
                  <a:pt x="0" y="564902"/>
                </a:lnTo>
                <a:lnTo>
                  <a:pt x="0" y="394583"/>
                </a:lnTo>
                <a:lnTo>
                  <a:pt x="1202" y="394689"/>
                </a:lnTo>
                <a:cubicBezTo>
                  <a:pt x="194076" y="394689"/>
                  <a:pt x="354995" y="257879"/>
                  <a:pt x="392212" y="76007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679DBC79-84F8-4986-8C96-271B38D04B9B}"/>
              </a:ext>
            </a:extLst>
          </p:cNvPr>
          <p:cNvSpPr/>
          <p:nvPr/>
        </p:nvSpPr>
        <p:spPr>
          <a:xfrm rot="5400000">
            <a:off x="2368486" y="2456298"/>
            <a:ext cx="5130836" cy="169200"/>
          </a:xfrm>
          <a:prstGeom prst="rect">
            <a:avLst/>
          </a:pr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FD06E96-C33B-469B-8865-0016A6DA3034}"/>
              </a:ext>
            </a:extLst>
          </p:cNvPr>
          <p:cNvSpPr/>
          <p:nvPr/>
        </p:nvSpPr>
        <p:spPr>
          <a:xfrm>
            <a:off x="5419810" y="5503069"/>
            <a:ext cx="2880000" cy="170618"/>
          </a:xfrm>
          <a:prstGeom prst="rect">
            <a:avLst/>
          </a:pr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E3B5D471-AEA4-4BC9-AF4A-0E0D6BF99238}"/>
              </a:ext>
            </a:extLst>
          </p:cNvPr>
          <p:cNvSpPr txBox="1"/>
          <p:nvPr/>
        </p:nvSpPr>
        <p:spPr>
          <a:xfrm>
            <a:off x="5199558" y="1303611"/>
            <a:ext cx="2589238" cy="6771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>
                <a:solidFill>
                  <a:srgbClr val="094A44"/>
                </a:solidFill>
                <a:latin typeface="Georgia" panose="02040502050405020303" pitchFamily="18" charset="0"/>
              </a:rPr>
              <a:t>Authentication to protect user’s privacy.</a:t>
            </a:r>
          </a:p>
        </p:txBody>
      </p:sp>
      <p:sp>
        <p:nvSpPr>
          <p:cNvPr id="387" name="Freeform: Shape 386">
            <a:extLst>
              <a:ext uri="{FF2B5EF4-FFF2-40B4-BE49-F238E27FC236}">
                <a16:creationId xmlns:a16="http://schemas.microsoft.com/office/drawing/2014/main" id="{15F95B9E-ACF2-4875-90D7-2939ED0C2306}"/>
              </a:ext>
            </a:extLst>
          </p:cNvPr>
          <p:cNvSpPr/>
          <p:nvPr/>
        </p:nvSpPr>
        <p:spPr>
          <a:xfrm>
            <a:off x="8299810" y="5106316"/>
            <a:ext cx="572578" cy="567371"/>
          </a:xfrm>
          <a:custGeom>
            <a:avLst/>
            <a:gdLst>
              <a:gd name="connsiteX0" fmla="*/ 399874 w 570193"/>
              <a:gd name="connsiteY0" fmla="*/ 0 h 565008"/>
              <a:gd name="connsiteX1" fmla="*/ 570193 w 570193"/>
              <a:gd name="connsiteY1" fmla="*/ 0 h 565008"/>
              <a:gd name="connsiteX2" fmla="*/ 559070 w 570193"/>
              <a:gd name="connsiteY2" fmla="*/ 110332 h 565008"/>
              <a:gd name="connsiteX3" fmla="*/ 1202 w 570193"/>
              <a:gd name="connsiteY3" fmla="*/ 565008 h 565008"/>
              <a:gd name="connsiteX4" fmla="*/ 0 w 570193"/>
              <a:gd name="connsiteY4" fmla="*/ 564902 h 565008"/>
              <a:gd name="connsiteX5" fmla="*/ 0 w 570193"/>
              <a:gd name="connsiteY5" fmla="*/ 394583 h 565008"/>
              <a:gd name="connsiteX6" fmla="*/ 1202 w 570193"/>
              <a:gd name="connsiteY6" fmla="*/ 394689 h 565008"/>
              <a:gd name="connsiteX7" fmla="*/ 392212 w 570193"/>
              <a:gd name="connsiteY7" fmla="*/ 76007 h 5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193" h="565008">
                <a:moveTo>
                  <a:pt x="399874" y="0"/>
                </a:moveTo>
                <a:lnTo>
                  <a:pt x="570193" y="0"/>
                </a:lnTo>
                <a:lnTo>
                  <a:pt x="559070" y="110332"/>
                </a:lnTo>
                <a:cubicBezTo>
                  <a:pt x="505972" y="369815"/>
                  <a:pt x="276382" y="565008"/>
                  <a:pt x="1202" y="565008"/>
                </a:cubicBezTo>
                <a:lnTo>
                  <a:pt x="0" y="564902"/>
                </a:lnTo>
                <a:lnTo>
                  <a:pt x="0" y="394583"/>
                </a:lnTo>
                <a:lnTo>
                  <a:pt x="1202" y="394689"/>
                </a:lnTo>
                <a:cubicBezTo>
                  <a:pt x="194076" y="394689"/>
                  <a:pt x="354995" y="257879"/>
                  <a:pt x="392212" y="76007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B389F2EE-98D0-4D78-952F-67BEAE8376D6}"/>
              </a:ext>
            </a:extLst>
          </p:cNvPr>
          <p:cNvSpPr/>
          <p:nvPr/>
        </p:nvSpPr>
        <p:spPr>
          <a:xfrm rot="5400000">
            <a:off x="6987788" y="3221716"/>
            <a:ext cx="3600000" cy="169200"/>
          </a:xfrm>
          <a:prstGeom prst="rect">
            <a:avLst/>
          </a:pr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9" name="Freeform: Shape 388">
            <a:extLst>
              <a:ext uri="{FF2B5EF4-FFF2-40B4-BE49-F238E27FC236}">
                <a16:creationId xmlns:a16="http://schemas.microsoft.com/office/drawing/2014/main" id="{94E7A7A2-43C0-49B3-A696-19B51DD44636}"/>
              </a:ext>
            </a:extLst>
          </p:cNvPr>
          <p:cNvSpPr/>
          <p:nvPr/>
        </p:nvSpPr>
        <p:spPr>
          <a:xfrm flipH="1" flipV="1">
            <a:off x="8700428" y="936952"/>
            <a:ext cx="572578" cy="567371"/>
          </a:xfrm>
          <a:custGeom>
            <a:avLst/>
            <a:gdLst>
              <a:gd name="connsiteX0" fmla="*/ 399874 w 570193"/>
              <a:gd name="connsiteY0" fmla="*/ 0 h 565008"/>
              <a:gd name="connsiteX1" fmla="*/ 570193 w 570193"/>
              <a:gd name="connsiteY1" fmla="*/ 0 h 565008"/>
              <a:gd name="connsiteX2" fmla="*/ 559070 w 570193"/>
              <a:gd name="connsiteY2" fmla="*/ 110332 h 565008"/>
              <a:gd name="connsiteX3" fmla="*/ 1202 w 570193"/>
              <a:gd name="connsiteY3" fmla="*/ 565008 h 565008"/>
              <a:gd name="connsiteX4" fmla="*/ 0 w 570193"/>
              <a:gd name="connsiteY4" fmla="*/ 564902 h 565008"/>
              <a:gd name="connsiteX5" fmla="*/ 0 w 570193"/>
              <a:gd name="connsiteY5" fmla="*/ 394583 h 565008"/>
              <a:gd name="connsiteX6" fmla="*/ 1202 w 570193"/>
              <a:gd name="connsiteY6" fmla="*/ 394689 h 565008"/>
              <a:gd name="connsiteX7" fmla="*/ 392212 w 570193"/>
              <a:gd name="connsiteY7" fmla="*/ 76007 h 565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193" h="565008">
                <a:moveTo>
                  <a:pt x="399874" y="0"/>
                </a:moveTo>
                <a:lnTo>
                  <a:pt x="570193" y="0"/>
                </a:lnTo>
                <a:lnTo>
                  <a:pt x="559070" y="110332"/>
                </a:lnTo>
                <a:cubicBezTo>
                  <a:pt x="505972" y="369815"/>
                  <a:pt x="276382" y="565008"/>
                  <a:pt x="1202" y="565008"/>
                </a:cubicBezTo>
                <a:lnTo>
                  <a:pt x="0" y="564902"/>
                </a:lnTo>
                <a:lnTo>
                  <a:pt x="0" y="394583"/>
                </a:lnTo>
                <a:lnTo>
                  <a:pt x="1202" y="394689"/>
                </a:lnTo>
                <a:cubicBezTo>
                  <a:pt x="194076" y="394689"/>
                  <a:pt x="354995" y="257879"/>
                  <a:pt x="392212" y="76007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554" name="Group 553">
            <a:extLst>
              <a:ext uri="{FF2B5EF4-FFF2-40B4-BE49-F238E27FC236}">
                <a16:creationId xmlns:a16="http://schemas.microsoft.com/office/drawing/2014/main" id="{F08691CB-E6E6-4E05-94B0-808F7C71932B}"/>
              </a:ext>
            </a:extLst>
          </p:cNvPr>
          <p:cNvGrpSpPr/>
          <p:nvPr/>
        </p:nvGrpSpPr>
        <p:grpSpPr>
          <a:xfrm>
            <a:off x="5748723" y="5879688"/>
            <a:ext cx="2222173" cy="499257"/>
            <a:chOff x="5899272" y="5784690"/>
            <a:chExt cx="1319964" cy="613162"/>
          </a:xfrm>
          <a:solidFill>
            <a:srgbClr val="F7AB9B"/>
          </a:solidFill>
        </p:grpSpPr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7D53AAFE-3F30-4E86-9E6B-D22FD1C2A926}"/>
                </a:ext>
              </a:extLst>
            </p:cNvPr>
            <p:cNvSpPr/>
            <p:nvPr/>
          </p:nvSpPr>
          <p:spPr>
            <a:xfrm>
              <a:off x="5899272" y="6070440"/>
              <a:ext cx="1319964" cy="327412"/>
            </a:xfrm>
            <a:custGeom>
              <a:avLst/>
              <a:gdLst>
                <a:gd name="connsiteX0" fmla="*/ 875062 w 1319964"/>
                <a:gd name="connsiteY0" fmla="*/ 327412 h 327412"/>
                <a:gd name="connsiteX1" fmla="*/ 660025 w 1319964"/>
                <a:gd name="connsiteY1" fmla="*/ 60712 h 327412"/>
                <a:gd name="connsiteX2" fmla="*/ 444979 w 1319964"/>
                <a:gd name="connsiteY2" fmla="*/ 327403 h 327412"/>
                <a:gd name="connsiteX3" fmla="*/ 229905 w 1319964"/>
                <a:gd name="connsiteY3" fmla="*/ 60703 h 327412"/>
                <a:gd name="connsiteX4" fmla="*/ 29651 w 1319964"/>
                <a:gd name="connsiteY4" fmla="*/ 309010 h 327412"/>
                <a:gd name="connsiteX5" fmla="*/ 0 w 1319964"/>
                <a:gd name="connsiteY5" fmla="*/ 285102 h 327412"/>
                <a:gd name="connsiteX6" fmla="*/ 229905 w 1319964"/>
                <a:gd name="connsiteY6" fmla="*/ 9 h 327412"/>
                <a:gd name="connsiteX7" fmla="*/ 444979 w 1319964"/>
                <a:gd name="connsiteY7" fmla="*/ 266709 h 327412"/>
                <a:gd name="connsiteX8" fmla="*/ 660025 w 1319964"/>
                <a:gd name="connsiteY8" fmla="*/ 0 h 327412"/>
                <a:gd name="connsiteX9" fmla="*/ 875062 w 1319964"/>
                <a:gd name="connsiteY9" fmla="*/ 266700 h 327412"/>
                <a:gd name="connsiteX10" fmla="*/ 1090098 w 1319964"/>
                <a:gd name="connsiteY10" fmla="*/ 0 h 327412"/>
                <a:gd name="connsiteX11" fmla="*/ 1319965 w 1319964"/>
                <a:gd name="connsiteY11" fmla="*/ 285102 h 327412"/>
                <a:gd name="connsiteX12" fmla="*/ 1290314 w 1319964"/>
                <a:gd name="connsiteY12" fmla="*/ 309010 h 327412"/>
                <a:gd name="connsiteX13" fmla="*/ 1090098 w 1319964"/>
                <a:gd name="connsiteY13" fmla="*/ 60712 h 32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19964" h="327412">
                  <a:moveTo>
                    <a:pt x="875062" y="327412"/>
                  </a:moveTo>
                  <a:lnTo>
                    <a:pt x="660025" y="60712"/>
                  </a:lnTo>
                  <a:lnTo>
                    <a:pt x="444979" y="327403"/>
                  </a:lnTo>
                  <a:lnTo>
                    <a:pt x="229905" y="60703"/>
                  </a:lnTo>
                  <a:lnTo>
                    <a:pt x="29651" y="309010"/>
                  </a:lnTo>
                  <a:lnTo>
                    <a:pt x="0" y="285102"/>
                  </a:lnTo>
                  <a:lnTo>
                    <a:pt x="229905" y="9"/>
                  </a:lnTo>
                  <a:lnTo>
                    <a:pt x="444979" y="266709"/>
                  </a:lnTo>
                  <a:lnTo>
                    <a:pt x="660025" y="0"/>
                  </a:lnTo>
                  <a:lnTo>
                    <a:pt x="875062" y="266700"/>
                  </a:lnTo>
                  <a:lnTo>
                    <a:pt x="1090098" y="0"/>
                  </a:lnTo>
                  <a:lnTo>
                    <a:pt x="1319965" y="285102"/>
                  </a:lnTo>
                  <a:lnTo>
                    <a:pt x="1290314" y="309010"/>
                  </a:lnTo>
                  <a:lnTo>
                    <a:pt x="1090098" y="607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A83433A0-96CD-4E81-8651-74F6B52AFAD8}"/>
                </a:ext>
              </a:extLst>
            </p:cNvPr>
            <p:cNvSpPr/>
            <p:nvPr/>
          </p:nvSpPr>
          <p:spPr>
            <a:xfrm>
              <a:off x="5899272" y="5784690"/>
              <a:ext cx="1319964" cy="327412"/>
            </a:xfrm>
            <a:custGeom>
              <a:avLst/>
              <a:gdLst>
                <a:gd name="connsiteX0" fmla="*/ 875062 w 1319964"/>
                <a:gd name="connsiteY0" fmla="*/ 327412 h 327412"/>
                <a:gd name="connsiteX1" fmla="*/ 660025 w 1319964"/>
                <a:gd name="connsiteY1" fmla="*/ 60712 h 327412"/>
                <a:gd name="connsiteX2" fmla="*/ 444979 w 1319964"/>
                <a:gd name="connsiteY2" fmla="*/ 327403 h 327412"/>
                <a:gd name="connsiteX3" fmla="*/ 229905 w 1319964"/>
                <a:gd name="connsiteY3" fmla="*/ 60703 h 327412"/>
                <a:gd name="connsiteX4" fmla="*/ 29651 w 1319964"/>
                <a:gd name="connsiteY4" fmla="*/ 309010 h 327412"/>
                <a:gd name="connsiteX5" fmla="*/ 0 w 1319964"/>
                <a:gd name="connsiteY5" fmla="*/ 285102 h 327412"/>
                <a:gd name="connsiteX6" fmla="*/ 229905 w 1319964"/>
                <a:gd name="connsiteY6" fmla="*/ 9 h 327412"/>
                <a:gd name="connsiteX7" fmla="*/ 444979 w 1319964"/>
                <a:gd name="connsiteY7" fmla="*/ 266709 h 327412"/>
                <a:gd name="connsiteX8" fmla="*/ 660025 w 1319964"/>
                <a:gd name="connsiteY8" fmla="*/ 0 h 327412"/>
                <a:gd name="connsiteX9" fmla="*/ 875062 w 1319964"/>
                <a:gd name="connsiteY9" fmla="*/ 266700 h 327412"/>
                <a:gd name="connsiteX10" fmla="*/ 1090098 w 1319964"/>
                <a:gd name="connsiteY10" fmla="*/ 0 h 327412"/>
                <a:gd name="connsiteX11" fmla="*/ 1319965 w 1319964"/>
                <a:gd name="connsiteY11" fmla="*/ 285102 h 327412"/>
                <a:gd name="connsiteX12" fmla="*/ 1290314 w 1319964"/>
                <a:gd name="connsiteY12" fmla="*/ 309010 h 327412"/>
                <a:gd name="connsiteX13" fmla="*/ 1090098 w 1319964"/>
                <a:gd name="connsiteY13" fmla="*/ 60712 h 32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19964" h="327412">
                  <a:moveTo>
                    <a:pt x="875062" y="327412"/>
                  </a:moveTo>
                  <a:lnTo>
                    <a:pt x="660025" y="60712"/>
                  </a:lnTo>
                  <a:lnTo>
                    <a:pt x="444979" y="327403"/>
                  </a:lnTo>
                  <a:lnTo>
                    <a:pt x="229905" y="60703"/>
                  </a:lnTo>
                  <a:lnTo>
                    <a:pt x="29651" y="309010"/>
                  </a:lnTo>
                  <a:lnTo>
                    <a:pt x="0" y="285102"/>
                  </a:lnTo>
                  <a:lnTo>
                    <a:pt x="229905" y="9"/>
                  </a:lnTo>
                  <a:lnTo>
                    <a:pt x="444979" y="266709"/>
                  </a:lnTo>
                  <a:lnTo>
                    <a:pt x="660025" y="0"/>
                  </a:lnTo>
                  <a:lnTo>
                    <a:pt x="875062" y="266700"/>
                  </a:lnTo>
                  <a:lnTo>
                    <a:pt x="1090098" y="0"/>
                  </a:lnTo>
                  <a:lnTo>
                    <a:pt x="1319965" y="285102"/>
                  </a:lnTo>
                  <a:lnTo>
                    <a:pt x="1290314" y="309010"/>
                  </a:lnTo>
                  <a:lnTo>
                    <a:pt x="1090098" y="607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94" name="Group 893">
            <a:extLst>
              <a:ext uri="{FF2B5EF4-FFF2-40B4-BE49-F238E27FC236}">
                <a16:creationId xmlns:a16="http://schemas.microsoft.com/office/drawing/2014/main" id="{D0BFCAD1-ADD4-4B84-9BD9-92BFCC1DD112}"/>
              </a:ext>
            </a:extLst>
          </p:cNvPr>
          <p:cNvGrpSpPr/>
          <p:nvPr/>
        </p:nvGrpSpPr>
        <p:grpSpPr>
          <a:xfrm>
            <a:off x="9217474" y="548638"/>
            <a:ext cx="931826" cy="931826"/>
            <a:chOff x="9228083" y="552595"/>
            <a:chExt cx="931826" cy="931826"/>
          </a:xfrm>
        </p:grpSpPr>
        <p:sp>
          <p:nvSpPr>
            <p:cNvPr id="890" name="Oval 889">
              <a:extLst>
                <a:ext uri="{FF2B5EF4-FFF2-40B4-BE49-F238E27FC236}">
                  <a16:creationId xmlns:a16="http://schemas.microsoft.com/office/drawing/2014/main" id="{D1C7F5CB-493E-4C4E-B3BB-F902DE7AE7AE}"/>
                </a:ext>
              </a:extLst>
            </p:cNvPr>
            <p:cNvSpPr/>
            <p:nvPr/>
          </p:nvSpPr>
          <p:spPr>
            <a:xfrm>
              <a:off x="9228083" y="552595"/>
              <a:ext cx="931826" cy="931826"/>
            </a:xfrm>
            <a:prstGeom prst="ellipse">
              <a:avLst/>
            </a:prstGeom>
            <a:solidFill>
              <a:srgbClr val="F7AB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b="1" i="1">
                <a:latin typeface="Georgia" panose="02040502050405020303" pitchFamily="18" charset="0"/>
              </a:endParaRPr>
            </a:p>
          </p:txBody>
        </p:sp>
        <p:sp>
          <p:nvSpPr>
            <p:cNvPr id="891" name="Oval 890">
              <a:extLst>
                <a:ext uri="{FF2B5EF4-FFF2-40B4-BE49-F238E27FC236}">
                  <a16:creationId xmlns:a16="http://schemas.microsoft.com/office/drawing/2014/main" id="{0FBC3AB2-9A3B-4362-A202-573AD60960A6}"/>
                </a:ext>
              </a:extLst>
            </p:cNvPr>
            <p:cNvSpPr/>
            <p:nvPr/>
          </p:nvSpPr>
          <p:spPr>
            <a:xfrm>
              <a:off x="9572970" y="794556"/>
              <a:ext cx="242051" cy="2420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b="1" i="1">
                <a:latin typeface="Georgia" panose="02040502050405020303" pitchFamily="18" charset="0"/>
              </a:endParaRPr>
            </a:p>
          </p:txBody>
        </p:sp>
        <p:sp>
          <p:nvSpPr>
            <p:cNvPr id="893" name="Freeform 93">
              <a:extLst>
                <a:ext uri="{FF2B5EF4-FFF2-40B4-BE49-F238E27FC236}">
                  <a16:creationId xmlns:a16="http://schemas.microsoft.com/office/drawing/2014/main" id="{F81D6CC3-AB29-4843-8936-FB16FAEFC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3678" y="750139"/>
              <a:ext cx="580636" cy="580634"/>
            </a:xfrm>
            <a:custGeom>
              <a:avLst/>
              <a:gdLst>
                <a:gd name="T0" fmla="*/ 96 w 96"/>
                <a:gd name="T1" fmla="*/ 11 h 96"/>
                <a:gd name="T2" fmla="*/ 96 w 96"/>
                <a:gd name="T3" fmla="*/ 10 h 96"/>
                <a:gd name="T4" fmla="*/ 95 w 96"/>
                <a:gd name="T5" fmla="*/ 9 h 96"/>
                <a:gd name="T6" fmla="*/ 94 w 96"/>
                <a:gd name="T7" fmla="*/ 8 h 96"/>
                <a:gd name="T8" fmla="*/ 86 w 96"/>
                <a:gd name="T9" fmla="*/ 8 h 96"/>
                <a:gd name="T10" fmla="*/ 86 w 96"/>
                <a:gd name="T11" fmla="*/ 2 h 96"/>
                <a:gd name="T12" fmla="*/ 84 w 96"/>
                <a:gd name="T13" fmla="*/ 0 h 96"/>
                <a:gd name="T14" fmla="*/ 12 w 96"/>
                <a:gd name="T15" fmla="*/ 0 h 96"/>
                <a:gd name="T16" fmla="*/ 10 w 96"/>
                <a:gd name="T17" fmla="*/ 2 h 96"/>
                <a:gd name="T18" fmla="*/ 10 w 96"/>
                <a:gd name="T19" fmla="*/ 8 h 96"/>
                <a:gd name="T20" fmla="*/ 2 w 96"/>
                <a:gd name="T21" fmla="*/ 8 h 96"/>
                <a:gd name="T22" fmla="*/ 0 w 96"/>
                <a:gd name="T23" fmla="*/ 10 h 96"/>
                <a:gd name="T24" fmla="*/ 0 w 96"/>
                <a:gd name="T25" fmla="*/ 11 h 96"/>
                <a:gd name="T26" fmla="*/ 7 w 96"/>
                <a:gd name="T27" fmla="*/ 39 h 96"/>
                <a:gd name="T28" fmla="*/ 19 w 96"/>
                <a:gd name="T29" fmla="*/ 44 h 96"/>
                <a:gd name="T30" fmla="*/ 33 w 96"/>
                <a:gd name="T31" fmla="*/ 56 h 96"/>
                <a:gd name="T32" fmla="*/ 42 w 96"/>
                <a:gd name="T33" fmla="*/ 68 h 96"/>
                <a:gd name="T34" fmla="*/ 26 w 96"/>
                <a:gd name="T35" fmla="*/ 84 h 96"/>
                <a:gd name="T36" fmla="*/ 24 w 96"/>
                <a:gd name="T37" fmla="*/ 86 h 96"/>
                <a:gd name="T38" fmla="*/ 24 w 96"/>
                <a:gd name="T39" fmla="*/ 94 h 96"/>
                <a:gd name="T40" fmla="*/ 26 w 96"/>
                <a:gd name="T41" fmla="*/ 96 h 96"/>
                <a:gd name="T42" fmla="*/ 70 w 96"/>
                <a:gd name="T43" fmla="*/ 96 h 96"/>
                <a:gd name="T44" fmla="*/ 72 w 96"/>
                <a:gd name="T45" fmla="*/ 94 h 96"/>
                <a:gd name="T46" fmla="*/ 72 w 96"/>
                <a:gd name="T47" fmla="*/ 86 h 96"/>
                <a:gd name="T48" fmla="*/ 70 w 96"/>
                <a:gd name="T49" fmla="*/ 84 h 96"/>
                <a:gd name="T50" fmla="*/ 54 w 96"/>
                <a:gd name="T51" fmla="*/ 68 h 96"/>
                <a:gd name="T52" fmla="*/ 63 w 96"/>
                <a:gd name="T53" fmla="*/ 55 h 96"/>
                <a:gd name="T54" fmla="*/ 77 w 96"/>
                <a:gd name="T55" fmla="*/ 44 h 96"/>
                <a:gd name="T56" fmla="*/ 88 w 96"/>
                <a:gd name="T57" fmla="*/ 39 h 96"/>
                <a:gd name="T58" fmla="*/ 96 w 96"/>
                <a:gd name="T59" fmla="*/ 11 h 96"/>
                <a:gd name="T60" fmla="*/ 61 w 96"/>
                <a:gd name="T61" fmla="*/ 24 h 96"/>
                <a:gd name="T62" fmla="*/ 56 w 96"/>
                <a:gd name="T63" fmla="*/ 28 h 96"/>
                <a:gd name="T64" fmla="*/ 58 w 96"/>
                <a:gd name="T65" fmla="*/ 35 h 96"/>
                <a:gd name="T66" fmla="*/ 57 w 96"/>
                <a:gd name="T67" fmla="*/ 38 h 96"/>
                <a:gd name="T68" fmla="*/ 56 w 96"/>
                <a:gd name="T69" fmla="*/ 38 h 96"/>
                <a:gd name="T70" fmla="*/ 55 w 96"/>
                <a:gd name="T71" fmla="*/ 38 h 96"/>
                <a:gd name="T72" fmla="*/ 48 w 96"/>
                <a:gd name="T73" fmla="*/ 32 h 96"/>
                <a:gd name="T74" fmla="*/ 41 w 96"/>
                <a:gd name="T75" fmla="*/ 38 h 96"/>
                <a:gd name="T76" fmla="*/ 39 w 96"/>
                <a:gd name="T77" fmla="*/ 38 h 96"/>
                <a:gd name="T78" fmla="*/ 38 w 96"/>
                <a:gd name="T79" fmla="*/ 35 h 96"/>
                <a:gd name="T80" fmla="*/ 41 w 96"/>
                <a:gd name="T81" fmla="*/ 28 h 96"/>
                <a:gd name="T82" fmla="*/ 35 w 96"/>
                <a:gd name="T83" fmla="*/ 24 h 96"/>
                <a:gd name="T84" fmla="*/ 34 w 96"/>
                <a:gd name="T85" fmla="*/ 21 h 96"/>
                <a:gd name="T86" fmla="*/ 36 w 96"/>
                <a:gd name="T87" fmla="*/ 20 h 96"/>
                <a:gd name="T88" fmla="*/ 43 w 96"/>
                <a:gd name="T89" fmla="*/ 20 h 96"/>
                <a:gd name="T90" fmla="*/ 46 w 96"/>
                <a:gd name="T91" fmla="*/ 13 h 96"/>
                <a:gd name="T92" fmla="*/ 50 w 96"/>
                <a:gd name="T93" fmla="*/ 13 h 96"/>
                <a:gd name="T94" fmla="*/ 53 w 96"/>
                <a:gd name="T95" fmla="*/ 20 h 96"/>
                <a:gd name="T96" fmla="*/ 60 w 96"/>
                <a:gd name="T97" fmla="*/ 20 h 96"/>
                <a:gd name="T98" fmla="*/ 62 w 96"/>
                <a:gd name="T99" fmla="*/ 21 h 96"/>
                <a:gd name="T100" fmla="*/ 61 w 96"/>
                <a:gd name="T101" fmla="*/ 24 h 96"/>
                <a:gd name="T102" fmla="*/ 10 w 96"/>
                <a:gd name="T103" fmla="*/ 36 h 96"/>
                <a:gd name="T104" fmla="*/ 4 w 96"/>
                <a:gd name="T105" fmla="*/ 12 h 96"/>
                <a:gd name="T106" fmla="*/ 10 w 96"/>
                <a:gd name="T107" fmla="*/ 12 h 96"/>
                <a:gd name="T108" fmla="*/ 17 w 96"/>
                <a:gd name="T109" fmla="*/ 40 h 96"/>
                <a:gd name="T110" fmla="*/ 10 w 96"/>
                <a:gd name="T111" fmla="*/ 36 h 96"/>
                <a:gd name="T112" fmla="*/ 86 w 96"/>
                <a:gd name="T113" fmla="*/ 36 h 96"/>
                <a:gd name="T114" fmla="*/ 79 w 96"/>
                <a:gd name="T115" fmla="*/ 40 h 96"/>
                <a:gd name="T116" fmla="*/ 86 w 96"/>
                <a:gd name="T117" fmla="*/ 12 h 96"/>
                <a:gd name="T118" fmla="*/ 92 w 96"/>
                <a:gd name="T119" fmla="*/ 12 h 96"/>
                <a:gd name="T120" fmla="*/ 86 w 96"/>
                <a:gd name="T121" fmla="*/ 3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6" h="96">
                  <a:moveTo>
                    <a:pt x="96" y="11"/>
                  </a:move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6" y="9"/>
                    <a:pt x="95" y="9"/>
                  </a:cubicBezTo>
                  <a:cubicBezTo>
                    <a:pt x="95" y="8"/>
                    <a:pt x="95" y="8"/>
                    <a:pt x="94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6"/>
                    <a:pt x="86" y="4"/>
                    <a:pt x="86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0" y="1"/>
                    <a:pt x="10" y="2"/>
                  </a:cubicBezTo>
                  <a:cubicBezTo>
                    <a:pt x="10" y="4"/>
                    <a:pt x="10" y="6"/>
                    <a:pt x="1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0" y="31"/>
                    <a:pt x="7" y="39"/>
                  </a:cubicBezTo>
                  <a:cubicBezTo>
                    <a:pt x="11" y="42"/>
                    <a:pt x="15" y="44"/>
                    <a:pt x="19" y="44"/>
                  </a:cubicBezTo>
                  <a:cubicBezTo>
                    <a:pt x="24" y="50"/>
                    <a:pt x="29" y="53"/>
                    <a:pt x="33" y="56"/>
                  </a:cubicBezTo>
                  <a:cubicBezTo>
                    <a:pt x="38" y="59"/>
                    <a:pt x="42" y="61"/>
                    <a:pt x="42" y="68"/>
                  </a:cubicBezTo>
                  <a:cubicBezTo>
                    <a:pt x="42" y="78"/>
                    <a:pt x="39" y="84"/>
                    <a:pt x="26" y="84"/>
                  </a:cubicBezTo>
                  <a:cubicBezTo>
                    <a:pt x="25" y="84"/>
                    <a:pt x="24" y="85"/>
                    <a:pt x="24" y="86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4" y="95"/>
                    <a:pt x="25" y="96"/>
                    <a:pt x="26" y="9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71" y="96"/>
                    <a:pt x="72" y="95"/>
                    <a:pt x="72" y="94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2" y="85"/>
                    <a:pt x="71" y="84"/>
                    <a:pt x="70" y="84"/>
                  </a:cubicBezTo>
                  <a:cubicBezTo>
                    <a:pt x="59" y="84"/>
                    <a:pt x="54" y="79"/>
                    <a:pt x="54" y="68"/>
                  </a:cubicBezTo>
                  <a:cubicBezTo>
                    <a:pt x="54" y="61"/>
                    <a:pt x="58" y="59"/>
                    <a:pt x="63" y="55"/>
                  </a:cubicBezTo>
                  <a:cubicBezTo>
                    <a:pt x="67" y="53"/>
                    <a:pt x="72" y="50"/>
                    <a:pt x="77" y="44"/>
                  </a:cubicBezTo>
                  <a:cubicBezTo>
                    <a:pt x="81" y="44"/>
                    <a:pt x="85" y="42"/>
                    <a:pt x="88" y="39"/>
                  </a:cubicBezTo>
                  <a:cubicBezTo>
                    <a:pt x="96" y="31"/>
                    <a:pt x="96" y="16"/>
                    <a:pt x="96" y="11"/>
                  </a:cubicBezTo>
                  <a:close/>
                  <a:moveTo>
                    <a:pt x="61" y="24"/>
                  </a:moveTo>
                  <a:cubicBezTo>
                    <a:pt x="56" y="28"/>
                    <a:pt x="56" y="28"/>
                    <a:pt x="56" y="28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6"/>
                    <a:pt x="58" y="37"/>
                    <a:pt x="57" y="38"/>
                  </a:cubicBezTo>
                  <a:cubicBezTo>
                    <a:pt x="57" y="38"/>
                    <a:pt x="56" y="38"/>
                    <a:pt x="56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0" y="38"/>
                    <a:pt x="39" y="38"/>
                    <a:pt x="39" y="38"/>
                  </a:cubicBezTo>
                  <a:cubicBezTo>
                    <a:pt x="38" y="37"/>
                    <a:pt x="38" y="36"/>
                    <a:pt x="38" y="35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4" y="23"/>
                    <a:pt x="34" y="22"/>
                    <a:pt x="34" y="21"/>
                  </a:cubicBezTo>
                  <a:cubicBezTo>
                    <a:pt x="34" y="21"/>
                    <a:pt x="35" y="20"/>
                    <a:pt x="36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7" y="12"/>
                    <a:pt x="49" y="12"/>
                    <a:pt x="50" y="13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1" y="20"/>
                    <a:pt x="62" y="21"/>
                    <a:pt x="62" y="21"/>
                  </a:cubicBezTo>
                  <a:cubicBezTo>
                    <a:pt x="62" y="22"/>
                    <a:pt x="62" y="23"/>
                    <a:pt x="61" y="24"/>
                  </a:cubicBezTo>
                  <a:close/>
                  <a:moveTo>
                    <a:pt x="10" y="36"/>
                  </a:moveTo>
                  <a:cubicBezTo>
                    <a:pt x="4" y="30"/>
                    <a:pt x="4" y="18"/>
                    <a:pt x="4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25"/>
                    <a:pt x="14" y="33"/>
                    <a:pt x="17" y="40"/>
                  </a:cubicBezTo>
                  <a:cubicBezTo>
                    <a:pt x="14" y="39"/>
                    <a:pt x="12" y="38"/>
                    <a:pt x="10" y="36"/>
                  </a:cubicBezTo>
                  <a:close/>
                  <a:moveTo>
                    <a:pt x="86" y="36"/>
                  </a:moveTo>
                  <a:cubicBezTo>
                    <a:pt x="84" y="38"/>
                    <a:pt x="82" y="39"/>
                    <a:pt x="79" y="40"/>
                  </a:cubicBezTo>
                  <a:cubicBezTo>
                    <a:pt x="82" y="33"/>
                    <a:pt x="85" y="25"/>
                    <a:pt x="86" y="12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2" y="18"/>
                    <a:pt x="92" y="30"/>
                    <a:pt x="86" y="36"/>
                  </a:cubicBezTo>
                  <a:close/>
                </a:path>
              </a:pathLst>
            </a:custGeom>
            <a:solidFill>
              <a:srgbClr val="094A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7" name="TextBox 896">
            <a:extLst>
              <a:ext uri="{FF2B5EF4-FFF2-40B4-BE49-F238E27FC236}">
                <a16:creationId xmlns:a16="http://schemas.microsoft.com/office/drawing/2014/main" id="{063F6BAC-A872-4649-9A79-22958B7405ED}"/>
              </a:ext>
            </a:extLst>
          </p:cNvPr>
          <p:cNvSpPr txBox="1"/>
          <p:nvPr/>
        </p:nvSpPr>
        <p:spPr>
          <a:xfrm>
            <a:off x="9217474" y="1579797"/>
            <a:ext cx="2445901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>
                <a:solidFill>
                  <a:srgbClr val="094A44"/>
                </a:solidFill>
                <a:latin typeface="Georgia" panose="02040502050405020303" pitchFamily="18" charset="0"/>
              </a:rPr>
              <a:t>Use other techniques for emotion classification such as Deep learning.</a:t>
            </a:r>
          </a:p>
        </p:txBody>
      </p:sp>
      <p:sp>
        <p:nvSpPr>
          <p:cNvPr id="898" name="Freeform: Shape 897">
            <a:extLst>
              <a:ext uri="{FF2B5EF4-FFF2-40B4-BE49-F238E27FC236}">
                <a16:creationId xmlns:a16="http://schemas.microsoft.com/office/drawing/2014/main" id="{98EBDC3A-7EC6-4087-956D-72D85B2119DA}"/>
              </a:ext>
            </a:extLst>
          </p:cNvPr>
          <p:cNvSpPr/>
          <p:nvPr/>
        </p:nvSpPr>
        <p:spPr>
          <a:xfrm>
            <a:off x="8238388" y="5386979"/>
            <a:ext cx="979086" cy="28388"/>
          </a:xfrm>
          <a:custGeom>
            <a:avLst/>
            <a:gdLst>
              <a:gd name="connsiteX0" fmla="*/ 534924 w 534924"/>
              <a:gd name="connsiteY0" fmla="*/ 2477 h 4952"/>
              <a:gd name="connsiteX1" fmla="*/ 267367 w 534924"/>
              <a:gd name="connsiteY1" fmla="*/ 4953 h 4952"/>
              <a:gd name="connsiteX2" fmla="*/ 0 w 534924"/>
              <a:gd name="connsiteY2" fmla="*/ 2477 h 4952"/>
              <a:gd name="connsiteX3" fmla="*/ 267653 w 534924"/>
              <a:gd name="connsiteY3" fmla="*/ 0 h 4952"/>
              <a:gd name="connsiteX4" fmla="*/ 534924 w 534924"/>
              <a:gd name="connsiteY4" fmla="*/ 2477 h 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4924" h="4952">
                <a:moveTo>
                  <a:pt x="534924" y="2477"/>
                </a:moveTo>
                <a:cubicBezTo>
                  <a:pt x="534924" y="3905"/>
                  <a:pt x="415100" y="4953"/>
                  <a:pt x="267367" y="4953"/>
                </a:cubicBezTo>
                <a:cubicBezTo>
                  <a:pt x="119634" y="4953"/>
                  <a:pt x="0" y="4191"/>
                  <a:pt x="0" y="2477"/>
                </a:cubicBezTo>
                <a:cubicBezTo>
                  <a:pt x="0" y="762"/>
                  <a:pt x="119825" y="0"/>
                  <a:pt x="267653" y="0"/>
                </a:cubicBezTo>
                <a:cubicBezTo>
                  <a:pt x="415481" y="0"/>
                  <a:pt x="534924" y="1143"/>
                  <a:pt x="534924" y="2477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0" name="Freeform: Shape 899">
            <a:extLst>
              <a:ext uri="{FF2B5EF4-FFF2-40B4-BE49-F238E27FC236}">
                <a16:creationId xmlns:a16="http://schemas.microsoft.com/office/drawing/2014/main" id="{EBFA34D8-E50B-4177-94E5-4DF37E5292EE}"/>
              </a:ext>
            </a:extLst>
          </p:cNvPr>
          <p:cNvSpPr/>
          <p:nvPr/>
        </p:nvSpPr>
        <p:spPr>
          <a:xfrm>
            <a:off x="8885483" y="5503069"/>
            <a:ext cx="607935" cy="19389"/>
          </a:xfrm>
          <a:custGeom>
            <a:avLst/>
            <a:gdLst>
              <a:gd name="connsiteX0" fmla="*/ 534924 w 534924"/>
              <a:gd name="connsiteY0" fmla="*/ 2477 h 4952"/>
              <a:gd name="connsiteX1" fmla="*/ 267367 w 534924"/>
              <a:gd name="connsiteY1" fmla="*/ 4953 h 4952"/>
              <a:gd name="connsiteX2" fmla="*/ 0 w 534924"/>
              <a:gd name="connsiteY2" fmla="*/ 2477 h 4952"/>
              <a:gd name="connsiteX3" fmla="*/ 267653 w 534924"/>
              <a:gd name="connsiteY3" fmla="*/ 0 h 4952"/>
              <a:gd name="connsiteX4" fmla="*/ 534924 w 534924"/>
              <a:gd name="connsiteY4" fmla="*/ 2477 h 4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4924" h="4952">
                <a:moveTo>
                  <a:pt x="534924" y="2477"/>
                </a:moveTo>
                <a:cubicBezTo>
                  <a:pt x="534924" y="3905"/>
                  <a:pt x="415100" y="4953"/>
                  <a:pt x="267367" y="4953"/>
                </a:cubicBezTo>
                <a:cubicBezTo>
                  <a:pt x="119634" y="4953"/>
                  <a:pt x="0" y="4191"/>
                  <a:pt x="0" y="2477"/>
                </a:cubicBezTo>
                <a:cubicBezTo>
                  <a:pt x="0" y="762"/>
                  <a:pt x="119825" y="0"/>
                  <a:pt x="267653" y="0"/>
                </a:cubicBezTo>
                <a:cubicBezTo>
                  <a:pt x="415481" y="0"/>
                  <a:pt x="534924" y="1143"/>
                  <a:pt x="534924" y="2477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01" name="Graphic 28">
            <a:extLst>
              <a:ext uri="{FF2B5EF4-FFF2-40B4-BE49-F238E27FC236}">
                <a16:creationId xmlns:a16="http://schemas.microsoft.com/office/drawing/2014/main" id="{FBB2A6CD-DCBE-43C5-B08F-AF757101AB4D}"/>
              </a:ext>
            </a:extLst>
          </p:cNvPr>
          <p:cNvGrpSpPr/>
          <p:nvPr/>
        </p:nvGrpSpPr>
        <p:grpSpPr>
          <a:xfrm rot="8886293">
            <a:off x="11747088" y="253388"/>
            <a:ext cx="209107" cy="209200"/>
            <a:chOff x="10517187" y="-377031"/>
            <a:chExt cx="214979" cy="215074"/>
          </a:xfrm>
          <a:solidFill>
            <a:srgbClr val="45726D"/>
          </a:solidFill>
        </p:grpSpPr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0D9BBC9C-70F4-4F13-B6ED-542B7DF1FEF5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935C08CA-73B2-41C3-ACD9-726C590AA62C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04" name="Graphic 28">
            <a:extLst>
              <a:ext uri="{FF2B5EF4-FFF2-40B4-BE49-F238E27FC236}">
                <a16:creationId xmlns:a16="http://schemas.microsoft.com/office/drawing/2014/main" id="{817FFCDA-D69D-41BB-9DD5-481B4F7F3973}"/>
              </a:ext>
            </a:extLst>
          </p:cNvPr>
          <p:cNvGrpSpPr/>
          <p:nvPr/>
        </p:nvGrpSpPr>
        <p:grpSpPr>
          <a:xfrm rot="10800000">
            <a:off x="11525603" y="475498"/>
            <a:ext cx="172815" cy="172893"/>
            <a:chOff x="10517187" y="-377031"/>
            <a:chExt cx="214979" cy="215074"/>
          </a:xfrm>
          <a:solidFill>
            <a:srgbClr val="45726D"/>
          </a:solidFill>
        </p:grpSpPr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157E8116-9BF0-424E-A5DF-C0392972435C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1377D54E-EF96-400F-AE7E-EC927982E42B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7AA05F7F-1CA4-4BCE-A7B5-A8DE0F3B28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50" y="2940813"/>
            <a:ext cx="4822354" cy="22130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605526C-8A3F-440E-9D1F-0C9BDED3C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7511" y="490059"/>
            <a:ext cx="1660587" cy="5425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4BADA0C-0342-401E-882B-C1150B0978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7024" y="214159"/>
            <a:ext cx="932769" cy="93276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A74E577-AEC3-368E-E4A8-E5FBDCC9B985}"/>
              </a:ext>
            </a:extLst>
          </p:cNvPr>
          <p:cNvSpPr txBox="1"/>
          <p:nvPr/>
        </p:nvSpPr>
        <p:spPr>
          <a:xfrm>
            <a:off x="9252517" y="2891653"/>
            <a:ext cx="2445901" cy="166199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>
                <a:solidFill>
                  <a:srgbClr val="094A44"/>
                </a:solidFill>
                <a:latin typeface="Georgia"/>
              </a:rPr>
              <a:t>Use NLG to produce chatbot’s response for a more personalized conversation.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endParaRPr lang="en-US">
              <a:solidFill>
                <a:srgbClr val="094A4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945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  <a:solidFill>
            <a:srgbClr val="094A44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541278" y="602608"/>
            <a:ext cx="7177334" cy="4613848"/>
            <a:chOff x="500751" y="632830"/>
            <a:chExt cx="3433074" cy="127192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152724"/>
            </a:xfrm>
            <a:prstGeom prst="rect">
              <a:avLst/>
            </a:prstGeom>
            <a:solidFill>
              <a:srgbClr val="094A44"/>
            </a:solidFill>
          </p:spPr>
          <p:txBody>
            <a:bodyPr wrap="square" lIns="0" tIns="0" rIns="0" bIns="0">
              <a:spAutoFit/>
            </a:bodyPr>
            <a:lstStyle/>
            <a:p>
              <a:pPr lvl="0">
                <a:defRPr/>
              </a:pPr>
              <a:r>
                <a:rPr lang="en-US" sz="3600" b="1">
                  <a:solidFill>
                    <a:schemeClr val="bg1"/>
                  </a:solidFill>
                  <a:latin typeface="Georgia" panose="02040502050405020303" pitchFamily="18" charset="0"/>
                  <a:ea typeface="Open Sans" panose="020B0606030504020204" pitchFamily="34" charset="0"/>
                  <a:cs typeface="Segoe UI" panose="020B0502040204020203" pitchFamily="34" charset="0"/>
                </a:rPr>
                <a:t>Appendix </a:t>
              </a:r>
              <a:endPara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74503B-5122-4623-AB9F-1245C2B01E9D}"/>
                </a:ext>
              </a:extLst>
            </p:cNvPr>
            <p:cNvSpPr/>
            <p:nvPr/>
          </p:nvSpPr>
          <p:spPr>
            <a:xfrm>
              <a:off x="500751" y="878113"/>
              <a:ext cx="3425682" cy="10266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sz="2000">
                  <a:solidFill>
                    <a:schemeClr val="accent1">
                      <a:lumMod val="50000"/>
                    </a:schemeClr>
                  </a:solidFill>
                  <a:latin typeface="Georgia" panose="02040502050405020303" pitchFamily="18" charset="0"/>
                  <a:hlinkClick r:id="rId3"/>
                </a:rPr>
                <a:t>https://iopscience.iop.org/article/10.1088/1742-6596/2161/1/012039/meta </a:t>
              </a:r>
              <a:r>
                <a:rPr lang="en-US" sz="2000">
                  <a:solidFill>
                    <a:srgbClr val="094A44"/>
                  </a:solidFill>
                  <a:latin typeface="Georgia" panose="02040502050405020303" pitchFamily="18" charset="0"/>
                </a:rPr>
                <a:t>“Paper Link”</a:t>
              </a:r>
              <a:endParaRPr lang="en-US" sz="2000">
                <a:solidFill>
                  <a:srgbClr val="094A44"/>
                </a:solidFill>
                <a:latin typeface="Georgia" panose="02040502050405020303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  <a:p>
              <a:pPr marL="285750" lvl="0" indent="-285750">
                <a:buFont typeface="Wingdings" panose="05000000000000000000" pitchFamily="2" charset="2"/>
                <a:buChar char="Ø"/>
              </a:pPr>
              <a:r>
                <a:rPr lang="en-US" sz="2000">
                  <a:solidFill>
                    <a:schemeClr val="accent1">
                      <a:lumMod val="50000"/>
                    </a:schemeClr>
                  </a:solidFill>
                  <a:latin typeface="Georgia" panose="02040502050405020303" pitchFamily="18" charset="0"/>
                  <a:hlinkClick r:id="rId4"/>
                </a:rPr>
                <a:t>https://monkeylearn.com/sentiment-analysis/</a:t>
              </a:r>
              <a:r>
                <a:rPr lang="en-US" sz="2000">
                  <a:solidFill>
                    <a:schemeClr val="accent1">
                      <a:lumMod val="50000"/>
                    </a:schemeClr>
                  </a:solidFill>
                  <a:latin typeface="Georgia" panose="02040502050405020303" pitchFamily="18" charset="0"/>
                </a:rPr>
                <a:t>  </a:t>
              </a:r>
              <a:r>
                <a:rPr lang="en-US" sz="2000">
                  <a:solidFill>
                    <a:srgbClr val="094A44"/>
                  </a:solidFill>
                  <a:latin typeface="Georgia" panose="02040502050405020303" pitchFamily="18" charset="0"/>
                </a:rPr>
                <a:t>“Sentiment Analysis” </a:t>
              </a:r>
            </a:p>
            <a:p>
              <a:pPr marL="285750" lvl="0" indent="-285750">
                <a:buFont typeface="Wingdings" panose="05000000000000000000" pitchFamily="2" charset="2"/>
                <a:buChar char="Ø"/>
              </a:pPr>
              <a:r>
                <a:rPr lang="en-US" sz="2000">
                  <a:solidFill>
                    <a:schemeClr val="accent1">
                      <a:lumMod val="50000"/>
                    </a:schemeClr>
                  </a:solidFill>
                  <a:latin typeface="Georgia" panose="02040502050405020303" pitchFamily="18" charset="0"/>
                  <a:hlinkClick r:id="rId5"/>
                </a:rPr>
                <a:t>https://www.freshworks.com/live-chat-software/chatbots/three-types-of-chatbots/</a:t>
              </a:r>
              <a:r>
                <a:rPr lang="en-US" sz="2000">
                  <a:solidFill>
                    <a:srgbClr val="094A44"/>
                  </a:solidFill>
                  <a:latin typeface="Georgia" panose="02040502050405020303" pitchFamily="18" charset="0"/>
                </a:rPr>
                <a:t> “Chatbots types”</a:t>
              </a:r>
              <a:br>
                <a:rPr lang="en-US" sz="2000">
                  <a:solidFill>
                    <a:schemeClr val="accent1">
                      <a:lumMod val="50000"/>
                    </a:schemeClr>
                  </a:solidFill>
                  <a:latin typeface="Georgia" panose="02040502050405020303" pitchFamily="18" charset="0"/>
                </a:rPr>
              </a:br>
              <a:endParaRPr lang="en-US" sz="200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</a:endParaRPr>
            </a:p>
            <a:p>
              <a:pPr marL="342900" indent="-342900">
                <a:buFont typeface="Wingdings" panose="05000000000000000000" pitchFamily="2" charset="2"/>
                <a:buChar char="Ø"/>
              </a:pPr>
              <a:r>
                <a:rPr lang="en-US" sz="2000">
                  <a:solidFill>
                    <a:srgbClr val="094A44"/>
                  </a:solidFill>
                  <a:latin typeface="Georgia" panose="02040502050405020303" pitchFamily="18" charset="0"/>
                  <a:hlinkClick r:id="rId6"/>
                </a:rPr>
                <a:t>https://towardsdatascience.com/building-a-chatbot-in-python-the-beginners-guide-2743ad2b4851</a:t>
              </a:r>
              <a:r>
                <a:rPr lang="en-US" sz="2000">
                  <a:solidFill>
                    <a:srgbClr val="094A44"/>
                  </a:solidFill>
                  <a:latin typeface="Georgia" panose="02040502050405020303" pitchFamily="18" charset="0"/>
                </a:rPr>
                <a:t> ” A simple chatbot demo”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sz="4200" b="1" i="0" u="none" strike="noStrike" kern="1200" cap="none" spc="0" normalizeH="0" baseline="0" noProof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92480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4A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aphic 232" descr="A circle made of large dots">
            <a:extLst>
              <a:ext uri="{FF2B5EF4-FFF2-40B4-BE49-F238E27FC236}">
                <a16:creationId xmlns:a16="http://schemas.microsoft.com/office/drawing/2014/main" id="{E0796410-B66E-4118-AD3C-BB89817CE20B}"/>
              </a:ext>
            </a:extLst>
          </p:cNvPr>
          <p:cNvGrpSpPr/>
          <p:nvPr/>
        </p:nvGrpSpPr>
        <p:grpSpPr>
          <a:xfrm>
            <a:off x="8348697" y="3026645"/>
            <a:ext cx="1140808" cy="1140808"/>
            <a:chOff x="14986643" y="1930283"/>
            <a:chExt cx="3429000" cy="3429000"/>
          </a:xfrm>
          <a:solidFill>
            <a:srgbClr val="073732"/>
          </a:solidFill>
        </p:grpSpPr>
        <p:grpSp>
          <p:nvGrpSpPr>
            <p:cNvPr id="236" name="Graphic 232" descr="A circle made of large dots">
              <a:extLst>
                <a:ext uri="{FF2B5EF4-FFF2-40B4-BE49-F238E27FC236}">
                  <a16:creationId xmlns:a16="http://schemas.microsoft.com/office/drawing/2014/main" id="{51943927-FDE0-47D2-9BD6-8D54D9EA1010}"/>
                </a:ext>
              </a:extLst>
            </p:cNvPr>
            <p:cNvGrpSpPr/>
            <p:nvPr/>
          </p:nvGrpSpPr>
          <p:grpSpPr>
            <a:xfrm>
              <a:off x="14986643" y="1930283"/>
              <a:ext cx="3429000" cy="3429000"/>
              <a:chOff x="14986643" y="1930283"/>
              <a:chExt cx="3429000" cy="3429000"/>
            </a:xfrm>
            <a:grpFill/>
          </p:grpSpPr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D02D9A6D-AB5C-4D37-B87C-6E84D23AB273}"/>
                  </a:ext>
                </a:extLst>
              </p:cNvPr>
              <p:cNvSpPr/>
              <p:nvPr/>
            </p:nvSpPr>
            <p:spPr>
              <a:xfrm>
                <a:off x="16593986" y="1930283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3396DF08-4523-4648-8B83-24D5A08D93EB}"/>
                  </a:ext>
                </a:extLst>
              </p:cNvPr>
              <p:cNvSpPr/>
              <p:nvPr/>
            </p:nvSpPr>
            <p:spPr>
              <a:xfrm>
                <a:off x="16177972" y="1985051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7076F60F-E568-474B-9772-63B62E7BDDA0}"/>
                  </a:ext>
                </a:extLst>
              </p:cNvPr>
              <p:cNvSpPr/>
              <p:nvPr/>
            </p:nvSpPr>
            <p:spPr>
              <a:xfrm>
                <a:off x="15790314" y="2145624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384316BE-4016-499C-B5ED-8B91E54CBB9F}"/>
                  </a:ext>
                </a:extLst>
              </p:cNvPr>
              <p:cNvSpPr/>
              <p:nvPr/>
            </p:nvSpPr>
            <p:spPr>
              <a:xfrm>
                <a:off x="15457425" y="2401065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2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2"/>
                      <a:pt x="107156" y="214312"/>
                    </a:cubicBezTo>
                    <a:cubicBezTo>
                      <a:pt x="47975" y="214312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2" y="47975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FB3ACD36-4EC0-44E7-8945-A0A3FCCED3C2}"/>
                  </a:ext>
                </a:extLst>
              </p:cNvPr>
              <p:cNvSpPr/>
              <p:nvPr/>
            </p:nvSpPr>
            <p:spPr>
              <a:xfrm>
                <a:off x="15201984" y="2733954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9775C525-0600-4FB6-9B45-769F04E14AB5}"/>
                  </a:ext>
                </a:extLst>
              </p:cNvPr>
              <p:cNvSpPr/>
              <p:nvPr/>
            </p:nvSpPr>
            <p:spPr>
              <a:xfrm>
                <a:off x="15041411" y="3121612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EF7B3D02-DED9-4F6A-B7A7-BFDB9EA0061A}"/>
                  </a:ext>
                </a:extLst>
              </p:cNvPr>
              <p:cNvSpPr/>
              <p:nvPr/>
            </p:nvSpPr>
            <p:spPr>
              <a:xfrm>
                <a:off x="14986643" y="3537626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F960C65C-8C56-482D-8FFE-D14023FCA7B5}"/>
                  </a:ext>
                </a:extLst>
              </p:cNvPr>
              <p:cNvSpPr/>
              <p:nvPr/>
            </p:nvSpPr>
            <p:spPr>
              <a:xfrm>
                <a:off x="15041411" y="3953640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2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2"/>
                      <a:pt x="107156" y="214312"/>
                    </a:cubicBezTo>
                    <a:cubicBezTo>
                      <a:pt x="47975" y="214312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8C8B6269-21F8-4D8C-A335-29C178415362}"/>
                  </a:ext>
                </a:extLst>
              </p:cNvPr>
              <p:cNvSpPr/>
              <p:nvPr/>
            </p:nvSpPr>
            <p:spPr>
              <a:xfrm>
                <a:off x="15201984" y="4341298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D79A0015-4F87-4FE0-B239-C478395D2AFE}"/>
                  </a:ext>
                </a:extLst>
              </p:cNvPr>
              <p:cNvSpPr/>
              <p:nvPr/>
            </p:nvSpPr>
            <p:spPr>
              <a:xfrm>
                <a:off x="15457425" y="4674187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2" y="47976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CEE75059-B2FE-411F-8D83-8A13B6779B47}"/>
                  </a:ext>
                </a:extLst>
              </p:cNvPr>
              <p:cNvSpPr/>
              <p:nvPr/>
            </p:nvSpPr>
            <p:spPr>
              <a:xfrm>
                <a:off x="15790314" y="4929629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2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2"/>
                      <a:pt x="107156" y="214312"/>
                    </a:cubicBezTo>
                    <a:cubicBezTo>
                      <a:pt x="47975" y="214312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DC4868F6-CB17-4897-AFEC-0788B584A855}"/>
                  </a:ext>
                </a:extLst>
              </p:cNvPr>
              <p:cNvSpPr/>
              <p:nvPr/>
            </p:nvSpPr>
            <p:spPr>
              <a:xfrm>
                <a:off x="16177972" y="5090201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B2BB7C43-BACF-45BC-A5C6-2DEFA8A2C919}"/>
                  </a:ext>
                </a:extLst>
              </p:cNvPr>
              <p:cNvSpPr/>
              <p:nvPr/>
            </p:nvSpPr>
            <p:spPr>
              <a:xfrm>
                <a:off x="16593986" y="5144970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F2B269C5-E19F-4827-986A-A760743F07F6}"/>
                  </a:ext>
                </a:extLst>
              </p:cNvPr>
              <p:cNvSpPr/>
              <p:nvPr/>
            </p:nvSpPr>
            <p:spPr>
              <a:xfrm>
                <a:off x="17010000" y="5090201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2" y="47976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00D0359A-D645-43A7-B0E2-2E434403813F}"/>
                  </a:ext>
                </a:extLst>
              </p:cNvPr>
              <p:cNvSpPr/>
              <p:nvPr/>
            </p:nvSpPr>
            <p:spPr>
              <a:xfrm>
                <a:off x="17397658" y="4929629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2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2"/>
                      <a:pt x="107156" y="214312"/>
                    </a:cubicBezTo>
                    <a:cubicBezTo>
                      <a:pt x="47976" y="214312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989A093-9A4A-4F2C-8F72-B58DF5DCF994}"/>
                  </a:ext>
                </a:extLst>
              </p:cNvPr>
              <p:cNvSpPr/>
              <p:nvPr/>
            </p:nvSpPr>
            <p:spPr>
              <a:xfrm>
                <a:off x="17730547" y="4674187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995A320D-B14F-4E97-80D8-76A710435BFD}"/>
                  </a:ext>
                </a:extLst>
              </p:cNvPr>
              <p:cNvSpPr/>
              <p:nvPr/>
            </p:nvSpPr>
            <p:spPr>
              <a:xfrm>
                <a:off x="17985989" y="4341298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2" y="47976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18E3469C-A5BA-427F-A71B-DFEA045DC9EB}"/>
                  </a:ext>
                </a:extLst>
              </p:cNvPr>
              <p:cNvSpPr/>
              <p:nvPr/>
            </p:nvSpPr>
            <p:spPr>
              <a:xfrm>
                <a:off x="18146561" y="3953640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2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2"/>
                      <a:pt x="107156" y="214312"/>
                    </a:cubicBezTo>
                    <a:cubicBezTo>
                      <a:pt x="47976" y="214312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6425ADC0-9C77-4AEF-AB14-918FF1BD85E1}"/>
                  </a:ext>
                </a:extLst>
              </p:cNvPr>
              <p:cNvSpPr/>
              <p:nvPr/>
            </p:nvSpPr>
            <p:spPr>
              <a:xfrm>
                <a:off x="18201330" y="3537626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A7F6B10D-6B31-44CA-B442-5B0800B359C6}"/>
                  </a:ext>
                </a:extLst>
              </p:cNvPr>
              <p:cNvSpPr/>
              <p:nvPr/>
            </p:nvSpPr>
            <p:spPr>
              <a:xfrm>
                <a:off x="18146561" y="3121612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8F389ADD-9F8F-4D25-BE68-BF69CAE3C177}"/>
                  </a:ext>
                </a:extLst>
              </p:cNvPr>
              <p:cNvSpPr/>
              <p:nvPr/>
            </p:nvSpPr>
            <p:spPr>
              <a:xfrm>
                <a:off x="17985989" y="2733954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2" y="47975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2113844A-C75F-47E8-841F-FE90A782A4B7}"/>
                  </a:ext>
                </a:extLst>
              </p:cNvPr>
              <p:cNvSpPr/>
              <p:nvPr/>
            </p:nvSpPr>
            <p:spPr>
              <a:xfrm>
                <a:off x="17730547" y="2401065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2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2"/>
                      <a:pt x="107156" y="214312"/>
                    </a:cubicBezTo>
                    <a:cubicBezTo>
                      <a:pt x="47976" y="214312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55EEB4D3-5CEA-4E0A-A8CE-F31B9503C7CC}"/>
                  </a:ext>
                </a:extLst>
              </p:cNvPr>
              <p:cNvSpPr/>
              <p:nvPr/>
            </p:nvSpPr>
            <p:spPr>
              <a:xfrm>
                <a:off x="17397658" y="2145624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A6DE9B11-219E-420F-96BF-83761B90148C}"/>
                  </a:ext>
                </a:extLst>
              </p:cNvPr>
              <p:cNvSpPr/>
              <p:nvPr/>
            </p:nvSpPr>
            <p:spPr>
              <a:xfrm>
                <a:off x="17010000" y="1985051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2" y="47975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61" name="Graphic 232" descr="A circle made of large dots">
              <a:extLst>
                <a:ext uri="{FF2B5EF4-FFF2-40B4-BE49-F238E27FC236}">
                  <a16:creationId xmlns:a16="http://schemas.microsoft.com/office/drawing/2014/main" id="{9137276E-EC9C-45C8-9ED1-1E16E1902A3B}"/>
                </a:ext>
              </a:extLst>
            </p:cNvPr>
            <p:cNvGrpSpPr/>
            <p:nvPr/>
          </p:nvGrpSpPr>
          <p:grpSpPr>
            <a:xfrm>
              <a:off x="15522424" y="2466064"/>
              <a:ext cx="2357437" cy="2357437"/>
              <a:chOff x="15522424" y="2466064"/>
              <a:chExt cx="2357437" cy="2357437"/>
            </a:xfrm>
            <a:grpFill/>
          </p:grpSpPr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6FBAD8B2-D26E-4028-BD40-2AF82284987F}"/>
                  </a:ext>
                </a:extLst>
              </p:cNvPr>
              <p:cNvSpPr/>
              <p:nvPr/>
            </p:nvSpPr>
            <p:spPr>
              <a:xfrm>
                <a:off x="16593986" y="2466064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06F56307-6199-4236-831F-E35D8166F42F}"/>
                  </a:ext>
                </a:extLst>
              </p:cNvPr>
              <p:cNvSpPr/>
              <p:nvPr/>
            </p:nvSpPr>
            <p:spPr>
              <a:xfrm>
                <a:off x="16058205" y="2609625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EC8D25A4-4C4D-4EC1-AF71-6DB90E32B6C6}"/>
                  </a:ext>
                </a:extLst>
              </p:cNvPr>
              <p:cNvSpPr/>
              <p:nvPr/>
            </p:nvSpPr>
            <p:spPr>
              <a:xfrm>
                <a:off x="15665985" y="3001845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9B89A968-945E-4648-A8E7-F4F97ECEE801}"/>
                  </a:ext>
                </a:extLst>
              </p:cNvPr>
              <p:cNvSpPr/>
              <p:nvPr/>
            </p:nvSpPr>
            <p:spPr>
              <a:xfrm>
                <a:off x="15522424" y="3537626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82F76D9D-E917-4752-8451-7963163E3AF3}"/>
                  </a:ext>
                </a:extLst>
              </p:cNvPr>
              <p:cNvSpPr/>
              <p:nvPr/>
            </p:nvSpPr>
            <p:spPr>
              <a:xfrm>
                <a:off x="15665985" y="4073408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5C388BCA-FF4F-4EFE-BEDB-40687733CA15}"/>
                  </a:ext>
                </a:extLst>
              </p:cNvPr>
              <p:cNvSpPr/>
              <p:nvPr/>
            </p:nvSpPr>
            <p:spPr>
              <a:xfrm>
                <a:off x="16058205" y="4465628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BCB26DB7-C68B-4B29-8291-6FABF23F265A}"/>
                  </a:ext>
                </a:extLst>
              </p:cNvPr>
              <p:cNvSpPr/>
              <p:nvPr/>
            </p:nvSpPr>
            <p:spPr>
              <a:xfrm>
                <a:off x="16593986" y="4609189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65CD82D7-CB1C-4D9D-A14C-EB3FA682715E}"/>
                  </a:ext>
                </a:extLst>
              </p:cNvPr>
              <p:cNvSpPr/>
              <p:nvPr/>
            </p:nvSpPr>
            <p:spPr>
              <a:xfrm>
                <a:off x="17129768" y="4465628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5D66BCA2-DFE6-4070-918F-FACCF8B53C5F}"/>
                  </a:ext>
                </a:extLst>
              </p:cNvPr>
              <p:cNvSpPr/>
              <p:nvPr/>
            </p:nvSpPr>
            <p:spPr>
              <a:xfrm>
                <a:off x="17521988" y="4073408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6"/>
                      <a:pt x="47976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5E4901CC-EE6F-41B0-A2E6-48CAF7DC55CE}"/>
                  </a:ext>
                </a:extLst>
              </p:cNvPr>
              <p:cNvSpPr/>
              <p:nvPr/>
            </p:nvSpPr>
            <p:spPr>
              <a:xfrm>
                <a:off x="17665549" y="3537626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233FD106-0E6E-462C-A694-13BBE5F5E112}"/>
                  </a:ext>
                </a:extLst>
              </p:cNvPr>
              <p:cNvSpPr/>
              <p:nvPr/>
            </p:nvSpPr>
            <p:spPr>
              <a:xfrm>
                <a:off x="17521988" y="3001845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A81664B8-6C41-40CC-9ABB-0840AF9413EA}"/>
                  </a:ext>
                </a:extLst>
              </p:cNvPr>
              <p:cNvSpPr/>
              <p:nvPr/>
            </p:nvSpPr>
            <p:spPr>
              <a:xfrm>
                <a:off x="17129768" y="2609625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6" y="214313"/>
                      <a:pt x="0" y="166337"/>
                      <a:pt x="0" y="107156"/>
                    </a:cubicBezTo>
                    <a:cubicBezTo>
                      <a:pt x="0" y="47975"/>
                      <a:pt x="47976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4" name="Graphic 232" descr="A circle made of large dots">
              <a:extLst>
                <a:ext uri="{FF2B5EF4-FFF2-40B4-BE49-F238E27FC236}">
                  <a16:creationId xmlns:a16="http://schemas.microsoft.com/office/drawing/2014/main" id="{41EF8ED5-3948-4318-B99A-4142ABFD5F5D}"/>
                </a:ext>
              </a:extLst>
            </p:cNvPr>
            <p:cNvGrpSpPr/>
            <p:nvPr/>
          </p:nvGrpSpPr>
          <p:grpSpPr>
            <a:xfrm>
              <a:off x="16129985" y="3001845"/>
              <a:ext cx="1142314" cy="1285875"/>
              <a:chOff x="16129985" y="3001845"/>
              <a:chExt cx="1142314" cy="1285875"/>
            </a:xfrm>
            <a:grpFill/>
          </p:grpSpPr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057F9826-4B44-43B7-AB74-47CAD6353179}"/>
                  </a:ext>
                </a:extLst>
              </p:cNvPr>
              <p:cNvSpPr/>
              <p:nvPr/>
            </p:nvSpPr>
            <p:spPr>
              <a:xfrm>
                <a:off x="16593986" y="3001845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9C9A7CAA-8F65-40B3-A204-CFE330D0721E}"/>
                  </a:ext>
                </a:extLst>
              </p:cNvPr>
              <p:cNvSpPr/>
              <p:nvPr/>
            </p:nvSpPr>
            <p:spPr>
              <a:xfrm>
                <a:off x="16129985" y="3269736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2" y="47975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07AE404F-96DA-41D4-9995-36CDF1250D86}"/>
                  </a:ext>
                </a:extLst>
              </p:cNvPr>
              <p:cNvSpPr/>
              <p:nvPr/>
            </p:nvSpPr>
            <p:spPr>
              <a:xfrm>
                <a:off x="16129985" y="3805517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2" y="47976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42928531-36AF-4469-A233-B6587CF59A7F}"/>
                  </a:ext>
                </a:extLst>
              </p:cNvPr>
              <p:cNvSpPr/>
              <p:nvPr/>
            </p:nvSpPr>
            <p:spPr>
              <a:xfrm>
                <a:off x="16593986" y="4073408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3" y="47976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56F3CC50-7307-438F-BDED-B799DB01B745}"/>
                  </a:ext>
                </a:extLst>
              </p:cNvPr>
              <p:cNvSpPr/>
              <p:nvPr/>
            </p:nvSpPr>
            <p:spPr>
              <a:xfrm>
                <a:off x="17057987" y="3805517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6"/>
                      <a:pt x="47975" y="0"/>
                      <a:pt x="107156" y="0"/>
                    </a:cubicBezTo>
                    <a:cubicBezTo>
                      <a:pt x="166337" y="0"/>
                      <a:pt x="214312" y="47976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FC418B8E-6B1B-47B8-A4A2-EA81DF8C2559}"/>
                  </a:ext>
                </a:extLst>
              </p:cNvPr>
              <p:cNvSpPr/>
              <p:nvPr/>
            </p:nvSpPr>
            <p:spPr>
              <a:xfrm>
                <a:off x="16593967" y="3537607"/>
                <a:ext cx="214312" cy="214312"/>
              </a:xfrm>
              <a:custGeom>
                <a:avLst/>
                <a:gdLst>
                  <a:gd name="connsiteX0" fmla="*/ 214313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3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3" y="107156"/>
                    </a:moveTo>
                    <a:cubicBezTo>
                      <a:pt x="214313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3" y="47975"/>
                      <a:pt x="214313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031523E9-7A00-4EAE-B9F6-CE0C2B67387C}"/>
                  </a:ext>
                </a:extLst>
              </p:cNvPr>
              <p:cNvSpPr/>
              <p:nvPr/>
            </p:nvSpPr>
            <p:spPr>
              <a:xfrm>
                <a:off x="17057987" y="3269736"/>
                <a:ext cx="214312" cy="214312"/>
              </a:xfrm>
              <a:custGeom>
                <a:avLst/>
                <a:gdLst>
                  <a:gd name="connsiteX0" fmla="*/ 214312 w 214312"/>
                  <a:gd name="connsiteY0" fmla="*/ 107156 h 214312"/>
                  <a:gd name="connsiteX1" fmla="*/ 107156 w 214312"/>
                  <a:gd name="connsiteY1" fmla="*/ 214313 h 214312"/>
                  <a:gd name="connsiteX2" fmla="*/ 0 w 214312"/>
                  <a:gd name="connsiteY2" fmla="*/ 107156 h 214312"/>
                  <a:gd name="connsiteX3" fmla="*/ 107156 w 214312"/>
                  <a:gd name="connsiteY3" fmla="*/ 0 h 214312"/>
                  <a:gd name="connsiteX4" fmla="*/ 214312 w 214312"/>
                  <a:gd name="connsiteY4" fmla="*/ 107156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4312" h="214312">
                    <a:moveTo>
                      <a:pt x="214312" y="107156"/>
                    </a:moveTo>
                    <a:cubicBezTo>
                      <a:pt x="214312" y="166337"/>
                      <a:pt x="166337" y="214313"/>
                      <a:pt x="107156" y="214313"/>
                    </a:cubicBezTo>
                    <a:cubicBezTo>
                      <a:pt x="47975" y="214313"/>
                      <a:pt x="0" y="166337"/>
                      <a:pt x="0" y="107156"/>
                    </a:cubicBezTo>
                    <a:cubicBezTo>
                      <a:pt x="0" y="47975"/>
                      <a:pt x="47975" y="0"/>
                      <a:pt x="107156" y="0"/>
                    </a:cubicBezTo>
                    <a:cubicBezTo>
                      <a:pt x="166337" y="0"/>
                      <a:pt x="214312" y="47975"/>
                      <a:pt x="214312" y="1071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95" name="Freeform: Shape 194">
            <a:extLst>
              <a:ext uri="{FF2B5EF4-FFF2-40B4-BE49-F238E27FC236}">
                <a16:creationId xmlns:a16="http://schemas.microsoft.com/office/drawing/2014/main" id="{CA1B1CD9-DA9B-4408-B42A-8E2DD1579181}"/>
              </a:ext>
            </a:extLst>
          </p:cNvPr>
          <p:cNvSpPr/>
          <p:nvPr/>
        </p:nvSpPr>
        <p:spPr>
          <a:xfrm>
            <a:off x="5426623" y="-6727"/>
            <a:ext cx="3430880" cy="3809816"/>
          </a:xfrm>
          <a:custGeom>
            <a:avLst/>
            <a:gdLst>
              <a:gd name="connsiteX0" fmla="*/ 572907 w 3437375"/>
              <a:gd name="connsiteY0" fmla="*/ 3723369 h 3723369"/>
              <a:gd name="connsiteX1" fmla="*/ 2864468 w 3437375"/>
              <a:gd name="connsiteY1" fmla="*/ 3723369 h 3723369"/>
              <a:gd name="connsiteX2" fmla="*/ 3437375 w 3437375"/>
              <a:gd name="connsiteY2" fmla="*/ 3150462 h 3723369"/>
              <a:gd name="connsiteX3" fmla="*/ 3437375 w 3437375"/>
              <a:gd name="connsiteY3" fmla="*/ 1712671 h 3723369"/>
              <a:gd name="connsiteX4" fmla="*/ 3437375 w 3437375"/>
              <a:gd name="connsiteY4" fmla="*/ 675369 h 3723369"/>
              <a:gd name="connsiteX5" fmla="*/ 3437375 w 3437375"/>
              <a:gd name="connsiteY5" fmla="*/ 0 h 3723369"/>
              <a:gd name="connsiteX6" fmla="*/ 0 w 3437375"/>
              <a:gd name="connsiteY6" fmla="*/ 0 h 3723369"/>
              <a:gd name="connsiteX7" fmla="*/ 0 w 3437375"/>
              <a:gd name="connsiteY7" fmla="*/ 675369 h 3723369"/>
              <a:gd name="connsiteX8" fmla="*/ 0 w 3437375"/>
              <a:gd name="connsiteY8" fmla="*/ 1712671 h 3723369"/>
              <a:gd name="connsiteX9" fmla="*/ 0 w 3437375"/>
              <a:gd name="connsiteY9" fmla="*/ 3150462 h 3723369"/>
              <a:gd name="connsiteX10" fmla="*/ 572907 w 3437375"/>
              <a:gd name="connsiteY10" fmla="*/ 3723369 h 372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37375" h="3723369">
                <a:moveTo>
                  <a:pt x="572907" y="3723369"/>
                </a:moveTo>
                <a:lnTo>
                  <a:pt x="2864468" y="3723369"/>
                </a:lnTo>
                <a:cubicBezTo>
                  <a:pt x="3180876" y="3723369"/>
                  <a:pt x="3437375" y="3466870"/>
                  <a:pt x="3437375" y="3150462"/>
                </a:cubicBezTo>
                <a:lnTo>
                  <a:pt x="3437375" y="1712671"/>
                </a:lnTo>
                <a:lnTo>
                  <a:pt x="3437375" y="675369"/>
                </a:lnTo>
                <a:lnTo>
                  <a:pt x="3437375" y="0"/>
                </a:lnTo>
                <a:lnTo>
                  <a:pt x="0" y="0"/>
                </a:lnTo>
                <a:lnTo>
                  <a:pt x="0" y="675369"/>
                </a:lnTo>
                <a:lnTo>
                  <a:pt x="0" y="1712671"/>
                </a:lnTo>
                <a:lnTo>
                  <a:pt x="0" y="3150462"/>
                </a:lnTo>
                <a:cubicBezTo>
                  <a:pt x="0" y="3466870"/>
                  <a:pt x="256499" y="3723369"/>
                  <a:pt x="572907" y="3723369"/>
                </a:cubicBezTo>
                <a:close/>
              </a:path>
            </a:pathLst>
          </a:custGeom>
          <a:solidFill>
            <a:srgbClr val="4572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5C06C143-DE2F-44BA-8D05-30E08F308D26}"/>
              </a:ext>
            </a:extLst>
          </p:cNvPr>
          <p:cNvSpPr txBox="1"/>
          <p:nvPr/>
        </p:nvSpPr>
        <p:spPr>
          <a:xfrm>
            <a:off x="5793753" y="1913650"/>
            <a:ext cx="3063750" cy="166583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6000" b="1">
                <a:solidFill>
                  <a:schemeClr val="bg1"/>
                </a:solidFill>
                <a:latin typeface="Georgia" panose="02040502050405020303" pitchFamily="18" charset="0"/>
              </a:rPr>
              <a:t>Thank You</a:t>
            </a: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1FCB9C73-BF4B-446D-9964-A25731D0B0B0}"/>
              </a:ext>
            </a:extLst>
          </p:cNvPr>
          <p:cNvGrpSpPr/>
          <p:nvPr/>
        </p:nvGrpSpPr>
        <p:grpSpPr>
          <a:xfrm>
            <a:off x="546100" y="2809177"/>
            <a:ext cx="3858956" cy="4048823"/>
            <a:chOff x="546100" y="2713256"/>
            <a:chExt cx="3858956" cy="4048823"/>
          </a:xfrm>
        </p:grpSpPr>
        <p:grpSp>
          <p:nvGrpSpPr>
            <p:cNvPr id="117" name="Graphic 114">
              <a:extLst>
                <a:ext uri="{FF2B5EF4-FFF2-40B4-BE49-F238E27FC236}">
                  <a16:creationId xmlns:a16="http://schemas.microsoft.com/office/drawing/2014/main" id="{A8CA2671-1FBF-4171-9400-DCAA3128A3D0}"/>
                </a:ext>
              </a:extLst>
            </p:cNvPr>
            <p:cNvGrpSpPr/>
            <p:nvPr/>
          </p:nvGrpSpPr>
          <p:grpSpPr>
            <a:xfrm>
              <a:off x="546100" y="2713256"/>
              <a:ext cx="3858956" cy="3330193"/>
              <a:chOff x="531096" y="1661204"/>
              <a:chExt cx="3858956" cy="3330193"/>
            </a:xfrm>
            <a:solidFill>
              <a:srgbClr val="F5F5F5"/>
            </a:solidFill>
          </p:grpSpPr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586F6633-D81D-4405-8E75-7CF44040B0BE}"/>
                  </a:ext>
                </a:extLst>
              </p:cNvPr>
              <p:cNvSpPr/>
              <p:nvPr/>
            </p:nvSpPr>
            <p:spPr>
              <a:xfrm>
                <a:off x="531096" y="1661204"/>
                <a:ext cx="3858956" cy="3330193"/>
              </a:xfrm>
              <a:custGeom>
                <a:avLst/>
                <a:gdLst>
                  <a:gd name="connsiteX0" fmla="*/ 3695318 w 3858956"/>
                  <a:gd name="connsiteY0" fmla="*/ 532574 h 3330193"/>
                  <a:gd name="connsiteX1" fmla="*/ 3672172 w 3858956"/>
                  <a:gd name="connsiteY1" fmla="*/ 494474 h 3330193"/>
                  <a:gd name="connsiteX2" fmla="*/ 2750914 w 3858956"/>
                  <a:gd name="connsiteY2" fmla="*/ 1937 h 3330193"/>
                  <a:gd name="connsiteX3" fmla="*/ 2608039 w 3858956"/>
                  <a:gd name="connsiteY3" fmla="*/ 20987 h 3330193"/>
                  <a:gd name="connsiteX4" fmla="*/ 1852516 w 3858956"/>
                  <a:gd name="connsiteY4" fmla="*/ 677640 h 3330193"/>
                  <a:gd name="connsiteX5" fmla="*/ 1623916 w 3858956"/>
                  <a:gd name="connsiteY5" fmla="*/ 1245806 h 3330193"/>
                  <a:gd name="connsiteX6" fmla="*/ 881061 w 3858956"/>
                  <a:gd name="connsiteY6" fmla="*/ 1443164 h 3330193"/>
                  <a:gd name="connsiteX7" fmla="*/ 138111 w 3858956"/>
                  <a:gd name="connsiteY7" fmla="*/ 1642046 h 3330193"/>
                  <a:gd name="connsiteX8" fmla="*/ 1332 w 3858956"/>
                  <a:gd name="connsiteY8" fmla="*/ 2113248 h 3330193"/>
                  <a:gd name="connsiteX9" fmla="*/ 728185 w 3858956"/>
                  <a:gd name="connsiteY9" fmla="*/ 3152235 h 3330193"/>
                  <a:gd name="connsiteX10" fmla="*/ 2016441 w 3858956"/>
                  <a:gd name="connsiteY10" fmla="*/ 3280823 h 3330193"/>
                  <a:gd name="connsiteX11" fmla="*/ 3539012 w 3858956"/>
                  <a:gd name="connsiteY11" fmla="*/ 2309273 h 3330193"/>
                  <a:gd name="connsiteX12" fmla="*/ 3695318 w 3858956"/>
                  <a:gd name="connsiteY12" fmla="*/ 532574 h 333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58956" h="3330193">
                    <a:moveTo>
                      <a:pt x="3695318" y="532574"/>
                    </a:moveTo>
                    <a:lnTo>
                      <a:pt x="3672172" y="494474"/>
                    </a:lnTo>
                    <a:cubicBezTo>
                      <a:pt x="3476719" y="172434"/>
                      <a:pt x="3123437" y="-21685"/>
                      <a:pt x="2750914" y="1937"/>
                    </a:cubicBezTo>
                    <a:cubicBezTo>
                      <a:pt x="2702889" y="4802"/>
                      <a:pt x="2655140" y="11169"/>
                      <a:pt x="2608039" y="20987"/>
                    </a:cubicBezTo>
                    <a:cubicBezTo>
                      <a:pt x="2269330" y="93472"/>
                      <a:pt x="1974626" y="349599"/>
                      <a:pt x="1852516" y="677640"/>
                    </a:cubicBezTo>
                    <a:cubicBezTo>
                      <a:pt x="1780697" y="870521"/>
                      <a:pt x="1760600" y="1092644"/>
                      <a:pt x="1623916" y="1245806"/>
                    </a:cubicBezTo>
                    <a:cubicBezTo>
                      <a:pt x="1447132" y="1445450"/>
                      <a:pt x="1145951" y="1451737"/>
                      <a:pt x="881061" y="1443164"/>
                    </a:cubicBezTo>
                    <a:cubicBezTo>
                      <a:pt x="616171" y="1434592"/>
                      <a:pt x="314800" y="1441926"/>
                      <a:pt x="138111" y="1642046"/>
                    </a:cubicBezTo>
                    <a:cubicBezTo>
                      <a:pt x="27526" y="1767300"/>
                      <a:pt x="-7621" y="1945513"/>
                      <a:pt x="1332" y="2113248"/>
                    </a:cubicBezTo>
                    <a:cubicBezTo>
                      <a:pt x="24859" y="2557589"/>
                      <a:pt x="334707" y="2954782"/>
                      <a:pt x="728185" y="3152235"/>
                    </a:cubicBezTo>
                    <a:cubicBezTo>
                      <a:pt x="1121663" y="3349689"/>
                      <a:pt x="1585911" y="3367214"/>
                      <a:pt x="2016441" y="3280823"/>
                    </a:cubicBezTo>
                    <a:cubicBezTo>
                      <a:pt x="2620041" y="3159093"/>
                      <a:pt x="3194017" y="2824956"/>
                      <a:pt x="3539012" y="2309273"/>
                    </a:cubicBezTo>
                    <a:cubicBezTo>
                      <a:pt x="3884008" y="1793589"/>
                      <a:pt x="3971448" y="1089596"/>
                      <a:pt x="3695318" y="532574"/>
                    </a:cubicBezTo>
                    <a:close/>
                  </a:path>
                </a:pathLst>
              </a:custGeom>
              <a:solidFill>
                <a:srgbClr val="FDDABC"/>
              </a:solidFill>
              <a:ln w="9525" cap="flat">
                <a:noFill/>
                <a:prstDash val="solid"/>
                <a:miter/>
              </a:ln>
              <a:effectLst>
                <a:outerShdw blurRad="127000" dist="635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AF612191-817C-413B-A3FB-101377D1E216}"/>
                  </a:ext>
                </a:extLst>
              </p:cNvPr>
              <p:cNvSpPr/>
              <p:nvPr/>
            </p:nvSpPr>
            <p:spPr>
              <a:xfrm rot="-4592999">
                <a:off x="933134" y="1808493"/>
                <a:ext cx="557783" cy="557783"/>
              </a:xfrm>
              <a:custGeom>
                <a:avLst/>
                <a:gdLst>
                  <a:gd name="connsiteX0" fmla="*/ 557784 w 557783"/>
                  <a:gd name="connsiteY0" fmla="*/ 278892 h 557783"/>
                  <a:gd name="connsiteX1" fmla="*/ 278892 w 557783"/>
                  <a:gd name="connsiteY1" fmla="*/ 557784 h 557783"/>
                  <a:gd name="connsiteX2" fmla="*/ 0 w 557783"/>
                  <a:gd name="connsiteY2" fmla="*/ 278892 h 557783"/>
                  <a:gd name="connsiteX3" fmla="*/ 278892 w 557783"/>
                  <a:gd name="connsiteY3" fmla="*/ 0 h 557783"/>
                  <a:gd name="connsiteX4" fmla="*/ 557784 w 557783"/>
                  <a:gd name="connsiteY4" fmla="*/ 278892 h 557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783" h="557783">
                    <a:moveTo>
                      <a:pt x="557784" y="278892"/>
                    </a:moveTo>
                    <a:cubicBezTo>
                      <a:pt x="557784" y="432920"/>
                      <a:pt x="432920" y="557784"/>
                      <a:pt x="278892" y="557784"/>
                    </a:cubicBezTo>
                    <a:cubicBezTo>
                      <a:pt x="124864" y="557784"/>
                      <a:pt x="0" y="432920"/>
                      <a:pt x="0" y="278892"/>
                    </a:cubicBezTo>
                    <a:cubicBezTo>
                      <a:pt x="0" y="124864"/>
                      <a:pt x="124864" y="0"/>
                      <a:pt x="278892" y="0"/>
                    </a:cubicBezTo>
                    <a:cubicBezTo>
                      <a:pt x="432920" y="0"/>
                      <a:pt x="557784" y="124864"/>
                      <a:pt x="557784" y="278892"/>
                    </a:cubicBezTo>
                    <a:close/>
                  </a:path>
                </a:pathLst>
              </a:custGeom>
              <a:solidFill>
                <a:srgbClr val="FDDAB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17078AC-9DA7-4D2E-A0FC-EA6B8A90E135}"/>
                </a:ext>
              </a:extLst>
            </p:cNvPr>
            <p:cNvSpPr/>
            <p:nvPr/>
          </p:nvSpPr>
          <p:spPr>
            <a:xfrm>
              <a:off x="588866" y="6756746"/>
              <a:ext cx="3772566" cy="5333"/>
            </a:xfrm>
            <a:custGeom>
              <a:avLst/>
              <a:gdLst>
                <a:gd name="connsiteX0" fmla="*/ 3772567 w 3772566"/>
                <a:gd name="connsiteY0" fmla="*/ 2857 h 5333"/>
                <a:gd name="connsiteX1" fmla="*/ 1886617 w 3772566"/>
                <a:gd name="connsiteY1" fmla="*/ 5334 h 5333"/>
                <a:gd name="connsiteX2" fmla="*/ 0 w 3772566"/>
                <a:gd name="connsiteY2" fmla="*/ 2857 h 5333"/>
                <a:gd name="connsiteX3" fmla="*/ 1886045 w 3772566"/>
                <a:gd name="connsiteY3" fmla="*/ 0 h 5333"/>
                <a:gd name="connsiteX4" fmla="*/ 3772567 w 3772566"/>
                <a:gd name="connsiteY4" fmla="*/ 2857 h 5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72566" h="5333">
                  <a:moveTo>
                    <a:pt x="3772567" y="2857"/>
                  </a:moveTo>
                  <a:cubicBezTo>
                    <a:pt x="3772567" y="4286"/>
                    <a:pt x="2927890" y="5334"/>
                    <a:pt x="1886617" y="5334"/>
                  </a:cubicBezTo>
                  <a:cubicBezTo>
                    <a:pt x="845344" y="5334"/>
                    <a:pt x="0" y="4286"/>
                    <a:pt x="0" y="2857"/>
                  </a:cubicBezTo>
                  <a:cubicBezTo>
                    <a:pt x="0" y="1429"/>
                    <a:pt x="844010" y="0"/>
                    <a:pt x="1886045" y="0"/>
                  </a:cubicBezTo>
                  <a:cubicBezTo>
                    <a:pt x="2928080" y="0"/>
                    <a:pt x="3772567" y="1524"/>
                    <a:pt x="3772567" y="2857"/>
                  </a:cubicBezTo>
                  <a:close/>
                </a:path>
              </a:pathLst>
            </a:custGeom>
            <a:solidFill>
              <a:srgbClr val="F7AB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1" name="Graphic 114">
              <a:extLst>
                <a:ext uri="{FF2B5EF4-FFF2-40B4-BE49-F238E27FC236}">
                  <a16:creationId xmlns:a16="http://schemas.microsoft.com/office/drawing/2014/main" id="{880CC4B3-62A9-4C52-922F-BF9B674B0F79}"/>
                </a:ext>
              </a:extLst>
            </p:cNvPr>
            <p:cNvGrpSpPr/>
            <p:nvPr/>
          </p:nvGrpSpPr>
          <p:grpSpPr>
            <a:xfrm>
              <a:off x="2407113" y="3036375"/>
              <a:ext cx="1510888" cy="3721322"/>
              <a:chOff x="2392109" y="1984323"/>
              <a:chExt cx="1510888" cy="3721322"/>
            </a:xfrm>
          </p:grpSpPr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CBA1292C-19AE-4865-B64C-0C077C10C46A}"/>
                  </a:ext>
                </a:extLst>
              </p:cNvPr>
              <p:cNvSpPr/>
              <p:nvPr/>
            </p:nvSpPr>
            <p:spPr>
              <a:xfrm>
                <a:off x="2425947" y="1984323"/>
                <a:ext cx="954128" cy="880283"/>
              </a:xfrm>
              <a:custGeom>
                <a:avLst/>
                <a:gdLst>
                  <a:gd name="connsiteX0" fmla="*/ 200553 w 954128"/>
                  <a:gd name="connsiteY0" fmla="*/ 182690 h 880283"/>
                  <a:gd name="connsiteX1" fmla="*/ 310376 w 954128"/>
                  <a:gd name="connsiteY1" fmla="*/ 30290 h 880283"/>
                  <a:gd name="connsiteX2" fmla="*/ 516688 w 954128"/>
                  <a:gd name="connsiteY2" fmla="*/ 20765 h 880283"/>
                  <a:gd name="connsiteX3" fmla="*/ 645466 w 954128"/>
                  <a:gd name="connsiteY3" fmla="*/ 82677 h 880283"/>
                  <a:gd name="connsiteX4" fmla="*/ 874733 w 954128"/>
                  <a:gd name="connsiteY4" fmla="*/ 38386 h 880283"/>
                  <a:gd name="connsiteX5" fmla="*/ 951599 w 954128"/>
                  <a:gd name="connsiteY5" fmla="*/ 160152 h 880283"/>
                  <a:gd name="connsiteX6" fmla="*/ 867303 w 954128"/>
                  <a:gd name="connsiteY6" fmla="*/ 238411 h 880283"/>
                  <a:gd name="connsiteX7" fmla="*/ 928644 w 954128"/>
                  <a:gd name="connsiteY7" fmla="*/ 358998 h 880283"/>
                  <a:gd name="connsiteX8" fmla="*/ 804057 w 954128"/>
                  <a:gd name="connsiteY8" fmla="*/ 436341 h 880283"/>
                  <a:gd name="connsiteX9" fmla="*/ 657658 w 954128"/>
                  <a:gd name="connsiteY9" fmla="*/ 390240 h 880283"/>
                  <a:gd name="connsiteX10" fmla="*/ 524308 w 954128"/>
                  <a:gd name="connsiteY10" fmla="*/ 310611 h 880283"/>
                  <a:gd name="connsiteX11" fmla="*/ 373718 w 954128"/>
                  <a:gd name="connsiteY11" fmla="*/ 288513 h 880283"/>
                  <a:gd name="connsiteX12" fmla="*/ 240368 w 954128"/>
                  <a:gd name="connsiteY12" fmla="*/ 438436 h 880283"/>
                  <a:gd name="connsiteX13" fmla="*/ 240844 w 954128"/>
                  <a:gd name="connsiteY13" fmla="*/ 647415 h 880283"/>
                  <a:gd name="connsiteX14" fmla="*/ 258084 w 954128"/>
                  <a:gd name="connsiteY14" fmla="*/ 856965 h 880283"/>
                  <a:gd name="connsiteX15" fmla="*/ 248559 w 954128"/>
                  <a:gd name="connsiteY15" fmla="*/ 878586 h 880283"/>
                  <a:gd name="connsiteX16" fmla="*/ 218555 w 954128"/>
                  <a:gd name="connsiteY16" fmla="*/ 865347 h 880283"/>
                  <a:gd name="connsiteX17" fmla="*/ 24436 w 954128"/>
                  <a:gd name="connsiteY17" fmla="*/ 514446 h 880283"/>
                  <a:gd name="connsiteX18" fmla="*/ 16149 w 954128"/>
                  <a:gd name="connsiteY18" fmla="*/ 295371 h 880283"/>
                  <a:gd name="connsiteX19" fmla="*/ 200458 w 954128"/>
                  <a:gd name="connsiteY19" fmla="*/ 182976 h 880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4128" h="880283">
                    <a:moveTo>
                      <a:pt x="200553" y="182690"/>
                    </a:moveTo>
                    <a:cubicBezTo>
                      <a:pt x="204649" y="111157"/>
                      <a:pt x="248654" y="67152"/>
                      <a:pt x="310376" y="30290"/>
                    </a:cubicBezTo>
                    <a:cubicBezTo>
                      <a:pt x="373460" y="-6414"/>
                      <a:pt x="450489" y="-9970"/>
                      <a:pt x="516688" y="20765"/>
                    </a:cubicBezTo>
                    <a:cubicBezTo>
                      <a:pt x="560027" y="41339"/>
                      <a:pt x="597936" y="76581"/>
                      <a:pt x="645466" y="82677"/>
                    </a:cubicBezTo>
                    <a:cubicBezTo>
                      <a:pt x="723762" y="92774"/>
                      <a:pt x="797866" y="20193"/>
                      <a:pt x="874733" y="38386"/>
                    </a:cubicBezTo>
                    <a:cubicBezTo>
                      <a:pt x="929587" y="50785"/>
                      <a:pt x="964001" y="105301"/>
                      <a:pt x="951599" y="160152"/>
                    </a:cubicBezTo>
                    <a:cubicBezTo>
                      <a:pt x="942341" y="201131"/>
                      <a:pt x="908861" y="232214"/>
                      <a:pt x="867303" y="238411"/>
                    </a:cubicBezTo>
                    <a:cubicBezTo>
                      <a:pt x="918548" y="245936"/>
                      <a:pt x="947599" y="310706"/>
                      <a:pt x="928644" y="358998"/>
                    </a:cubicBezTo>
                    <a:cubicBezTo>
                      <a:pt x="909689" y="407289"/>
                      <a:pt x="855873" y="435198"/>
                      <a:pt x="804057" y="436341"/>
                    </a:cubicBezTo>
                    <a:cubicBezTo>
                      <a:pt x="752241" y="437484"/>
                      <a:pt x="702425" y="416243"/>
                      <a:pt x="657658" y="390240"/>
                    </a:cubicBezTo>
                    <a:cubicBezTo>
                      <a:pt x="612890" y="364236"/>
                      <a:pt x="570980" y="333090"/>
                      <a:pt x="524308" y="310611"/>
                    </a:cubicBezTo>
                    <a:cubicBezTo>
                      <a:pt x="477635" y="288132"/>
                      <a:pt x="423819" y="275178"/>
                      <a:pt x="373718" y="288513"/>
                    </a:cubicBezTo>
                    <a:cubicBezTo>
                      <a:pt x="305995" y="306515"/>
                      <a:pt x="257894" y="370523"/>
                      <a:pt x="240368" y="438436"/>
                    </a:cubicBezTo>
                    <a:cubicBezTo>
                      <a:pt x="222841" y="506349"/>
                      <a:pt x="230271" y="578073"/>
                      <a:pt x="240844" y="647415"/>
                    </a:cubicBezTo>
                    <a:cubicBezTo>
                      <a:pt x="251416" y="716757"/>
                      <a:pt x="264752" y="786670"/>
                      <a:pt x="258084" y="856965"/>
                    </a:cubicBezTo>
                    <a:cubicBezTo>
                      <a:pt x="258570" y="865280"/>
                      <a:pt x="255027" y="873329"/>
                      <a:pt x="248559" y="878586"/>
                    </a:cubicBezTo>
                    <a:cubicBezTo>
                      <a:pt x="238177" y="884301"/>
                      <a:pt x="226271" y="874491"/>
                      <a:pt x="218555" y="865347"/>
                    </a:cubicBezTo>
                    <a:cubicBezTo>
                      <a:pt x="131497" y="762219"/>
                      <a:pt x="65546" y="642995"/>
                      <a:pt x="24436" y="514446"/>
                    </a:cubicBezTo>
                    <a:cubicBezTo>
                      <a:pt x="814" y="440055"/>
                      <a:pt x="-12235" y="367761"/>
                      <a:pt x="16149" y="295371"/>
                    </a:cubicBezTo>
                    <a:cubicBezTo>
                      <a:pt x="44534" y="222981"/>
                      <a:pt x="139974" y="153448"/>
                      <a:pt x="200458" y="182976"/>
                    </a:cubicBez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26ADF222-F539-48C1-AB68-1CCA1616CEEE}"/>
                  </a:ext>
                </a:extLst>
              </p:cNvPr>
              <p:cNvSpPr/>
              <p:nvPr/>
            </p:nvSpPr>
            <p:spPr>
              <a:xfrm>
                <a:off x="2551647" y="2081011"/>
                <a:ext cx="756518" cy="1363922"/>
              </a:xfrm>
              <a:custGeom>
                <a:avLst/>
                <a:gdLst>
                  <a:gd name="connsiteX0" fmla="*/ 8845 w 756518"/>
                  <a:gd name="connsiteY0" fmla="*/ 431950 h 1363922"/>
                  <a:gd name="connsiteX1" fmla="*/ 123145 w 756518"/>
                  <a:gd name="connsiteY1" fmla="*/ 1139086 h 1363922"/>
                  <a:gd name="connsiteX2" fmla="*/ 437470 w 756518"/>
                  <a:gd name="connsiteY2" fmla="*/ 1355303 h 1363922"/>
                  <a:gd name="connsiteX3" fmla="*/ 437470 w 756518"/>
                  <a:gd name="connsiteY3" fmla="*/ 1355303 h 1363922"/>
                  <a:gd name="connsiteX4" fmla="*/ 578154 w 756518"/>
                  <a:gd name="connsiteY4" fmla="*/ 1019928 h 1363922"/>
                  <a:gd name="connsiteX5" fmla="*/ 578154 w 756518"/>
                  <a:gd name="connsiteY5" fmla="*/ 1019928 h 1363922"/>
                  <a:gd name="connsiteX6" fmla="*/ 755414 w 756518"/>
                  <a:gd name="connsiteY6" fmla="*/ 771326 h 1363922"/>
                  <a:gd name="connsiteX7" fmla="*/ 681310 w 756518"/>
                  <a:gd name="connsiteY7" fmla="*/ 303458 h 1363922"/>
                  <a:gd name="connsiteX8" fmla="*/ 280117 w 756518"/>
                  <a:gd name="connsiteY8" fmla="*/ 1896 h 1363922"/>
                  <a:gd name="connsiteX9" fmla="*/ 261067 w 756518"/>
                  <a:gd name="connsiteY9" fmla="*/ 3801 h 1363922"/>
                  <a:gd name="connsiteX10" fmla="*/ 8845 w 756518"/>
                  <a:gd name="connsiteY10" fmla="*/ 431950 h 136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6518" h="1363922">
                    <a:moveTo>
                      <a:pt x="8845" y="431950"/>
                    </a:moveTo>
                    <a:lnTo>
                      <a:pt x="123145" y="1139086"/>
                    </a:lnTo>
                    <a:cubicBezTo>
                      <a:pt x="144576" y="1271102"/>
                      <a:pt x="230396" y="1398642"/>
                      <a:pt x="437470" y="1355303"/>
                    </a:cubicBezTo>
                    <a:lnTo>
                      <a:pt x="437470" y="1355303"/>
                    </a:lnTo>
                    <a:cubicBezTo>
                      <a:pt x="614349" y="1304154"/>
                      <a:pt x="601205" y="1176900"/>
                      <a:pt x="578154" y="1019928"/>
                    </a:cubicBezTo>
                    <a:lnTo>
                      <a:pt x="578154" y="1019928"/>
                    </a:lnTo>
                    <a:cubicBezTo>
                      <a:pt x="578154" y="1019928"/>
                      <a:pt x="772845" y="969255"/>
                      <a:pt x="755414" y="771326"/>
                    </a:cubicBezTo>
                    <a:cubicBezTo>
                      <a:pt x="746937" y="676076"/>
                      <a:pt x="713599" y="480051"/>
                      <a:pt x="681310" y="303458"/>
                    </a:cubicBezTo>
                    <a:cubicBezTo>
                      <a:pt x="646591" y="113750"/>
                      <a:pt x="471998" y="-17487"/>
                      <a:pt x="280117" y="1896"/>
                    </a:cubicBezTo>
                    <a:lnTo>
                      <a:pt x="261067" y="3801"/>
                    </a:lnTo>
                    <a:cubicBezTo>
                      <a:pt x="56946" y="36472"/>
                      <a:pt x="-29446" y="228401"/>
                      <a:pt x="8845" y="431950"/>
                    </a:cubicBezTo>
                    <a:close/>
                  </a:path>
                </a:pathLst>
              </a:custGeom>
              <a:solidFill>
                <a:srgbClr val="FFBF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BA3E6964-4A4E-4368-B1CF-BD62A01CCD2F}"/>
                  </a:ext>
                </a:extLst>
              </p:cNvPr>
              <p:cNvSpPr/>
              <p:nvPr/>
            </p:nvSpPr>
            <p:spPr>
              <a:xfrm>
                <a:off x="2865196" y="3050743"/>
                <a:ext cx="273177" cy="115534"/>
              </a:xfrm>
              <a:custGeom>
                <a:avLst/>
                <a:gdLst>
                  <a:gd name="connsiteX0" fmla="*/ 265081 w 273177"/>
                  <a:gd name="connsiteY0" fmla="*/ 50197 h 115534"/>
                  <a:gd name="connsiteX1" fmla="*/ 0 w 273177"/>
                  <a:gd name="connsiteY1" fmla="*/ 0 h 115534"/>
                  <a:gd name="connsiteX2" fmla="*/ 273177 w 273177"/>
                  <a:gd name="connsiteY2" fmla="*/ 109347 h 11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3177" h="115534">
                    <a:moveTo>
                      <a:pt x="265081" y="50197"/>
                    </a:moveTo>
                    <a:cubicBezTo>
                      <a:pt x="265081" y="50197"/>
                      <a:pt x="141256" y="70009"/>
                      <a:pt x="0" y="0"/>
                    </a:cubicBezTo>
                    <a:cubicBezTo>
                      <a:pt x="0" y="0"/>
                      <a:pt x="77629" y="147066"/>
                      <a:pt x="273177" y="109347"/>
                    </a:cubicBezTo>
                    <a:close/>
                  </a:path>
                </a:pathLst>
              </a:custGeom>
              <a:solidFill>
                <a:srgbClr val="FF9A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B4CA554C-32BC-4FDB-BB0B-4C57E867D326}"/>
                  </a:ext>
                </a:extLst>
              </p:cNvPr>
              <p:cNvSpPr/>
              <p:nvPr/>
            </p:nvSpPr>
            <p:spPr>
              <a:xfrm>
                <a:off x="3110213" y="2559472"/>
                <a:ext cx="56308" cy="54617"/>
              </a:xfrm>
              <a:custGeom>
                <a:avLst/>
                <a:gdLst>
                  <a:gd name="connsiteX0" fmla="*/ 56163 w 56308"/>
                  <a:gd name="connsiteY0" fmla="*/ 23022 h 54617"/>
                  <a:gd name="connsiteX1" fmla="*/ 31779 w 56308"/>
                  <a:gd name="connsiteY1" fmla="*/ 54168 h 54617"/>
                  <a:gd name="connsiteX2" fmla="*/ 290 w 56308"/>
                  <a:gd name="connsiteY2" fmla="*/ 32451 h 54617"/>
                  <a:gd name="connsiteX3" fmla="*/ 156 w 56308"/>
                  <a:gd name="connsiteY3" fmla="*/ 31689 h 54617"/>
                  <a:gd name="connsiteX4" fmla="*/ 24445 w 56308"/>
                  <a:gd name="connsiteY4" fmla="*/ 447 h 54617"/>
                  <a:gd name="connsiteX5" fmla="*/ 56040 w 56308"/>
                  <a:gd name="connsiteY5" fmla="*/ 22260 h 54617"/>
                  <a:gd name="connsiteX6" fmla="*/ 56163 w 56308"/>
                  <a:gd name="connsiteY6" fmla="*/ 23022 h 5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308" h="54617">
                    <a:moveTo>
                      <a:pt x="56163" y="23022"/>
                    </a:moveTo>
                    <a:cubicBezTo>
                      <a:pt x="57697" y="38262"/>
                      <a:pt x="46943" y="51997"/>
                      <a:pt x="31779" y="54168"/>
                    </a:cubicBezTo>
                    <a:cubicBezTo>
                      <a:pt x="17082" y="56864"/>
                      <a:pt x="2985" y="47148"/>
                      <a:pt x="290" y="32451"/>
                    </a:cubicBezTo>
                    <a:cubicBezTo>
                      <a:pt x="242" y="32194"/>
                      <a:pt x="195" y="31947"/>
                      <a:pt x="156" y="31689"/>
                    </a:cubicBezTo>
                    <a:cubicBezTo>
                      <a:pt x="-1434" y="16449"/>
                      <a:pt x="9281" y="2667"/>
                      <a:pt x="24445" y="447"/>
                    </a:cubicBezTo>
                    <a:cubicBezTo>
                      <a:pt x="39190" y="-2248"/>
                      <a:pt x="53334" y="7515"/>
                      <a:pt x="56040" y="22260"/>
                    </a:cubicBezTo>
                    <a:cubicBezTo>
                      <a:pt x="56078" y="22517"/>
                      <a:pt x="56125" y="22764"/>
                      <a:pt x="56163" y="2302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F3C82FC8-ED3C-44EB-908B-5969B222FB67}"/>
                  </a:ext>
                </a:extLst>
              </p:cNvPr>
              <p:cNvSpPr/>
              <p:nvPr/>
            </p:nvSpPr>
            <p:spPr>
              <a:xfrm>
                <a:off x="3088942" y="2461103"/>
                <a:ext cx="112143" cy="35727"/>
              </a:xfrm>
              <a:custGeom>
                <a:avLst/>
                <a:gdLst>
                  <a:gd name="connsiteX0" fmla="*/ 111820 w 112143"/>
                  <a:gd name="connsiteY0" fmla="*/ 24616 h 35727"/>
                  <a:gd name="connsiteX1" fmla="*/ 55241 w 112143"/>
                  <a:gd name="connsiteY1" fmla="*/ 18139 h 35727"/>
                  <a:gd name="connsiteX2" fmla="*/ 473 w 112143"/>
                  <a:gd name="connsiteY2" fmla="*/ 35284 h 35727"/>
                  <a:gd name="connsiteX3" fmla="*/ 10569 w 112143"/>
                  <a:gd name="connsiteY3" fmla="*/ 18806 h 35727"/>
                  <a:gd name="connsiteX4" fmla="*/ 54003 w 112143"/>
                  <a:gd name="connsiteY4" fmla="*/ 423 h 35727"/>
                  <a:gd name="connsiteX5" fmla="*/ 99437 w 112143"/>
                  <a:gd name="connsiteY5" fmla="*/ 9948 h 35727"/>
                  <a:gd name="connsiteX6" fmla="*/ 111820 w 112143"/>
                  <a:gd name="connsiteY6" fmla="*/ 24616 h 35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143" h="35727">
                    <a:moveTo>
                      <a:pt x="111820" y="24616"/>
                    </a:moveTo>
                    <a:cubicBezTo>
                      <a:pt x="108677" y="28617"/>
                      <a:pt x="85626" y="15091"/>
                      <a:pt x="55241" y="18139"/>
                    </a:cubicBezTo>
                    <a:cubicBezTo>
                      <a:pt x="24857" y="21187"/>
                      <a:pt x="4187" y="38713"/>
                      <a:pt x="473" y="35284"/>
                    </a:cubicBezTo>
                    <a:cubicBezTo>
                      <a:pt x="-1242" y="33856"/>
                      <a:pt x="1616" y="26807"/>
                      <a:pt x="10569" y="18806"/>
                    </a:cubicBezTo>
                    <a:cubicBezTo>
                      <a:pt x="22828" y="8376"/>
                      <a:pt x="37982" y="1956"/>
                      <a:pt x="54003" y="423"/>
                    </a:cubicBezTo>
                    <a:cubicBezTo>
                      <a:pt x="69776" y="-1253"/>
                      <a:pt x="85664" y="2080"/>
                      <a:pt x="99437" y="9948"/>
                    </a:cubicBezTo>
                    <a:cubicBezTo>
                      <a:pt x="109534" y="16425"/>
                      <a:pt x="113344" y="22807"/>
                      <a:pt x="111820" y="2461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AD9759A8-1F80-4E2F-96B5-B131992E9206}"/>
                  </a:ext>
                </a:extLst>
              </p:cNvPr>
              <p:cNvSpPr/>
              <p:nvPr/>
            </p:nvSpPr>
            <p:spPr>
              <a:xfrm>
                <a:off x="2825512" y="2577401"/>
                <a:ext cx="56319" cy="54967"/>
              </a:xfrm>
              <a:custGeom>
                <a:avLst/>
                <a:gdLst>
                  <a:gd name="connsiteX0" fmla="*/ 56163 w 56319"/>
                  <a:gd name="connsiteY0" fmla="*/ 23285 h 54967"/>
                  <a:gd name="connsiteX1" fmla="*/ 31874 w 56319"/>
                  <a:gd name="connsiteY1" fmla="*/ 54527 h 54967"/>
                  <a:gd name="connsiteX2" fmla="*/ 318 w 56319"/>
                  <a:gd name="connsiteY2" fmla="*/ 32667 h 54967"/>
                  <a:gd name="connsiteX3" fmla="*/ 156 w 56319"/>
                  <a:gd name="connsiteY3" fmla="*/ 31667 h 54967"/>
                  <a:gd name="connsiteX4" fmla="*/ 24540 w 56319"/>
                  <a:gd name="connsiteY4" fmla="*/ 425 h 54967"/>
                  <a:gd name="connsiteX5" fmla="*/ 56020 w 56319"/>
                  <a:gd name="connsiteY5" fmla="*/ 22399 h 54967"/>
                  <a:gd name="connsiteX6" fmla="*/ 56163 w 56319"/>
                  <a:gd name="connsiteY6" fmla="*/ 23285 h 54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319" h="54967">
                    <a:moveTo>
                      <a:pt x="56163" y="23285"/>
                    </a:moveTo>
                    <a:cubicBezTo>
                      <a:pt x="57753" y="38525"/>
                      <a:pt x="47038" y="52308"/>
                      <a:pt x="31874" y="54527"/>
                    </a:cubicBezTo>
                    <a:cubicBezTo>
                      <a:pt x="17120" y="57204"/>
                      <a:pt x="2994" y="47412"/>
                      <a:pt x="318" y="32667"/>
                    </a:cubicBezTo>
                    <a:cubicBezTo>
                      <a:pt x="261" y="32334"/>
                      <a:pt x="203" y="32000"/>
                      <a:pt x="156" y="31667"/>
                    </a:cubicBezTo>
                    <a:cubicBezTo>
                      <a:pt x="-1435" y="16389"/>
                      <a:pt x="9338" y="2597"/>
                      <a:pt x="24540" y="425"/>
                    </a:cubicBezTo>
                    <a:cubicBezTo>
                      <a:pt x="39304" y="-2204"/>
                      <a:pt x="53391" y="7635"/>
                      <a:pt x="56020" y="22399"/>
                    </a:cubicBezTo>
                    <a:cubicBezTo>
                      <a:pt x="56077" y="22694"/>
                      <a:pt x="56125" y="22990"/>
                      <a:pt x="56163" y="2328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E265EDD6-4D33-45A1-98CC-A8A3EF4DC074}"/>
                  </a:ext>
                </a:extLst>
              </p:cNvPr>
              <p:cNvSpPr/>
              <p:nvPr/>
            </p:nvSpPr>
            <p:spPr>
              <a:xfrm>
                <a:off x="2790862" y="2496810"/>
                <a:ext cx="112092" cy="35739"/>
              </a:xfrm>
              <a:custGeom>
                <a:avLst/>
                <a:gdLst>
                  <a:gd name="connsiteX0" fmla="*/ 111768 w 112092"/>
                  <a:gd name="connsiteY0" fmla="*/ 24629 h 35739"/>
                  <a:gd name="connsiteX1" fmla="*/ 55284 w 112092"/>
                  <a:gd name="connsiteY1" fmla="*/ 18152 h 35739"/>
                  <a:gd name="connsiteX2" fmla="*/ 516 w 112092"/>
                  <a:gd name="connsiteY2" fmla="*/ 35297 h 35739"/>
                  <a:gd name="connsiteX3" fmla="*/ 10612 w 112092"/>
                  <a:gd name="connsiteY3" fmla="*/ 18723 h 35739"/>
                  <a:gd name="connsiteX4" fmla="*/ 54046 w 112092"/>
                  <a:gd name="connsiteY4" fmla="*/ 435 h 35739"/>
                  <a:gd name="connsiteX5" fmla="*/ 99481 w 112092"/>
                  <a:gd name="connsiteY5" fmla="*/ 9960 h 35739"/>
                  <a:gd name="connsiteX6" fmla="*/ 111768 w 112092"/>
                  <a:gd name="connsiteY6" fmla="*/ 24629 h 35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2092" h="35739">
                    <a:moveTo>
                      <a:pt x="111768" y="24629"/>
                    </a:moveTo>
                    <a:cubicBezTo>
                      <a:pt x="108625" y="28629"/>
                      <a:pt x="85669" y="15104"/>
                      <a:pt x="55284" y="18152"/>
                    </a:cubicBezTo>
                    <a:cubicBezTo>
                      <a:pt x="24900" y="21200"/>
                      <a:pt x="4135" y="38726"/>
                      <a:pt x="516" y="35297"/>
                    </a:cubicBezTo>
                    <a:cubicBezTo>
                      <a:pt x="-1294" y="33773"/>
                      <a:pt x="1564" y="26819"/>
                      <a:pt x="10612" y="18723"/>
                    </a:cubicBezTo>
                    <a:cubicBezTo>
                      <a:pt x="22852" y="8284"/>
                      <a:pt x="38025" y="1892"/>
                      <a:pt x="54046" y="435"/>
                    </a:cubicBezTo>
                    <a:cubicBezTo>
                      <a:pt x="69820" y="-1270"/>
                      <a:pt x="85726" y="2064"/>
                      <a:pt x="99481" y="9960"/>
                    </a:cubicBezTo>
                    <a:cubicBezTo>
                      <a:pt x="109482" y="16437"/>
                      <a:pt x="113292" y="22819"/>
                      <a:pt x="111768" y="2462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377AEB3E-CB9B-46A6-9A67-FCBA2956A336}"/>
                  </a:ext>
                </a:extLst>
              </p:cNvPr>
              <p:cNvSpPr/>
              <p:nvPr/>
            </p:nvSpPr>
            <p:spPr>
              <a:xfrm>
                <a:off x="2996211" y="2483309"/>
                <a:ext cx="114559" cy="252933"/>
              </a:xfrm>
              <a:custGeom>
                <a:avLst/>
                <a:gdLst>
                  <a:gd name="connsiteX0" fmla="*/ 39387 w 114559"/>
                  <a:gd name="connsiteY0" fmla="*/ 252347 h 252933"/>
                  <a:gd name="connsiteX1" fmla="*/ 87774 w 114559"/>
                  <a:gd name="connsiteY1" fmla="*/ 238536 h 252933"/>
                  <a:gd name="connsiteX2" fmla="*/ 103395 w 114559"/>
                  <a:gd name="connsiteY2" fmla="*/ 229011 h 252933"/>
                  <a:gd name="connsiteX3" fmla="*/ 95966 w 114559"/>
                  <a:gd name="connsiteY3" fmla="*/ 206532 h 252933"/>
                  <a:gd name="connsiteX4" fmla="*/ 67391 w 114559"/>
                  <a:gd name="connsiteY4" fmla="*/ 149382 h 252933"/>
                  <a:gd name="connsiteX5" fmla="*/ 239 w 114559"/>
                  <a:gd name="connsiteY5" fmla="*/ 30 h 252933"/>
                  <a:gd name="connsiteX6" fmla="*/ 79202 w 114559"/>
                  <a:gd name="connsiteY6" fmla="*/ 143667 h 252933"/>
                  <a:gd name="connsiteX7" fmla="*/ 107205 w 114559"/>
                  <a:gd name="connsiteY7" fmla="*/ 200817 h 252933"/>
                  <a:gd name="connsiteX8" fmla="*/ 114254 w 114559"/>
                  <a:gd name="connsiteY8" fmla="*/ 230916 h 252933"/>
                  <a:gd name="connsiteX9" fmla="*/ 102633 w 114559"/>
                  <a:gd name="connsiteY9" fmla="*/ 243489 h 252933"/>
                  <a:gd name="connsiteX10" fmla="*/ 89679 w 114559"/>
                  <a:gd name="connsiteY10" fmla="*/ 246727 h 252933"/>
                  <a:gd name="connsiteX11" fmla="*/ 39387 w 114559"/>
                  <a:gd name="connsiteY11" fmla="*/ 252347 h 252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559" h="252933">
                    <a:moveTo>
                      <a:pt x="39387" y="252347"/>
                    </a:moveTo>
                    <a:cubicBezTo>
                      <a:pt x="39387" y="250633"/>
                      <a:pt x="57580" y="245489"/>
                      <a:pt x="87774" y="238536"/>
                    </a:cubicBezTo>
                    <a:cubicBezTo>
                      <a:pt x="95489" y="236917"/>
                      <a:pt x="102633" y="234631"/>
                      <a:pt x="103395" y="229011"/>
                    </a:cubicBezTo>
                    <a:cubicBezTo>
                      <a:pt x="103300" y="220934"/>
                      <a:pt x="100709" y="213076"/>
                      <a:pt x="95966" y="206532"/>
                    </a:cubicBezTo>
                    <a:cubicBezTo>
                      <a:pt x="86755" y="188558"/>
                      <a:pt x="77230" y="169508"/>
                      <a:pt x="67391" y="149382"/>
                    </a:cubicBezTo>
                    <a:cubicBezTo>
                      <a:pt x="27005" y="68515"/>
                      <a:pt x="-2999" y="1649"/>
                      <a:pt x="239" y="30"/>
                    </a:cubicBezTo>
                    <a:cubicBezTo>
                      <a:pt x="3478" y="-1589"/>
                      <a:pt x="38911" y="62704"/>
                      <a:pt x="79202" y="143667"/>
                    </a:cubicBezTo>
                    <a:cubicBezTo>
                      <a:pt x="88727" y="163574"/>
                      <a:pt x="98252" y="182624"/>
                      <a:pt x="107205" y="200817"/>
                    </a:cubicBezTo>
                    <a:cubicBezTo>
                      <a:pt x="112987" y="209723"/>
                      <a:pt x="115482" y="220372"/>
                      <a:pt x="114254" y="230916"/>
                    </a:cubicBezTo>
                    <a:cubicBezTo>
                      <a:pt x="112587" y="236707"/>
                      <a:pt x="108282" y="241374"/>
                      <a:pt x="102633" y="243489"/>
                    </a:cubicBezTo>
                    <a:cubicBezTo>
                      <a:pt x="98471" y="245118"/>
                      <a:pt x="94118" y="246204"/>
                      <a:pt x="89679" y="246727"/>
                    </a:cubicBezTo>
                    <a:cubicBezTo>
                      <a:pt x="58723" y="251966"/>
                      <a:pt x="39673" y="254062"/>
                      <a:pt x="39387" y="25234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41495B4C-3B57-4DAE-BD46-DB62EB39F1CE}"/>
                  </a:ext>
                </a:extLst>
              </p:cNvPr>
              <p:cNvSpPr/>
              <p:nvPr/>
            </p:nvSpPr>
            <p:spPr>
              <a:xfrm>
                <a:off x="2761168" y="2384046"/>
                <a:ext cx="137433" cy="48690"/>
              </a:xfrm>
              <a:custGeom>
                <a:avLst/>
                <a:gdLst>
                  <a:gd name="connsiteX0" fmla="*/ 137365 w 137433"/>
                  <a:gd name="connsiteY0" fmla="*/ 17568 h 48690"/>
                  <a:gd name="connsiteX1" fmla="*/ 69262 w 137433"/>
                  <a:gd name="connsiteY1" fmla="*/ 33094 h 48690"/>
                  <a:gd name="connsiteX2" fmla="*/ 682 w 137433"/>
                  <a:gd name="connsiteY2" fmla="*/ 46714 h 48690"/>
                  <a:gd name="connsiteX3" fmla="*/ 13255 w 137433"/>
                  <a:gd name="connsiteY3" fmla="*/ 25855 h 48690"/>
                  <a:gd name="connsiteX4" fmla="*/ 62785 w 137433"/>
                  <a:gd name="connsiteY4" fmla="*/ 2804 h 48690"/>
                  <a:gd name="connsiteX5" fmla="*/ 117363 w 137433"/>
                  <a:gd name="connsiteY5" fmla="*/ 3661 h 48690"/>
                  <a:gd name="connsiteX6" fmla="*/ 137365 w 137433"/>
                  <a:gd name="connsiteY6" fmla="*/ 17568 h 48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7433" h="48690">
                    <a:moveTo>
                      <a:pt x="137365" y="17568"/>
                    </a:moveTo>
                    <a:cubicBezTo>
                      <a:pt x="135175" y="26045"/>
                      <a:pt x="104409" y="25188"/>
                      <a:pt x="69262" y="33094"/>
                    </a:cubicBezTo>
                    <a:cubicBezTo>
                      <a:pt x="34115" y="40999"/>
                      <a:pt x="6206" y="53572"/>
                      <a:pt x="682" y="46714"/>
                    </a:cubicBezTo>
                    <a:cubicBezTo>
                      <a:pt x="-1795" y="43381"/>
                      <a:pt x="2492" y="35094"/>
                      <a:pt x="13255" y="25855"/>
                    </a:cubicBezTo>
                    <a:cubicBezTo>
                      <a:pt x="27695" y="14339"/>
                      <a:pt x="44678" y="6433"/>
                      <a:pt x="62785" y="2804"/>
                    </a:cubicBezTo>
                    <a:cubicBezTo>
                      <a:pt x="80787" y="-1206"/>
                      <a:pt x="99494" y="-911"/>
                      <a:pt x="117363" y="3661"/>
                    </a:cubicBezTo>
                    <a:cubicBezTo>
                      <a:pt x="130984" y="7662"/>
                      <a:pt x="138223" y="13472"/>
                      <a:pt x="137365" y="1756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29326E70-E7C9-4874-BB5D-6CA7DC3176C0}"/>
                  </a:ext>
                </a:extLst>
              </p:cNvPr>
              <p:cNvSpPr/>
              <p:nvPr/>
            </p:nvSpPr>
            <p:spPr>
              <a:xfrm>
                <a:off x="3076655" y="2372378"/>
                <a:ext cx="104576" cy="36639"/>
              </a:xfrm>
              <a:custGeom>
                <a:avLst/>
                <a:gdLst>
                  <a:gd name="connsiteX0" fmla="*/ 104009 w 104576"/>
                  <a:gd name="connsiteY0" fmla="*/ 26569 h 36639"/>
                  <a:gd name="connsiteX1" fmla="*/ 52574 w 104576"/>
                  <a:gd name="connsiteY1" fmla="*/ 31141 h 36639"/>
                  <a:gd name="connsiteX2" fmla="*/ 949 w 104576"/>
                  <a:gd name="connsiteY2" fmla="*/ 33713 h 36639"/>
                  <a:gd name="connsiteX3" fmla="*/ 9712 w 104576"/>
                  <a:gd name="connsiteY3" fmla="*/ 15710 h 36639"/>
                  <a:gd name="connsiteX4" fmla="*/ 92865 w 104576"/>
                  <a:gd name="connsiteY4" fmla="*/ 9900 h 36639"/>
                  <a:gd name="connsiteX5" fmla="*/ 104009 w 104576"/>
                  <a:gd name="connsiteY5" fmla="*/ 26569 h 36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576" h="36639">
                    <a:moveTo>
                      <a:pt x="104009" y="26569"/>
                    </a:moveTo>
                    <a:cubicBezTo>
                      <a:pt x="99437" y="33998"/>
                      <a:pt x="77720" y="28950"/>
                      <a:pt x="52574" y="31141"/>
                    </a:cubicBezTo>
                    <a:cubicBezTo>
                      <a:pt x="27428" y="33332"/>
                      <a:pt x="6568" y="40666"/>
                      <a:pt x="949" y="33713"/>
                    </a:cubicBezTo>
                    <a:cubicBezTo>
                      <a:pt x="-1623" y="30379"/>
                      <a:pt x="949" y="23140"/>
                      <a:pt x="9712" y="15710"/>
                    </a:cubicBezTo>
                    <a:cubicBezTo>
                      <a:pt x="33696" y="-2882"/>
                      <a:pt x="66528" y="-5168"/>
                      <a:pt x="92865" y="9900"/>
                    </a:cubicBezTo>
                    <a:cubicBezTo>
                      <a:pt x="102390" y="16091"/>
                      <a:pt x="106105" y="22949"/>
                      <a:pt x="104009" y="26569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18B301DB-2490-49FF-A156-0955FA93F3A4}"/>
                  </a:ext>
                </a:extLst>
              </p:cNvPr>
              <p:cNvSpPr/>
              <p:nvPr/>
            </p:nvSpPr>
            <p:spPr>
              <a:xfrm>
                <a:off x="2467812" y="2655116"/>
                <a:ext cx="150782" cy="206501"/>
              </a:xfrm>
              <a:custGeom>
                <a:avLst/>
                <a:gdLst>
                  <a:gd name="connsiteX0" fmla="*/ 123541 w 150782"/>
                  <a:gd name="connsiteY0" fmla="*/ 2625 h 206501"/>
                  <a:gd name="connsiteX1" fmla="*/ 1621 w 150782"/>
                  <a:gd name="connsiteY1" fmla="*/ 110829 h 206501"/>
                  <a:gd name="connsiteX2" fmla="*/ 150782 w 150782"/>
                  <a:gd name="connsiteY2" fmla="*/ 195887 h 206501"/>
                  <a:gd name="connsiteX3" fmla="*/ 123541 w 150782"/>
                  <a:gd name="connsiteY3" fmla="*/ 2625 h 206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782" h="206501">
                    <a:moveTo>
                      <a:pt x="123541" y="2625"/>
                    </a:moveTo>
                    <a:cubicBezTo>
                      <a:pt x="120017" y="1482"/>
                      <a:pt x="-16286" y="-23950"/>
                      <a:pt x="1621" y="110829"/>
                    </a:cubicBezTo>
                    <a:cubicBezTo>
                      <a:pt x="19528" y="245608"/>
                      <a:pt x="151068" y="199792"/>
                      <a:pt x="150782" y="195887"/>
                    </a:cubicBezTo>
                    <a:cubicBezTo>
                      <a:pt x="150497" y="191982"/>
                      <a:pt x="123541" y="2625"/>
                      <a:pt x="123541" y="2625"/>
                    </a:cubicBezTo>
                    <a:close/>
                  </a:path>
                </a:pathLst>
              </a:custGeom>
              <a:solidFill>
                <a:srgbClr val="FFBF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6216EB85-EA2C-46BB-B8FB-30F9C7E720CF}"/>
                  </a:ext>
                </a:extLst>
              </p:cNvPr>
              <p:cNvSpPr/>
              <p:nvPr/>
            </p:nvSpPr>
            <p:spPr>
              <a:xfrm>
                <a:off x="2503164" y="2702183"/>
                <a:ext cx="67696" cy="117299"/>
              </a:xfrm>
              <a:custGeom>
                <a:avLst/>
                <a:gdLst>
                  <a:gd name="connsiteX0" fmla="*/ 67520 w 67696"/>
                  <a:gd name="connsiteY0" fmla="*/ 103291 h 117299"/>
                  <a:gd name="connsiteX1" fmla="*/ 61614 w 67696"/>
                  <a:gd name="connsiteY1" fmla="*/ 107578 h 117299"/>
                  <a:gd name="connsiteX2" fmla="*/ 44183 w 67696"/>
                  <a:gd name="connsiteY2" fmla="*/ 110245 h 117299"/>
                  <a:gd name="connsiteX3" fmla="*/ 10370 w 67696"/>
                  <a:gd name="connsiteY3" fmla="*/ 61667 h 117299"/>
                  <a:gd name="connsiteX4" fmla="*/ 12465 w 67696"/>
                  <a:gd name="connsiteY4" fmla="*/ 27187 h 117299"/>
                  <a:gd name="connsiteX5" fmla="*/ 27705 w 67696"/>
                  <a:gd name="connsiteY5" fmla="*/ 6898 h 117299"/>
                  <a:gd name="connsiteX6" fmla="*/ 42469 w 67696"/>
                  <a:gd name="connsiteY6" fmla="*/ 11661 h 117299"/>
                  <a:gd name="connsiteX7" fmla="*/ 45040 w 67696"/>
                  <a:gd name="connsiteY7" fmla="*/ 18138 h 117299"/>
                  <a:gd name="connsiteX8" fmla="*/ 45803 w 67696"/>
                  <a:gd name="connsiteY8" fmla="*/ 10042 h 117299"/>
                  <a:gd name="connsiteX9" fmla="*/ 39421 w 67696"/>
                  <a:gd name="connsiteY9" fmla="*/ 2326 h 117299"/>
                  <a:gd name="connsiteX10" fmla="*/ 25990 w 67696"/>
                  <a:gd name="connsiteY10" fmla="*/ 612 h 117299"/>
                  <a:gd name="connsiteX11" fmla="*/ 4178 w 67696"/>
                  <a:gd name="connsiteY11" fmla="*/ 24710 h 117299"/>
                  <a:gd name="connsiteX12" fmla="*/ 1035 w 67696"/>
                  <a:gd name="connsiteY12" fmla="*/ 63381 h 117299"/>
                  <a:gd name="connsiteX13" fmla="*/ 43040 w 67696"/>
                  <a:gd name="connsiteY13" fmla="*/ 117007 h 117299"/>
                  <a:gd name="connsiteX14" fmla="*/ 64090 w 67696"/>
                  <a:gd name="connsiteY14" fmla="*/ 110626 h 117299"/>
                  <a:gd name="connsiteX15" fmla="*/ 67520 w 67696"/>
                  <a:gd name="connsiteY15" fmla="*/ 103291 h 117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7696" h="117299">
                    <a:moveTo>
                      <a:pt x="67520" y="103291"/>
                    </a:moveTo>
                    <a:cubicBezTo>
                      <a:pt x="66853" y="103291"/>
                      <a:pt x="65329" y="105196"/>
                      <a:pt x="61614" y="107578"/>
                    </a:cubicBezTo>
                    <a:cubicBezTo>
                      <a:pt x="56375" y="110702"/>
                      <a:pt x="50118" y="111664"/>
                      <a:pt x="44183" y="110245"/>
                    </a:cubicBezTo>
                    <a:cubicBezTo>
                      <a:pt x="29229" y="106911"/>
                      <a:pt x="14180" y="85860"/>
                      <a:pt x="10370" y="61667"/>
                    </a:cubicBezTo>
                    <a:cubicBezTo>
                      <a:pt x="8484" y="50161"/>
                      <a:pt x="9198" y="38378"/>
                      <a:pt x="12465" y="27187"/>
                    </a:cubicBezTo>
                    <a:cubicBezTo>
                      <a:pt x="13846" y="18309"/>
                      <a:pt x="19561" y="10699"/>
                      <a:pt x="27705" y="6898"/>
                    </a:cubicBezTo>
                    <a:cubicBezTo>
                      <a:pt x="33125" y="4574"/>
                      <a:pt x="39430" y="6613"/>
                      <a:pt x="42469" y="11661"/>
                    </a:cubicBezTo>
                    <a:cubicBezTo>
                      <a:pt x="44850" y="15185"/>
                      <a:pt x="44279" y="17947"/>
                      <a:pt x="45040" y="18138"/>
                    </a:cubicBezTo>
                    <a:cubicBezTo>
                      <a:pt x="45803" y="18328"/>
                      <a:pt x="47612" y="15471"/>
                      <a:pt x="45803" y="10042"/>
                    </a:cubicBezTo>
                    <a:cubicBezTo>
                      <a:pt x="44631" y="6813"/>
                      <a:pt x="42374" y="4079"/>
                      <a:pt x="39421" y="2326"/>
                    </a:cubicBezTo>
                    <a:cubicBezTo>
                      <a:pt x="35344" y="12"/>
                      <a:pt x="30515" y="-607"/>
                      <a:pt x="25990" y="612"/>
                    </a:cubicBezTo>
                    <a:cubicBezTo>
                      <a:pt x="15037" y="4336"/>
                      <a:pt x="6788" y="13442"/>
                      <a:pt x="4178" y="24710"/>
                    </a:cubicBezTo>
                    <a:cubicBezTo>
                      <a:pt x="26" y="37159"/>
                      <a:pt x="-1051" y="50428"/>
                      <a:pt x="1035" y="63381"/>
                    </a:cubicBezTo>
                    <a:cubicBezTo>
                      <a:pt x="5512" y="90433"/>
                      <a:pt x="22847" y="113959"/>
                      <a:pt x="43040" y="117007"/>
                    </a:cubicBezTo>
                    <a:cubicBezTo>
                      <a:pt x="50660" y="118169"/>
                      <a:pt x="58395" y="115826"/>
                      <a:pt x="64090" y="110626"/>
                    </a:cubicBezTo>
                    <a:cubicBezTo>
                      <a:pt x="67710" y="106911"/>
                      <a:pt x="67996" y="103387"/>
                      <a:pt x="67520" y="103291"/>
                    </a:cubicBezTo>
                    <a:close/>
                  </a:path>
                </a:pathLst>
              </a:custGeom>
              <a:solidFill>
                <a:srgbClr val="FF9A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6D64F3EE-CD9F-4F41-B70D-8DB704417A85}"/>
                  </a:ext>
                </a:extLst>
              </p:cNvPr>
              <p:cNvSpPr/>
              <p:nvPr/>
            </p:nvSpPr>
            <p:spPr>
              <a:xfrm>
                <a:off x="2530153" y="2046021"/>
                <a:ext cx="740903" cy="640585"/>
              </a:xfrm>
              <a:custGeom>
                <a:avLst/>
                <a:gdLst>
                  <a:gd name="connsiteX0" fmla="*/ 687182 w 740903"/>
                  <a:gd name="connsiteY0" fmla="*/ 154044 h 640585"/>
                  <a:gd name="connsiteX1" fmla="*/ 594504 w 740903"/>
                  <a:gd name="connsiteY1" fmla="*/ 66795 h 640585"/>
                  <a:gd name="connsiteX2" fmla="*/ 329804 w 740903"/>
                  <a:gd name="connsiteY2" fmla="*/ 1073 h 640585"/>
                  <a:gd name="connsiteX3" fmla="*/ 87869 w 740903"/>
                  <a:gd name="connsiteY3" fmla="*/ 121469 h 640585"/>
                  <a:gd name="connsiteX4" fmla="*/ 3002 w 740903"/>
                  <a:gd name="connsiteY4" fmla="*/ 323018 h 640585"/>
                  <a:gd name="connsiteX5" fmla="*/ 23766 w 740903"/>
                  <a:gd name="connsiteY5" fmla="*/ 542093 h 640585"/>
                  <a:gd name="connsiteX6" fmla="*/ 69296 w 740903"/>
                  <a:gd name="connsiteY6" fmla="*/ 626579 h 640585"/>
                  <a:gd name="connsiteX7" fmla="*/ 124350 w 740903"/>
                  <a:gd name="connsiteY7" fmla="*/ 633057 h 640585"/>
                  <a:gd name="connsiteX8" fmla="*/ 136923 w 740903"/>
                  <a:gd name="connsiteY8" fmla="*/ 600290 h 640585"/>
                  <a:gd name="connsiteX9" fmla="*/ 118540 w 740903"/>
                  <a:gd name="connsiteY9" fmla="*/ 281965 h 640585"/>
                  <a:gd name="connsiteX10" fmla="*/ 203027 w 740903"/>
                  <a:gd name="connsiteY10" fmla="*/ 186715 h 640585"/>
                  <a:gd name="connsiteX11" fmla="*/ 324185 w 740903"/>
                  <a:gd name="connsiteY11" fmla="*/ 157568 h 640585"/>
                  <a:gd name="connsiteX12" fmla="*/ 481538 w 740903"/>
                  <a:gd name="connsiteY12" fmla="*/ 260915 h 640585"/>
                  <a:gd name="connsiteX13" fmla="*/ 740903 w 740903"/>
                  <a:gd name="connsiteY13" fmla="*/ 292538 h 640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0903" h="640585">
                    <a:moveTo>
                      <a:pt x="687182" y="154044"/>
                    </a:moveTo>
                    <a:cubicBezTo>
                      <a:pt x="665656" y="116992"/>
                      <a:pt x="631176" y="89084"/>
                      <a:pt x="594504" y="66795"/>
                    </a:cubicBezTo>
                    <a:cubicBezTo>
                      <a:pt x="515380" y="17591"/>
                      <a:pt x="422759" y="-5407"/>
                      <a:pt x="329804" y="1073"/>
                    </a:cubicBezTo>
                    <a:cubicBezTo>
                      <a:pt x="236602" y="8338"/>
                      <a:pt x="149868" y="51503"/>
                      <a:pt x="87869" y="121469"/>
                    </a:cubicBezTo>
                    <a:cubicBezTo>
                      <a:pt x="40492" y="178915"/>
                      <a:pt x="10984" y="248989"/>
                      <a:pt x="3002" y="323018"/>
                    </a:cubicBezTo>
                    <a:cubicBezTo>
                      <a:pt x="-4666" y="396694"/>
                      <a:pt x="2392" y="471170"/>
                      <a:pt x="23766" y="542093"/>
                    </a:cubicBezTo>
                    <a:cubicBezTo>
                      <a:pt x="32624" y="573335"/>
                      <a:pt x="44626" y="605434"/>
                      <a:pt x="69296" y="626579"/>
                    </a:cubicBezTo>
                    <a:cubicBezTo>
                      <a:pt x="84726" y="639724"/>
                      <a:pt x="109586" y="646963"/>
                      <a:pt x="124350" y="633057"/>
                    </a:cubicBezTo>
                    <a:cubicBezTo>
                      <a:pt x="132056" y="623827"/>
                      <a:pt x="136485" y="612302"/>
                      <a:pt x="136923" y="600290"/>
                    </a:cubicBezTo>
                    <a:cubicBezTo>
                      <a:pt x="152449" y="493325"/>
                      <a:pt x="166832" y="378644"/>
                      <a:pt x="118540" y="281965"/>
                    </a:cubicBezTo>
                    <a:cubicBezTo>
                      <a:pt x="139885" y="244770"/>
                      <a:pt x="168641" y="212347"/>
                      <a:pt x="203027" y="186715"/>
                    </a:cubicBezTo>
                    <a:cubicBezTo>
                      <a:pt x="237907" y="161226"/>
                      <a:pt x="281532" y="150732"/>
                      <a:pt x="324185" y="157568"/>
                    </a:cubicBezTo>
                    <a:cubicBezTo>
                      <a:pt x="386288" y="170141"/>
                      <a:pt x="428960" y="225005"/>
                      <a:pt x="481538" y="260915"/>
                    </a:cubicBezTo>
                    <a:cubicBezTo>
                      <a:pt x="557871" y="312559"/>
                      <a:pt x="654397" y="324323"/>
                      <a:pt x="740903" y="29253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E63A1DDD-9383-4DD7-B63C-52DB4CED0280}"/>
                  </a:ext>
                </a:extLst>
              </p:cNvPr>
              <p:cNvSpPr/>
              <p:nvPr/>
            </p:nvSpPr>
            <p:spPr>
              <a:xfrm>
                <a:off x="2968594" y="2799271"/>
                <a:ext cx="97007" cy="81519"/>
              </a:xfrm>
              <a:custGeom>
                <a:avLst/>
                <a:gdLst>
                  <a:gd name="connsiteX0" fmla="*/ 93674 w 97007"/>
                  <a:gd name="connsiteY0" fmla="*/ 18490 h 81519"/>
                  <a:gd name="connsiteX1" fmla="*/ 83578 w 97007"/>
                  <a:gd name="connsiteY1" fmla="*/ 55638 h 81519"/>
                  <a:gd name="connsiteX2" fmla="*/ 55765 w 97007"/>
                  <a:gd name="connsiteY2" fmla="*/ 80593 h 81519"/>
                  <a:gd name="connsiteX3" fmla="*/ 18141 w 97007"/>
                  <a:gd name="connsiteY3" fmla="*/ 69259 h 81519"/>
                  <a:gd name="connsiteX4" fmla="*/ 615 w 97007"/>
                  <a:gd name="connsiteY4" fmla="*/ 32778 h 81519"/>
                  <a:gd name="connsiteX5" fmla="*/ 12902 w 97007"/>
                  <a:gd name="connsiteY5" fmla="*/ 964 h 81519"/>
                  <a:gd name="connsiteX6" fmla="*/ 28237 w 97007"/>
                  <a:gd name="connsiteY6" fmla="*/ 964 h 81519"/>
                  <a:gd name="connsiteX7" fmla="*/ 97008 w 97007"/>
                  <a:gd name="connsiteY7" fmla="*/ 13347 h 81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007" h="81519">
                    <a:moveTo>
                      <a:pt x="93674" y="18490"/>
                    </a:moveTo>
                    <a:cubicBezTo>
                      <a:pt x="92141" y="31302"/>
                      <a:pt x="88740" y="43817"/>
                      <a:pt x="83578" y="55638"/>
                    </a:cubicBezTo>
                    <a:cubicBezTo>
                      <a:pt x="78358" y="67592"/>
                      <a:pt x="68214" y="76698"/>
                      <a:pt x="55765" y="80593"/>
                    </a:cubicBezTo>
                    <a:cubicBezTo>
                      <a:pt x="42106" y="83565"/>
                      <a:pt x="27885" y="79279"/>
                      <a:pt x="18141" y="69259"/>
                    </a:cubicBezTo>
                    <a:cubicBezTo>
                      <a:pt x="8568" y="59267"/>
                      <a:pt x="2425" y="46494"/>
                      <a:pt x="615" y="32778"/>
                    </a:cubicBezTo>
                    <a:cubicBezTo>
                      <a:pt x="-1385" y="20491"/>
                      <a:pt x="1186" y="4870"/>
                      <a:pt x="12902" y="964"/>
                    </a:cubicBezTo>
                    <a:cubicBezTo>
                      <a:pt x="17931" y="-321"/>
                      <a:pt x="23208" y="-321"/>
                      <a:pt x="28237" y="964"/>
                    </a:cubicBezTo>
                    <a:lnTo>
                      <a:pt x="97008" y="13347"/>
                    </a:lnTo>
                  </a:path>
                </a:pathLst>
              </a:custGeom>
              <a:solidFill>
                <a:srgbClr val="FF9A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1EBDA29E-708B-49B3-9AE6-FD6CF13B738A}"/>
                  </a:ext>
                </a:extLst>
              </p:cNvPr>
              <p:cNvSpPr/>
              <p:nvPr/>
            </p:nvSpPr>
            <p:spPr>
              <a:xfrm>
                <a:off x="2960668" y="2793784"/>
                <a:ext cx="118654" cy="92482"/>
              </a:xfrm>
              <a:custGeom>
                <a:avLst/>
                <a:gdLst>
                  <a:gd name="connsiteX0" fmla="*/ 87218 w 118654"/>
                  <a:gd name="connsiteY0" fmla="*/ 81413 h 92482"/>
                  <a:gd name="connsiteX1" fmla="*/ 52547 w 118654"/>
                  <a:gd name="connsiteY1" fmla="*/ 84271 h 92482"/>
                  <a:gd name="connsiteX2" fmla="*/ 22162 w 118654"/>
                  <a:gd name="connsiteY2" fmla="*/ 66459 h 92482"/>
                  <a:gd name="connsiteX3" fmla="*/ 12637 w 118654"/>
                  <a:gd name="connsiteY3" fmla="*/ 25121 h 92482"/>
                  <a:gd name="connsiteX4" fmla="*/ 16256 w 118654"/>
                  <a:gd name="connsiteY4" fmla="*/ 14548 h 92482"/>
                  <a:gd name="connsiteX5" fmla="*/ 20543 w 118654"/>
                  <a:gd name="connsiteY5" fmla="*/ 11405 h 92482"/>
                  <a:gd name="connsiteX6" fmla="*/ 31497 w 118654"/>
                  <a:gd name="connsiteY6" fmla="*/ 13310 h 92482"/>
                  <a:gd name="connsiteX7" fmla="*/ 42831 w 118654"/>
                  <a:gd name="connsiteY7" fmla="*/ 15310 h 92482"/>
                  <a:gd name="connsiteX8" fmla="*/ 81979 w 118654"/>
                  <a:gd name="connsiteY8" fmla="*/ 21882 h 92482"/>
                  <a:gd name="connsiteX9" fmla="*/ 118650 w 118654"/>
                  <a:gd name="connsiteY9" fmla="*/ 25121 h 92482"/>
                  <a:gd name="connsiteX10" fmla="*/ 83598 w 118654"/>
                  <a:gd name="connsiteY10" fmla="*/ 13881 h 92482"/>
                  <a:gd name="connsiteX11" fmla="*/ 44927 w 118654"/>
                  <a:gd name="connsiteY11" fmla="*/ 4928 h 92482"/>
                  <a:gd name="connsiteX12" fmla="*/ 33687 w 118654"/>
                  <a:gd name="connsiteY12" fmla="*/ 2451 h 92482"/>
                  <a:gd name="connsiteX13" fmla="*/ 21114 w 118654"/>
                  <a:gd name="connsiteY13" fmla="*/ 70 h 92482"/>
                  <a:gd name="connsiteX14" fmla="*/ 11589 w 118654"/>
                  <a:gd name="connsiteY14" fmla="*/ 2356 h 92482"/>
                  <a:gd name="connsiteX15" fmla="*/ 5779 w 118654"/>
                  <a:gd name="connsiteY15" fmla="*/ 9309 h 92482"/>
                  <a:gd name="connsiteX16" fmla="*/ 1207 w 118654"/>
                  <a:gd name="connsiteY16" fmla="*/ 22835 h 92482"/>
                  <a:gd name="connsiteX17" fmla="*/ 13685 w 118654"/>
                  <a:gd name="connsiteY17" fmla="*/ 73127 h 92482"/>
                  <a:gd name="connsiteX18" fmla="*/ 51785 w 118654"/>
                  <a:gd name="connsiteY18" fmla="*/ 92177 h 92482"/>
                  <a:gd name="connsiteX19" fmla="*/ 79407 w 118654"/>
                  <a:gd name="connsiteY19" fmla="*/ 87509 h 92482"/>
                  <a:gd name="connsiteX20" fmla="*/ 87218 w 118654"/>
                  <a:gd name="connsiteY20" fmla="*/ 81413 h 92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8654" h="92482">
                    <a:moveTo>
                      <a:pt x="87218" y="81413"/>
                    </a:moveTo>
                    <a:cubicBezTo>
                      <a:pt x="86551" y="79508"/>
                      <a:pt x="73788" y="87986"/>
                      <a:pt x="52547" y="84271"/>
                    </a:cubicBezTo>
                    <a:cubicBezTo>
                      <a:pt x="40564" y="82280"/>
                      <a:pt x="29744" y="75937"/>
                      <a:pt x="22162" y="66459"/>
                    </a:cubicBezTo>
                    <a:cubicBezTo>
                      <a:pt x="13332" y="54620"/>
                      <a:pt x="9875" y="39627"/>
                      <a:pt x="12637" y="25121"/>
                    </a:cubicBezTo>
                    <a:cubicBezTo>
                      <a:pt x="13380" y="21454"/>
                      <a:pt x="14599" y="17901"/>
                      <a:pt x="16256" y="14548"/>
                    </a:cubicBezTo>
                    <a:cubicBezTo>
                      <a:pt x="18162" y="11405"/>
                      <a:pt x="17781" y="11595"/>
                      <a:pt x="20543" y="11405"/>
                    </a:cubicBezTo>
                    <a:cubicBezTo>
                      <a:pt x="23305" y="11214"/>
                      <a:pt x="27877" y="12643"/>
                      <a:pt x="31497" y="13310"/>
                    </a:cubicBezTo>
                    <a:lnTo>
                      <a:pt x="42831" y="15310"/>
                    </a:lnTo>
                    <a:cubicBezTo>
                      <a:pt x="57500" y="17977"/>
                      <a:pt x="70835" y="20168"/>
                      <a:pt x="81979" y="21882"/>
                    </a:cubicBezTo>
                    <a:cubicBezTo>
                      <a:pt x="104363" y="25311"/>
                      <a:pt x="118364" y="26645"/>
                      <a:pt x="118650" y="25121"/>
                    </a:cubicBezTo>
                    <a:cubicBezTo>
                      <a:pt x="118936" y="23597"/>
                      <a:pt x="105601" y="19406"/>
                      <a:pt x="83598" y="13881"/>
                    </a:cubicBezTo>
                    <a:cubicBezTo>
                      <a:pt x="72645" y="11214"/>
                      <a:pt x="59500" y="8071"/>
                      <a:pt x="44927" y="4928"/>
                    </a:cubicBezTo>
                    <a:lnTo>
                      <a:pt x="33687" y="2451"/>
                    </a:lnTo>
                    <a:cubicBezTo>
                      <a:pt x="29544" y="1432"/>
                      <a:pt x="25343" y="641"/>
                      <a:pt x="21114" y="70"/>
                    </a:cubicBezTo>
                    <a:cubicBezTo>
                      <a:pt x="17771" y="-254"/>
                      <a:pt x="14418" y="556"/>
                      <a:pt x="11589" y="2356"/>
                    </a:cubicBezTo>
                    <a:cubicBezTo>
                      <a:pt x="9075" y="4118"/>
                      <a:pt x="7065" y="6518"/>
                      <a:pt x="5779" y="9309"/>
                    </a:cubicBezTo>
                    <a:cubicBezTo>
                      <a:pt x="3693" y="13605"/>
                      <a:pt x="2150" y="18148"/>
                      <a:pt x="1207" y="22835"/>
                    </a:cubicBezTo>
                    <a:cubicBezTo>
                      <a:pt x="-2403" y="40618"/>
                      <a:pt x="2179" y="59087"/>
                      <a:pt x="13685" y="73127"/>
                    </a:cubicBezTo>
                    <a:cubicBezTo>
                      <a:pt x="23334" y="84309"/>
                      <a:pt x="37050" y="91167"/>
                      <a:pt x="51785" y="92177"/>
                    </a:cubicBezTo>
                    <a:cubicBezTo>
                      <a:pt x="61243" y="93215"/>
                      <a:pt x="70806" y="91596"/>
                      <a:pt x="79407" y="87509"/>
                    </a:cubicBezTo>
                    <a:cubicBezTo>
                      <a:pt x="85122" y="84747"/>
                      <a:pt x="87599" y="81985"/>
                      <a:pt x="87218" y="8141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45B8A1E1-77B8-4613-B3D6-53B3E3213513}"/>
                  </a:ext>
                </a:extLst>
              </p:cNvPr>
              <p:cNvSpPr/>
              <p:nvPr/>
            </p:nvSpPr>
            <p:spPr>
              <a:xfrm>
                <a:off x="2641930" y="2050618"/>
                <a:ext cx="707964" cy="242032"/>
              </a:xfrm>
              <a:custGeom>
                <a:avLst/>
                <a:gdLst>
                  <a:gd name="connsiteX0" fmla="*/ 703802 w 707964"/>
                  <a:gd name="connsiteY0" fmla="*/ 0 h 242032"/>
                  <a:gd name="connsiteX1" fmla="*/ 706469 w 707964"/>
                  <a:gd name="connsiteY1" fmla="*/ 8953 h 242032"/>
                  <a:gd name="connsiteX2" fmla="*/ 707327 w 707964"/>
                  <a:gd name="connsiteY2" fmla="*/ 35433 h 242032"/>
                  <a:gd name="connsiteX3" fmla="*/ 658463 w 707964"/>
                  <a:gd name="connsiteY3" fmla="*/ 118205 h 242032"/>
                  <a:gd name="connsiteX4" fmla="*/ 518922 w 707964"/>
                  <a:gd name="connsiteY4" fmla="*/ 146780 h 242032"/>
                  <a:gd name="connsiteX5" fmla="*/ 352330 w 707964"/>
                  <a:gd name="connsiteY5" fmla="*/ 89630 h 242032"/>
                  <a:gd name="connsiteX6" fmla="*/ 184023 w 707964"/>
                  <a:gd name="connsiteY6" fmla="*/ 59817 h 242032"/>
                  <a:gd name="connsiteX7" fmla="*/ 63913 w 707964"/>
                  <a:gd name="connsiteY7" fmla="*/ 128492 h 242032"/>
                  <a:gd name="connsiteX8" fmla="*/ 12573 w 707964"/>
                  <a:gd name="connsiteY8" fmla="*/ 208883 h 242032"/>
                  <a:gd name="connsiteX9" fmla="*/ 0 w 707964"/>
                  <a:gd name="connsiteY9" fmla="*/ 242030 h 242032"/>
                  <a:gd name="connsiteX10" fmla="*/ 1715 w 707964"/>
                  <a:gd name="connsiteY10" fmla="*/ 232505 h 242032"/>
                  <a:gd name="connsiteX11" fmla="*/ 9335 w 707964"/>
                  <a:gd name="connsiteY11" fmla="*/ 207264 h 242032"/>
                  <a:gd name="connsiteX12" fmla="*/ 59246 w 707964"/>
                  <a:gd name="connsiteY12" fmla="*/ 123920 h 242032"/>
                  <a:gd name="connsiteX13" fmla="*/ 182594 w 707964"/>
                  <a:gd name="connsiteY13" fmla="*/ 51435 h 242032"/>
                  <a:gd name="connsiteX14" fmla="*/ 355759 w 707964"/>
                  <a:gd name="connsiteY14" fmla="*/ 81058 h 242032"/>
                  <a:gd name="connsiteX15" fmla="*/ 520160 w 707964"/>
                  <a:gd name="connsiteY15" fmla="*/ 138208 h 242032"/>
                  <a:gd name="connsiteX16" fmla="*/ 654844 w 707964"/>
                  <a:gd name="connsiteY16" fmla="*/ 112586 h 242032"/>
                  <a:gd name="connsiteX17" fmla="*/ 703802 w 707964"/>
                  <a:gd name="connsiteY17" fmla="*/ 35052 h 242032"/>
                  <a:gd name="connsiteX18" fmla="*/ 703802 w 707964"/>
                  <a:gd name="connsiteY18" fmla="*/ 0 h 242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07964" h="242032">
                    <a:moveTo>
                      <a:pt x="703802" y="0"/>
                    </a:moveTo>
                    <a:cubicBezTo>
                      <a:pt x="705079" y="2857"/>
                      <a:pt x="705974" y="5866"/>
                      <a:pt x="706469" y="8953"/>
                    </a:cubicBezTo>
                    <a:cubicBezTo>
                      <a:pt x="708117" y="17683"/>
                      <a:pt x="708403" y="26615"/>
                      <a:pt x="707327" y="35433"/>
                    </a:cubicBezTo>
                    <a:cubicBezTo>
                      <a:pt x="702850" y="68478"/>
                      <a:pt x="685229" y="98320"/>
                      <a:pt x="658463" y="118205"/>
                    </a:cubicBezTo>
                    <a:cubicBezTo>
                      <a:pt x="625317" y="144590"/>
                      <a:pt x="572738" y="155162"/>
                      <a:pt x="518922" y="146780"/>
                    </a:cubicBezTo>
                    <a:cubicBezTo>
                      <a:pt x="465106" y="138398"/>
                      <a:pt x="409480" y="112967"/>
                      <a:pt x="352330" y="89630"/>
                    </a:cubicBezTo>
                    <a:cubicBezTo>
                      <a:pt x="295180" y="66294"/>
                      <a:pt x="237077" y="50101"/>
                      <a:pt x="184023" y="59817"/>
                    </a:cubicBezTo>
                    <a:cubicBezTo>
                      <a:pt x="137446" y="68662"/>
                      <a:pt x="95165" y="92837"/>
                      <a:pt x="63913" y="128492"/>
                    </a:cubicBezTo>
                    <a:cubicBezTo>
                      <a:pt x="42386" y="152197"/>
                      <a:pt x="25022" y="179375"/>
                      <a:pt x="12573" y="208883"/>
                    </a:cubicBezTo>
                    <a:cubicBezTo>
                      <a:pt x="3905" y="229934"/>
                      <a:pt x="953" y="242221"/>
                      <a:pt x="0" y="242030"/>
                    </a:cubicBezTo>
                    <a:cubicBezTo>
                      <a:pt x="210" y="238801"/>
                      <a:pt x="781" y="235601"/>
                      <a:pt x="1715" y="232505"/>
                    </a:cubicBezTo>
                    <a:cubicBezTo>
                      <a:pt x="3791" y="223961"/>
                      <a:pt x="6334" y="215532"/>
                      <a:pt x="9335" y="207264"/>
                    </a:cubicBezTo>
                    <a:cubicBezTo>
                      <a:pt x="20822" y="176704"/>
                      <a:pt x="37729" y="148469"/>
                      <a:pt x="59246" y="123920"/>
                    </a:cubicBezTo>
                    <a:cubicBezTo>
                      <a:pt x="90964" y="86485"/>
                      <a:pt x="134455" y="60928"/>
                      <a:pt x="182594" y="51435"/>
                    </a:cubicBezTo>
                    <a:cubicBezTo>
                      <a:pt x="237554" y="40862"/>
                      <a:pt x="298323" y="57245"/>
                      <a:pt x="355759" y="81058"/>
                    </a:cubicBezTo>
                    <a:cubicBezTo>
                      <a:pt x="413195" y="104870"/>
                      <a:pt x="467201" y="130778"/>
                      <a:pt x="520160" y="138208"/>
                    </a:cubicBezTo>
                    <a:cubicBezTo>
                      <a:pt x="573119" y="145637"/>
                      <a:pt x="622840" y="136969"/>
                      <a:pt x="654844" y="112586"/>
                    </a:cubicBezTo>
                    <a:cubicBezTo>
                      <a:pt x="680485" y="93958"/>
                      <a:pt x="698002" y="66209"/>
                      <a:pt x="703802" y="35052"/>
                    </a:cubicBezTo>
                    <a:cubicBezTo>
                      <a:pt x="705288" y="23415"/>
                      <a:pt x="705288" y="11637"/>
                      <a:pt x="70380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9DDE3C9B-3CC5-4C55-9478-993BC5619164}"/>
                  </a:ext>
                </a:extLst>
              </p:cNvPr>
              <p:cNvSpPr/>
              <p:nvPr/>
            </p:nvSpPr>
            <p:spPr>
              <a:xfrm>
                <a:off x="2460981" y="2286593"/>
                <a:ext cx="155081" cy="174554"/>
              </a:xfrm>
              <a:custGeom>
                <a:avLst/>
                <a:gdLst>
                  <a:gd name="connsiteX0" fmla="*/ 164 w 155081"/>
                  <a:gd name="connsiteY0" fmla="*/ 174552 h 174554"/>
                  <a:gd name="connsiteX1" fmla="*/ 5403 w 155081"/>
                  <a:gd name="connsiteY1" fmla="*/ 137309 h 174554"/>
                  <a:gd name="connsiteX2" fmla="*/ 81603 w 155081"/>
                  <a:gd name="connsiteY2" fmla="*/ 20057 h 174554"/>
                  <a:gd name="connsiteX3" fmla="*/ 118560 w 155081"/>
                  <a:gd name="connsiteY3" fmla="*/ 1007 h 174554"/>
                  <a:gd name="connsiteX4" fmla="*/ 147135 w 155081"/>
                  <a:gd name="connsiteY4" fmla="*/ 4245 h 174554"/>
                  <a:gd name="connsiteX5" fmla="*/ 155041 w 155081"/>
                  <a:gd name="connsiteY5" fmla="*/ 10817 h 174554"/>
                  <a:gd name="connsiteX6" fmla="*/ 120274 w 155081"/>
                  <a:gd name="connsiteY6" fmla="*/ 7103 h 174554"/>
                  <a:gd name="connsiteX7" fmla="*/ 53600 w 155081"/>
                  <a:gd name="connsiteY7" fmla="*/ 61967 h 174554"/>
                  <a:gd name="connsiteX8" fmla="*/ 11690 w 155081"/>
                  <a:gd name="connsiteY8" fmla="*/ 139500 h 174554"/>
                  <a:gd name="connsiteX9" fmla="*/ 164 w 155081"/>
                  <a:gd name="connsiteY9" fmla="*/ 174552 h 174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081" h="174554">
                    <a:moveTo>
                      <a:pt x="164" y="174552"/>
                    </a:moveTo>
                    <a:cubicBezTo>
                      <a:pt x="-579" y="161913"/>
                      <a:pt x="1203" y="149254"/>
                      <a:pt x="5403" y="137309"/>
                    </a:cubicBezTo>
                    <a:cubicBezTo>
                      <a:pt x="18205" y="91351"/>
                      <a:pt x="44808" y="50422"/>
                      <a:pt x="81603" y="20057"/>
                    </a:cubicBezTo>
                    <a:cubicBezTo>
                      <a:pt x="92157" y="10741"/>
                      <a:pt x="104854" y="4198"/>
                      <a:pt x="118560" y="1007"/>
                    </a:cubicBezTo>
                    <a:cubicBezTo>
                      <a:pt x="128180" y="-1060"/>
                      <a:pt x="138220" y="73"/>
                      <a:pt x="147135" y="4245"/>
                    </a:cubicBezTo>
                    <a:cubicBezTo>
                      <a:pt x="153136" y="7293"/>
                      <a:pt x="155422" y="10436"/>
                      <a:pt x="155041" y="10817"/>
                    </a:cubicBezTo>
                    <a:cubicBezTo>
                      <a:pt x="144220" y="5617"/>
                      <a:pt x="131943" y="4312"/>
                      <a:pt x="120274" y="7103"/>
                    </a:cubicBezTo>
                    <a:cubicBezTo>
                      <a:pt x="99129" y="12532"/>
                      <a:pt x="75316" y="35678"/>
                      <a:pt x="53600" y="61967"/>
                    </a:cubicBezTo>
                    <a:cubicBezTo>
                      <a:pt x="35483" y="85341"/>
                      <a:pt x="21319" y="111535"/>
                      <a:pt x="11690" y="139500"/>
                    </a:cubicBezTo>
                    <a:cubicBezTo>
                      <a:pt x="3784" y="160550"/>
                      <a:pt x="1593" y="174743"/>
                      <a:pt x="164" y="17455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34ED365A-B4A9-4512-88F3-6EA84BCECA31}"/>
                  </a:ext>
                </a:extLst>
              </p:cNvPr>
              <p:cNvSpPr/>
              <p:nvPr/>
            </p:nvSpPr>
            <p:spPr>
              <a:xfrm>
                <a:off x="2496865" y="2388469"/>
                <a:ext cx="158210" cy="189261"/>
              </a:xfrm>
              <a:custGeom>
                <a:avLst/>
                <a:gdLst>
                  <a:gd name="connsiteX0" fmla="*/ 0 w 158210"/>
                  <a:gd name="connsiteY0" fmla="*/ 189262 h 189261"/>
                  <a:gd name="connsiteX1" fmla="*/ 7620 w 158210"/>
                  <a:gd name="connsiteY1" fmla="*/ 152210 h 189261"/>
                  <a:gd name="connsiteX2" fmla="*/ 123063 w 158210"/>
                  <a:gd name="connsiteY2" fmla="*/ 14097 h 189261"/>
                  <a:gd name="connsiteX3" fmla="*/ 158210 w 158210"/>
                  <a:gd name="connsiteY3" fmla="*/ 0 h 189261"/>
                  <a:gd name="connsiteX4" fmla="*/ 126302 w 158210"/>
                  <a:gd name="connsiteY4" fmla="*/ 19050 h 189261"/>
                  <a:gd name="connsiteX5" fmla="*/ 13430 w 158210"/>
                  <a:gd name="connsiteY5" fmla="*/ 154019 h 189261"/>
                  <a:gd name="connsiteX6" fmla="*/ 0 w 158210"/>
                  <a:gd name="connsiteY6" fmla="*/ 189262 h 18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210" h="189261">
                    <a:moveTo>
                      <a:pt x="0" y="189262"/>
                    </a:moveTo>
                    <a:cubicBezTo>
                      <a:pt x="257" y="176546"/>
                      <a:pt x="2838" y="163992"/>
                      <a:pt x="7620" y="152210"/>
                    </a:cubicBezTo>
                    <a:cubicBezTo>
                      <a:pt x="27775" y="93526"/>
                      <a:pt x="68885" y="44339"/>
                      <a:pt x="123063" y="14097"/>
                    </a:cubicBezTo>
                    <a:cubicBezTo>
                      <a:pt x="133826" y="7306"/>
                      <a:pt x="145732" y="2524"/>
                      <a:pt x="158210" y="0"/>
                    </a:cubicBezTo>
                    <a:cubicBezTo>
                      <a:pt x="147904" y="6877"/>
                      <a:pt x="137255" y="13240"/>
                      <a:pt x="126302" y="19050"/>
                    </a:cubicBezTo>
                    <a:cubicBezTo>
                      <a:pt x="75552" y="51206"/>
                      <a:pt x="36100" y="98384"/>
                      <a:pt x="13430" y="154019"/>
                    </a:cubicBezTo>
                    <a:cubicBezTo>
                      <a:pt x="9573" y="165992"/>
                      <a:pt x="5086" y="177756"/>
                      <a:pt x="0" y="189262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B779EA97-E6C0-4F03-B969-6EECB20F445A}"/>
                  </a:ext>
                </a:extLst>
              </p:cNvPr>
              <p:cNvSpPr/>
              <p:nvPr/>
            </p:nvSpPr>
            <p:spPr>
              <a:xfrm>
                <a:off x="3222669" y="3340779"/>
                <a:ext cx="463200" cy="1145381"/>
              </a:xfrm>
              <a:custGeom>
                <a:avLst/>
                <a:gdLst>
                  <a:gd name="connsiteX0" fmla="*/ 0 w 463200"/>
                  <a:gd name="connsiteY0" fmla="*/ 0 h 1145381"/>
                  <a:gd name="connsiteX1" fmla="*/ 179261 w 463200"/>
                  <a:gd name="connsiteY1" fmla="*/ 256413 h 1145381"/>
                  <a:gd name="connsiteX2" fmla="*/ 463201 w 463200"/>
                  <a:gd name="connsiteY2" fmla="*/ 1099947 h 1145381"/>
                  <a:gd name="connsiteX3" fmla="*/ 355092 w 463200"/>
                  <a:gd name="connsiteY3" fmla="*/ 1145381 h 114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3200" h="1145381">
                    <a:moveTo>
                      <a:pt x="0" y="0"/>
                    </a:moveTo>
                    <a:cubicBezTo>
                      <a:pt x="0" y="0"/>
                      <a:pt x="144494" y="186404"/>
                      <a:pt x="179261" y="256413"/>
                    </a:cubicBezTo>
                    <a:cubicBezTo>
                      <a:pt x="214027" y="326422"/>
                      <a:pt x="463201" y="1099947"/>
                      <a:pt x="463201" y="1099947"/>
                    </a:cubicBezTo>
                    <a:lnTo>
                      <a:pt x="355092" y="1145381"/>
                    </a:lnTo>
                    <a:close/>
                  </a:path>
                </a:pathLst>
              </a:custGeom>
              <a:solidFill>
                <a:srgbClr val="457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DBEBDF5D-BB9B-4FF5-8D4D-9F3DA1BA57DF}"/>
                  </a:ext>
                </a:extLst>
              </p:cNvPr>
              <p:cNvSpPr/>
              <p:nvPr/>
            </p:nvSpPr>
            <p:spPr>
              <a:xfrm>
                <a:off x="2641359" y="3072841"/>
                <a:ext cx="774001" cy="710279"/>
              </a:xfrm>
              <a:custGeom>
                <a:avLst/>
                <a:gdLst>
                  <a:gd name="connsiteX0" fmla="*/ 0 w 774001"/>
                  <a:gd name="connsiteY0" fmla="*/ 93440 h 710279"/>
                  <a:gd name="connsiteX1" fmla="*/ 0 w 774001"/>
                  <a:gd name="connsiteY1" fmla="*/ 0 h 710279"/>
                  <a:gd name="connsiteX2" fmla="*/ 525018 w 774001"/>
                  <a:gd name="connsiteY2" fmla="*/ 170783 h 710279"/>
                  <a:gd name="connsiteX3" fmla="*/ 665607 w 774001"/>
                  <a:gd name="connsiteY3" fmla="*/ 395859 h 710279"/>
                  <a:gd name="connsiteX4" fmla="*/ 774002 w 774001"/>
                  <a:gd name="connsiteY4" fmla="*/ 710279 h 710279"/>
                  <a:gd name="connsiteX5" fmla="*/ 470154 w 774001"/>
                  <a:gd name="connsiteY5" fmla="*/ 253555 h 710279"/>
                  <a:gd name="connsiteX6" fmla="*/ 0 w 774001"/>
                  <a:gd name="connsiteY6" fmla="*/ 93440 h 710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001" h="710279">
                    <a:moveTo>
                      <a:pt x="0" y="93440"/>
                    </a:moveTo>
                    <a:lnTo>
                      <a:pt x="0" y="0"/>
                    </a:lnTo>
                    <a:lnTo>
                      <a:pt x="525018" y="170783"/>
                    </a:lnTo>
                    <a:lnTo>
                      <a:pt x="665607" y="395859"/>
                    </a:lnTo>
                    <a:lnTo>
                      <a:pt x="774002" y="710279"/>
                    </a:lnTo>
                    <a:lnTo>
                      <a:pt x="470154" y="253555"/>
                    </a:lnTo>
                    <a:lnTo>
                      <a:pt x="0" y="93440"/>
                    </a:lnTo>
                    <a:close/>
                  </a:path>
                </a:pathLst>
              </a:custGeom>
              <a:solidFill>
                <a:srgbClr val="EBEB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CB0CCF3A-073C-41ED-9B1A-EE056F576545}"/>
                  </a:ext>
                </a:extLst>
              </p:cNvPr>
              <p:cNvSpPr/>
              <p:nvPr/>
            </p:nvSpPr>
            <p:spPr>
              <a:xfrm>
                <a:off x="2392109" y="3133991"/>
                <a:ext cx="1381581" cy="2571654"/>
              </a:xfrm>
              <a:custGeom>
                <a:avLst/>
                <a:gdLst>
                  <a:gd name="connsiteX0" fmla="*/ 218007 w 1381581"/>
                  <a:gd name="connsiteY0" fmla="*/ 122110 h 2571654"/>
                  <a:gd name="connsiteX1" fmla="*/ 75 w 1381581"/>
                  <a:gd name="connsiteY1" fmla="*/ 561784 h 2571654"/>
                  <a:gd name="connsiteX2" fmla="*/ 236200 w 1381581"/>
                  <a:gd name="connsiteY2" fmla="*/ 1768983 h 2571654"/>
                  <a:gd name="connsiteX3" fmla="*/ 180193 w 1381581"/>
                  <a:gd name="connsiteY3" fmla="*/ 1954244 h 2571654"/>
                  <a:gd name="connsiteX4" fmla="*/ 119519 w 1381581"/>
                  <a:gd name="connsiteY4" fmla="*/ 2571655 h 2571654"/>
                  <a:gd name="connsiteX5" fmla="*/ 1381581 w 1381581"/>
                  <a:gd name="connsiteY5" fmla="*/ 2571655 h 2571654"/>
                  <a:gd name="connsiteX6" fmla="*/ 1293761 w 1381581"/>
                  <a:gd name="connsiteY6" fmla="*/ 1306735 h 2571654"/>
                  <a:gd name="connsiteX7" fmla="*/ 1017536 w 1381581"/>
                  <a:gd name="connsiteY7" fmla="*/ 581787 h 2571654"/>
                  <a:gd name="connsiteX8" fmla="*/ 723499 w 1381581"/>
                  <a:gd name="connsiteY8" fmla="*/ 174212 h 2571654"/>
                  <a:gd name="connsiteX9" fmla="*/ 240105 w 1381581"/>
                  <a:gd name="connsiteY9" fmla="*/ 0 h 2571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1581" h="2571654">
                    <a:moveTo>
                      <a:pt x="218007" y="122110"/>
                    </a:moveTo>
                    <a:cubicBezTo>
                      <a:pt x="218007" y="122110"/>
                      <a:pt x="-4687" y="388810"/>
                      <a:pt x="75" y="561784"/>
                    </a:cubicBezTo>
                    <a:cubicBezTo>
                      <a:pt x="4838" y="732377"/>
                      <a:pt x="236200" y="1768983"/>
                      <a:pt x="236200" y="1768983"/>
                    </a:cubicBezTo>
                    <a:lnTo>
                      <a:pt x="180193" y="1954244"/>
                    </a:lnTo>
                    <a:lnTo>
                      <a:pt x="119519" y="2571655"/>
                    </a:lnTo>
                    <a:lnTo>
                      <a:pt x="1381581" y="2571655"/>
                    </a:lnTo>
                    <a:lnTo>
                      <a:pt x="1293761" y="1306735"/>
                    </a:lnTo>
                    <a:cubicBezTo>
                      <a:pt x="1279759" y="1305973"/>
                      <a:pt x="1017536" y="581787"/>
                      <a:pt x="1017536" y="581787"/>
                    </a:cubicBezTo>
                    <a:lnTo>
                      <a:pt x="723499" y="174212"/>
                    </a:lnTo>
                    <a:lnTo>
                      <a:pt x="240105" y="0"/>
                    </a:lnTo>
                    <a:close/>
                  </a:path>
                </a:pathLst>
              </a:custGeom>
              <a:solidFill>
                <a:srgbClr val="457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EF2E40E-4018-47A7-8415-90796655DED3}"/>
                  </a:ext>
                </a:extLst>
              </p:cNvPr>
              <p:cNvSpPr/>
              <p:nvPr/>
            </p:nvSpPr>
            <p:spPr>
              <a:xfrm>
                <a:off x="3571856" y="4139236"/>
                <a:ext cx="331142" cy="634155"/>
              </a:xfrm>
              <a:custGeom>
                <a:avLst/>
                <a:gdLst>
                  <a:gd name="connsiteX0" fmla="*/ 0 w 331142"/>
                  <a:gd name="connsiteY0" fmla="*/ 214 h 634155"/>
                  <a:gd name="connsiteX1" fmla="*/ 134398 w 331142"/>
                  <a:gd name="connsiteY1" fmla="*/ 17359 h 634155"/>
                  <a:gd name="connsiteX2" fmla="*/ 252032 w 331142"/>
                  <a:gd name="connsiteY2" fmla="*/ 91368 h 634155"/>
                  <a:gd name="connsiteX3" fmla="*/ 330708 w 331142"/>
                  <a:gd name="connsiteY3" fmla="*/ 280630 h 634155"/>
                  <a:gd name="connsiteX4" fmla="*/ 165354 w 331142"/>
                  <a:gd name="connsiteY4" fmla="*/ 633055 h 634155"/>
                  <a:gd name="connsiteX5" fmla="*/ 0 w 331142"/>
                  <a:gd name="connsiteY5" fmla="*/ 214 h 634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1142" h="634155">
                    <a:moveTo>
                      <a:pt x="0" y="214"/>
                    </a:moveTo>
                    <a:cubicBezTo>
                      <a:pt x="0" y="214"/>
                      <a:pt x="88297" y="-3215"/>
                      <a:pt x="134398" y="17359"/>
                    </a:cubicBezTo>
                    <a:cubicBezTo>
                      <a:pt x="180499" y="37933"/>
                      <a:pt x="219456" y="27646"/>
                      <a:pt x="252032" y="91368"/>
                    </a:cubicBezTo>
                    <a:cubicBezTo>
                      <a:pt x="284607" y="155091"/>
                      <a:pt x="322707" y="183951"/>
                      <a:pt x="330708" y="280630"/>
                    </a:cubicBezTo>
                    <a:cubicBezTo>
                      <a:pt x="338709" y="377309"/>
                      <a:pt x="234315" y="601337"/>
                      <a:pt x="165354" y="633055"/>
                    </a:cubicBezTo>
                    <a:cubicBezTo>
                      <a:pt x="96393" y="664774"/>
                      <a:pt x="0" y="214"/>
                      <a:pt x="0" y="214"/>
                    </a:cubicBezTo>
                    <a:close/>
                  </a:path>
                </a:pathLst>
              </a:custGeom>
              <a:solidFill>
                <a:srgbClr val="457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919CBC95-1D5A-4BAF-952A-F46AC6FB99B2}"/>
                  </a:ext>
                </a:extLst>
              </p:cNvPr>
              <p:cNvSpPr/>
              <p:nvPr/>
            </p:nvSpPr>
            <p:spPr>
              <a:xfrm>
                <a:off x="2584590" y="4086682"/>
                <a:ext cx="1080706" cy="919568"/>
              </a:xfrm>
              <a:custGeom>
                <a:avLst/>
                <a:gdLst>
                  <a:gd name="connsiteX0" fmla="*/ 0 w 1080706"/>
                  <a:gd name="connsiteY0" fmla="*/ 44005 h 919568"/>
                  <a:gd name="connsiteX1" fmla="*/ 581597 w 1080706"/>
                  <a:gd name="connsiteY1" fmla="*/ 574643 h 919568"/>
                  <a:gd name="connsiteX2" fmla="*/ 737806 w 1080706"/>
                  <a:gd name="connsiteY2" fmla="*/ 919448 h 919568"/>
                  <a:gd name="connsiteX3" fmla="*/ 1080706 w 1080706"/>
                  <a:gd name="connsiteY3" fmla="*/ 731234 h 919568"/>
                  <a:gd name="connsiteX4" fmla="*/ 304514 w 1080706"/>
                  <a:gd name="connsiteY4" fmla="*/ 0 h 919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0706" h="919568">
                    <a:moveTo>
                      <a:pt x="0" y="44005"/>
                    </a:moveTo>
                    <a:cubicBezTo>
                      <a:pt x="0" y="44005"/>
                      <a:pt x="515969" y="528352"/>
                      <a:pt x="581597" y="574643"/>
                    </a:cubicBezTo>
                    <a:cubicBezTo>
                      <a:pt x="647224" y="620935"/>
                      <a:pt x="656939" y="913829"/>
                      <a:pt x="737806" y="919448"/>
                    </a:cubicBezTo>
                    <a:cubicBezTo>
                      <a:pt x="818674" y="925068"/>
                      <a:pt x="1080706" y="731234"/>
                      <a:pt x="1080706" y="731234"/>
                    </a:cubicBezTo>
                    <a:lnTo>
                      <a:pt x="3045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267D194D-0506-4A9E-AB15-C37FB5EDF995}"/>
                  </a:ext>
                </a:extLst>
              </p:cNvPr>
              <p:cNvSpPr/>
              <p:nvPr/>
            </p:nvSpPr>
            <p:spPr>
              <a:xfrm>
                <a:off x="3168500" y="4564360"/>
                <a:ext cx="413071" cy="402853"/>
              </a:xfrm>
              <a:custGeom>
                <a:avLst/>
                <a:gdLst>
                  <a:gd name="connsiteX0" fmla="*/ 142657 w 413071"/>
                  <a:gd name="connsiteY0" fmla="*/ 0 h 402853"/>
                  <a:gd name="connsiteX1" fmla="*/ 17594 w 413071"/>
                  <a:gd name="connsiteY1" fmla="*/ 179546 h 402853"/>
                  <a:gd name="connsiteX2" fmla="*/ 5973 w 413071"/>
                  <a:gd name="connsiteY2" fmla="*/ 251460 h 402853"/>
                  <a:gd name="connsiteX3" fmla="*/ 45312 w 413071"/>
                  <a:gd name="connsiteY3" fmla="*/ 259747 h 402853"/>
                  <a:gd name="connsiteX4" fmla="*/ 153801 w 413071"/>
                  <a:gd name="connsiteY4" fmla="*/ 133731 h 402853"/>
                  <a:gd name="connsiteX5" fmla="*/ 28738 w 413071"/>
                  <a:gd name="connsiteY5" fmla="*/ 333756 h 402853"/>
                  <a:gd name="connsiteX6" fmla="*/ 74172 w 413071"/>
                  <a:gd name="connsiteY6" fmla="*/ 372332 h 402853"/>
                  <a:gd name="connsiteX7" fmla="*/ 153801 w 413071"/>
                  <a:gd name="connsiteY7" fmla="*/ 290131 h 402853"/>
                  <a:gd name="connsiteX8" fmla="*/ 95413 w 413071"/>
                  <a:gd name="connsiteY8" fmla="*/ 390335 h 402853"/>
                  <a:gd name="connsiteX9" fmla="*/ 149610 w 413071"/>
                  <a:gd name="connsiteY9" fmla="*/ 396335 h 402853"/>
                  <a:gd name="connsiteX10" fmla="*/ 222381 w 413071"/>
                  <a:gd name="connsiteY10" fmla="*/ 318421 h 402853"/>
                  <a:gd name="connsiteX11" fmla="*/ 206094 w 413071"/>
                  <a:gd name="connsiteY11" fmla="*/ 366046 h 402853"/>
                  <a:gd name="connsiteX12" fmla="*/ 244670 w 413071"/>
                  <a:gd name="connsiteY12" fmla="*/ 362331 h 402853"/>
                  <a:gd name="connsiteX13" fmla="*/ 413072 w 413071"/>
                  <a:gd name="connsiteY13" fmla="*/ 200406 h 402853"/>
                  <a:gd name="connsiteX14" fmla="*/ 317822 w 413071"/>
                  <a:gd name="connsiteY14" fmla="*/ 135064 h 402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13071" h="402853">
                    <a:moveTo>
                      <a:pt x="142657" y="0"/>
                    </a:moveTo>
                    <a:cubicBezTo>
                      <a:pt x="142657" y="0"/>
                      <a:pt x="30453" y="143542"/>
                      <a:pt x="17594" y="179546"/>
                    </a:cubicBezTo>
                    <a:cubicBezTo>
                      <a:pt x="4735" y="215551"/>
                      <a:pt x="-7743" y="239459"/>
                      <a:pt x="5973" y="251460"/>
                    </a:cubicBezTo>
                    <a:cubicBezTo>
                      <a:pt x="16060" y="262185"/>
                      <a:pt x="31757" y="265500"/>
                      <a:pt x="45312" y="259747"/>
                    </a:cubicBezTo>
                    <a:cubicBezTo>
                      <a:pt x="63600" y="252698"/>
                      <a:pt x="153801" y="133731"/>
                      <a:pt x="153801" y="133731"/>
                    </a:cubicBezTo>
                    <a:cubicBezTo>
                      <a:pt x="153801" y="133731"/>
                      <a:pt x="34167" y="304324"/>
                      <a:pt x="28738" y="333756"/>
                    </a:cubicBezTo>
                    <a:cubicBezTo>
                      <a:pt x="23309" y="363188"/>
                      <a:pt x="46740" y="377476"/>
                      <a:pt x="74172" y="372332"/>
                    </a:cubicBezTo>
                    <a:cubicBezTo>
                      <a:pt x="101604" y="367189"/>
                      <a:pt x="153801" y="290131"/>
                      <a:pt x="153801" y="290131"/>
                    </a:cubicBezTo>
                    <a:cubicBezTo>
                      <a:pt x="153801" y="290131"/>
                      <a:pt x="79792" y="375856"/>
                      <a:pt x="95413" y="390335"/>
                    </a:cubicBezTo>
                    <a:cubicBezTo>
                      <a:pt x="111034" y="404813"/>
                      <a:pt x="129036" y="406622"/>
                      <a:pt x="149610" y="396335"/>
                    </a:cubicBezTo>
                    <a:cubicBezTo>
                      <a:pt x="170184" y="386048"/>
                      <a:pt x="222381" y="318421"/>
                      <a:pt x="222381" y="318421"/>
                    </a:cubicBezTo>
                    <a:cubicBezTo>
                      <a:pt x="222381" y="318421"/>
                      <a:pt x="186377" y="356521"/>
                      <a:pt x="206094" y="366046"/>
                    </a:cubicBezTo>
                    <a:cubicBezTo>
                      <a:pt x="225810" y="375571"/>
                      <a:pt x="227525" y="376523"/>
                      <a:pt x="244670" y="362331"/>
                    </a:cubicBezTo>
                    <a:cubicBezTo>
                      <a:pt x="261815" y="348139"/>
                      <a:pt x="413072" y="200406"/>
                      <a:pt x="413072" y="200406"/>
                    </a:cubicBezTo>
                    <a:lnTo>
                      <a:pt x="317822" y="135064"/>
                    </a:lnTo>
                    <a:close/>
                  </a:path>
                </a:pathLst>
              </a:custGeom>
              <a:solidFill>
                <a:srgbClr val="FFBF9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2A22F4E0-727C-4A5A-9EEE-6AEF21A6E8A5}"/>
                  </a:ext>
                </a:extLst>
              </p:cNvPr>
              <p:cNvSpPr/>
              <p:nvPr/>
            </p:nvSpPr>
            <p:spPr>
              <a:xfrm>
                <a:off x="3229813" y="4652086"/>
                <a:ext cx="127349" cy="158496"/>
              </a:xfrm>
              <a:custGeom>
                <a:avLst/>
                <a:gdLst>
                  <a:gd name="connsiteX0" fmla="*/ 127349 w 127349"/>
                  <a:gd name="connsiteY0" fmla="*/ 0 h 158496"/>
                  <a:gd name="connsiteX1" fmla="*/ 109823 w 127349"/>
                  <a:gd name="connsiteY1" fmla="*/ 24003 h 158496"/>
                  <a:gd name="connsiteX2" fmla="*/ 66008 w 127349"/>
                  <a:gd name="connsiteY2" fmla="*/ 81153 h 158496"/>
                  <a:gd name="connsiteX3" fmla="*/ 20574 w 127349"/>
                  <a:gd name="connsiteY3" fmla="*/ 136970 h 158496"/>
                  <a:gd name="connsiteX4" fmla="*/ 0 w 127349"/>
                  <a:gd name="connsiteY4" fmla="*/ 158496 h 158496"/>
                  <a:gd name="connsiteX5" fmla="*/ 17907 w 127349"/>
                  <a:gd name="connsiteY5" fmla="*/ 134684 h 158496"/>
                  <a:gd name="connsiteX6" fmla="*/ 62103 w 127349"/>
                  <a:gd name="connsiteY6" fmla="*/ 78105 h 158496"/>
                  <a:gd name="connsiteX7" fmla="*/ 107061 w 127349"/>
                  <a:gd name="connsiteY7" fmla="*/ 21908 h 158496"/>
                  <a:gd name="connsiteX8" fmla="*/ 127349 w 127349"/>
                  <a:gd name="connsiteY8" fmla="*/ 0 h 15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349" h="158496">
                    <a:moveTo>
                      <a:pt x="127349" y="0"/>
                    </a:moveTo>
                    <a:cubicBezTo>
                      <a:pt x="122101" y="8420"/>
                      <a:pt x="116243" y="16440"/>
                      <a:pt x="109823" y="24003"/>
                    </a:cubicBezTo>
                    <a:lnTo>
                      <a:pt x="66008" y="81153"/>
                    </a:lnTo>
                    <a:cubicBezTo>
                      <a:pt x="48863" y="103346"/>
                      <a:pt x="32766" y="123063"/>
                      <a:pt x="20574" y="136970"/>
                    </a:cubicBezTo>
                    <a:cubicBezTo>
                      <a:pt x="14440" y="144809"/>
                      <a:pt x="7553" y="152010"/>
                      <a:pt x="0" y="158496"/>
                    </a:cubicBezTo>
                    <a:cubicBezTo>
                      <a:pt x="5363" y="150124"/>
                      <a:pt x="11344" y="142161"/>
                      <a:pt x="17907" y="134684"/>
                    </a:cubicBezTo>
                    <a:lnTo>
                      <a:pt x="62103" y="78105"/>
                    </a:lnTo>
                    <a:cubicBezTo>
                      <a:pt x="79248" y="55912"/>
                      <a:pt x="95155" y="36004"/>
                      <a:pt x="107061" y="21908"/>
                    </a:cubicBezTo>
                    <a:cubicBezTo>
                      <a:pt x="113109" y="13973"/>
                      <a:pt x="119901" y="6639"/>
                      <a:pt x="127349" y="0"/>
                    </a:cubicBezTo>
                    <a:close/>
                  </a:path>
                </a:pathLst>
              </a:custGeom>
              <a:solidFill>
                <a:srgbClr val="FF9A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9AECF9D5-899E-42CD-BE33-05AA37B1D19E}"/>
                  </a:ext>
                </a:extLst>
              </p:cNvPr>
              <p:cNvSpPr/>
              <p:nvPr/>
            </p:nvSpPr>
            <p:spPr>
              <a:xfrm>
                <a:off x="3313252" y="4720856"/>
                <a:ext cx="123443" cy="145732"/>
              </a:xfrm>
              <a:custGeom>
                <a:avLst/>
                <a:gdLst>
                  <a:gd name="connsiteX0" fmla="*/ 123444 w 123443"/>
                  <a:gd name="connsiteY0" fmla="*/ 0 h 145732"/>
                  <a:gd name="connsiteX1" fmla="*/ 63627 w 123443"/>
                  <a:gd name="connsiteY1" fmla="*/ 74486 h 145732"/>
                  <a:gd name="connsiteX2" fmla="*/ 0 w 123443"/>
                  <a:gd name="connsiteY2" fmla="*/ 145733 h 145732"/>
                  <a:gd name="connsiteX3" fmla="*/ 59817 w 123443"/>
                  <a:gd name="connsiteY3" fmla="*/ 71247 h 145732"/>
                  <a:gd name="connsiteX4" fmla="*/ 123444 w 123443"/>
                  <a:gd name="connsiteY4" fmla="*/ 0 h 145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443" h="145732">
                    <a:moveTo>
                      <a:pt x="123444" y="0"/>
                    </a:moveTo>
                    <a:cubicBezTo>
                      <a:pt x="104785" y="25832"/>
                      <a:pt x="84820" y="50692"/>
                      <a:pt x="63627" y="74486"/>
                    </a:cubicBezTo>
                    <a:cubicBezTo>
                      <a:pt x="43644" y="99298"/>
                      <a:pt x="22403" y="123082"/>
                      <a:pt x="0" y="145733"/>
                    </a:cubicBezTo>
                    <a:cubicBezTo>
                      <a:pt x="18622" y="119872"/>
                      <a:pt x="38586" y="95012"/>
                      <a:pt x="59817" y="71247"/>
                    </a:cubicBezTo>
                    <a:cubicBezTo>
                      <a:pt x="79800" y="46434"/>
                      <a:pt x="101041" y="22651"/>
                      <a:pt x="123444" y="0"/>
                    </a:cubicBezTo>
                    <a:close/>
                  </a:path>
                </a:pathLst>
              </a:custGeom>
              <a:solidFill>
                <a:srgbClr val="FF9A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099A2104-1209-48FE-BB57-39B1394D6E25}"/>
                  </a:ext>
                </a:extLst>
              </p:cNvPr>
              <p:cNvSpPr/>
              <p:nvPr/>
            </p:nvSpPr>
            <p:spPr>
              <a:xfrm>
                <a:off x="3371069" y="4764004"/>
                <a:ext cx="129349" cy="140874"/>
              </a:xfrm>
              <a:custGeom>
                <a:avLst/>
                <a:gdLst>
                  <a:gd name="connsiteX0" fmla="*/ 129349 w 129349"/>
                  <a:gd name="connsiteY0" fmla="*/ 0 h 140874"/>
                  <a:gd name="connsiteX1" fmla="*/ 66675 w 129349"/>
                  <a:gd name="connsiteY1" fmla="*/ 72104 h 140874"/>
                  <a:gd name="connsiteX2" fmla="*/ 0 w 129349"/>
                  <a:gd name="connsiteY2" fmla="*/ 140875 h 140874"/>
                  <a:gd name="connsiteX3" fmla="*/ 62674 w 129349"/>
                  <a:gd name="connsiteY3" fmla="*/ 68771 h 140874"/>
                  <a:gd name="connsiteX4" fmla="*/ 129349 w 129349"/>
                  <a:gd name="connsiteY4" fmla="*/ 0 h 140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349" h="140874">
                    <a:moveTo>
                      <a:pt x="129349" y="0"/>
                    </a:moveTo>
                    <a:cubicBezTo>
                      <a:pt x="109718" y="25098"/>
                      <a:pt x="88792" y="49168"/>
                      <a:pt x="66675" y="72104"/>
                    </a:cubicBezTo>
                    <a:cubicBezTo>
                      <a:pt x="45672" y="96184"/>
                      <a:pt x="23413" y="119139"/>
                      <a:pt x="0" y="140875"/>
                    </a:cubicBezTo>
                    <a:cubicBezTo>
                      <a:pt x="19660" y="115796"/>
                      <a:pt x="40577" y="91726"/>
                      <a:pt x="62674" y="68771"/>
                    </a:cubicBezTo>
                    <a:cubicBezTo>
                      <a:pt x="83648" y="44663"/>
                      <a:pt x="105908" y="21708"/>
                      <a:pt x="129349" y="0"/>
                    </a:cubicBezTo>
                    <a:close/>
                  </a:path>
                </a:pathLst>
              </a:custGeom>
              <a:solidFill>
                <a:srgbClr val="FF9A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047C5753-4EF4-44FB-94D1-00356F00B191}"/>
                  </a:ext>
                </a:extLst>
              </p:cNvPr>
              <p:cNvSpPr/>
              <p:nvPr/>
            </p:nvSpPr>
            <p:spPr>
              <a:xfrm>
                <a:off x="2453571" y="3410052"/>
                <a:ext cx="1425525" cy="1415138"/>
              </a:xfrm>
              <a:custGeom>
                <a:avLst/>
                <a:gdLst>
                  <a:gd name="connsiteX0" fmla="*/ 224840 w 1425525"/>
                  <a:gd name="connsiteY0" fmla="*/ 11880 h 1415138"/>
                  <a:gd name="connsiteX1" fmla="*/ 459441 w 1425525"/>
                  <a:gd name="connsiteY1" fmla="*/ 29882 h 1415138"/>
                  <a:gd name="connsiteX2" fmla="*/ 842251 w 1425525"/>
                  <a:gd name="connsiteY2" fmla="*/ 375259 h 1415138"/>
                  <a:gd name="connsiteX3" fmla="*/ 1402987 w 1425525"/>
                  <a:gd name="connsiteY3" fmla="*/ 1014291 h 1415138"/>
                  <a:gd name="connsiteX4" fmla="*/ 1370888 w 1425525"/>
                  <a:gd name="connsiteY4" fmla="*/ 1348809 h 1415138"/>
                  <a:gd name="connsiteX5" fmla="*/ 1092187 w 1425525"/>
                  <a:gd name="connsiteY5" fmla="*/ 1387385 h 1415138"/>
                  <a:gd name="connsiteX6" fmla="*/ 190550 w 1425525"/>
                  <a:gd name="connsiteY6" fmla="*/ 765022 h 1415138"/>
                  <a:gd name="connsiteX7" fmla="*/ 21005 w 1425525"/>
                  <a:gd name="connsiteY7" fmla="*/ 517372 h 1415138"/>
                  <a:gd name="connsiteX8" fmla="*/ 1955 w 1425525"/>
                  <a:gd name="connsiteY8" fmla="*/ 320585 h 1415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5525" h="1415138">
                    <a:moveTo>
                      <a:pt x="224840" y="11880"/>
                    </a:moveTo>
                    <a:cubicBezTo>
                      <a:pt x="297325" y="-3455"/>
                      <a:pt x="389337" y="-9837"/>
                      <a:pt x="459441" y="29882"/>
                    </a:cubicBezTo>
                    <a:lnTo>
                      <a:pt x="842251" y="375259"/>
                    </a:lnTo>
                    <a:cubicBezTo>
                      <a:pt x="842251" y="375259"/>
                      <a:pt x="1381842" y="980573"/>
                      <a:pt x="1402987" y="1014291"/>
                    </a:cubicBezTo>
                    <a:cubicBezTo>
                      <a:pt x="1424133" y="1048010"/>
                      <a:pt x="1452613" y="1247273"/>
                      <a:pt x="1370888" y="1348809"/>
                    </a:cubicBezTo>
                    <a:cubicBezTo>
                      <a:pt x="1289164" y="1450345"/>
                      <a:pt x="1196962" y="1411293"/>
                      <a:pt x="1092187" y="1387385"/>
                    </a:cubicBezTo>
                    <a:cubicBezTo>
                      <a:pt x="1009224" y="1368335"/>
                      <a:pt x="429056" y="942092"/>
                      <a:pt x="190550" y="765022"/>
                    </a:cubicBezTo>
                    <a:cubicBezTo>
                      <a:pt x="107673" y="704005"/>
                      <a:pt x="47904" y="616708"/>
                      <a:pt x="21005" y="517372"/>
                    </a:cubicBezTo>
                    <a:cubicBezTo>
                      <a:pt x="2812" y="453468"/>
                      <a:pt x="-3646" y="386793"/>
                      <a:pt x="1955" y="320585"/>
                    </a:cubicBezTo>
                  </a:path>
                </a:pathLst>
              </a:custGeom>
              <a:solidFill>
                <a:srgbClr val="4572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D814D18E-C778-46D7-908B-2F5379D07D21}"/>
                  </a:ext>
                </a:extLst>
              </p:cNvPr>
              <p:cNvSpPr/>
              <p:nvPr/>
            </p:nvSpPr>
            <p:spPr>
              <a:xfrm>
                <a:off x="2451960" y="3409062"/>
                <a:ext cx="1428976" cy="1418270"/>
              </a:xfrm>
              <a:custGeom>
                <a:avLst/>
                <a:gdLst>
                  <a:gd name="connsiteX0" fmla="*/ 3661 w 1428976"/>
                  <a:gd name="connsiteY0" fmla="*/ 322052 h 1418270"/>
                  <a:gd name="connsiteX1" fmla="*/ 2994 w 1428976"/>
                  <a:gd name="connsiteY1" fmla="*/ 332053 h 1418270"/>
                  <a:gd name="connsiteX2" fmla="*/ 1852 w 1428976"/>
                  <a:gd name="connsiteY2" fmla="*/ 361200 h 1418270"/>
                  <a:gd name="connsiteX3" fmla="*/ 13091 w 1428976"/>
                  <a:gd name="connsiteY3" fmla="*/ 472737 h 1418270"/>
                  <a:gd name="connsiteX4" fmla="*/ 34046 w 1428976"/>
                  <a:gd name="connsiteY4" fmla="*/ 550937 h 1418270"/>
                  <a:gd name="connsiteX5" fmla="*/ 75861 w 1428976"/>
                  <a:gd name="connsiteY5" fmla="*/ 637615 h 1418270"/>
                  <a:gd name="connsiteX6" fmla="*/ 145107 w 1428976"/>
                  <a:gd name="connsiteY6" fmla="*/ 723340 h 1418270"/>
                  <a:gd name="connsiteX7" fmla="*/ 242263 w 1428976"/>
                  <a:gd name="connsiteY7" fmla="*/ 800683 h 1418270"/>
                  <a:gd name="connsiteX8" fmla="*/ 739087 w 1428976"/>
                  <a:gd name="connsiteY8" fmla="*/ 1160061 h 1418270"/>
                  <a:gd name="connsiteX9" fmla="*/ 884914 w 1428976"/>
                  <a:gd name="connsiteY9" fmla="*/ 1260645 h 1418270"/>
                  <a:gd name="connsiteX10" fmla="*/ 1040553 w 1428976"/>
                  <a:gd name="connsiteY10" fmla="*/ 1360086 h 1418270"/>
                  <a:gd name="connsiteX11" fmla="*/ 1082367 w 1428976"/>
                  <a:gd name="connsiteY11" fmla="*/ 1381232 h 1418270"/>
                  <a:gd name="connsiteX12" fmla="*/ 1104751 w 1428976"/>
                  <a:gd name="connsiteY12" fmla="*/ 1387995 h 1418270"/>
                  <a:gd name="connsiteX13" fmla="*/ 1127992 w 1428976"/>
                  <a:gd name="connsiteY13" fmla="*/ 1393614 h 1418270"/>
                  <a:gd name="connsiteX14" fmla="*/ 1222195 w 1428976"/>
                  <a:gd name="connsiteY14" fmla="*/ 1412664 h 1418270"/>
                  <a:gd name="connsiteX15" fmla="*/ 1315635 w 1428976"/>
                  <a:gd name="connsiteY15" fmla="*/ 1395615 h 1418270"/>
                  <a:gd name="connsiteX16" fmla="*/ 1384786 w 1428976"/>
                  <a:gd name="connsiteY16" fmla="*/ 1327701 h 1418270"/>
                  <a:gd name="connsiteX17" fmla="*/ 1424220 w 1428976"/>
                  <a:gd name="connsiteY17" fmla="*/ 1171206 h 1418270"/>
                  <a:gd name="connsiteX18" fmla="*/ 1420981 w 1428976"/>
                  <a:gd name="connsiteY18" fmla="*/ 1090910 h 1418270"/>
                  <a:gd name="connsiteX19" fmla="*/ 1414409 w 1428976"/>
                  <a:gd name="connsiteY19" fmla="*/ 1051762 h 1418270"/>
                  <a:gd name="connsiteX20" fmla="*/ 1401550 w 1428976"/>
                  <a:gd name="connsiteY20" fmla="*/ 1015281 h 1418270"/>
                  <a:gd name="connsiteX21" fmla="*/ 1351544 w 1428976"/>
                  <a:gd name="connsiteY21" fmla="*/ 955083 h 1418270"/>
                  <a:gd name="connsiteX22" fmla="*/ 1300871 w 1428976"/>
                  <a:gd name="connsiteY22" fmla="*/ 896600 h 1418270"/>
                  <a:gd name="connsiteX23" fmla="*/ 1201335 w 1428976"/>
                  <a:gd name="connsiteY23" fmla="*/ 783062 h 1418270"/>
                  <a:gd name="connsiteX24" fmla="*/ 842433 w 1428976"/>
                  <a:gd name="connsiteY24" fmla="*/ 377487 h 1418270"/>
                  <a:gd name="connsiteX25" fmla="*/ 842433 w 1428976"/>
                  <a:gd name="connsiteY25" fmla="*/ 377487 h 1418270"/>
                  <a:gd name="connsiteX26" fmla="*/ 460099 w 1428976"/>
                  <a:gd name="connsiteY26" fmla="*/ 31539 h 1418270"/>
                  <a:gd name="connsiteX27" fmla="*/ 460099 w 1428976"/>
                  <a:gd name="connsiteY27" fmla="*/ 31539 h 1418270"/>
                  <a:gd name="connsiteX28" fmla="*/ 362087 w 1428976"/>
                  <a:gd name="connsiteY28" fmla="*/ 2964 h 1418270"/>
                  <a:gd name="connsiteX29" fmla="*/ 287030 w 1428976"/>
                  <a:gd name="connsiteY29" fmla="*/ 3631 h 1418270"/>
                  <a:gd name="connsiteX30" fmla="*/ 241500 w 1428976"/>
                  <a:gd name="connsiteY30" fmla="*/ 9918 h 1418270"/>
                  <a:gd name="connsiteX31" fmla="*/ 230071 w 1428976"/>
                  <a:gd name="connsiteY31" fmla="*/ 12013 h 1418270"/>
                  <a:gd name="connsiteX32" fmla="*/ 226165 w 1428976"/>
                  <a:gd name="connsiteY32" fmla="*/ 12585 h 1418270"/>
                  <a:gd name="connsiteX33" fmla="*/ 241405 w 1428976"/>
                  <a:gd name="connsiteY33" fmla="*/ 9251 h 1418270"/>
                  <a:gd name="connsiteX34" fmla="*/ 286935 w 1428976"/>
                  <a:gd name="connsiteY34" fmla="*/ 2393 h 1418270"/>
                  <a:gd name="connsiteX35" fmla="*/ 362278 w 1428976"/>
                  <a:gd name="connsiteY35" fmla="*/ 1155 h 1418270"/>
                  <a:gd name="connsiteX36" fmla="*/ 461338 w 1428976"/>
                  <a:gd name="connsiteY36" fmla="*/ 29730 h 1418270"/>
                  <a:gd name="connsiteX37" fmla="*/ 461338 w 1428976"/>
                  <a:gd name="connsiteY37" fmla="*/ 29730 h 1418270"/>
                  <a:gd name="connsiteX38" fmla="*/ 844719 w 1428976"/>
                  <a:gd name="connsiteY38" fmla="*/ 374439 h 1418270"/>
                  <a:gd name="connsiteX39" fmla="*/ 844719 w 1428976"/>
                  <a:gd name="connsiteY39" fmla="*/ 374439 h 1418270"/>
                  <a:gd name="connsiteX40" fmla="*/ 1204288 w 1428976"/>
                  <a:gd name="connsiteY40" fmla="*/ 779442 h 1418270"/>
                  <a:gd name="connsiteX41" fmla="*/ 1303919 w 1428976"/>
                  <a:gd name="connsiteY41" fmla="*/ 892980 h 1418270"/>
                  <a:gd name="connsiteX42" fmla="*/ 1354592 w 1428976"/>
                  <a:gd name="connsiteY42" fmla="*/ 951464 h 1418270"/>
                  <a:gd name="connsiteX43" fmla="*/ 1405074 w 1428976"/>
                  <a:gd name="connsiteY43" fmla="*/ 1012138 h 1418270"/>
                  <a:gd name="connsiteX44" fmla="*/ 1409932 w 1428976"/>
                  <a:gd name="connsiteY44" fmla="*/ 1021663 h 1418270"/>
                  <a:gd name="connsiteX45" fmla="*/ 1413361 w 1428976"/>
                  <a:gd name="connsiteY45" fmla="*/ 1031188 h 1418270"/>
                  <a:gd name="connsiteX46" fmla="*/ 1418600 w 1428976"/>
                  <a:gd name="connsiteY46" fmla="*/ 1050238 h 1418270"/>
                  <a:gd name="connsiteX47" fmla="*/ 1425267 w 1428976"/>
                  <a:gd name="connsiteY47" fmla="*/ 1089862 h 1418270"/>
                  <a:gd name="connsiteX48" fmla="*/ 1428601 w 1428976"/>
                  <a:gd name="connsiteY48" fmla="*/ 1170920 h 1418270"/>
                  <a:gd name="connsiteX49" fmla="*/ 1388406 w 1428976"/>
                  <a:gd name="connsiteY49" fmla="*/ 1329797 h 1418270"/>
                  <a:gd name="connsiteX50" fmla="*/ 1317445 w 1428976"/>
                  <a:gd name="connsiteY50" fmla="*/ 1399520 h 1418270"/>
                  <a:gd name="connsiteX51" fmla="*/ 1221242 w 1428976"/>
                  <a:gd name="connsiteY51" fmla="*/ 1417046 h 1418270"/>
                  <a:gd name="connsiteX52" fmla="*/ 1125992 w 1428976"/>
                  <a:gd name="connsiteY52" fmla="*/ 1397996 h 1418270"/>
                  <a:gd name="connsiteX53" fmla="*/ 1102751 w 1428976"/>
                  <a:gd name="connsiteY53" fmla="*/ 1392376 h 1418270"/>
                  <a:gd name="connsiteX54" fmla="*/ 1079700 w 1428976"/>
                  <a:gd name="connsiteY54" fmla="*/ 1385423 h 1418270"/>
                  <a:gd name="connsiteX55" fmla="*/ 1037314 w 1428976"/>
                  <a:gd name="connsiteY55" fmla="*/ 1363706 h 1418270"/>
                  <a:gd name="connsiteX56" fmla="*/ 881485 w 1428976"/>
                  <a:gd name="connsiteY56" fmla="*/ 1264074 h 1418270"/>
                  <a:gd name="connsiteX57" fmla="*/ 735657 w 1428976"/>
                  <a:gd name="connsiteY57" fmla="*/ 1163204 h 1418270"/>
                  <a:gd name="connsiteX58" fmla="*/ 239310 w 1428976"/>
                  <a:gd name="connsiteY58" fmla="*/ 802969 h 1418270"/>
                  <a:gd name="connsiteX59" fmla="*/ 142059 w 1428976"/>
                  <a:gd name="connsiteY59" fmla="*/ 725054 h 1418270"/>
                  <a:gd name="connsiteX60" fmla="*/ 72622 w 1428976"/>
                  <a:gd name="connsiteY60" fmla="*/ 638282 h 1418270"/>
                  <a:gd name="connsiteX61" fmla="*/ 30998 w 1428976"/>
                  <a:gd name="connsiteY61" fmla="*/ 551033 h 1418270"/>
                  <a:gd name="connsiteX62" fmla="*/ 10329 w 1428976"/>
                  <a:gd name="connsiteY62" fmla="*/ 472356 h 1418270"/>
                  <a:gd name="connsiteX63" fmla="*/ 42 w 1428976"/>
                  <a:gd name="connsiteY63" fmla="*/ 360437 h 1418270"/>
                  <a:gd name="connsiteX64" fmla="*/ 3661 w 1428976"/>
                  <a:gd name="connsiteY64" fmla="*/ 322052 h 141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1428976" h="1418270">
                    <a:moveTo>
                      <a:pt x="3661" y="322052"/>
                    </a:moveTo>
                    <a:cubicBezTo>
                      <a:pt x="3661" y="322052"/>
                      <a:pt x="3661" y="325481"/>
                      <a:pt x="2994" y="332053"/>
                    </a:cubicBezTo>
                    <a:cubicBezTo>
                      <a:pt x="2328" y="338625"/>
                      <a:pt x="2042" y="348341"/>
                      <a:pt x="1852" y="361200"/>
                    </a:cubicBezTo>
                    <a:cubicBezTo>
                      <a:pt x="1852" y="398661"/>
                      <a:pt x="5614" y="436028"/>
                      <a:pt x="13091" y="472737"/>
                    </a:cubicBezTo>
                    <a:cubicBezTo>
                      <a:pt x="18263" y="499255"/>
                      <a:pt x="25264" y="525382"/>
                      <a:pt x="34046" y="550937"/>
                    </a:cubicBezTo>
                    <a:cubicBezTo>
                      <a:pt x="44781" y="581265"/>
                      <a:pt x="58802" y="610336"/>
                      <a:pt x="75861" y="637615"/>
                    </a:cubicBezTo>
                    <a:cubicBezTo>
                      <a:pt x="95406" y="668876"/>
                      <a:pt x="118656" y="697661"/>
                      <a:pt x="145107" y="723340"/>
                    </a:cubicBezTo>
                    <a:cubicBezTo>
                      <a:pt x="172825" y="751153"/>
                      <a:pt x="207306" y="774585"/>
                      <a:pt x="242263" y="800683"/>
                    </a:cubicBezTo>
                    <a:cubicBezTo>
                      <a:pt x="382851" y="904220"/>
                      <a:pt x="550396" y="1027187"/>
                      <a:pt x="739087" y="1160061"/>
                    </a:cubicBezTo>
                    <a:cubicBezTo>
                      <a:pt x="786712" y="1193208"/>
                      <a:pt x="834908" y="1226736"/>
                      <a:pt x="884914" y="1260645"/>
                    </a:cubicBezTo>
                    <a:cubicBezTo>
                      <a:pt x="934921" y="1294554"/>
                      <a:pt x="986356" y="1328654"/>
                      <a:pt x="1040553" y="1360086"/>
                    </a:cubicBezTo>
                    <a:cubicBezTo>
                      <a:pt x="1054088" y="1367907"/>
                      <a:pt x="1068051" y="1374965"/>
                      <a:pt x="1082367" y="1381232"/>
                    </a:cubicBezTo>
                    <a:cubicBezTo>
                      <a:pt x="1089588" y="1384213"/>
                      <a:pt x="1097084" y="1386480"/>
                      <a:pt x="1104751" y="1387995"/>
                    </a:cubicBezTo>
                    <a:lnTo>
                      <a:pt x="1127992" y="1393614"/>
                    </a:lnTo>
                    <a:cubicBezTo>
                      <a:pt x="1158872" y="1402301"/>
                      <a:pt x="1190362" y="1408674"/>
                      <a:pt x="1222195" y="1412664"/>
                    </a:cubicBezTo>
                    <a:cubicBezTo>
                      <a:pt x="1254351" y="1416655"/>
                      <a:pt x="1286955" y="1410702"/>
                      <a:pt x="1315635" y="1395615"/>
                    </a:cubicBezTo>
                    <a:cubicBezTo>
                      <a:pt x="1344115" y="1379260"/>
                      <a:pt x="1367917" y="1355876"/>
                      <a:pt x="1384786" y="1327701"/>
                    </a:cubicBezTo>
                    <a:cubicBezTo>
                      <a:pt x="1412314" y="1280076"/>
                      <a:pt x="1422410" y="1224831"/>
                      <a:pt x="1424220" y="1171206"/>
                    </a:cubicBezTo>
                    <a:cubicBezTo>
                      <a:pt x="1425287" y="1144393"/>
                      <a:pt x="1424210" y="1117542"/>
                      <a:pt x="1420981" y="1090910"/>
                    </a:cubicBezTo>
                    <a:cubicBezTo>
                      <a:pt x="1419362" y="1077766"/>
                      <a:pt x="1417171" y="1064621"/>
                      <a:pt x="1414409" y="1051762"/>
                    </a:cubicBezTo>
                    <a:cubicBezTo>
                      <a:pt x="1412028" y="1039008"/>
                      <a:pt x="1407694" y="1026702"/>
                      <a:pt x="1401550" y="1015281"/>
                    </a:cubicBezTo>
                    <a:cubicBezTo>
                      <a:pt x="1385929" y="994707"/>
                      <a:pt x="1368213" y="974895"/>
                      <a:pt x="1351544" y="955083"/>
                    </a:cubicBezTo>
                    <a:lnTo>
                      <a:pt x="1300871" y="896600"/>
                    </a:lnTo>
                    <a:lnTo>
                      <a:pt x="1201335" y="783062"/>
                    </a:lnTo>
                    <a:lnTo>
                      <a:pt x="842433" y="377487"/>
                    </a:lnTo>
                    <a:lnTo>
                      <a:pt x="842433" y="377487"/>
                    </a:lnTo>
                    <a:lnTo>
                      <a:pt x="460099" y="31539"/>
                    </a:lnTo>
                    <a:lnTo>
                      <a:pt x="460099" y="31539"/>
                    </a:lnTo>
                    <a:cubicBezTo>
                      <a:pt x="429819" y="15194"/>
                      <a:pt x="396405" y="5460"/>
                      <a:pt x="362087" y="2964"/>
                    </a:cubicBezTo>
                    <a:cubicBezTo>
                      <a:pt x="337103" y="936"/>
                      <a:pt x="311976" y="1155"/>
                      <a:pt x="287030" y="3631"/>
                    </a:cubicBezTo>
                    <a:cubicBezTo>
                      <a:pt x="266932" y="5631"/>
                      <a:pt x="251692" y="8203"/>
                      <a:pt x="241500" y="9918"/>
                    </a:cubicBezTo>
                    <a:lnTo>
                      <a:pt x="230071" y="12013"/>
                    </a:lnTo>
                    <a:cubicBezTo>
                      <a:pt x="227499" y="12489"/>
                      <a:pt x="226165" y="12585"/>
                      <a:pt x="226165" y="12585"/>
                    </a:cubicBezTo>
                    <a:cubicBezTo>
                      <a:pt x="226165" y="12585"/>
                      <a:pt x="231309" y="11346"/>
                      <a:pt x="241405" y="9251"/>
                    </a:cubicBezTo>
                    <a:cubicBezTo>
                      <a:pt x="251502" y="7155"/>
                      <a:pt x="266742" y="4584"/>
                      <a:pt x="286935" y="2393"/>
                    </a:cubicBezTo>
                    <a:cubicBezTo>
                      <a:pt x="311957" y="-312"/>
                      <a:pt x="337179" y="-722"/>
                      <a:pt x="362278" y="1155"/>
                    </a:cubicBezTo>
                    <a:cubicBezTo>
                      <a:pt x="396948" y="3564"/>
                      <a:pt x="430705" y="13308"/>
                      <a:pt x="461338" y="29730"/>
                    </a:cubicBezTo>
                    <a:lnTo>
                      <a:pt x="461338" y="29730"/>
                    </a:lnTo>
                    <a:lnTo>
                      <a:pt x="844719" y="374439"/>
                    </a:lnTo>
                    <a:lnTo>
                      <a:pt x="844719" y="374439"/>
                    </a:lnTo>
                    <a:cubicBezTo>
                      <a:pt x="952161" y="494740"/>
                      <a:pt x="1073319" y="631138"/>
                      <a:pt x="1204288" y="779442"/>
                    </a:cubicBezTo>
                    <a:lnTo>
                      <a:pt x="1303919" y="892980"/>
                    </a:lnTo>
                    <a:lnTo>
                      <a:pt x="1354592" y="951464"/>
                    </a:lnTo>
                    <a:cubicBezTo>
                      <a:pt x="1371547" y="971371"/>
                      <a:pt x="1388787" y="990707"/>
                      <a:pt x="1405074" y="1012138"/>
                    </a:cubicBezTo>
                    <a:cubicBezTo>
                      <a:pt x="1406980" y="1015157"/>
                      <a:pt x="1408599" y="1018348"/>
                      <a:pt x="1409932" y="1021663"/>
                    </a:cubicBezTo>
                    <a:cubicBezTo>
                      <a:pt x="1411266" y="1024806"/>
                      <a:pt x="1412218" y="1027950"/>
                      <a:pt x="1413361" y="1031188"/>
                    </a:cubicBezTo>
                    <a:cubicBezTo>
                      <a:pt x="1415552" y="1037570"/>
                      <a:pt x="1416981" y="1044047"/>
                      <a:pt x="1418600" y="1050238"/>
                    </a:cubicBezTo>
                    <a:cubicBezTo>
                      <a:pt x="1421458" y="1063287"/>
                      <a:pt x="1423648" y="1076527"/>
                      <a:pt x="1425267" y="1089862"/>
                    </a:cubicBezTo>
                    <a:cubicBezTo>
                      <a:pt x="1428525" y="1116751"/>
                      <a:pt x="1429640" y="1143859"/>
                      <a:pt x="1428601" y="1170920"/>
                    </a:cubicBezTo>
                    <a:cubicBezTo>
                      <a:pt x="1426696" y="1225022"/>
                      <a:pt x="1416600" y="1281029"/>
                      <a:pt x="1388406" y="1329797"/>
                    </a:cubicBezTo>
                    <a:cubicBezTo>
                      <a:pt x="1371137" y="1358753"/>
                      <a:pt x="1346696" y="1382765"/>
                      <a:pt x="1317445" y="1399520"/>
                    </a:cubicBezTo>
                    <a:cubicBezTo>
                      <a:pt x="1287908" y="1414998"/>
                      <a:pt x="1254342" y="1421113"/>
                      <a:pt x="1221242" y="1417046"/>
                    </a:cubicBezTo>
                    <a:cubicBezTo>
                      <a:pt x="1189057" y="1413121"/>
                      <a:pt x="1157215" y="1406749"/>
                      <a:pt x="1125992" y="1397996"/>
                    </a:cubicBezTo>
                    <a:lnTo>
                      <a:pt x="1102751" y="1392376"/>
                    </a:lnTo>
                    <a:cubicBezTo>
                      <a:pt x="1094864" y="1390785"/>
                      <a:pt x="1087149" y="1388461"/>
                      <a:pt x="1079700" y="1385423"/>
                    </a:cubicBezTo>
                    <a:cubicBezTo>
                      <a:pt x="1065165" y="1379003"/>
                      <a:pt x="1051011" y="1371755"/>
                      <a:pt x="1037314" y="1363706"/>
                    </a:cubicBezTo>
                    <a:cubicBezTo>
                      <a:pt x="982831" y="1332083"/>
                      <a:pt x="931587" y="1297698"/>
                      <a:pt x="881485" y="1264074"/>
                    </a:cubicBezTo>
                    <a:cubicBezTo>
                      <a:pt x="831384" y="1230451"/>
                      <a:pt x="782806" y="1196447"/>
                      <a:pt x="735657" y="1163204"/>
                    </a:cubicBezTo>
                    <a:cubicBezTo>
                      <a:pt x="546967" y="1029854"/>
                      <a:pt x="379613" y="906887"/>
                      <a:pt x="239310" y="802969"/>
                    </a:cubicBezTo>
                    <a:cubicBezTo>
                      <a:pt x="204544" y="776775"/>
                      <a:pt x="169968" y="753153"/>
                      <a:pt x="142059" y="725054"/>
                    </a:cubicBezTo>
                    <a:cubicBezTo>
                      <a:pt x="115485" y="699042"/>
                      <a:pt x="92168" y="669905"/>
                      <a:pt x="72622" y="638282"/>
                    </a:cubicBezTo>
                    <a:cubicBezTo>
                      <a:pt x="55630" y="610793"/>
                      <a:pt x="41666" y="581541"/>
                      <a:pt x="30998" y="551033"/>
                    </a:cubicBezTo>
                    <a:cubicBezTo>
                      <a:pt x="22283" y="525325"/>
                      <a:pt x="15368" y="499036"/>
                      <a:pt x="10329" y="472356"/>
                    </a:cubicBezTo>
                    <a:cubicBezTo>
                      <a:pt x="3023" y="435504"/>
                      <a:pt x="-425" y="398004"/>
                      <a:pt x="42" y="360437"/>
                    </a:cubicBezTo>
                    <a:cubicBezTo>
                      <a:pt x="461" y="347579"/>
                      <a:pt x="1671" y="334758"/>
                      <a:pt x="3661" y="32205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72C95553-41E6-4488-984F-B2777A16313C}"/>
                  </a:ext>
                </a:extLst>
              </p:cNvPr>
              <p:cNvSpPr/>
              <p:nvPr/>
            </p:nvSpPr>
            <p:spPr>
              <a:xfrm>
                <a:off x="2615736" y="3246863"/>
                <a:ext cx="810482" cy="513302"/>
              </a:xfrm>
              <a:custGeom>
                <a:avLst/>
                <a:gdLst>
                  <a:gd name="connsiteX0" fmla="*/ 810483 w 810482"/>
                  <a:gd name="connsiteY0" fmla="*/ 513302 h 513302"/>
                  <a:gd name="connsiteX1" fmla="*/ 808292 w 810482"/>
                  <a:gd name="connsiteY1" fmla="*/ 511969 h 513302"/>
                  <a:gd name="connsiteX2" fmla="*/ 802196 w 810482"/>
                  <a:gd name="connsiteY2" fmla="*/ 507397 h 513302"/>
                  <a:gd name="connsiteX3" fmla="*/ 779336 w 810482"/>
                  <a:gd name="connsiteY3" fmla="*/ 489394 h 513302"/>
                  <a:gd name="connsiteX4" fmla="*/ 700374 w 810482"/>
                  <a:gd name="connsiteY4" fmla="*/ 416814 h 513302"/>
                  <a:gd name="connsiteX5" fmla="*/ 588264 w 810482"/>
                  <a:gd name="connsiteY5" fmla="*/ 304038 h 513302"/>
                  <a:gd name="connsiteX6" fmla="*/ 520065 w 810482"/>
                  <a:gd name="connsiteY6" fmla="*/ 239839 h 513302"/>
                  <a:gd name="connsiteX7" fmla="*/ 441008 w 810482"/>
                  <a:gd name="connsiteY7" fmla="*/ 178022 h 513302"/>
                  <a:gd name="connsiteX8" fmla="*/ 405099 w 810482"/>
                  <a:gd name="connsiteY8" fmla="*/ 156115 h 513302"/>
                  <a:gd name="connsiteX9" fmla="*/ 403384 w 810482"/>
                  <a:gd name="connsiteY9" fmla="*/ 155067 h 513302"/>
                  <a:gd name="connsiteX10" fmla="*/ 403384 w 810482"/>
                  <a:gd name="connsiteY10" fmla="*/ 153352 h 513302"/>
                  <a:gd name="connsiteX11" fmla="*/ 409289 w 810482"/>
                  <a:gd name="connsiteY11" fmla="*/ 127730 h 513302"/>
                  <a:gd name="connsiteX12" fmla="*/ 410909 w 810482"/>
                  <a:gd name="connsiteY12" fmla="*/ 130588 h 513302"/>
                  <a:gd name="connsiteX13" fmla="*/ 118110 w 810482"/>
                  <a:gd name="connsiteY13" fmla="*/ 38481 h 513302"/>
                  <a:gd name="connsiteX14" fmla="*/ 31337 w 810482"/>
                  <a:gd name="connsiteY14" fmla="*/ 10668 h 513302"/>
                  <a:gd name="connsiteX15" fmla="*/ 8096 w 810482"/>
                  <a:gd name="connsiteY15" fmla="*/ 2953 h 513302"/>
                  <a:gd name="connsiteX16" fmla="*/ 2000 w 810482"/>
                  <a:gd name="connsiteY16" fmla="*/ 857 h 513302"/>
                  <a:gd name="connsiteX17" fmla="*/ 0 w 810482"/>
                  <a:gd name="connsiteY17" fmla="*/ 0 h 513302"/>
                  <a:gd name="connsiteX18" fmla="*/ 2191 w 810482"/>
                  <a:gd name="connsiteY18" fmla="*/ 0 h 513302"/>
                  <a:gd name="connsiteX19" fmla="*/ 8287 w 810482"/>
                  <a:gd name="connsiteY19" fmla="*/ 1714 h 513302"/>
                  <a:gd name="connsiteX20" fmla="*/ 31909 w 810482"/>
                  <a:gd name="connsiteY20" fmla="*/ 8572 h 513302"/>
                  <a:gd name="connsiteX21" fmla="*/ 119158 w 810482"/>
                  <a:gd name="connsiteY21" fmla="*/ 35052 h 513302"/>
                  <a:gd name="connsiteX22" fmla="*/ 412814 w 810482"/>
                  <a:gd name="connsiteY22" fmla="*/ 125730 h 513302"/>
                  <a:gd name="connsiteX23" fmla="*/ 414909 w 810482"/>
                  <a:gd name="connsiteY23" fmla="*/ 126397 h 513302"/>
                  <a:gd name="connsiteX24" fmla="*/ 414433 w 810482"/>
                  <a:gd name="connsiteY24" fmla="*/ 128588 h 513302"/>
                  <a:gd name="connsiteX25" fmla="*/ 408623 w 810482"/>
                  <a:gd name="connsiteY25" fmla="*/ 154210 h 513302"/>
                  <a:gd name="connsiteX26" fmla="*/ 407384 w 810482"/>
                  <a:gd name="connsiteY26" fmla="*/ 151543 h 513302"/>
                  <a:gd name="connsiteX27" fmla="*/ 443675 w 810482"/>
                  <a:gd name="connsiteY27" fmla="*/ 173641 h 513302"/>
                  <a:gd name="connsiteX28" fmla="*/ 523208 w 810482"/>
                  <a:gd name="connsiteY28" fmla="*/ 235934 h 513302"/>
                  <a:gd name="connsiteX29" fmla="*/ 591503 w 810482"/>
                  <a:gd name="connsiteY29" fmla="*/ 300609 h 513302"/>
                  <a:gd name="connsiteX30" fmla="*/ 702850 w 810482"/>
                  <a:gd name="connsiteY30" fmla="*/ 414052 h 513302"/>
                  <a:gd name="connsiteX31" fmla="*/ 780574 w 810482"/>
                  <a:gd name="connsiteY31" fmla="*/ 487680 h 513302"/>
                  <a:gd name="connsiteX32" fmla="*/ 802862 w 810482"/>
                  <a:gd name="connsiteY32" fmla="*/ 506730 h 513302"/>
                  <a:gd name="connsiteX33" fmla="*/ 808673 w 810482"/>
                  <a:gd name="connsiteY33" fmla="*/ 511588 h 513302"/>
                  <a:gd name="connsiteX34" fmla="*/ 810483 w 810482"/>
                  <a:gd name="connsiteY34" fmla="*/ 513302 h 513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10482" h="513302">
                    <a:moveTo>
                      <a:pt x="810483" y="513302"/>
                    </a:moveTo>
                    <a:lnTo>
                      <a:pt x="808292" y="511969"/>
                    </a:lnTo>
                    <a:lnTo>
                      <a:pt x="802196" y="507397"/>
                    </a:lnTo>
                    <a:cubicBezTo>
                      <a:pt x="797052" y="503301"/>
                      <a:pt x="788861" y="497872"/>
                      <a:pt x="779336" y="489394"/>
                    </a:cubicBezTo>
                    <a:cubicBezTo>
                      <a:pt x="759619" y="473392"/>
                      <a:pt x="732663" y="448532"/>
                      <a:pt x="700374" y="416814"/>
                    </a:cubicBezTo>
                    <a:cubicBezTo>
                      <a:pt x="668084" y="385096"/>
                      <a:pt x="630746" y="346138"/>
                      <a:pt x="588264" y="304038"/>
                    </a:cubicBezTo>
                    <a:cubicBezTo>
                      <a:pt x="566928" y="283178"/>
                      <a:pt x="544544" y="261175"/>
                      <a:pt x="520065" y="239839"/>
                    </a:cubicBezTo>
                    <a:cubicBezTo>
                      <a:pt x="495205" y="217389"/>
                      <a:pt x="468792" y="196739"/>
                      <a:pt x="441008" y="178022"/>
                    </a:cubicBezTo>
                    <a:cubicBezTo>
                      <a:pt x="429387" y="169640"/>
                      <a:pt x="416814" y="163259"/>
                      <a:pt x="405099" y="156115"/>
                    </a:cubicBezTo>
                    <a:lnTo>
                      <a:pt x="403384" y="155067"/>
                    </a:lnTo>
                    <a:lnTo>
                      <a:pt x="403384" y="153352"/>
                    </a:lnTo>
                    <a:cubicBezTo>
                      <a:pt x="405384" y="144685"/>
                      <a:pt x="407384" y="136112"/>
                      <a:pt x="409289" y="127730"/>
                    </a:cubicBezTo>
                    <a:lnTo>
                      <a:pt x="410909" y="130588"/>
                    </a:lnTo>
                    <a:lnTo>
                      <a:pt x="118110" y="38481"/>
                    </a:lnTo>
                    <a:lnTo>
                      <a:pt x="31337" y="10668"/>
                    </a:lnTo>
                    <a:lnTo>
                      <a:pt x="8096" y="2953"/>
                    </a:lnTo>
                    <a:lnTo>
                      <a:pt x="2000" y="857"/>
                    </a:lnTo>
                    <a:lnTo>
                      <a:pt x="0" y="0"/>
                    </a:lnTo>
                    <a:cubicBezTo>
                      <a:pt x="0" y="0"/>
                      <a:pt x="762" y="0"/>
                      <a:pt x="2191" y="0"/>
                    </a:cubicBezTo>
                    <a:lnTo>
                      <a:pt x="8287" y="1714"/>
                    </a:lnTo>
                    <a:lnTo>
                      <a:pt x="31909" y="8572"/>
                    </a:lnTo>
                    <a:lnTo>
                      <a:pt x="119158" y="35052"/>
                    </a:lnTo>
                    <a:lnTo>
                      <a:pt x="412814" y="125730"/>
                    </a:lnTo>
                    <a:lnTo>
                      <a:pt x="414909" y="126397"/>
                    </a:lnTo>
                    <a:lnTo>
                      <a:pt x="414433" y="128588"/>
                    </a:lnTo>
                    <a:cubicBezTo>
                      <a:pt x="412528" y="136969"/>
                      <a:pt x="410623" y="145542"/>
                      <a:pt x="408623" y="154210"/>
                    </a:cubicBezTo>
                    <a:lnTo>
                      <a:pt x="407384" y="151543"/>
                    </a:lnTo>
                    <a:cubicBezTo>
                      <a:pt x="419291" y="158782"/>
                      <a:pt x="432054" y="165259"/>
                      <a:pt x="443675" y="173641"/>
                    </a:cubicBezTo>
                    <a:cubicBezTo>
                      <a:pt x="471659" y="192443"/>
                      <a:pt x="498243" y="213265"/>
                      <a:pt x="523208" y="235934"/>
                    </a:cubicBezTo>
                    <a:cubicBezTo>
                      <a:pt x="547783" y="257461"/>
                      <a:pt x="570167" y="279559"/>
                      <a:pt x="591503" y="300609"/>
                    </a:cubicBezTo>
                    <a:cubicBezTo>
                      <a:pt x="633794" y="342995"/>
                      <a:pt x="670846" y="382048"/>
                      <a:pt x="702850" y="414052"/>
                    </a:cubicBezTo>
                    <a:cubicBezTo>
                      <a:pt x="734854" y="446056"/>
                      <a:pt x="761334" y="471202"/>
                      <a:pt x="780574" y="487680"/>
                    </a:cubicBezTo>
                    <a:cubicBezTo>
                      <a:pt x="790099" y="496252"/>
                      <a:pt x="797814" y="502063"/>
                      <a:pt x="802862" y="506730"/>
                    </a:cubicBezTo>
                    <a:lnTo>
                      <a:pt x="808673" y="511588"/>
                    </a:lnTo>
                    <a:cubicBezTo>
                      <a:pt x="809330" y="512092"/>
                      <a:pt x="809940" y="512674"/>
                      <a:pt x="810483" y="51330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2CA6A480-3E4F-46E8-93EB-FB7F5A9B3ADD}"/>
                  </a:ext>
                </a:extLst>
              </p:cNvPr>
              <p:cNvSpPr/>
              <p:nvPr/>
            </p:nvSpPr>
            <p:spPr>
              <a:xfrm>
                <a:off x="3366211" y="3635864"/>
                <a:ext cx="249459" cy="514254"/>
              </a:xfrm>
              <a:custGeom>
                <a:avLst/>
                <a:gdLst>
                  <a:gd name="connsiteX0" fmla="*/ 249460 w 249459"/>
                  <a:gd name="connsiteY0" fmla="*/ 514255 h 514254"/>
                  <a:gd name="connsiteX1" fmla="*/ 238696 w 249459"/>
                  <a:gd name="connsiteY1" fmla="*/ 494728 h 514254"/>
                  <a:gd name="connsiteX2" fmla="*/ 211169 w 249459"/>
                  <a:gd name="connsiteY2" fmla="*/ 440055 h 514254"/>
                  <a:gd name="connsiteX3" fmla="*/ 122206 w 249459"/>
                  <a:gd name="connsiteY3" fmla="*/ 258509 h 514254"/>
                  <a:gd name="connsiteX4" fmla="*/ 34766 w 249459"/>
                  <a:gd name="connsiteY4" fmla="*/ 76200 h 514254"/>
                  <a:gd name="connsiteX5" fmla="*/ 8858 w 249459"/>
                  <a:gd name="connsiteY5" fmla="*/ 20669 h 514254"/>
                  <a:gd name="connsiteX6" fmla="*/ 2096 w 249459"/>
                  <a:gd name="connsiteY6" fmla="*/ 5429 h 514254"/>
                  <a:gd name="connsiteX7" fmla="*/ 0 w 249459"/>
                  <a:gd name="connsiteY7" fmla="*/ 0 h 514254"/>
                  <a:gd name="connsiteX8" fmla="*/ 2953 w 249459"/>
                  <a:gd name="connsiteY8" fmla="*/ 5048 h 514254"/>
                  <a:gd name="connsiteX9" fmla="*/ 10573 w 249459"/>
                  <a:gd name="connsiteY9" fmla="*/ 19812 h 514254"/>
                  <a:gd name="connsiteX10" fmla="*/ 37910 w 249459"/>
                  <a:gd name="connsiteY10" fmla="*/ 74676 h 514254"/>
                  <a:gd name="connsiteX11" fmla="*/ 126683 w 249459"/>
                  <a:gd name="connsiteY11" fmla="*/ 256318 h 514254"/>
                  <a:gd name="connsiteX12" fmla="*/ 214313 w 249459"/>
                  <a:gd name="connsiteY12" fmla="*/ 438531 h 514254"/>
                  <a:gd name="connsiteX13" fmla="*/ 240506 w 249459"/>
                  <a:gd name="connsiteY13" fmla="*/ 493871 h 514254"/>
                  <a:gd name="connsiteX14" fmla="*/ 249460 w 249459"/>
                  <a:gd name="connsiteY14" fmla="*/ 514255 h 51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9459" h="514254">
                    <a:moveTo>
                      <a:pt x="249460" y="514255"/>
                    </a:moveTo>
                    <a:cubicBezTo>
                      <a:pt x="245431" y="507997"/>
                      <a:pt x="241830" y="501472"/>
                      <a:pt x="238696" y="494728"/>
                    </a:cubicBezTo>
                    <a:lnTo>
                      <a:pt x="211169" y="440055"/>
                    </a:lnTo>
                    <a:cubicBezTo>
                      <a:pt x="188119" y="393668"/>
                      <a:pt x="156686" y="329565"/>
                      <a:pt x="122206" y="258509"/>
                    </a:cubicBezTo>
                    <a:cubicBezTo>
                      <a:pt x="87725" y="187452"/>
                      <a:pt x="56864" y="122968"/>
                      <a:pt x="34766" y="76200"/>
                    </a:cubicBezTo>
                    <a:cubicBezTo>
                      <a:pt x="24098" y="53150"/>
                      <a:pt x="15240" y="34385"/>
                      <a:pt x="8858" y="20669"/>
                    </a:cubicBezTo>
                    <a:cubicBezTo>
                      <a:pt x="6096" y="14478"/>
                      <a:pt x="3810" y="9430"/>
                      <a:pt x="2096" y="5429"/>
                    </a:cubicBezTo>
                    <a:cubicBezTo>
                      <a:pt x="1172" y="3715"/>
                      <a:pt x="467" y="1886"/>
                      <a:pt x="0" y="0"/>
                    </a:cubicBezTo>
                    <a:cubicBezTo>
                      <a:pt x="1200" y="1553"/>
                      <a:pt x="2191" y="3248"/>
                      <a:pt x="2953" y="5048"/>
                    </a:cubicBezTo>
                    <a:cubicBezTo>
                      <a:pt x="4953" y="8858"/>
                      <a:pt x="7525" y="13811"/>
                      <a:pt x="10573" y="19812"/>
                    </a:cubicBezTo>
                    <a:cubicBezTo>
                      <a:pt x="17336" y="33338"/>
                      <a:pt x="26670" y="51911"/>
                      <a:pt x="37910" y="74676"/>
                    </a:cubicBezTo>
                    <a:cubicBezTo>
                      <a:pt x="60960" y="121634"/>
                      <a:pt x="92202" y="185642"/>
                      <a:pt x="126683" y="256318"/>
                    </a:cubicBezTo>
                    <a:lnTo>
                      <a:pt x="214313" y="438531"/>
                    </a:lnTo>
                    <a:lnTo>
                      <a:pt x="240506" y="493871"/>
                    </a:lnTo>
                    <a:cubicBezTo>
                      <a:pt x="243830" y="500510"/>
                      <a:pt x="246821" y="507311"/>
                      <a:pt x="249460" y="51425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E062762C-2E0B-4611-BE8C-4109E7922DAE}"/>
                  </a:ext>
                </a:extLst>
              </p:cNvPr>
              <p:cNvSpPr/>
              <p:nvPr/>
            </p:nvSpPr>
            <p:spPr>
              <a:xfrm>
                <a:off x="2723785" y="5013369"/>
                <a:ext cx="662333" cy="243839"/>
              </a:xfrm>
              <a:custGeom>
                <a:avLst/>
                <a:gdLst>
                  <a:gd name="connsiteX0" fmla="*/ 60 w 662333"/>
                  <a:gd name="connsiteY0" fmla="*/ 181642 h 243839"/>
                  <a:gd name="connsiteX1" fmla="*/ 3489 w 662333"/>
                  <a:gd name="connsiteY1" fmla="*/ 181642 h 243839"/>
                  <a:gd name="connsiteX2" fmla="*/ 13014 w 662333"/>
                  <a:gd name="connsiteY2" fmla="*/ 182308 h 243839"/>
                  <a:gd name="connsiteX3" fmla="*/ 51114 w 662333"/>
                  <a:gd name="connsiteY3" fmla="*/ 185356 h 243839"/>
                  <a:gd name="connsiteX4" fmla="*/ 190370 w 662333"/>
                  <a:gd name="connsiteY4" fmla="*/ 197358 h 243839"/>
                  <a:gd name="connsiteX5" fmla="*/ 660047 w 662333"/>
                  <a:gd name="connsiteY5" fmla="*/ 239554 h 243839"/>
                  <a:gd name="connsiteX6" fmla="*/ 657380 w 662333"/>
                  <a:gd name="connsiteY6" fmla="*/ 242506 h 243839"/>
                  <a:gd name="connsiteX7" fmla="*/ 626805 w 662333"/>
                  <a:gd name="connsiteY7" fmla="*/ 119824 h 243839"/>
                  <a:gd name="connsiteX8" fmla="*/ 612708 w 662333"/>
                  <a:gd name="connsiteY8" fmla="*/ 62674 h 243839"/>
                  <a:gd name="connsiteX9" fmla="*/ 614899 w 662333"/>
                  <a:gd name="connsiteY9" fmla="*/ 64579 h 243839"/>
                  <a:gd name="connsiteX10" fmla="*/ 89119 w 662333"/>
                  <a:gd name="connsiteY10" fmla="*/ 3524 h 243839"/>
                  <a:gd name="connsiteX11" fmla="*/ 90738 w 662333"/>
                  <a:gd name="connsiteY11" fmla="*/ 2667 h 243839"/>
                  <a:gd name="connsiteX12" fmla="*/ 20539 w 662333"/>
                  <a:gd name="connsiteY12" fmla="*/ 132302 h 243839"/>
                  <a:gd name="connsiteX13" fmla="*/ 3775 w 662333"/>
                  <a:gd name="connsiteY13" fmla="*/ 167926 h 243839"/>
                  <a:gd name="connsiteX14" fmla="*/ 536 w 662333"/>
                  <a:gd name="connsiteY14" fmla="*/ 177451 h 243839"/>
                  <a:gd name="connsiteX15" fmla="*/ 60 w 662333"/>
                  <a:gd name="connsiteY15" fmla="*/ 180784 h 243839"/>
                  <a:gd name="connsiteX16" fmla="*/ 2918 w 662333"/>
                  <a:gd name="connsiteY16" fmla="*/ 167545 h 243839"/>
                  <a:gd name="connsiteX17" fmla="*/ 19015 w 662333"/>
                  <a:gd name="connsiteY17" fmla="*/ 131350 h 243839"/>
                  <a:gd name="connsiteX18" fmla="*/ 87881 w 662333"/>
                  <a:gd name="connsiteY18" fmla="*/ 952 h 243839"/>
                  <a:gd name="connsiteX19" fmla="*/ 88452 w 662333"/>
                  <a:gd name="connsiteY19" fmla="*/ 0 h 243839"/>
                  <a:gd name="connsiteX20" fmla="*/ 89500 w 662333"/>
                  <a:gd name="connsiteY20" fmla="*/ 0 h 243839"/>
                  <a:gd name="connsiteX21" fmla="*/ 615470 w 662333"/>
                  <a:gd name="connsiteY21" fmla="*/ 59341 h 243839"/>
                  <a:gd name="connsiteX22" fmla="*/ 617185 w 662333"/>
                  <a:gd name="connsiteY22" fmla="*/ 59341 h 243839"/>
                  <a:gd name="connsiteX23" fmla="*/ 617185 w 662333"/>
                  <a:gd name="connsiteY23" fmla="*/ 61055 h 243839"/>
                  <a:gd name="connsiteX24" fmla="*/ 631282 w 662333"/>
                  <a:gd name="connsiteY24" fmla="*/ 118205 h 243839"/>
                  <a:gd name="connsiteX25" fmla="*/ 661476 w 662333"/>
                  <a:gd name="connsiteY25" fmla="*/ 240506 h 243839"/>
                  <a:gd name="connsiteX26" fmla="*/ 662333 w 662333"/>
                  <a:gd name="connsiteY26" fmla="*/ 243840 h 243839"/>
                  <a:gd name="connsiteX27" fmla="*/ 658904 w 662333"/>
                  <a:gd name="connsiteY27" fmla="*/ 243840 h 243839"/>
                  <a:gd name="connsiteX28" fmla="*/ 188274 w 662333"/>
                  <a:gd name="connsiteY28" fmla="*/ 199834 h 243839"/>
                  <a:gd name="connsiteX29" fmla="*/ 49495 w 662333"/>
                  <a:gd name="connsiteY29" fmla="*/ 186404 h 243839"/>
                  <a:gd name="connsiteX30" fmla="*/ 12347 w 662333"/>
                  <a:gd name="connsiteY30" fmla="*/ 182594 h 243839"/>
                  <a:gd name="connsiteX31" fmla="*/ 2822 w 662333"/>
                  <a:gd name="connsiteY31" fmla="*/ 181546 h 243839"/>
                  <a:gd name="connsiteX32" fmla="*/ 60 w 662333"/>
                  <a:gd name="connsiteY32" fmla="*/ 181642 h 243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62333" h="243839">
                    <a:moveTo>
                      <a:pt x="60" y="181642"/>
                    </a:moveTo>
                    <a:lnTo>
                      <a:pt x="3489" y="181642"/>
                    </a:lnTo>
                    <a:lnTo>
                      <a:pt x="13014" y="182308"/>
                    </a:lnTo>
                    <a:lnTo>
                      <a:pt x="51114" y="185356"/>
                    </a:lnTo>
                    <a:lnTo>
                      <a:pt x="190370" y="197358"/>
                    </a:lnTo>
                    <a:lnTo>
                      <a:pt x="660047" y="239554"/>
                    </a:lnTo>
                    <a:lnTo>
                      <a:pt x="657380" y="242506"/>
                    </a:lnTo>
                    <a:lnTo>
                      <a:pt x="626805" y="119824"/>
                    </a:lnTo>
                    <a:cubicBezTo>
                      <a:pt x="622043" y="100774"/>
                      <a:pt x="617280" y="81724"/>
                      <a:pt x="612708" y="62674"/>
                    </a:cubicBezTo>
                    <a:lnTo>
                      <a:pt x="614899" y="64579"/>
                    </a:lnTo>
                    <a:lnTo>
                      <a:pt x="89119" y="3524"/>
                    </a:lnTo>
                    <a:lnTo>
                      <a:pt x="90738" y="2667"/>
                    </a:lnTo>
                    <a:cubicBezTo>
                      <a:pt x="59877" y="57436"/>
                      <a:pt x="36065" y="101536"/>
                      <a:pt x="20539" y="132302"/>
                    </a:cubicBezTo>
                    <a:cubicBezTo>
                      <a:pt x="12824" y="147638"/>
                      <a:pt x="7204" y="159639"/>
                      <a:pt x="3775" y="167926"/>
                    </a:cubicBezTo>
                    <a:cubicBezTo>
                      <a:pt x="2470" y="171021"/>
                      <a:pt x="1384" y="174203"/>
                      <a:pt x="536" y="177451"/>
                    </a:cubicBezTo>
                    <a:cubicBezTo>
                      <a:pt x="203" y="178527"/>
                      <a:pt x="41" y="179651"/>
                      <a:pt x="60" y="180784"/>
                    </a:cubicBezTo>
                    <a:cubicBezTo>
                      <a:pt x="-264" y="176193"/>
                      <a:pt x="727" y="171593"/>
                      <a:pt x="2918" y="167545"/>
                    </a:cubicBezTo>
                    <a:cubicBezTo>
                      <a:pt x="6061" y="159067"/>
                      <a:pt x="11490" y="146875"/>
                      <a:pt x="19015" y="131350"/>
                    </a:cubicBezTo>
                    <a:cubicBezTo>
                      <a:pt x="34064" y="100393"/>
                      <a:pt x="57115" y="56007"/>
                      <a:pt x="87881" y="952"/>
                    </a:cubicBezTo>
                    <a:lnTo>
                      <a:pt x="88452" y="0"/>
                    </a:lnTo>
                    <a:lnTo>
                      <a:pt x="89500" y="0"/>
                    </a:lnTo>
                    <a:lnTo>
                      <a:pt x="615470" y="59341"/>
                    </a:lnTo>
                    <a:lnTo>
                      <a:pt x="617185" y="59341"/>
                    </a:lnTo>
                    <a:lnTo>
                      <a:pt x="617185" y="61055"/>
                    </a:lnTo>
                    <a:lnTo>
                      <a:pt x="631282" y="118205"/>
                    </a:lnTo>
                    <a:cubicBezTo>
                      <a:pt x="641569" y="160115"/>
                      <a:pt x="651761" y="201168"/>
                      <a:pt x="661476" y="240506"/>
                    </a:cubicBezTo>
                    <a:lnTo>
                      <a:pt x="662333" y="243840"/>
                    </a:lnTo>
                    <a:lnTo>
                      <a:pt x="658904" y="243840"/>
                    </a:lnTo>
                    <a:lnTo>
                      <a:pt x="188274" y="199834"/>
                    </a:lnTo>
                    <a:lnTo>
                      <a:pt x="49495" y="186404"/>
                    </a:lnTo>
                    <a:lnTo>
                      <a:pt x="12347" y="182594"/>
                    </a:lnTo>
                    <a:lnTo>
                      <a:pt x="2822" y="181546"/>
                    </a:lnTo>
                    <a:cubicBezTo>
                      <a:pt x="1908" y="181708"/>
                      <a:pt x="984" y="181746"/>
                      <a:pt x="60" y="181642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0CFCDF46-E3D8-4B19-92D4-33A0482550ED}"/>
                  </a:ext>
                </a:extLst>
              </p:cNvPr>
              <p:cNvSpPr/>
              <p:nvPr/>
            </p:nvSpPr>
            <p:spPr>
              <a:xfrm>
                <a:off x="2740895" y="5196630"/>
                <a:ext cx="642366" cy="95631"/>
              </a:xfrm>
              <a:custGeom>
                <a:avLst/>
                <a:gdLst>
                  <a:gd name="connsiteX0" fmla="*/ 0 w 642366"/>
                  <a:gd name="connsiteY0" fmla="*/ 0 h 95631"/>
                  <a:gd name="connsiteX1" fmla="*/ 22574 w 642366"/>
                  <a:gd name="connsiteY1" fmla="*/ 58674 h 95631"/>
                  <a:gd name="connsiteX2" fmla="*/ 642366 w 642366"/>
                  <a:gd name="connsiteY2" fmla="*/ 95631 h 95631"/>
                  <a:gd name="connsiteX3" fmla="*/ 642366 w 642366"/>
                  <a:gd name="connsiteY3" fmla="*/ 58674 h 95631"/>
                  <a:gd name="connsiteX4" fmla="*/ 0 w 642366"/>
                  <a:gd name="connsiteY4" fmla="*/ 0 h 95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2366" h="95631">
                    <a:moveTo>
                      <a:pt x="0" y="0"/>
                    </a:moveTo>
                    <a:lnTo>
                      <a:pt x="22574" y="58674"/>
                    </a:lnTo>
                    <a:lnTo>
                      <a:pt x="642366" y="95631"/>
                    </a:lnTo>
                    <a:lnTo>
                      <a:pt x="642366" y="586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55" name="Graphic 114">
              <a:extLst>
                <a:ext uri="{FF2B5EF4-FFF2-40B4-BE49-F238E27FC236}">
                  <a16:creationId xmlns:a16="http://schemas.microsoft.com/office/drawing/2014/main" id="{04C9DE36-99F8-49A3-B566-11509B653444}"/>
                </a:ext>
              </a:extLst>
            </p:cNvPr>
            <p:cNvGrpSpPr/>
            <p:nvPr/>
          </p:nvGrpSpPr>
          <p:grpSpPr>
            <a:xfrm>
              <a:off x="1148715" y="3218703"/>
              <a:ext cx="1320100" cy="3538042"/>
              <a:chOff x="1133711" y="2166651"/>
              <a:chExt cx="1320100" cy="3538042"/>
            </a:xfrm>
          </p:grpSpPr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7B7CEAA-0701-4E18-972D-5F186842A093}"/>
                  </a:ext>
                </a:extLst>
              </p:cNvPr>
              <p:cNvSpPr/>
              <p:nvPr/>
            </p:nvSpPr>
            <p:spPr>
              <a:xfrm>
                <a:off x="1319858" y="2166651"/>
                <a:ext cx="784671" cy="1280331"/>
              </a:xfrm>
              <a:custGeom>
                <a:avLst/>
                <a:gdLst>
                  <a:gd name="connsiteX0" fmla="*/ 568550 w 784671"/>
                  <a:gd name="connsiteY0" fmla="*/ 76276 h 1280331"/>
                  <a:gd name="connsiteX1" fmla="*/ 507494 w 784671"/>
                  <a:gd name="connsiteY1" fmla="*/ 5410 h 1280331"/>
                  <a:gd name="connsiteX2" fmla="*/ 409673 w 784671"/>
                  <a:gd name="connsiteY2" fmla="*/ 10934 h 1280331"/>
                  <a:gd name="connsiteX3" fmla="*/ 227269 w 784671"/>
                  <a:gd name="connsiteY3" fmla="*/ 126187 h 1280331"/>
                  <a:gd name="connsiteX4" fmla="*/ 22672 w 784671"/>
                  <a:gd name="connsiteY4" fmla="*/ 402412 h 1280331"/>
                  <a:gd name="connsiteX5" fmla="*/ 16100 w 784671"/>
                  <a:gd name="connsiteY5" fmla="*/ 621487 h 1280331"/>
                  <a:gd name="connsiteX6" fmla="*/ 52295 w 784671"/>
                  <a:gd name="connsiteY6" fmla="*/ 834752 h 1280331"/>
                  <a:gd name="connsiteX7" fmla="*/ 7146 w 784671"/>
                  <a:gd name="connsiteY7" fmla="*/ 1057446 h 1280331"/>
                  <a:gd name="connsiteX8" fmla="*/ 46008 w 784671"/>
                  <a:gd name="connsiteY8" fmla="*/ 1280331 h 1280331"/>
                  <a:gd name="connsiteX9" fmla="*/ 393575 w 784671"/>
                  <a:gd name="connsiteY9" fmla="*/ 1146981 h 1280331"/>
                  <a:gd name="connsiteX10" fmla="*/ 784672 w 784671"/>
                  <a:gd name="connsiteY10" fmla="*/ 979913 h 1280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71" h="1280331">
                    <a:moveTo>
                      <a:pt x="568550" y="76276"/>
                    </a:moveTo>
                    <a:cubicBezTo>
                      <a:pt x="566645" y="43129"/>
                      <a:pt x="539117" y="15411"/>
                      <a:pt x="507494" y="5410"/>
                    </a:cubicBezTo>
                    <a:cubicBezTo>
                      <a:pt x="475871" y="-4591"/>
                      <a:pt x="440819" y="457"/>
                      <a:pt x="409673" y="10934"/>
                    </a:cubicBezTo>
                    <a:cubicBezTo>
                      <a:pt x="340997" y="33699"/>
                      <a:pt x="283276" y="80372"/>
                      <a:pt x="227269" y="126187"/>
                    </a:cubicBezTo>
                    <a:cubicBezTo>
                      <a:pt x="140306" y="197148"/>
                      <a:pt x="55819" y="294684"/>
                      <a:pt x="22672" y="402412"/>
                    </a:cubicBezTo>
                    <a:cubicBezTo>
                      <a:pt x="-2379" y="483184"/>
                      <a:pt x="-9618" y="535762"/>
                      <a:pt x="16100" y="621487"/>
                    </a:cubicBezTo>
                    <a:cubicBezTo>
                      <a:pt x="38769" y="697687"/>
                      <a:pt x="56771" y="771125"/>
                      <a:pt x="52295" y="834752"/>
                    </a:cubicBezTo>
                    <a:cubicBezTo>
                      <a:pt x="45151" y="935241"/>
                      <a:pt x="33245" y="958577"/>
                      <a:pt x="7146" y="1057446"/>
                    </a:cubicBezTo>
                    <a:cubicBezTo>
                      <a:pt x="-8951" y="1119073"/>
                      <a:pt x="46008" y="1280331"/>
                      <a:pt x="46008" y="1280331"/>
                    </a:cubicBezTo>
                    <a:lnTo>
                      <a:pt x="393575" y="1146981"/>
                    </a:lnTo>
                    <a:cubicBezTo>
                      <a:pt x="517400" y="1088688"/>
                      <a:pt x="784672" y="979913"/>
                      <a:pt x="784672" y="97991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1DD3D81A-E4DE-4E73-BE44-AE48FF919205}"/>
                  </a:ext>
                </a:extLst>
              </p:cNvPr>
              <p:cNvSpPr/>
              <p:nvPr/>
            </p:nvSpPr>
            <p:spPr>
              <a:xfrm>
                <a:off x="1495204" y="2332503"/>
                <a:ext cx="688097" cy="1316570"/>
              </a:xfrm>
              <a:custGeom>
                <a:avLst/>
                <a:gdLst>
                  <a:gd name="connsiteX0" fmla="*/ 198036 w 688097"/>
                  <a:gd name="connsiteY0" fmla="*/ 1088952 h 1316570"/>
                  <a:gd name="connsiteX1" fmla="*/ 199370 w 688097"/>
                  <a:gd name="connsiteY1" fmla="*/ 946077 h 1316570"/>
                  <a:gd name="connsiteX2" fmla="*/ 17061 w 688097"/>
                  <a:gd name="connsiteY2" fmla="*/ 694617 h 1316570"/>
                  <a:gd name="connsiteX3" fmla="*/ 5441 w 688097"/>
                  <a:gd name="connsiteY3" fmla="*/ 272088 h 1316570"/>
                  <a:gd name="connsiteX4" fmla="*/ 233184 w 688097"/>
                  <a:gd name="connsiteY4" fmla="*/ 1102 h 1316570"/>
                  <a:gd name="connsiteX5" fmla="*/ 634377 w 688097"/>
                  <a:gd name="connsiteY5" fmla="*/ 109878 h 1316570"/>
                  <a:gd name="connsiteX6" fmla="*/ 685145 w 688097"/>
                  <a:gd name="connsiteY6" fmla="*/ 187506 h 1316570"/>
                  <a:gd name="connsiteX7" fmla="*/ 688098 w 688097"/>
                  <a:gd name="connsiteY7" fmla="*/ 205985 h 1316570"/>
                  <a:gd name="connsiteX8" fmla="*/ 658665 w 688097"/>
                  <a:gd name="connsiteY8" fmla="*/ 823967 h 1316570"/>
                  <a:gd name="connsiteX9" fmla="*/ 671334 w 688097"/>
                  <a:gd name="connsiteY9" fmla="*/ 1086762 h 1316570"/>
                  <a:gd name="connsiteX10" fmla="*/ 432637 w 688097"/>
                  <a:gd name="connsiteY10" fmla="*/ 1316314 h 1316570"/>
                  <a:gd name="connsiteX11" fmla="*/ 432637 w 688097"/>
                  <a:gd name="connsiteY11" fmla="*/ 1316314 h 1316570"/>
                  <a:gd name="connsiteX12" fmla="*/ 198256 w 688097"/>
                  <a:gd name="connsiteY12" fmla="*/ 1103135 h 1316570"/>
                  <a:gd name="connsiteX13" fmla="*/ 198036 w 688097"/>
                  <a:gd name="connsiteY13" fmla="*/ 1088952 h 1316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88097" h="1316570">
                    <a:moveTo>
                      <a:pt x="198036" y="1088952"/>
                    </a:moveTo>
                    <a:cubicBezTo>
                      <a:pt x="198608" y="1004370"/>
                      <a:pt x="199465" y="945506"/>
                      <a:pt x="199370" y="946077"/>
                    </a:cubicBezTo>
                    <a:cubicBezTo>
                      <a:pt x="199275" y="946649"/>
                      <a:pt x="47637" y="911025"/>
                      <a:pt x="17061" y="694617"/>
                    </a:cubicBezTo>
                    <a:cubicBezTo>
                      <a:pt x="-722" y="554505"/>
                      <a:pt x="-4618" y="412973"/>
                      <a:pt x="5441" y="272088"/>
                    </a:cubicBezTo>
                    <a:cubicBezTo>
                      <a:pt x="15823" y="142739"/>
                      <a:pt x="104406" y="-14709"/>
                      <a:pt x="233184" y="1102"/>
                    </a:cubicBezTo>
                    <a:lnTo>
                      <a:pt x="634377" y="109878"/>
                    </a:lnTo>
                    <a:cubicBezTo>
                      <a:pt x="673524" y="114735"/>
                      <a:pt x="686574" y="147978"/>
                      <a:pt x="685145" y="187506"/>
                    </a:cubicBezTo>
                    <a:lnTo>
                      <a:pt x="688098" y="205985"/>
                    </a:lnTo>
                    <a:lnTo>
                      <a:pt x="658665" y="823967"/>
                    </a:lnTo>
                    <a:lnTo>
                      <a:pt x="671334" y="1086762"/>
                    </a:lnTo>
                    <a:cubicBezTo>
                      <a:pt x="666190" y="1204205"/>
                      <a:pt x="550080" y="1310980"/>
                      <a:pt x="432637" y="1316314"/>
                    </a:cubicBezTo>
                    <a:lnTo>
                      <a:pt x="432637" y="1316314"/>
                    </a:lnTo>
                    <a:cubicBezTo>
                      <a:pt x="309050" y="1322172"/>
                      <a:pt x="204113" y="1226732"/>
                      <a:pt x="198256" y="1103135"/>
                    </a:cubicBezTo>
                    <a:cubicBezTo>
                      <a:pt x="198036" y="1098411"/>
                      <a:pt x="197960" y="1093686"/>
                      <a:pt x="198036" y="1088952"/>
                    </a:cubicBezTo>
                    <a:close/>
                  </a:path>
                </a:pathLst>
              </a:custGeom>
              <a:solidFill>
                <a:srgbClr val="B5676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5D89C948-78A6-43D8-84FF-BD40CE25F3AC}"/>
                  </a:ext>
                </a:extLst>
              </p:cNvPr>
              <p:cNvSpPr/>
              <p:nvPr/>
            </p:nvSpPr>
            <p:spPr>
              <a:xfrm>
                <a:off x="1591499" y="2752424"/>
                <a:ext cx="54798" cy="53235"/>
              </a:xfrm>
              <a:custGeom>
                <a:avLst/>
                <a:gdLst>
                  <a:gd name="connsiteX0" fmla="*/ 15 w 54798"/>
                  <a:gd name="connsiteY0" fmla="*/ 24570 h 53235"/>
                  <a:gd name="connsiteX1" fmla="*/ 26208 w 54798"/>
                  <a:gd name="connsiteY1" fmla="*/ 53145 h 53235"/>
                  <a:gd name="connsiteX2" fmla="*/ 54764 w 54798"/>
                  <a:gd name="connsiteY2" fmla="*/ 28923 h 53235"/>
                  <a:gd name="connsiteX3" fmla="*/ 54783 w 54798"/>
                  <a:gd name="connsiteY3" fmla="*/ 28666 h 53235"/>
                  <a:gd name="connsiteX4" fmla="*/ 28590 w 54798"/>
                  <a:gd name="connsiteY4" fmla="*/ 91 h 53235"/>
                  <a:gd name="connsiteX5" fmla="*/ 34 w 54798"/>
                  <a:gd name="connsiteY5" fmla="*/ 24313 h 53235"/>
                  <a:gd name="connsiteX6" fmla="*/ 15 w 54798"/>
                  <a:gd name="connsiteY6" fmla="*/ 24570 h 53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798" h="53235">
                    <a:moveTo>
                      <a:pt x="15" y="24570"/>
                    </a:moveTo>
                    <a:cubicBezTo>
                      <a:pt x="-471" y="39629"/>
                      <a:pt x="11159" y="52326"/>
                      <a:pt x="26208" y="53145"/>
                    </a:cubicBezTo>
                    <a:cubicBezTo>
                      <a:pt x="40782" y="54345"/>
                      <a:pt x="53564" y="43496"/>
                      <a:pt x="54764" y="28923"/>
                    </a:cubicBezTo>
                    <a:cubicBezTo>
                      <a:pt x="54774" y="28837"/>
                      <a:pt x="54774" y="28751"/>
                      <a:pt x="54783" y="28666"/>
                    </a:cubicBezTo>
                    <a:cubicBezTo>
                      <a:pt x="55269" y="13607"/>
                      <a:pt x="43639" y="910"/>
                      <a:pt x="28590" y="91"/>
                    </a:cubicBezTo>
                    <a:cubicBezTo>
                      <a:pt x="14016" y="-1109"/>
                      <a:pt x="1234" y="9740"/>
                      <a:pt x="34" y="24313"/>
                    </a:cubicBezTo>
                    <a:cubicBezTo>
                      <a:pt x="24" y="24399"/>
                      <a:pt x="24" y="24484"/>
                      <a:pt x="15" y="2457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C79179F2-0B16-4961-BF65-2EF584F4B0F7}"/>
                  </a:ext>
                </a:extLst>
              </p:cNvPr>
              <p:cNvSpPr/>
              <p:nvPr/>
            </p:nvSpPr>
            <p:spPr>
              <a:xfrm>
                <a:off x="1554632" y="2673818"/>
                <a:ext cx="109846" cy="30100"/>
              </a:xfrm>
              <a:custGeom>
                <a:avLst/>
                <a:gdLst>
                  <a:gd name="connsiteX0" fmla="*/ 400 w 109846"/>
                  <a:gd name="connsiteY0" fmla="*/ 28215 h 30100"/>
                  <a:gd name="connsiteX1" fmla="*/ 54788 w 109846"/>
                  <a:gd name="connsiteY1" fmla="*/ 17261 h 30100"/>
                  <a:gd name="connsiteX2" fmla="*/ 109461 w 109846"/>
                  <a:gd name="connsiteY2" fmla="*/ 29548 h 30100"/>
                  <a:gd name="connsiteX3" fmla="*/ 98222 w 109846"/>
                  <a:gd name="connsiteY3" fmla="*/ 14308 h 30100"/>
                  <a:gd name="connsiteX4" fmla="*/ 54597 w 109846"/>
                  <a:gd name="connsiteY4" fmla="*/ 21 h 30100"/>
                  <a:gd name="connsiteX5" fmla="*/ 11163 w 109846"/>
                  <a:gd name="connsiteY5" fmla="*/ 13165 h 30100"/>
                  <a:gd name="connsiteX6" fmla="*/ 400 w 109846"/>
                  <a:gd name="connsiteY6" fmla="*/ 28215 h 3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9846" h="30100">
                    <a:moveTo>
                      <a:pt x="400" y="28215"/>
                    </a:moveTo>
                    <a:cubicBezTo>
                      <a:pt x="3734" y="31834"/>
                      <a:pt x="24975" y="16690"/>
                      <a:pt x="54788" y="17261"/>
                    </a:cubicBezTo>
                    <a:cubicBezTo>
                      <a:pt x="84601" y="17833"/>
                      <a:pt x="106128" y="33168"/>
                      <a:pt x="109461" y="29548"/>
                    </a:cubicBezTo>
                    <a:cubicBezTo>
                      <a:pt x="111081" y="27929"/>
                      <a:pt x="107652" y="21357"/>
                      <a:pt x="98222" y="14308"/>
                    </a:cubicBezTo>
                    <a:cubicBezTo>
                      <a:pt x="85516" y="5126"/>
                      <a:pt x="70266" y="135"/>
                      <a:pt x="54597" y="21"/>
                    </a:cubicBezTo>
                    <a:cubicBezTo>
                      <a:pt x="39091" y="-351"/>
                      <a:pt x="23870" y="4259"/>
                      <a:pt x="11163" y="13165"/>
                    </a:cubicBezTo>
                    <a:cubicBezTo>
                      <a:pt x="2019" y="20023"/>
                      <a:pt x="-1219" y="26500"/>
                      <a:pt x="400" y="2821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43FB1BFC-296E-4813-8DBC-80977448FCEC}"/>
                  </a:ext>
                </a:extLst>
              </p:cNvPr>
              <p:cNvSpPr/>
              <p:nvPr/>
            </p:nvSpPr>
            <p:spPr>
              <a:xfrm>
                <a:off x="1870295" y="2749170"/>
                <a:ext cx="54804" cy="53249"/>
              </a:xfrm>
              <a:custGeom>
                <a:avLst/>
                <a:gdLst>
                  <a:gd name="connsiteX0" fmla="*/ 15 w 54804"/>
                  <a:gd name="connsiteY0" fmla="*/ 24585 h 53249"/>
                  <a:gd name="connsiteX1" fmla="*/ 26208 w 54804"/>
                  <a:gd name="connsiteY1" fmla="*/ 53160 h 53249"/>
                  <a:gd name="connsiteX2" fmla="*/ 54764 w 54804"/>
                  <a:gd name="connsiteY2" fmla="*/ 28938 h 53249"/>
                  <a:gd name="connsiteX3" fmla="*/ 54783 w 54804"/>
                  <a:gd name="connsiteY3" fmla="*/ 28681 h 53249"/>
                  <a:gd name="connsiteX4" fmla="*/ 28685 w 54804"/>
                  <a:gd name="connsiteY4" fmla="*/ 106 h 53249"/>
                  <a:gd name="connsiteX5" fmla="*/ 62 w 54804"/>
                  <a:gd name="connsiteY5" fmla="*/ 24042 h 53249"/>
                  <a:gd name="connsiteX6" fmla="*/ 15 w 54804"/>
                  <a:gd name="connsiteY6" fmla="*/ 24585 h 53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804" h="53249">
                    <a:moveTo>
                      <a:pt x="15" y="24585"/>
                    </a:moveTo>
                    <a:cubicBezTo>
                      <a:pt x="-471" y="39644"/>
                      <a:pt x="11159" y="52341"/>
                      <a:pt x="26208" y="53160"/>
                    </a:cubicBezTo>
                    <a:cubicBezTo>
                      <a:pt x="40782" y="54351"/>
                      <a:pt x="53564" y="43511"/>
                      <a:pt x="54764" y="28938"/>
                    </a:cubicBezTo>
                    <a:cubicBezTo>
                      <a:pt x="54774" y="28853"/>
                      <a:pt x="54774" y="28767"/>
                      <a:pt x="54783" y="28681"/>
                    </a:cubicBezTo>
                    <a:cubicBezTo>
                      <a:pt x="55374" y="13613"/>
                      <a:pt x="43744" y="878"/>
                      <a:pt x="28685" y="106"/>
                    </a:cubicBezTo>
                    <a:cubicBezTo>
                      <a:pt x="14169" y="-1189"/>
                      <a:pt x="1358" y="9526"/>
                      <a:pt x="62" y="24042"/>
                    </a:cubicBezTo>
                    <a:cubicBezTo>
                      <a:pt x="43" y="24223"/>
                      <a:pt x="24" y="24404"/>
                      <a:pt x="15" y="24585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452912C1-37A8-4CF2-8C9C-6DD8E876BACD}"/>
                  </a:ext>
                </a:extLst>
              </p:cNvPr>
              <p:cNvSpPr/>
              <p:nvPr/>
            </p:nvSpPr>
            <p:spPr>
              <a:xfrm>
                <a:off x="1840383" y="2672965"/>
                <a:ext cx="109941" cy="30095"/>
              </a:xfrm>
              <a:custGeom>
                <a:avLst/>
                <a:gdLst>
                  <a:gd name="connsiteX0" fmla="*/ 400 w 109941"/>
                  <a:gd name="connsiteY0" fmla="*/ 28210 h 30095"/>
                  <a:gd name="connsiteX1" fmla="*/ 54883 w 109941"/>
                  <a:gd name="connsiteY1" fmla="*/ 17256 h 30095"/>
                  <a:gd name="connsiteX2" fmla="*/ 109556 w 109941"/>
                  <a:gd name="connsiteY2" fmla="*/ 29543 h 30095"/>
                  <a:gd name="connsiteX3" fmla="*/ 98317 w 109941"/>
                  <a:gd name="connsiteY3" fmla="*/ 14304 h 30095"/>
                  <a:gd name="connsiteX4" fmla="*/ 54692 w 109941"/>
                  <a:gd name="connsiteY4" fmla="*/ 16 h 30095"/>
                  <a:gd name="connsiteX5" fmla="*/ 11258 w 109941"/>
                  <a:gd name="connsiteY5" fmla="*/ 13160 h 30095"/>
                  <a:gd name="connsiteX6" fmla="*/ 400 w 109941"/>
                  <a:gd name="connsiteY6" fmla="*/ 28210 h 30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9941" h="30095">
                    <a:moveTo>
                      <a:pt x="400" y="28210"/>
                    </a:moveTo>
                    <a:cubicBezTo>
                      <a:pt x="3829" y="31829"/>
                      <a:pt x="25069" y="16685"/>
                      <a:pt x="54883" y="17256"/>
                    </a:cubicBezTo>
                    <a:cubicBezTo>
                      <a:pt x="84696" y="17828"/>
                      <a:pt x="106222" y="33163"/>
                      <a:pt x="109556" y="29543"/>
                    </a:cubicBezTo>
                    <a:cubicBezTo>
                      <a:pt x="111175" y="27924"/>
                      <a:pt x="107746" y="21352"/>
                      <a:pt x="98317" y="14304"/>
                    </a:cubicBezTo>
                    <a:cubicBezTo>
                      <a:pt x="85610" y="5121"/>
                      <a:pt x="70361" y="130"/>
                      <a:pt x="54692" y="16"/>
                    </a:cubicBezTo>
                    <a:cubicBezTo>
                      <a:pt x="39186" y="-308"/>
                      <a:pt x="23984" y="4293"/>
                      <a:pt x="11258" y="13160"/>
                    </a:cubicBezTo>
                    <a:cubicBezTo>
                      <a:pt x="2019" y="20018"/>
                      <a:pt x="-1220" y="26495"/>
                      <a:pt x="400" y="282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9135B215-B7DA-40DD-A90A-CF4BF49AEF4A}"/>
                  </a:ext>
                </a:extLst>
              </p:cNvPr>
              <p:cNvSpPr/>
              <p:nvPr/>
            </p:nvSpPr>
            <p:spPr>
              <a:xfrm>
                <a:off x="1646060" y="2678488"/>
                <a:ext cx="93307" cy="248996"/>
              </a:xfrm>
              <a:custGeom>
                <a:avLst/>
                <a:gdLst>
                  <a:gd name="connsiteX0" fmla="*/ 75184 w 93307"/>
                  <a:gd name="connsiteY0" fmla="*/ 247953 h 248996"/>
                  <a:gd name="connsiteX1" fmla="*/ 26892 w 93307"/>
                  <a:gd name="connsiteY1" fmla="*/ 238428 h 248996"/>
                  <a:gd name="connsiteX2" fmla="*/ 10985 w 93307"/>
                  <a:gd name="connsiteY2" fmla="*/ 230618 h 248996"/>
                  <a:gd name="connsiteX3" fmla="*/ 16414 w 93307"/>
                  <a:gd name="connsiteY3" fmla="*/ 208234 h 248996"/>
                  <a:gd name="connsiteX4" fmla="*/ 39941 w 93307"/>
                  <a:gd name="connsiteY4" fmla="*/ 150608 h 248996"/>
                  <a:gd name="connsiteX5" fmla="*/ 92995 w 93307"/>
                  <a:gd name="connsiteY5" fmla="*/ 17 h 248996"/>
                  <a:gd name="connsiteX6" fmla="*/ 27940 w 93307"/>
                  <a:gd name="connsiteY6" fmla="*/ 146036 h 248996"/>
                  <a:gd name="connsiteX7" fmla="*/ 5365 w 93307"/>
                  <a:gd name="connsiteY7" fmla="*/ 203948 h 248996"/>
                  <a:gd name="connsiteX8" fmla="*/ 889 w 93307"/>
                  <a:gd name="connsiteY8" fmla="*/ 233666 h 248996"/>
                  <a:gd name="connsiteX9" fmla="*/ 13176 w 93307"/>
                  <a:gd name="connsiteY9" fmla="*/ 245096 h 248996"/>
                  <a:gd name="connsiteX10" fmla="*/ 26130 w 93307"/>
                  <a:gd name="connsiteY10" fmla="*/ 247096 h 248996"/>
                  <a:gd name="connsiteX11" fmla="*/ 75184 w 93307"/>
                  <a:gd name="connsiteY11" fmla="*/ 247953 h 248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307" h="248996">
                    <a:moveTo>
                      <a:pt x="75184" y="247953"/>
                    </a:moveTo>
                    <a:cubicBezTo>
                      <a:pt x="75184" y="246334"/>
                      <a:pt x="56896" y="242810"/>
                      <a:pt x="26892" y="238428"/>
                    </a:cubicBezTo>
                    <a:cubicBezTo>
                      <a:pt x="19367" y="237476"/>
                      <a:pt x="12128" y="235856"/>
                      <a:pt x="10985" y="230618"/>
                    </a:cubicBezTo>
                    <a:cubicBezTo>
                      <a:pt x="10442" y="222779"/>
                      <a:pt x="12338" y="214959"/>
                      <a:pt x="16414" y="208234"/>
                    </a:cubicBezTo>
                    <a:lnTo>
                      <a:pt x="39941" y="150608"/>
                    </a:lnTo>
                    <a:cubicBezTo>
                      <a:pt x="72612" y="68693"/>
                      <a:pt x="96329" y="1256"/>
                      <a:pt x="92995" y="17"/>
                    </a:cubicBezTo>
                    <a:cubicBezTo>
                      <a:pt x="89662" y="-1221"/>
                      <a:pt x="60610" y="64121"/>
                      <a:pt x="27940" y="146036"/>
                    </a:cubicBezTo>
                    <a:cubicBezTo>
                      <a:pt x="20034" y="166229"/>
                      <a:pt x="12509" y="185469"/>
                      <a:pt x="5365" y="203948"/>
                    </a:cubicBezTo>
                    <a:cubicBezTo>
                      <a:pt x="403" y="213015"/>
                      <a:pt x="-1188" y="223541"/>
                      <a:pt x="889" y="233666"/>
                    </a:cubicBezTo>
                    <a:cubicBezTo>
                      <a:pt x="2994" y="239171"/>
                      <a:pt x="7528" y="243391"/>
                      <a:pt x="13176" y="245096"/>
                    </a:cubicBezTo>
                    <a:cubicBezTo>
                      <a:pt x="17395" y="246286"/>
                      <a:pt x="21748" y="246963"/>
                      <a:pt x="26130" y="247096"/>
                    </a:cubicBezTo>
                    <a:cubicBezTo>
                      <a:pt x="56324" y="249191"/>
                      <a:pt x="74993" y="249668"/>
                      <a:pt x="75184" y="24795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0A6824A4-4FFE-4753-B0E8-C0661D623B44}"/>
                  </a:ext>
                </a:extLst>
              </p:cNvPr>
              <p:cNvSpPr/>
              <p:nvPr/>
            </p:nvSpPr>
            <p:spPr>
              <a:xfrm>
                <a:off x="1693716" y="3206477"/>
                <a:ext cx="291274" cy="129817"/>
              </a:xfrm>
              <a:custGeom>
                <a:avLst/>
                <a:gdLst>
                  <a:gd name="connsiteX0" fmla="*/ 857 w 291274"/>
                  <a:gd name="connsiteY0" fmla="*/ 72200 h 129817"/>
                  <a:gd name="connsiteX1" fmla="*/ 291275 w 291274"/>
                  <a:gd name="connsiteY1" fmla="*/ 0 h 129817"/>
                  <a:gd name="connsiteX2" fmla="*/ 0 w 291274"/>
                  <a:gd name="connsiteY2" fmla="*/ 127254 h 12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274" h="129817">
                    <a:moveTo>
                      <a:pt x="857" y="72200"/>
                    </a:moveTo>
                    <a:cubicBezTo>
                      <a:pt x="102480" y="75467"/>
                      <a:pt x="203016" y="50473"/>
                      <a:pt x="291275" y="0"/>
                    </a:cubicBezTo>
                    <a:cubicBezTo>
                      <a:pt x="291275" y="0"/>
                      <a:pt x="215741" y="151162"/>
                      <a:pt x="0" y="127254"/>
                    </a:cubicBezTo>
                    <a:close/>
                  </a:path>
                </a:pathLst>
              </a:custGeom>
              <a:solidFill>
                <a:srgbClr val="8A4A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CC1AAFDA-399B-4AFD-BD89-8345A6B82472}"/>
                  </a:ext>
                </a:extLst>
              </p:cNvPr>
              <p:cNvSpPr/>
              <p:nvPr/>
            </p:nvSpPr>
            <p:spPr>
              <a:xfrm>
                <a:off x="1831025" y="2569346"/>
                <a:ext cx="136780" cy="35468"/>
              </a:xfrm>
              <a:custGeom>
                <a:avLst/>
                <a:gdLst>
                  <a:gd name="connsiteX0" fmla="*/ 233 w 136780"/>
                  <a:gd name="connsiteY0" fmla="*/ 26483 h 35468"/>
                  <a:gd name="connsiteX1" fmla="*/ 68336 w 136780"/>
                  <a:gd name="connsiteY1" fmla="*/ 30293 h 35468"/>
                  <a:gd name="connsiteX2" fmla="*/ 136440 w 136780"/>
                  <a:gd name="connsiteY2" fmla="*/ 32103 h 35468"/>
                  <a:gd name="connsiteX3" fmla="*/ 120914 w 136780"/>
                  <a:gd name="connsiteY3" fmla="*/ 14196 h 35468"/>
                  <a:gd name="connsiteX4" fmla="*/ 17187 w 136780"/>
                  <a:gd name="connsiteY4" fmla="*/ 9910 h 35468"/>
                  <a:gd name="connsiteX5" fmla="*/ 233 w 136780"/>
                  <a:gd name="connsiteY5" fmla="*/ 26483 h 35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6780" h="35468">
                    <a:moveTo>
                      <a:pt x="233" y="26483"/>
                    </a:moveTo>
                    <a:cubicBezTo>
                      <a:pt x="3757" y="34389"/>
                      <a:pt x="33094" y="28483"/>
                      <a:pt x="68336" y="30293"/>
                    </a:cubicBezTo>
                    <a:cubicBezTo>
                      <a:pt x="103579" y="32103"/>
                      <a:pt x="132344" y="39818"/>
                      <a:pt x="136440" y="32103"/>
                    </a:cubicBezTo>
                    <a:cubicBezTo>
                      <a:pt x="138250" y="28483"/>
                      <a:pt x="132821" y="21244"/>
                      <a:pt x="120914" y="14196"/>
                    </a:cubicBezTo>
                    <a:cubicBezTo>
                      <a:pt x="88834" y="-3092"/>
                      <a:pt x="50582" y="-4673"/>
                      <a:pt x="17187" y="9910"/>
                    </a:cubicBezTo>
                    <a:cubicBezTo>
                      <a:pt x="4709" y="15910"/>
                      <a:pt x="-1291" y="22673"/>
                      <a:pt x="233" y="2648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26C6CCF1-4208-41B0-AD1A-F5211C43635C}"/>
                  </a:ext>
                </a:extLst>
              </p:cNvPr>
              <p:cNvSpPr/>
              <p:nvPr/>
            </p:nvSpPr>
            <p:spPr>
              <a:xfrm>
                <a:off x="1545893" y="2578746"/>
                <a:ext cx="120974" cy="33370"/>
              </a:xfrm>
              <a:custGeom>
                <a:avLst/>
                <a:gdLst>
                  <a:gd name="connsiteX0" fmla="*/ 853 w 120974"/>
                  <a:gd name="connsiteY0" fmla="*/ 30323 h 33370"/>
                  <a:gd name="connsiteX1" fmla="*/ 60480 w 120974"/>
                  <a:gd name="connsiteY1" fmla="*/ 30323 h 33370"/>
                  <a:gd name="connsiteX2" fmla="*/ 120202 w 120974"/>
                  <a:gd name="connsiteY2" fmla="*/ 28798 h 33370"/>
                  <a:gd name="connsiteX3" fmla="*/ 108295 w 120974"/>
                  <a:gd name="connsiteY3" fmla="*/ 11939 h 33370"/>
                  <a:gd name="connsiteX4" fmla="*/ 59908 w 120974"/>
                  <a:gd name="connsiteY4" fmla="*/ 33 h 33370"/>
                  <a:gd name="connsiteX5" fmla="*/ 12283 w 120974"/>
                  <a:gd name="connsiteY5" fmla="*/ 12797 h 33370"/>
                  <a:gd name="connsiteX6" fmla="*/ 853 w 120974"/>
                  <a:gd name="connsiteY6" fmla="*/ 30323 h 33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974" h="33370">
                    <a:moveTo>
                      <a:pt x="853" y="30323"/>
                    </a:moveTo>
                    <a:cubicBezTo>
                      <a:pt x="6949" y="37181"/>
                      <a:pt x="31333" y="30323"/>
                      <a:pt x="60480" y="30323"/>
                    </a:cubicBezTo>
                    <a:cubicBezTo>
                      <a:pt x="89626" y="30323"/>
                      <a:pt x="114391" y="35752"/>
                      <a:pt x="120202" y="28798"/>
                    </a:cubicBezTo>
                    <a:cubicBezTo>
                      <a:pt x="122773" y="25369"/>
                      <a:pt x="118963" y="18511"/>
                      <a:pt x="108295" y="11939"/>
                    </a:cubicBezTo>
                    <a:cubicBezTo>
                      <a:pt x="93531" y="3691"/>
                      <a:pt x="76815" y="-415"/>
                      <a:pt x="59908" y="33"/>
                    </a:cubicBezTo>
                    <a:cubicBezTo>
                      <a:pt x="43173" y="-91"/>
                      <a:pt x="26714" y="4319"/>
                      <a:pt x="12283" y="12797"/>
                    </a:cubicBezTo>
                    <a:cubicBezTo>
                      <a:pt x="1710" y="19940"/>
                      <a:pt x="-1814" y="26894"/>
                      <a:pt x="853" y="3032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5DF7B292-746F-463C-9F4A-0EFEA73A58CB}"/>
                  </a:ext>
                </a:extLst>
              </p:cNvPr>
              <p:cNvSpPr/>
              <p:nvPr/>
            </p:nvSpPr>
            <p:spPr>
              <a:xfrm>
                <a:off x="1725709" y="2972843"/>
                <a:ext cx="93480" cy="72406"/>
              </a:xfrm>
              <a:custGeom>
                <a:avLst/>
                <a:gdLst>
                  <a:gd name="connsiteX0" fmla="*/ 2584 w 93480"/>
                  <a:gd name="connsiteY0" fmla="*/ 26750 h 72406"/>
                  <a:gd name="connsiteX1" fmla="*/ 60305 w 93480"/>
                  <a:gd name="connsiteY1" fmla="*/ 366 h 72406"/>
                  <a:gd name="connsiteX2" fmla="*/ 62401 w 93480"/>
                  <a:gd name="connsiteY2" fmla="*/ 366 h 72406"/>
                  <a:gd name="connsiteX3" fmla="*/ 93481 w 93480"/>
                  <a:gd name="connsiteY3" fmla="*/ 31389 h 72406"/>
                  <a:gd name="connsiteX4" fmla="*/ 85260 w 93480"/>
                  <a:gd name="connsiteY4" fmla="*/ 52468 h 72406"/>
                  <a:gd name="connsiteX5" fmla="*/ 56685 w 93480"/>
                  <a:gd name="connsiteY5" fmla="*/ 69899 h 72406"/>
                  <a:gd name="connsiteX6" fmla="*/ 14299 w 93480"/>
                  <a:gd name="connsiteY6" fmla="*/ 65136 h 72406"/>
                  <a:gd name="connsiteX7" fmla="*/ 2584 w 93480"/>
                  <a:gd name="connsiteY7" fmla="*/ 26750 h 72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480" h="72406">
                    <a:moveTo>
                      <a:pt x="2584" y="26750"/>
                    </a:moveTo>
                    <a:cubicBezTo>
                      <a:pt x="15528" y="8034"/>
                      <a:pt x="37683" y="-2101"/>
                      <a:pt x="60305" y="366"/>
                    </a:cubicBezTo>
                    <a:lnTo>
                      <a:pt x="62401" y="366"/>
                    </a:lnTo>
                    <a:cubicBezTo>
                      <a:pt x="79546" y="347"/>
                      <a:pt x="93471" y="14235"/>
                      <a:pt x="93481" y="31389"/>
                    </a:cubicBezTo>
                    <a:cubicBezTo>
                      <a:pt x="93490" y="39200"/>
                      <a:pt x="90556" y="46724"/>
                      <a:pt x="85260" y="52468"/>
                    </a:cubicBezTo>
                    <a:cubicBezTo>
                      <a:pt x="77783" y="61117"/>
                      <a:pt x="67792" y="67213"/>
                      <a:pt x="56685" y="69899"/>
                    </a:cubicBezTo>
                    <a:cubicBezTo>
                      <a:pt x="42531" y="74471"/>
                      <a:pt x="27091" y="72737"/>
                      <a:pt x="14299" y="65136"/>
                    </a:cubicBezTo>
                    <a:cubicBezTo>
                      <a:pt x="1469" y="56973"/>
                      <a:pt x="-3503" y="40685"/>
                      <a:pt x="2584" y="26750"/>
                    </a:cubicBezTo>
                    <a:close/>
                  </a:path>
                </a:pathLst>
              </a:custGeom>
              <a:solidFill>
                <a:srgbClr val="8A4A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068565CE-AA8F-4147-86FB-1648D85E4104}"/>
                  </a:ext>
                </a:extLst>
              </p:cNvPr>
              <p:cNvSpPr/>
              <p:nvPr/>
            </p:nvSpPr>
            <p:spPr>
              <a:xfrm>
                <a:off x="1707520" y="2954731"/>
                <a:ext cx="104973" cy="77933"/>
              </a:xfrm>
              <a:custGeom>
                <a:avLst/>
                <a:gdLst>
                  <a:gd name="connsiteX0" fmla="*/ 104116 w 104973"/>
                  <a:gd name="connsiteY0" fmla="*/ 0 h 77933"/>
                  <a:gd name="connsiteX1" fmla="*/ 95353 w 104973"/>
                  <a:gd name="connsiteY1" fmla="*/ 19050 h 77933"/>
                  <a:gd name="connsiteX2" fmla="*/ 20487 w 104973"/>
                  <a:gd name="connsiteY2" fmla="*/ 71057 h 77933"/>
                  <a:gd name="connsiteX3" fmla="*/ 8 w 104973"/>
                  <a:gd name="connsiteY3" fmla="*/ 72866 h 77933"/>
                  <a:gd name="connsiteX4" fmla="*/ 20772 w 104973"/>
                  <a:gd name="connsiteY4" fmla="*/ 77915 h 77933"/>
                  <a:gd name="connsiteX5" fmla="*/ 101639 w 104973"/>
                  <a:gd name="connsiteY5" fmla="*/ 21622 h 77933"/>
                  <a:gd name="connsiteX6" fmla="*/ 104116 w 104973"/>
                  <a:gd name="connsiteY6" fmla="*/ 0 h 77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4973" h="77933">
                    <a:moveTo>
                      <a:pt x="104116" y="0"/>
                    </a:moveTo>
                    <a:cubicBezTo>
                      <a:pt x="102687" y="0"/>
                      <a:pt x="100878" y="7525"/>
                      <a:pt x="95353" y="19050"/>
                    </a:cubicBezTo>
                    <a:cubicBezTo>
                      <a:pt x="81313" y="48368"/>
                      <a:pt x="52862" y="68132"/>
                      <a:pt x="20487" y="71057"/>
                    </a:cubicBezTo>
                    <a:cubicBezTo>
                      <a:pt x="8199" y="72390"/>
                      <a:pt x="293" y="71057"/>
                      <a:pt x="8" y="72866"/>
                    </a:cubicBezTo>
                    <a:cubicBezTo>
                      <a:pt x="-278" y="74676"/>
                      <a:pt x="7342" y="77438"/>
                      <a:pt x="20772" y="77915"/>
                    </a:cubicBezTo>
                    <a:cubicBezTo>
                      <a:pt x="57082" y="78677"/>
                      <a:pt x="89743" y="55940"/>
                      <a:pt x="101639" y="21622"/>
                    </a:cubicBezTo>
                    <a:cubicBezTo>
                      <a:pt x="105926" y="8573"/>
                      <a:pt x="105259" y="95"/>
                      <a:pt x="10411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23356FFA-E3B8-44C0-B8FC-B4BF63CF1AAE}"/>
                  </a:ext>
                </a:extLst>
              </p:cNvPr>
              <p:cNvSpPr/>
              <p:nvPr/>
            </p:nvSpPr>
            <p:spPr>
              <a:xfrm>
                <a:off x="1431332" y="2256072"/>
                <a:ext cx="375255" cy="597884"/>
              </a:xfrm>
              <a:custGeom>
                <a:avLst/>
                <a:gdLst>
                  <a:gd name="connsiteX0" fmla="*/ 63788 w 375255"/>
                  <a:gd name="connsiteY0" fmla="*/ 597884 h 597884"/>
                  <a:gd name="connsiteX1" fmla="*/ 19116 w 375255"/>
                  <a:gd name="connsiteY1" fmla="*/ 416909 h 597884"/>
                  <a:gd name="connsiteX2" fmla="*/ 38738 w 375255"/>
                  <a:gd name="connsiteY2" fmla="*/ 208788 h 597884"/>
                  <a:gd name="connsiteX3" fmla="*/ 181613 w 375255"/>
                  <a:gd name="connsiteY3" fmla="*/ 66675 h 597884"/>
                  <a:gd name="connsiteX4" fmla="*/ 375256 w 375255"/>
                  <a:gd name="connsiteY4" fmla="*/ 0 h 597884"/>
                  <a:gd name="connsiteX5" fmla="*/ 215712 w 375255"/>
                  <a:gd name="connsiteY5" fmla="*/ 201263 h 597884"/>
                  <a:gd name="connsiteX6" fmla="*/ 85601 w 375255"/>
                  <a:gd name="connsiteY6" fmla="*/ 365379 h 597884"/>
                  <a:gd name="connsiteX7" fmla="*/ 63788 w 375255"/>
                  <a:gd name="connsiteY7" fmla="*/ 597884 h 597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5255" h="597884">
                    <a:moveTo>
                      <a:pt x="63788" y="597884"/>
                    </a:moveTo>
                    <a:lnTo>
                      <a:pt x="19116" y="416909"/>
                    </a:lnTo>
                    <a:cubicBezTo>
                      <a:pt x="-21079" y="361474"/>
                      <a:pt x="10258" y="270986"/>
                      <a:pt x="38738" y="208788"/>
                    </a:cubicBezTo>
                    <a:cubicBezTo>
                      <a:pt x="67217" y="146590"/>
                      <a:pt x="121510" y="98869"/>
                      <a:pt x="181613" y="66675"/>
                    </a:cubicBezTo>
                    <a:cubicBezTo>
                      <a:pt x="241715" y="34480"/>
                      <a:pt x="308771" y="16288"/>
                      <a:pt x="375256" y="0"/>
                    </a:cubicBezTo>
                    <a:cubicBezTo>
                      <a:pt x="347805" y="83982"/>
                      <a:pt x="291207" y="155372"/>
                      <a:pt x="215712" y="201263"/>
                    </a:cubicBezTo>
                    <a:cubicBezTo>
                      <a:pt x="215712" y="201263"/>
                      <a:pt x="105889" y="276796"/>
                      <a:pt x="85601" y="365379"/>
                    </a:cubicBezTo>
                    <a:cubicBezTo>
                      <a:pt x="64264" y="462439"/>
                      <a:pt x="63788" y="597884"/>
                      <a:pt x="63788" y="597884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70ECDBA6-8AF4-4626-A4BB-BE192ADDF1DB}"/>
                  </a:ext>
                </a:extLst>
              </p:cNvPr>
              <p:cNvSpPr/>
              <p:nvPr/>
            </p:nvSpPr>
            <p:spPr>
              <a:xfrm>
                <a:off x="1725054" y="2227402"/>
                <a:ext cx="728757" cy="919352"/>
              </a:xfrm>
              <a:custGeom>
                <a:avLst/>
                <a:gdLst>
                  <a:gd name="connsiteX0" fmla="*/ 21146 w 728757"/>
                  <a:gd name="connsiteY0" fmla="*/ 142875 h 919352"/>
                  <a:gd name="connsiteX1" fmla="*/ 336137 w 728757"/>
                  <a:gd name="connsiteY1" fmla="*/ 332137 h 919352"/>
                  <a:gd name="connsiteX2" fmla="*/ 403288 w 728757"/>
                  <a:gd name="connsiteY2" fmla="*/ 615410 h 919352"/>
                  <a:gd name="connsiteX3" fmla="*/ 514731 w 728757"/>
                  <a:gd name="connsiteY3" fmla="*/ 587883 h 919352"/>
                  <a:gd name="connsiteX4" fmla="*/ 437864 w 728757"/>
                  <a:gd name="connsiteY4" fmla="*/ 747236 h 919352"/>
                  <a:gd name="connsiteX5" fmla="*/ 428339 w 728757"/>
                  <a:gd name="connsiteY5" fmla="*/ 919353 h 919352"/>
                  <a:gd name="connsiteX6" fmla="*/ 728758 w 728757"/>
                  <a:gd name="connsiteY6" fmla="*/ 845439 h 919352"/>
                  <a:gd name="connsiteX7" fmla="*/ 661321 w 728757"/>
                  <a:gd name="connsiteY7" fmla="*/ 510254 h 919352"/>
                  <a:gd name="connsiteX8" fmla="*/ 581120 w 728757"/>
                  <a:gd name="connsiteY8" fmla="*/ 286703 h 919352"/>
                  <a:gd name="connsiteX9" fmla="*/ 483108 w 728757"/>
                  <a:gd name="connsiteY9" fmla="*/ 95250 h 919352"/>
                  <a:gd name="connsiteX10" fmla="*/ 162211 w 728757"/>
                  <a:gd name="connsiteY10" fmla="*/ 0 h 919352"/>
                  <a:gd name="connsiteX11" fmla="*/ 32004 w 728757"/>
                  <a:gd name="connsiteY11" fmla="*/ 79438 h 919352"/>
                  <a:gd name="connsiteX12" fmla="*/ 0 w 728757"/>
                  <a:gd name="connsiteY12" fmla="*/ 165163 h 919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28757" h="919352">
                    <a:moveTo>
                      <a:pt x="21146" y="142875"/>
                    </a:moveTo>
                    <a:lnTo>
                      <a:pt x="336137" y="332137"/>
                    </a:lnTo>
                    <a:cubicBezTo>
                      <a:pt x="344910" y="429282"/>
                      <a:pt x="367522" y="524666"/>
                      <a:pt x="403288" y="615410"/>
                    </a:cubicBezTo>
                    <a:cubicBezTo>
                      <a:pt x="461391" y="565690"/>
                      <a:pt x="497300" y="661511"/>
                      <a:pt x="514731" y="587883"/>
                    </a:cubicBezTo>
                    <a:cubicBezTo>
                      <a:pt x="515684" y="583978"/>
                      <a:pt x="498729" y="742283"/>
                      <a:pt x="437864" y="747236"/>
                    </a:cubicBezTo>
                    <a:lnTo>
                      <a:pt x="428339" y="919353"/>
                    </a:lnTo>
                    <a:lnTo>
                      <a:pt x="728758" y="845439"/>
                    </a:lnTo>
                    <a:cubicBezTo>
                      <a:pt x="728758" y="845439"/>
                      <a:pt x="712565" y="636841"/>
                      <a:pt x="661321" y="510254"/>
                    </a:cubicBezTo>
                    <a:cubicBezTo>
                      <a:pt x="629412" y="431578"/>
                      <a:pt x="612553" y="365569"/>
                      <a:pt x="581120" y="286703"/>
                    </a:cubicBezTo>
                    <a:cubicBezTo>
                      <a:pt x="557213" y="226981"/>
                      <a:pt x="514921" y="137731"/>
                      <a:pt x="483108" y="95250"/>
                    </a:cubicBezTo>
                    <a:cubicBezTo>
                      <a:pt x="414909" y="4096"/>
                      <a:pt x="162211" y="0"/>
                      <a:pt x="162211" y="0"/>
                    </a:cubicBezTo>
                    <a:cubicBezTo>
                      <a:pt x="50863" y="26289"/>
                      <a:pt x="125825" y="13811"/>
                      <a:pt x="32004" y="79438"/>
                    </a:cubicBezTo>
                    <a:lnTo>
                      <a:pt x="0" y="165163"/>
                    </a:lnTo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B041611E-2D67-486E-BB37-04093BE113B3}"/>
                  </a:ext>
                </a:extLst>
              </p:cNvPr>
              <p:cNvSpPr/>
              <p:nvPr/>
            </p:nvSpPr>
            <p:spPr>
              <a:xfrm>
                <a:off x="2128247" y="2777365"/>
                <a:ext cx="131461" cy="194619"/>
              </a:xfrm>
              <a:custGeom>
                <a:avLst/>
                <a:gdLst>
                  <a:gd name="connsiteX0" fmla="*/ 0 w 131461"/>
                  <a:gd name="connsiteY0" fmla="*/ 64208 h 194619"/>
                  <a:gd name="connsiteX1" fmla="*/ 89821 w 131461"/>
                  <a:gd name="connsiteY1" fmla="*/ 6201 h 194619"/>
                  <a:gd name="connsiteX2" fmla="*/ 131445 w 131461"/>
                  <a:gd name="connsiteY2" fmla="*/ 89926 h 194619"/>
                  <a:gd name="connsiteX3" fmla="*/ 857 w 131461"/>
                  <a:gd name="connsiteY3" fmla="*/ 190319 h 194619"/>
                  <a:gd name="connsiteX4" fmla="*/ 0 w 131461"/>
                  <a:gd name="connsiteY4" fmla="*/ 64208 h 194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461" h="194619">
                    <a:moveTo>
                      <a:pt x="0" y="64208"/>
                    </a:moveTo>
                    <a:cubicBezTo>
                      <a:pt x="0" y="18774"/>
                      <a:pt x="48482" y="-14278"/>
                      <a:pt x="89821" y="6201"/>
                    </a:cubicBezTo>
                    <a:cubicBezTo>
                      <a:pt x="112490" y="17536"/>
                      <a:pt x="130778" y="41634"/>
                      <a:pt x="131445" y="89926"/>
                    </a:cubicBezTo>
                    <a:cubicBezTo>
                      <a:pt x="133160" y="218704"/>
                      <a:pt x="1143" y="194034"/>
                      <a:pt x="857" y="190319"/>
                    </a:cubicBezTo>
                    <a:cubicBezTo>
                      <a:pt x="572" y="186605"/>
                      <a:pt x="286" y="117453"/>
                      <a:pt x="0" y="64208"/>
                    </a:cubicBezTo>
                    <a:close/>
                  </a:path>
                </a:pathLst>
              </a:custGeom>
              <a:solidFill>
                <a:srgbClr val="B5676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91A09584-9F67-4A30-8C85-4BEE7C39F653}"/>
                  </a:ext>
                </a:extLst>
              </p:cNvPr>
              <p:cNvSpPr/>
              <p:nvPr/>
            </p:nvSpPr>
            <p:spPr>
              <a:xfrm>
                <a:off x="2168350" y="2816020"/>
                <a:ext cx="58015" cy="112620"/>
              </a:xfrm>
              <a:custGeom>
                <a:avLst/>
                <a:gdLst>
                  <a:gd name="connsiteX0" fmla="*/ 93 w 58015"/>
                  <a:gd name="connsiteY0" fmla="*/ 102325 h 112620"/>
                  <a:gd name="connsiteX1" fmla="*/ 6284 w 58015"/>
                  <a:gd name="connsiteY1" fmla="*/ 105564 h 112620"/>
                  <a:gd name="connsiteX2" fmla="*/ 23429 w 58015"/>
                  <a:gd name="connsiteY2" fmla="*/ 105564 h 112620"/>
                  <a:gd name="connsiteX3" fmla="*/ 48861 w 58015"/>
                  <a:gd name="connsiteY3" fmla="*/ 55367 h 112620"/>
                  <a:gd name="connsiteX4" fmla="*/ 42098 w 58015"/>
                  <a:gd name="connsiteY4" fmla="*/ 23363 h 112620"/>
                  <a:gd name="connsiteX5" fmla="*/ 24667 w 58015"/>
                  <a:gd name="connsiteY5" fmla="*/ 6408 h 112620"/>
                  <a:gd name="connsiteX6" fmla="*/ 11237 w 58015"/>
                  <a:gd name="connsiteY6" fmla="*/ 12790 h 112620"/>
                  <a:gd name="connsiteX7" fmla="*/ 9713 w 58015"/>
                  <a:gd name="connsiteY7" fmla="*/ 19172 h 112620"/>
                  <a:gd name="connsiteX8" fmla="*/ 7808 w 58015"/>
                  <a:gd name="connsiteY8" fmla="*/ 11743 h 112620"/>
                  <a:gd name="connsiteX9" fmla="*/ 12856 w 58015"/>
                  <a:gd name="connsiteY9" fmla="*/ 3551 h 112620"/>
                  <a:gd name="connsiteX10" fmla="*/ 25429 w 58015"/>
                  <a:gd name="connsiteY10" fmla="*/ 122 h 112620"/>
                  <a:gd name="connsiteX11" fmla="*/ 49623 w 58015"/>
                  <a:gd name="connsiteY11" fmla="*/ 19743 h 112620"/>
                  <a:gd name="connsiteX12" fmla="*/ 58005 w 58015"/>
                  <a:gd name="connsiteY12" fmla="*/ 55462 h 112620"/>
                  <a:gd name="connsiteX13" fmla="*/ 25429 w 58015"/>
                  <a:gd name="connsiteY13" fmla="*/ 111564 h 112620"/>
                  <a:gd name="connsiteX14" fmla="*/ 4474 w 58015"/>
                  <a:gd name="connsiteY14" fmla="*/ 108421 h 112620"/>
                  <a:gd name="connsiteX15" fmla="*/ 93 w 58015"/>
                  <a:gd name="connsiteY15" fmla="*/ 102325 h 112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8015" h="112620">
                    <a:moveTo>
                      <a:pt x="93" y="102325"/>
                    </a:moveTo>
                    <a:cubicBezTo>
                      <a:pt x="664" y="102325"/>
                      <a:pt x="2474" y="103849"/>
                      <a:pt x="6284" y="105564"/>
                    </a:cubicBezTo>
                    <a:cubicBezTo>
                      <a:pt x="11799" y="107697"/>
                      <a:pt x="17914" y="107697"/>
                      <a:pt x="23429" y="105564"/>
                    </a:cubicBezTo>
                    <a:cubicBezTo>
                      <a:pt x="37240" y="100325"/>
                      <a:pt x="48575" y="78608"/>
                      <a:pt x="48861" y="55367"/>
                    </a:cubicBezTo>
                    <a:cubicBezTo>
                      <a:pt x="49042" y="44327"/>
                      <a:pt x="46727" y="33383"/>
                      <a:pt x="42098" y="23363"/>
                    </a:cubicBezTo>
                    <a:cubicBezTo>
                      <a:pt x="39383" y="15219"/>
                      <a:pt x="32878" y="8904"/>
                      <a:pt x="24667" y="6408"/>
                    </a:cubicBezTo>
                    <a:cubicBezTo>
                      <a:pt x="19238" y="5056"/>
                      <a:pt x="13618" y="7732"/>
                      <a:pt x="11237" y="12790"/>
                    </a:cubicBezTo>
                    <a:cubicBezTo>
                      <a:pt x="9523" y="16410"/>
                      <a:pt x="10380" y="18886"/>
                      <a:pt x="9713" y="19172"/>
                    </a:cubicBezTo>
                    <a:cubicBezTo>
                      <a:pt x="9046" y="19458"/>
                      <a:pt x="6856" y="17076"/>
                      <a:pt x="7808" y="11743"/>
                    </a:cubicBezTo>
                    <a:cubicBezTo>
                      <a:pt x="8532" y="8523"/>
                      <a:pt x="10313" y="5647"/>
                      <a:pt x="12856" y="3551"/>
                    </a:cubicBezTo>
                    <a:cubicBezTo>
                      <a:pt x="16438" y="817"/>
                      <a:pt x="20953" y="-411"/>
                      <a:pt x="25429" y="122"/>
                    </a:cubicBezTo>
                    <a:cubicBezTo>
                      <a:pt x="36355" y="2017"/>
                      <a:pt x="45518" y="9447"/>
                      <a:pt x="49623" y="19743"/>
                    </a:cubicBezTo>
                    <a:cubicBezTo>
                      <a:pt x="55328" y="30773"/>
                      <a:pt x="58214" y="43042"/>
                      <a:pt x="58005" y="55462"/>
                    </a:cubicBezTo>
                    <a:cubicBezTo>
                      <a:pt x="58005" y="81465"/>
                      <a:pt x="44384" y="105945"/>
                      <a:pt x="25429" y="111564"/>
                    </a:cubicBezTo>
                    <a:cubicBezTo>
                      <a:pt x="18324" y="113708"/>
                      <a:pt x="10637" y="112555"/>
                      <a:pt x="4474" y="108421"/>
                    </a:cubicBezTo>
                    <a:cubicBezTo>
                      <a:pt x="378" y="105468"/>
                      <a:pt x="-288" y="102611"/>
                      <a:pt x="93" y="102325"/>
                    </a:cubicBezTo>
                    <a:close/>
                  </a:path>
                </a:pathLst>
              </a:custGeom>
              <a:solidFill>
                <a:srgbClr val="8A4A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8D1B3E87-DAD4-40EF-9A23-BAC79C445266}"/>
                  </a:ext>
                </a:extLst>
              </p:cNvPr>
              <p:cNvSpPr/>
              <p:nvPr/>
            </p:nvSpPr>
            <p:spPr>
              <a:xfrm>
                <a:off x="1724578" y="2227100"/>
                <a:ext cx="171830" cy="165751"/>
              </a:xfrm>
              <a:custGeom>
                <a:avLst/>
                <a:gdLst>
                  <a:gd name="connsiteX0" fmla="*/ 171831 w 171830"/>
                  <a:gd name="connsiteY0" fmla="*/ 16 h 165751"/>
                  <a:gd name="connsiteX1" fmla="*/ 166402 w 171830"/>
                  <a:gd name="connsiteY1" fmla="*/ 7732 h 165751"/>
                  <a:gd name="connsiteX2" fmla="*/ 148876 w 171830"/>
                  <a:gd name="connsiteY2" fmla="*/ 26782 h 165751"/>
                  <a:gd name="connsiteX3" fmla="*/ 87249 w 171830"/>
                  <a:gd name="connsiteY3" fmla="*/ 84598 h 165751"/>
                  <a:gd name="connsiteX4" fmla="*/ 25337 w 171830"/>
                  <a:gd name="connsiteY4" fmla="*/ 141748 h 165751"/>
                  <a:gd name="connsiteX5" fmla="*/ 0 w 171830"/>
                  <a:gd name="connsiteY5" fmla="*/ 165751 h 165751"/>
                  <a:gd name="connsiteX6" fmla="*/ 5620 w 171830"/>
                  <a:gd name="connsiteY6" fmla="*/ 158227 h 165751"/>
                  <a:gd name="connsiteX7" fmla="*/ 22860 w 171830"/>
                  <a:gd name="connsiteY7" fmla="*/ 139177 h 165751"/>
                  <a:gd name="connsiteX8" fmla="*/ 83915 w 171830"/>
                  <a:gd name="connsiteY8" fmla="*/ 80598 h 165751"/>
                  <a:gd name="connsiteX9" fmla="*/ 146494 w 171830"/>
                  <a:gd name="connsiteY9" fmla="*/ 23448 h 165751"/>
                  <a:gd name="connsiteX10" fmla="*/ 171831 w 171830"/>
                  <a:gd name="connsiteY10" fmla="*/ 16 h 16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830" h="165751">
                    <a:moveTo>
                      <a:pt x="171831" y="16"/>
                    </a:moveTo>
                    <a:cubicBezTo>
                      <a:pt x="170374" y="2817"/>
                      <a:pt x="168545" y="5407"/>
                      <a:pt x="166402" y="7732"/>
                    </a:cubicBezTo>
                    <a:cubicBezTo>
                      <a:pt x="162496" y="12399"/>
                      <a:pt x="156877" y="18876"/>
                      <a:pt x="148876" y="26782"/>
                    </a:cubicBezTo>
                    <a:cubicBezTo>
                      <a:pt x="133636" y="42117"/>
                      <a:pt x="111633" y="62405"/>
                      <a:pt x="87249" y="84598"/>
                    </a:cubicBezTo>
                    <a:cubicBezTo>
                      <a:pt x="62865" y="106792"/>
                      <a:pt x="40958" y="126985"/>
                      <a:pt x="25337" y="141748"/>
                    </a:cubicBezTo>
                    <a:cubicBezTo>
                      <a:pt x="17297" y="150168"/>
                      <a:pt x="8839" y="158179"/>
                      <a:pt x="0" y="165751"/>
                    </a:cubicBezTo>
                    <a:cubicBezTo>
                      <a:pt x="1505" y="162989"/>
                      <a:pt x="3400" y="160455"/>
                      <a:pt x="5620" y="158227"/>
                    </a:cubicBezTo>
                    <a:cubicBezTo>
                      <a:pt x="9525" y="153559"/>
                      <a:pt x="15145" y="147082"/>
                      <a:pt x="22860" y="139177"/>
                    </a:cubicBezTo>
                    <a:cubicBezTo>
                      <a:pt x="37909" y="123460"/>
                      <a:pt x="59531" y="102791"/>
                      <a:pt x="83915" y="80598"/>
                    </a:cubicBezTo>
                    <a:lnTo>
                      <a:pt x="146494" y="23448"/>
                    </a:lnTo>
                    <a:cubicBezTo>
                      <a:pt x="162496" y="9541"/>
                      <a:pt x="171259" y="-460"/>
                      <a:pt x="171831" y="16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6B0570A2-EBEC-4D75-B310-3972509A9685}"/>
                  </a:ext>
                </a:extLst>
              </p:cNvPr>
              <p:cNvSpPr/>
              <p:nvPr/>
            </p:nvSpPr>
            <p:spPr>
              <a:xfrm>
                <a:off x="1545984" y="2245278"/>
                <a:ext cx="247531" cy="90922"/>
              </a:xfrm>
              <a:custGeom>
                <a:avLst/>
                <a:gdLst>
                  <a:gd name="connsiteX0" fmla="*/ 0 w 247531"/>
                  <a:gd name="connsiteY0" fmla="*/ 90899 h 90922"/>
                  <a:gd name="connsiteX1" fmla="*/ 8382 w 247531"/>
                  <a:gd name="connsiteY1" fmla="*/ 81374 h 90922"/>
                  <a:gd name="connsiteX2" fmla="*/ 34576 w 247531"/>
                  <a:gd name="connsiteY2" fmla="*/ 57466 h 90922"/>
                  <a:gd name="connsiteX3" fmla="*/ 138684 w 247531"/>
                  <a:gd name="connsiteY3" fmla="*/ 5079 h 90922"/>
                  <a:gd name="connsiteX4" fmla="*/ 203168 w 247531"/>
                  <a:gd name="connsiteY4" fmla="*/ 4221 h 90922"/>
                  <a:gd name="connsiteX5" fmla="*/ 243268 w 247531"/>
                  <a:gd name="connsiteY5" fmla="*/ 38035 h 90922"/>
                  <a:gd name="connsiteX6" fmla="*/ 245078 w 247531"/>
                  <a:gd name="connsiteY6" fmla="*/ 73468 h 90922"/>
                  <a:gd name="connsiteX7" fmla="*/ 240697 w 247531"/>
                  <a:gd name="connsiteY7" fmla="*/ 82231 h 90922"/>
                  <a:gd name="connsiteX8" fmla="*/ 238411 w 247531"/>
                  <a:gd name="connsiteY8" fmla="*/ 84803 h 90922"/>
                  <a:gd name="connsiteX9" fmla="*/ 243268 w 247531"/>
                  <a:gd name="connsiteY9" fmla="*/ 72897 h 90922"/>
                  <a:gd name="connsiteX10" fmla="*/ 240030 w 247531"/>
                  <a:gd name="connsiteY10" fmla="*/ 39464 h 90922"/>
                  <a:gd name="connsiteX11" fmla="*/ 201930 w 247531"/>
                  <a:gd name="connsiteY11" fmla="*/ 8603 h 90922"/>
                  <a:gd name="connsiteX12" fmla="*/ 140017 w 247531"/>
                  <a:gd name="connsiteY12" fmla="*/ 9841 h 90922"/>
                  <a:gd name="connsiteX13" fmla="*/ 36862 w 247531"/>
                  <a:gd name="connsiteY13" fmla="*/ 60228 h 90922"/>
                  <a:gd name="connsiteX14" fmla="*/ 0 w 247531"/>
                  <a:gd name="connsiteY14" fmla="*/ 90899 h 90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7531" h="90922">
                    <a:moveTo>
                      <a:pt x="0" y="90899"/>
                    </a:moveTo>
                    <a:cubicBezTo>
                      <a:pt x="2467" y="87451"/>
                      <a:pt x="5267" y="84260"/>
                      <a:pt x="8382" y="81374"/>
                    </a:cubicBezTo>
                    <a:cubicBezTo>
                      <a:pt x="16535" y="72792"/>
                      <a:pt x="25289" y="64800"/>
                      <a:pt x="34576" y="57466"/>
                    </a:cubicBezTo>
                    <a:cubicBezTo>
                      <a:pt x="65361" y="33111"/>
                      <a:pt x="100784" y="15289"/>
                      <a:pt x="138684" y="5079"/>
                    </a:cubicBezTo>
                    <a:cubicBezTo>
                      <a:pt x="159649" y="-1389"/>
                      <a:pt x="182032" y="-1684"/>
                      <a:pt x="203168" y="4221"/>
                    </a:cubicBezTo>
                    <a:cubicBezTo>
                      <a:pt x="220751" y="9251"/>
                      <a:pt x="235344" y="21557"/>
                      <a:pt x="243268" y="38035"/>
                    </a:cubicBezTo>
                    <a:cubicBezTo>
                      <a:pt x="248241" y="49217"/>
                      <a:pt x="248888" y="61838"/>
                      <a:pt x="245078" y="73468"/>
                    </a:cubicBezTo>
                    <a:cubicBezTo>
                      <a:pt x="244059" y="76592"/>
                      <a:pt x="242583" y="79545"/>
                      <a:pt x="240697" y="82231"/>
                    </a:cubicBezTo>
                    <a:cubicBezTo>
                      <a:pt x="239363" y="84012"/>
                      <a:pt x="238601" y="84870"/>
                      <a:pt x="238411" y="84803"/>
                    </a:cubicBezTo>
                    <a:cubicBezTo>
                      <a:pt x="240268" y="80936"/>
                      <a:pt x="241897" y="76964"/>
                      <a:pt x="243268" y="72897"/>
                    </a:cubicBezTo>
                    <a:cubicBezTo>
                      <a:pt x="246088" y="61714"/>
                      <a:pt x="244945" y="49894"/>
                      <a:pt x="240030" y="39464"/>
                    </a:cubicBezTo>
                    <a:cubicBezTo>
                      <a:pt x="232239" y="24271"/>
                      <a:pt x="218408" y="13070"/>
                      <a:pt x="201930" y="8603"/>
                    </a:cubicBezTo>
                    <a:cubicBezTo>
                      <a:pt x="181585" y="3221"/>
                      <a:pt x="160134" y="3650"/>
                      <a:pt x="140017" y="9841"/>
                    </a:cubicBezTo>
                    <a:cubicBezTo>
                      <a:pt x="102765" y="19976"/>
                      <a:pt x="67761" y="37073"/>
                      <a:pt x="36862" y="60228"/>
                    </a:cubicBezTo>
                    <a:cubicBezTo>
                      <a:pt x="13049" y="78040"/>
                      <a:pt x="667" y="91566"/>
                      <a:pt x="0" y="90899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73A9A3E2-2A8C-4FC6-A4FF-CF7E1C3F1615}"/>
                  </a:ext>
                </a:extLst>
              </p:cNvPr>
              <p:cNvSpPr/>
              <p:nvPr/>
            </p:nvSpPr>
            <p:spPr>
              <a:xfrm>
                <a:off x="1473975" y="2341462"/>
                <a:ext cx="252900" cy="124731"/>
              </a:xfrm>
              <a:custGeom>
                <a:avLst/>
                <a:gdLst>
                  <a:gd name="connsiteX0" fmla="*/ 0 w 252900"/>
                  <a:gd name="connsiteY0" fmla="*/ 124731 h 124731"/>
                  <a:gd name="connsiteX1" fmla="*/ 8192 w 252900"/>
                  <a:gd name="connsiteY1" fmla="*/ 115206 h 124731"/>
                  <a:gd name="connsiteX2" fmla="*/ 32194 w 252900"/>
                  <a:gd name="connsiteY2" fmla="*/ 91489 h 124731"/>
                  <a:gd name="connsiteX3" fmla="*/ 120586 w 252900"/>
                  <a:gd name="connsiteY3" fmla="*/ 23671 h 124731"/>
                  <a:gd name="connsiteX4" fmla="*/ 177736 w 252900"/>
                  <a:gd name="connsiteY4" fmla="*/ 1478 h 124731"/>
                  <a:gd name="connsiteX5" fmla="*/ 227552 w 252900"/>
                  <a:gd name="connsiteY5" fmla="*/ 8907 h 124731"/>
                  <a:gd name="connsiteX6" fmla="*/ 250412 w 252900"/>
                  <a:gd name="connsiteY6" fmla="*/ 34053 h 124731"/>
                  <a:gd name="connsiteX7" fmla="*/ 252793 w 252900"/>
                  <a:gd name="connsiteY7" fmla="*/ 43578 h 124731"/>
                  <a:gd name="connsiteX8" fmla="*/ 252793 w 252900"/>
                  <a:gd name="connsiteY8" fmla="*/ 46817 h 124731"/>
                  <a:gd name="connsiteX9" fmla="*/ 248507 w 252900"/>
                  <a:gd name="connsiteY9" fmla="*/ 35292 h 124731"/>
                  <a:gd name="connsiteX10" fmla="*/ 225742 w 252900"/>
                  <a:gd name="connsiteY10" fmla="*/ 12432 h 124731"/>
                  <a:gd name="connsiteX11" fmla="*/ 178117 w 252900"/>
                  <a:gd name="connsiteY11" fmla="*/ 6431 h 124731"/>
                  <a:gd name="connsiteX12" fmla="*/ 122206 w 252900"/>
                  <a:gd name="connsiteY12" fmla="*/ 28529 h 124731"/>
                  <a:gd name="connsiteX13" fmla="*/ 33814 w 252900"/>
                  <a:gd name="connsiteY13" fmla="*/ 94537 h 124731"/>
                  <a:gd name="connsiteX14" fmla="*/ 8763 w 252900"/>
                  <a:gd name="connsiteY14" fmla="*/ 117016 h 124731"/>
                  <a:gd name="connsiteX15" fmla="*/ 0 w 252900"/>
                  <a:gd name="connsiteY15" fmla="*/ 124731 h 12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2900" h="124731">
                    <a:moveTo>
                      <a:pt x="0" y="124731"/>
                    </a:moveTo>
                    <a:cubicBezTo>
                      <a:pt x="2343" y="121236"/>
                      <a:pt x="5086" y="118045"/>
                      <a:pt x="8192" y="115206"/>
                    </a:cubicBezTo>
                    <a:cubicBezTo>
                      <a:pt x="13716" y="109491"/>
                      <a:pt x="21907" y="101300"/>
                      <a:pt x="32194" y="91489"/>
                    </a:cubicBezTo>
                    <a:cubicBezTo>
                      <a:pt x="58760" y="65334"/>
                      <a:pt x="88449" y="42559"/>
                      <a:pt x="120586" y="23671"/>
                    </a:cubicBezTo>
                    <a:cubicBezTo>
                      <a:pt x="138284" y="13184"/>
                      <a:pt x="157601" y="5688"/>
                      <a:pt x="177736" y="1478"/>
                    </a:cubicBezTo>
                    <a:cubicBezTo>
                      <a:pt x="194700" y="-1970"/>
                      <a:pt x="212331" y="659"/>
                      <a:pt x="227552" y="8907"/>
                    </a:cubicBezTo>
                    <a:cubicBezTo>
                      <a:pt x="237658" y="14632"/>
                      <a:pt x="245678" y="23443"/>
                      <a:pt x="250412" y="34053"/>
                    </a:cubicBezTo>
                    <a:cubicBezTo>
                      <a:pt x="251584" y="37121"/>
                      <a:pt x="252384" y="40321"/>
                      <a:pt x="252793" y="43578"/>
                    </a:cubicBezTo>
                    <a:cubicBezTo>
                      <a:pt x="252936" y="44655"/>
                      <a:pt x="252936" y="45741"/>
                      <a:pt x="252793" y="46817"/>
                    </a:cubicBezTo>
                    <a:cubicBezTo>
                      <a:pt x="252222" y="46817"/>
                      <a:pt x="251841" y="42435"/>
                      <a:pt x="248507" y="35292"/>
                    </a:cubicBezTo>
                    <a:cubicBezTo>
                      <a:pt x="243383" y="25567"/>
                      <a:pt x="235448" y="17594"/>
                      <a:pt x="225742" y="12432"/>
                    </a:cubicBezTo>
                    <a:cubicBezTo>
                      <a:pt x="211036" y="5002"/>
                      <a:pt x="194205" y="2878"/>
                      <a:pt x="178117" y="6431"/>
                    </a:cubicBezTo>
                    <a:cubicBezTo>
                      <a:pt x="158420" y="10765"/>
                      <a:pt x="139541" y="18232"/>
                      <a:pt x="122206" y="28529"/>
                    </a:cubicBezTo>
                    <a:cubicBezTo>
                      <a:pt x="90440" y="47274"/>
                      <a:pt x="60807" y="69401"/>
                      <a:pt x="33814" y="94537"/>
                    </a:cubicBezTo>
                    <a:lnTo>
                      <a:pt x="8763" y="117016"/>
                    </a:lnTo>
                    <a:cubicBezTo>
                      <a:pt x="6077" y="119845"/>
                      <a:pt x="3143" y="122426"/>
                      <a:pt x="0" y="12473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A6B3B8F0-0A9C-458C-8992-02B48E8B7CB9}"/>
                  </a:ext>
                </a:extLst>
              </p:cNvPr>
              <p:cNvSpPr/>
              <p:nvPr/>
            </p:nvSpPr>
            <p:spPr>
              <a:xfrm>
                <a:off x="2138080" y="2937082"/>
                <a:ext cx="89919" cy="89920"/>
              </a:xfrm>
              <a:custGeom>
                <a:avLst/>
                <a:gdLst>
                  <a:gd name="connsiteX0" fmla="*/ 89894 w 89919"/>
                  <a:gd name="connsiteY0" fmla="*/ 43461 h 89920"/>
                  <a:gd name="connsiteX1" fmla="*/ 46460 w 89919"/>
                  <a:gd name="connsiteY1" fmla="*/ 89896 h 89920"/>
                  <a:gd name="connsiteX2" fmla="*/ 26 w 89919"/>
                  <a:gd name="connsiteY2" fmla="*/ 46452 h 89920"/>
                  <a:gd name="connsiteX3" fmla="*/ 43412 w 89919"/>
                  <a:gd name="connsiteY3" fmla="*/ 27 h 89920"/>
                  <a:gd name="connsiteX4" fmla="*/ 89894 w 89919"/>
                  <a:gd name="connsiteY4" fmla="*/ 43414 h 89920"/>
                  <a:gd name="connsiteX5" fmla="*/ 89894 w 89919"/>
                  <a:gd name="connsiteY5" fmla="*/ 43461 h 89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919" h="89920">
                    <a:moveTo>
                      <a:pt x="89894" y="43461"/>
                    </a:moveTo>
                    <a:cubicBezTo>
                      <a:pt x="90723" y="68274"/>
                      <a:pt x="71273" y="89067"/>
                      <a:pt x="46460" y="89896"/>
                    </a:cubicBezTo>
                    <a:cubicBezTo>
                      <a:pt x="21638" y="90715"/>
                      <a:pt x="854" y="71274"/>
                      <a:pt x="26" y="46452"/>
                    </a:cubicBezTo>
                    <a:cubicBezTo>
                      <a:pt x="-803" y="21659"/>
                      <a:pt x="18618" y="885"/>
                      <a:pt x="43412" y="27"/>
                    </a:cubicBezTo>
                    <a:cubicBezTo>
                      <a:pt x="68225" y="-830"/>
                      <a:pt x="89037" y="18592"/>
                      <a:pt x="89894" y="43414"/>
                    </a:cubicBezTo>
                    <a:cubicBezTo>
                      <a:pt x="89894" y="43423"/>
                      <a:pt x="89894" y="43442"/>
                      <a:pt x="89894" y="43461"/>
                    </a:cubicBezTo>
                    <a:close/>
                  </a:path>
                </a:pathLst>
              </a:custGeom>
              <a:solidFill>
                <a:srgbClr val="455A6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C566B1C7-A260-4012-8470-1A98945C651C}"/>
                  </a:ext>
                </a:extLst>
              </p:cNvPr>
              <p:cNvSpPr/>
              <p:nvPr/>
            </p:nvSpPr>
            <p:spPr>
              <a:xfrm>
                <a:off x="1133711" y="4266895"/>
                <a:ext cx="268921" cy="490632"/>
              </a:xfrm>
              <a:custGeom>
                <a:avLst/>
                <a:gdLst>
                  <a:gd name="connsiteX0" fmla="*/ 268921 w 268921"/>
                  <a:gd name="connsiteY0" fmla="*/ 0 h 490632"/>
                  <a:gd name="connsiteX1" fmla="*/ 110616 w 268921"/>
                  <a:gd name="connsiteY1" fmla="*/ 111538 h 490632"/>
                  <a:gd name="connsiteX2" fmla="*/ 39655 w 268921"/>
                  <a:gd name="connsiteY2" fmla="*/ 490633 h 490632"/>
                  <a:gd name="connsiteX3" fmla="*/ 268921 w 268921"/>
                  <a:gd name="connsiteY3" fmla="*/ 363474 h 490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8921" h="490632">
                    <a:moveTo>
                      <a:pt x="268921" y="0"/>
                    </a:moveTo>
                    <a:cubicBezTo>
                      <a:pt x="258158" y="7144"/>
                      <a:pt x="139381" y="35909"/>
                      <a:pt x="110616" y="111538"/>
                    </a:cubicBezTo>
                    <a:cubicBezTo>
                      <a:pt x="81850" y="187166"/>
                      <a:pt x="-70931" y="340709"/>
                      <a:pt x="39655" y="490633"/>
                    </a:cubicBezTo>
                    <a:lnTo>
                      <a:pt x="268921" y="363474"/>
                    </a:lnTo>
                    <a:close/>
                  </a:path>
                </a:pathLst>
              </a:custGeom>
              <a:solidFill>
                <a:srgbClr val="FF725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EF7FB215-6EC1-47DC-B815-A89D7CE79B13}"/>
                  </a:ext>
                </a:extLst>
              </p:cNvPr>
              <p:cNvSpPr/>
              <p:nvPr/>
            </p:nvSpPr>
            <p:spPr>
              <a:xfrm>
                <a:off x="1133739" y="4266419"/>
                <a:ext cx="268893" cy="491490"/>
              </a:xfrm>
              <a:custGeom>
                <a:avLst/>
                <a:gdLst>
                  <a:gd name="connsiteX0" fmla="*/ 39722 w 268893"/>
                  <a:gd name="connsiteY0" fmla="*/ 491490 h 491490"/>
                  <a:gd name="connsiteX1" fmla="*/ 39722 w 268893"/>
                  <a:gd name="connsiteY1" fmla="*/ 491490 h 491490"/>
                  <a:gd name="connsiteX2" fmla="*/ 2194 w 268893"/>
                  <a:gd name="connsiteY2" fmla="*/ 404527 h 491490"/>
                  <a:gd name="connsiteX3" fmla="*/ 7147 w 268893"/>
                  <a:gd name="connsiteY3" fmla="*/ 320326 h 491490"/>
                  <a:gd name="connsiteX4" fmla="*/ 76584 w 268893"/>
                  <a:gd name="connsiteY4" fmla="*/ 174403 h 491490"/>
                  <a:gd name="connsiteX5" fmla="*/ 110684 w 268893"/>
                  <a:gd name="connsiteY5" fmla="*/ 112109 h 491490"/>
                  <a:gd name="connsiteX6" fmla="*/ 253559 w 268893"/>
                  <a:gd name="connsiteY6" fmla="*/ 6668 h 491490"/>
                  <a:gd name="connsiteX7" fmla="*/ 268894 w 268893"/>
                  <a:gd name="connsiteY7" fmla="*/ 0 h 491490"/>
                  <a:gd name="connsiteX8" fmla="*/ 268894 w 268893"/>
                  <a:gd name="connsiteY8" fmla="*/ 0 h 491490"/>
                  <a:gd name="connsiteX9" fmla="*/ 268894 w 268893"/>
                  <a:gd name="connsiteY9" fmla="*/ 364046 h 491490"/>
                  <a:gd name="connsiteX10" fmla="*/ 268894 w 268893"/>
                  <a:gd name="connsiteY10" fmla="*/ 364046 h 491490"/>
                  <a:gd name="connsiteX11" fmla="*/ 268894 w 268893"/>
                  <a:gd name="connsiteY11" fmla="*/ 857 h 491490"/>
                  <a:gd name="connsiteX12" fmla="*/ 253654 w 268893"/>
                  <a:gd name="connsiteY12" fmla="*/ 6953 h 491490"/>
                  <a:gd name="connsiteX13" fmla="*/ 110779 w 268893"/>
                  <a:gd name="connsiteY13" fmla="*/ 111728 h 491490"/>
                  <a:gd name="connsiteX14" fmla="*/ 76679 w 268893"/>
                  <a:gd name="connsiteY14" fmla="*/ 174117 h 491490"/>
                  <a:gd name="connsiteX15" fmla="*/ 7337 w 268893"/>
                  <a:gd name="connsiteY15" fmla="*/ 319945 h 491490"/>
                  <a:gd name="connsiteX16" fmla="*/ 2384 w 268893"/>
                  <a:gd name="connsiteY16" fmla="*/ 403860 h 491490"/>
                  <a:gd name="connsiteX17" fmla="*/ 39627 w 268893"/>
                  <a:gd name="connsiteY17" fmla="*/ 490442 h 491490"/>
                  <a:gd name="connsiteX18" fmla="*/ 268227 w 268893"/>
                  <a:gd name="connsiteY18" fmla="*/ 363379 h 491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8893" h="491490">
                    <a:moveTo>
                      <a:pt x="39722" y="491490"/>
                    </a:moveTo>
                    <a:lnTo>
                      <a:pt x="39722" y="491490"/>
                    </a:lnTo>
                    <a:cubicBezTo>
                      <a:pt x="20339" y="465972"/>
                      <a:pt x="7461" y="436131"/>
                      <a:pt x="2194" y="404527"/>
                    </a:cubicBezTo>
                    <a:cubicBezTo>
                      <a:pt x="-1921" y="376419"/>
                      <a:pt x="-235" y="347758"/>
                      <a:pt x="7147" y="320326"/>
                    </a:cubicBezTo>
                    <a:cubicBezTo>
                      <a:pt x="20768" y="265938"/>
                      <a:pt x="51724" y="215551"/>
                      <a:pt x="76584" y="174403"/>
                    </a:cubicBezTo>
                    <a:cubicBezTo>
                      <a:pt x="89595" y="154581"/>
                      <a:pt x="101006" y="133750"/>
                      <a:pt x="110684" y="112109"/>
                    </a:cubicBezTo>
                    <a:cubicBezTo>
                      <a:pt x="134210" y="50292"/>
                      <a:pt x="217840" y="19717"/>
                      <a:pt x="253559" y="6668"/>
                    </a:cubicBezTo>
                    <a:cubicBezTo>
                      <a:pt x="258816" y="4801"/>
                      <a:pt x="263941" y="2581"/>
                      <a:pt x="268894" y="0"/>
                    </a:cubicBezTo>
                    <a:lnTo>
                      <a:pt x="268894" y="0"/>
                    </a:lnTo>
                    <a:lnTo>
                      <a:pt x="268894" y="364046"/>
                    </a:lnTo>
                    <a:lnTo>
                      <a:pt x="268894" y="364046"/>
                    </a:lnTo>
                    <a:close/>
                    <a:moveTo>
                      <a:pt x="268894" y="857"/>
                    </a:moveTo>
                    <a:cubicBezTo>
                      <a:pt x="263931" y="3172"/>
                      <a:pt x="258845" y="5210"/>
                      <a:pt x="253654" y="6953"/>
                    </a:cubicBezTo>
                    <a:cubicBezTo>
                      <a:pt x="218030" y="19907"/>
                      <a:pt x="134496" y="50482"/>
                      <a:pt x="110779" y="111728"/>
                    </a:cubicBezTo>
                    <a:cubicBezTo>
                      <a:pt x="101140" y="133426"/>
                      <a:pt x="89738" y="154286"/>
                      <a:pt x="76679" y="174117"/>
                    </a:cubicBezTo>
                    <a:cubicBezTo>
                      <a:pt x="51819" y="214884"/>
                      <a:pt x="20863" y="265557"/>
                      <a:pt x="7337" y="319945"/>
                    </a:cubicBezTo>
                    <a:cubicBezTo>
                      <a:pt x="-54" y="347281"/>
                      <a:pt x="-1740" y="375847"/>
                      <a:pt x="2384" y="403860"/>
                    </a:cubicBezTo>
                    <a:cubicBezTo>
                      <a:pt x="7633" y="435302"/>
                      <a:pt x="20415" y="465011"/>
                      <a:pt x="39627" y="490442"/>
                    </a:cubicBezTo>
                    <a:lnTo>
                      <a:pt x="268227" y="363379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EA3E3323-F648-4E93-BB92-B8B87CA5FA84}"/>
                  </a:ext>
                </a:extLst>
              </p:cNvPr>
              <p:cNvSpPr/>
              <p:nvPr/>
            </p:nvSpPr>
            <p:spPr>
              <a:xfrm>
                <a:off x="1667428" y="3184093"/>
                <a:ext cx="507587" cy="456342"/>
              </a:xfrm>
              <a:custGeom>
                <a:avLst/>
                <a:gdLst>
                  <a:gd name="connsiteX0" fmla="*/ 0 w 507587"/>
                  <a:gd name="connsiteY0" fmla="*/ 456343 h 456342"/>
                  <a:gd name="connsiteX1" fmla="*/ 18764 w 507587"/>
                  <a:gd name="connsiteY1" fmla="*/ 196977 h 456342"/>
                  <a:gd name="connsiteX2" fmla="*/ 490823 w 507587"/>
                  <a:gd name="connsiteY2" fmla="*/ 0 h 456342"/>
                  <a:gd name="connsiteX3" fmla="*/ 507587 w 507587"/>
                  <a:gd name="connsiteY3" fmla="*/ 96774 h 456342"/>
                  <a:gd name="connsiteX4" fmla="*/ 186023 w 507587"/>
                  <a:gd name="connsiteY4" fmla="*/ 260414 h 456342"/>
                  <a:gd name="connsiteX5" fmla="*/ 0 w 507587"/>
                  <a:gd name="connsiteY5" fmla="*/ 456343 h 45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587" h="456342">
                    <a:moveTo>
                      <a:pt x="0" y="456343"/>
                    </a:moveTo>
                    <a:lnTo>
                      <a:pt x="18764" y="196977"/>
                    </a:lnTo>
                    <a:lnTo>
                      <a:pt x="490823" y="0"/>
                    </a:lnTo>
                    <a:lnTo>
                      <a:pt x="507587" y="96774"/>
                    </a:lnTo>
                    <a:lnTo>
                      <a:pt x="186023" y="260414"/>
                    </a:lnTo>
                    <a:lnTo>
                      <a:pt x="0" y="456343"/>
                    </a:lnTo>
                    <a:close/>
                  </a:path>
                </a:pathLst>
              </a:custGeom>
              <a:solidFill>
                <a:srgbClr val="E0E0E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5B420E07-A6BB-46EF-A402-E9BB6801D8EB}"/>
                  </a:ext>
                </a:extLst>
              </p:cNvPr>
              <p:cNvSpPr/>
              <p:nvPr/>
            </p:nvSpPr>
            <p:spPr>
              <a:xfrm>
                <a:off x="1163097" y="3223812"/>
                <a:ext cx="1274041" cy="2480881"/>
              </a:xfrm>
              <a:custGeom>
                <a:avLst/>
                <a:gdLst>
                  <a:gd name="connsiteX0" fmla="*/ 1011917 w 1274041"/>
                  <a:gd name="connsiteY0" fmla="*/ 0 h 2480881"/>
                  <a:gd name="connsiteX1" fmla="*/ 594436 w 1274041"/>
                  <a:gd name="connsiteY1" fmla="*/ 231267 h 2480881"/>
                  <a:gd name="connsiteX2" fmla="*/ 196101 w 1274041"/>
                  <a:gd name="connsiteY2" fmla="*/ 877919 h 2480881"/>
                  <a:gd name="connsiteX3" fmla="*/ 174479 w 1274041"/>
                  <a:gd name="connsiteY3" fmla="*/ 1313022 h 2480881"/>
                  <a:gd name="connsiteX4" fmla="*/ 173813 w 1274041"/>
                  <a:gd name="connsiteY4" fmla="*/ 1650873 h 2480881"/>
                  <a:gd name="connsiteX5" fmla="*/ 4553 w 1274041"/>
                  <a:gd name="connsiteY5" fmla="*/ 2480882 h 2480881"/>
                  <a:gd name="connsiteX6" fmla="*/ 1184034 w 1274041"/>
                  <a:gd name="connsiteY6" fmla="*/ 2480882 h 2480881"/>
                  <a:gd name="connsiteX7" fmla="*/ 1138409 w 1274041"/>
                  <a:gd name="connsiteY7" fmla="*/ 1913954 h 2480881"/>
                  <a:gd name="connsiteX8" fmla="*/ 1055066 w 1274041"/>
                  <a:gd name="connsiteY8" fmla="*/ 1787652 h 2480881"/>
                  <a:gd name="connsiteX9" fmla="*/ 1098119 w 1274041"/>
                  <a:gd name="connsiteY9" fmla="*/ 1685544 h 2480881"/>
                  <a:gd name="connsiteX10" fmla="*/ 1063162 w 1274041"/>
                  <a:gd name="connsiteY10" fmla="*/ 1596962 h 2480881"/>
                  <a:gd name="connsiteX11" fmla="*/ 1270045 w 1274041"/>
                  <a:gd name="connsiteY11" fmla="*/ 952119 h 2480881"/>
                  <a:gd name="connsiteX12" fmla="*/ 1235088 w 1274041"/>
                  <a:gd name="connsiteY12" fmla="*/ 409194 h 2480881"/>
                  <a:gd name="connsiteX13" fmla="*/ 1096785 w 1274041"/>
                  <a:gd name="connsiteY13" fmla="*/ 151829 h 2480881"/>
                  <a:gd name="connsiteX14" fmla="*/ 1096785 w 1274041"/>
                  <a:gd name="connsiteY14" fmla="*/ 151829 h 2480881"/>
                  <a:gd name="connsiteX15" fmla="*/ 1036682 w 1274041"/>
                  <a:gd name="connsiteY15" fmla="*/ 102584 h 2480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74041" h="2480881">
                    <a:moveTo>
                      <a:pt x="1011917" y="0"/>
                    </a:moveTo>
                    <a:cubicBezTo>
                      <a:pt x="1011917" y="0"/>
                      <a:pt x="722738" y="116967"/>
                      <a:pt x="594436" y="231267"/>
                    </a:cubicBezTo>
                    <a:cubicBezTo>
                      <a:pt x="473850" y="338709"/>
                      <a:pt x="222961" y="762381"/>
                      <a:pt x="196101" y="877919"/>
                    </a:cubicBezTo>
                    <a:cubicBezTo>
                      <a:pt x="169240" y="993458"/>
                      <a:pt x="174479" y="1313022"/>
                      <a:pt x="174479" y="1313022"/>
                    </a:cubicBezTo>
                    <a:cubicBezTo>
                      <a:pt x="174479" y="1313022"/>
                      <a:pt x="173813" y="1642777"/>
                      <a:pt x="173813" y="1650873"/>
                    </a:cubicBezTo>
                    <a:cubicBezTo>
                      <a:pt x="173813" y="1658969"/>
                      <a:pt x="-32975" y="2190845"/>
                      <a:pt x="4553" y="2480882"/>
                    </a:cubicBezTo>
                    <a:lnTo>
                      <a:pt x="1184034" y="2480882"/>
                    </a:lnTo>
                    <a:cubicBezTo>
                      <a:pt x="1184034" y="2480882"/>
                      <a:pt x="1218991" y="2072450"/>
                      <a:pt x="1138409" y="1913954"/>
                    </a:cubicBezTo>
                    <a:cubicBezTo>
                      <a:pt x="1057828" y="1755458"/>
                      <a:pt x="1055066" y="1787652"/>
                      <a:pt x="1055066" y="1787652"/>
                    </a:cubicBezTo>
                    <a:cubicBezTo>
                      <a:pt x="1055066" y="1787652"/>
                      <a:pt x="1103453" y="1733931"/>
                      <a:pt x="1098119" y="1685544"/>
                    </a:cubicBezTo>
                    <a:cubicBezTo>
                      <a:pt x="1093423" y="1653721"/>
                      <a:pt x="1081459" y="1623412"/>
                      <a:pt x="1063162" y="1596962"/>
                    </a:cubicBezTo>
                    <a:lnTo>
                      <a:pt x="1270045" y="952119"/>
                    </a:lnTo>
                    <a:cubicBezTo>
                      <a:pt x="1270045" y="952119"/>
                      <a:pt x="1291476" y="627031"/>
                      <a:pt x="1235088" y="409194"/>
                    </a:cubicBezTo>
                    <a:cubicBezTo>
                      <a:pt x="1182510" y="205550"/>
                      <a:pt x="1162508" y="217075"/>
                      <a:pt x="1096785" y="151829"/>
                    </a:cubicBezTo>
                    <a:cubicBezTo>
                      <a:pt x="1095356" y="150495"/>
                      <a:pt x="1097642" y="153638"/>
                      <a:pt x="1096785" y="151829"/>
                    </a:cubicBezTo>
                    <a:lnTo>
                      <a:pt x="1036682" y="102584"/>
                    </a:lnTo>
                    <a:close/>
                  </a:path>
                </a:pathLst>
              </a:custGeom>
              <a:solidFill>
                <a:srgbClr val="FF725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02E917D7-4A19-4A51-A024-A70953C64F5A}"/>
                  </a:ext>
                </a:extLst>
              </p:cNvPr>
              <p:cNvSpPr/>
              <p:nvPr/>
            </p:nvSpPr>
            <p:spPr>
              <a:xfrm>
                <a:off x="1402529" y="5016036"/>
                <a:ext cx="659899" cy="239267"/>
              </a:xfrm>
              <a:custGeom>
                <a:avLst/>
                <a:gdLst>
                  <a:gd name="connsiteX0" fmla="*/ 103 w 659899"/>
                  <a:gd name="connsiteY0" fmla="*/ 178975 h 239267"/>
                  <a:gd name="connsiteX1" fmla="*/ 89448 w 659899"/>
                  <a:gd name="connsiteY1" fmla="*/ 0 h 239267"/>
                  <a:gd name="connsiteX2" fmla="*/ 622848 w 659899"/>
                  <a:gd name="connsiteY2" fmla="*/ 89535 h 239267"/>
                  <a:gd name="connsiteX3" fmla="*/ 659900 w 659899"/>
                  <a:gd name="connsiteY3" fmla="*/ 239268 h 239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9899" h="239267">
                    <a:moveTo>
                      <a:pt x="103" y="178975"/>
                    </a:moveTo>
                    <a:cubicBezTo>
                      <a:pt x="-3517" y="165068"/>
                      <a:pt x="89448" y="0"/>
                      <a:pt x="89448" y="0"/>
                    </a:cubicBezTo>
                    <a:lnTo>
                      <a:pt x="622848" y="89535"/>
                    </a:lnTo>
                    <a:lnTo>
                      <a:pt x="659900" y="239268"/>
                    </a:lnTo>
                    <a:close/>
                  </a:path>
                </a:pathLst>
              </a:custGeom>
              <a:solidFill>
                <a:srgbClr val="FF725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06BBB009-7713-47D3-A461-1DDB45CF9DDA}"/>
                  </a:ext>
                </a:extLst>
              </p:cNvPr>
              <p:cNvSpPr/>
              <p:nvPr/>
            </p:nvSpPr>
            <p:spPr>
              <a:xfrm>
                <a:off x="1402474" y="5014131"/>
                <a:ext cx="662813" cy="243363"/>
              </a:xfrm>
              <a:custGeom>
                <a:avLst/>
                <a:gdLst>
                  <a:gd name="connsiteX0" fmla="*/ 159 w 662813"/>
                  <a:gd name="connsiteY0" fmla="*/ 180880 h 243363"/>
                  <a:gd name="connsiteX1" fmla="*/ 3683 w 662813"/>
                  <a:gd name="connsiteY1" fmla="*/ 180880 h 243363"/>
                  <a:gd name="connsiteX2" fmla="*/ 13208 w 662813"/>
                  <a:gd name="connsiteY2" fmla="*/ 181546 h 243363"/>
                  <a:gd name="connsiteX3" fmla="*/ 51308 w 662813"/>
                  <a:gd name="connsiteY3" fmla="*/ 184595 h 243363"/>
                  <a:gd name="connsiteX4" fmla="*/ 190659 w 662813"/>
                  <a:gd name="connsiteY4" fmla="*/ 196787 h 243363"/>
                  <a:gd name="connsiteX5" fmla="*/ 659956 w 662813"/>
                  <a:gd name="connsiteY5" fmla="*/ 238792 h 243363"/>
                  <a:gd name="connsiteX6" fmla="*/ 657289 w 662813"/>
                  <a:gd name="connsiteY6" fmla="*/ 241745 h 243363"/>
                  <a:gd name="connsiteX7" fmla="*/ 629285 w 662813"/>
                  <a:gd name="connsiteY7" fmla="*/ 128683 h 243363"/>
                  <a:gd name="connsiteX8" fmla="*/ 619760 w 662813"/>
                  <a:gd name="connsiteY8" fmla="*/ 92012 h 243363"/>
                  <a:gd name="connsiteX9" fmla="*/ 621760 w 662813"/>
                  <a:gd name="connsiteY9" fmla="*/ 93821 h 243363"/>
                  <a:gd name="connsiteX10" fmla="*/ 88837 w 662813"/>
                  <a:gd name="connsiteY10" fmla="*/ 3524 h 243363"/>
                  <a:gd name="connsiteX11" fmla="*/ 90551 w 662813"/>
                  <a:gd name="connsiteY11" fmla="*/ 2667 h 243363"/>
                  <a:gd name="connsiteX12" fmla="*/ 20447 w 662813"/>
                  <a:gd name="connsiteY12" fmla="*/ 132207 h 243363"/>
                  <a:gd name="connsiteX13" fmla="*/ 3588 w 662813"/>
                  <a:gd name="connsiteY13" fmla="*/ 167926 h 243363"/>
                  <a:gd name="connsiteX14" fmla="*/ 254 w 662813"/>
                  <a:gd name="connsiteY14" fmla="*/ 177451 h 243363"/>
                  <a:gd name="connsiteX15" fmla="*/ 254 w 662813"/>
                  <a:gd name="connsiteY15" fmla="*/ 180785 h 243363"/>
                  <a:gd name="connsiteX16" fmla="*/ 3207 w 662813"/>
                  <a:gd name="connsiteY16" fmla="*/ 167449 h 243363"/>
                  <a:gd name="connsiteX17" fmla="*/ 19304 w 662813"/>
                  <a:gd name="connsiteY17" fmla="*/ 131350 h 243363"/>
                  <a:gd name="connsiteX18" fmla="*/ 88170 w 662813"/>
                  <a:gd name="connsiteY18" fmla="*/ 953 h 243363"/>
                  <a:gd name="connsiteX19" fmla="*/ 88741 w 662813"/>
                  <a:gd name="connsiteY19" fmla="*/ 0 h 243363"/>
                  <a:gd name="connsiteX20" fmla="*/ 89884 w 662813"/>
                  <a:gd name="connsiteY20" fmla="*/ 0 h 243363"/>
                  <a:gd name="connsiteX21" fmla="*/ 623284 w 662813"/>
                  <a:gd name="connsiteY21" fmla="*/ 88678 h 243363"/>
                  <a:gd name="connsiteX22" fmla="*/ 624904 w 662813"/>
                  <a:gd name="connsiteY22" fmla="*/ 88678 h 243363"/>
                  <a:gd name="connsiteX23" fmla="*/ 624904 w 662813"/>
                  <a:gd name="connsiteY23" fmla="*/ 90202 h 243363"/>
                  <a:gd name="connsiteX24" fmla="*/ 633952 w 662813"/>
                  <a:gd name="connsiteY24" fmla="*/ 126873 h 243363"/>
                  <a:gd name="connsiteX25" fmla="*/ 661956 w 662813"/>
                  <a:gd name="connsiteY25" fmla="*/ 240030 h 243363"/>
                  <a:gd name="connsiteX26" fmla="*/ 662813 w 662813"/>
                  <a:gd name="connsiteY26" fmla="*/ 243364 h 243363"/>
                  <a:gd name="connsiteX27" fmla="*/ 659384 w 662813"/>
                  <a:gd name="connsiteY27" fmla="*/ 243364 h 243363"/>
                  <a:gd name="connsiteX28" fmla="*/ 188849 w 662813"/>
                  <a:gd name="connsiteY28" fmla="*/ 199358 h 243363"/>
                  <a:gd name="connsiteX29" fmla="*/ 50070 w 662813"/>
                  <a:gd name="connsiteY29" fmla="*/ 185928 h 243363"/>
                  <a:gd name="connsiteX30" fmla="*/ 12827 w 662813"/>
                  <a:gd name="connsiteY30" fmla="*/ 182118 h 243363"/>
                  <a:gd name="connsiteX31" fmla="*/ 3302 w 662813"/>
                  <a:gd name="connsiteY31" fmla="*/ 181070 h 243363"/>
                  <a:gd name="connsiteX32" fmla="*/ 159 w 662813"/>
                  <a:gd name="connsiteY32" fmla="*/ 180880 h 24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62813" h="243363">
                    <a:moveTo>
                      <a:pt x="159" y="180880"/>
                    </a:moveTo>
                    <a:lnTo>
                      <a:pt x="3683" y="180880"/>
                    </a:lnTo>
                    <a:lnTo>
                      <a:pt x="13208" y="181546"/>
                    </a:lnTo>
                    <a:lnTo>
                      <a:pt x="51308" y="184595"/>
                    </a:lnTo>
                    <a:lnTo>
                      <a:pt x="190659" y="196787"/>
                    </a:lnTo>
                    <a:lnTo>
                      <a:pt x="659956" y="238792"/>
                    </a:lnTo>
                    <a:lnTo>
                      <a:pt x="657289" y="241745"/>
                    </a:lnTo>
                    <a:cubicBezTo>
                      <a:pt x="648335" y="205454"/>
                      <a:pt x="638905" y="167354"/>
                      <a:pt x="629285" y="128683"/>
                    </a:cubicBezTo>
                    <a:cubicBezTo>
                      <a:pt x="626237" y="116300"/>
                      <a:pt x="623189" y="103918"/>
                      <a:pt x="619760" y="92012"/>
                    </a:cubicBezTo>
                    <a:lnTo>
                      <a:pt x="621760" y="93821"/>
                    </a:lnTo>
                    <a:lnTo>
                      <a:pt x="88837" y="3524"/>
                    </a:lnTo>
                    <a:lnTo>
                      <a:pt x="90551" y="2667"/>
                    </a:lnTo>
                    <a:cubicBezTo>
                      <a:pt x="59690" y="57340"/>
                      <a:pt x="35973" y="101537"/>
                      <a:pt x="20447" y="132207"/>
                    </a:cubicBezTo>
                    <a:cubicBezTo>
                      <a:pt x="12637" y="147542"/>
                      <a:pt x="7017" y="159639"/>
                      <a:pt x="3588" y="167926"/>
                    </a:cubicBezTo>
                    <a:cubicBezTo>
                      <a:pt x="2245" y="171012"/>
                      <a:pt x="1130" y="174203"/>
                      <a:pt x="254" y="177451"/>
                    </a:cubicBezTo>
                    <a:cubicBezTo>
                      <a:pt x="-317" y="179641"/>
                      <a:pt x="254" y="180689"/>
                      <a:pt x="254" y="180785"/>
                    </a:cubicBezTo>
                    <a:cubicBezTo>
                      <a:pt x="73" y="176155"/>
                      <a:pt x="1083" y="171564"/>
                      <a:pt x="3207" y="167449"/>
                    </a:cubicBezTo>
                    <a:cubicBezTo>
                      <a:pt x="6350" y="158972"/>
                      <a:pt x="11779" y="146876"/>
                      <a:pt x="19304" y="131350"/>
                    </a:cubicBezTo>
                    <a:cubicBezTo>
                      <a:pt x="34354" y="100298"/>
                      <a:pt x="57404" y="55912"/>
                      <a:pt x="88170" y="953"/>
                    </a:cubicBezTo>
                    <a:lnTo>
                      <a:pt x="88741" y="0"/>
                    </a:lnTo>
                    <a:lnTo>
                      <a:pt x="89884" y="0"/>
                    </a:lnTo>
                    <a:lnTo>
                      <a:pt x="623284" y="88678"/>
                    </a:lnTo>
                    <a:lnTo>
                      <a:pt x="624904" y="88678"/>
                    </a:lnTo>
                    <a:lnTo>
                      <a:pt x="624904" y="90202"/>
                    </a:lnTo>
                    <a:lnTo>
                      <a:pt x="633952" y="126873"/>
                    </a:lnTo>
                    <a:cubicBezTo>
                      <a:pt x="643477" y="165640"/>
                      <a:pt x="653002" y="203740"/>
                      <a:pt x="661956" y="240030"/>
                    </a:cubicBezTo>
                    <a:lnTo>
                      <a:pt x="662813" y="243364"/>
                    </a:lnTo>
                    <a:lnTo>
                      <a:pt x="659384" y="243364"/>
                    </a:lnTo>
                    <a:lnTo>
                      <a:pt x="188849" y="199358"/>
                    </a:lnTo>
                    <a:lnTo>
                      <a:pt x="50070" y="185928"/>
                    </a:lnTo>
                    <a:lnTo>
                      <a:pt x="12827" y="182118"/>
                    </a:lnTo>
                    <a:lnTo>
                      <a:pt x="3302" y="181070"/>
                    </a:lnTo>
                    <a:cubicBezTo>
                      <a:pt x="2254" y="181147"/>
                      <a:pt x="1197" y="181080"/>
                      <a:pt x="159" y="18088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D7FA809F-C22F-40EB-B095-9FD98AD7D662}"/>
                  </a:ext>
                </a:extLst>
              </p:cNvPr>
              <p:cNvSpPr/>
              <p:nvPr/>
            </p:nvSpPr>
            <p:spPr>
              <a:xfrm>
                <a:off x="1288333" y="3994480"/>
                <a:ext cx="994791" cy="1081740"/>
              </a:xfrm>
              <a:custGeom>
                <a:avLst/>
                <a:gdLst>
                  <a:gd name="connsiteX0" fmla="*/ 0 w 994791"/>
                  <a:gd name="connsiteY0" fmla="*/ 944404 h 1081740"/>
                  <a:gd name="connsiteX1" fmla="*/ 11906 w 994791"/>
                  <a:gd name="connsiteY1" fmla="*/ 1040987 h 1081740"/>
                  <a:gd name="connsiteX2" fmla="*/ 308038 w 994791"/>
                  <a:gd name="connsiteY2" fmla="*/ 1038892 h 1081740"/>
                  <a:gd name="connsiteX3" fmla="*/ 528733 w 994791"/>
                  <a:gd name="connsiteY3" fmla="*/ 821055 h 1081740"/>
                  <a:gd name="connsiteX4" fmla="*/ 994791 w 994791"/>
                  <a:gd name="connsiteY4" fmla="*/ 0 h 1081740"/>
                  <a:gd name="connsiteX5" fmla="*/ 0 w 994791"/>
                  <a:gd name="connsiteY5" fmla="*/ 944404 h 108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4791" h="1081740">
                    <a:moveTo>
                      <a:pt x="0" y="944404"/>
                    </a:moveTo>
                    <a:lnTo>
                      <a:pt x="11906" y="1040987"/>
                    </a:lnTo>
                    <a:cubicBezTo>
                      <a:pt x="96869" y="1101185"/>
                      <a:pt x="217075" y="1089755"/>
                      <a:pt x="308038" y="1038892"/>
                    </a:cubicBezTo>
                    <a:cubicBezTo>
                      <a:pt x="399002" y="988028"/>
                      <a:pt x="466439" y="904494"/>
                      <a:pt x="528733" y="821055"/>
                    </a:cubicBezTo>
                    <a:cubicBezTo>
                      <a:pt x="717804" y="568166"/>
                      <a:pt x="882491" y="295084"/>
                      <a:pt x="994791" y="0"/>
                    </a:cubicBezTo>
                    <a:cubicBezTo>
                      <a:pt x="701897" y="351758"/>
                      <a:pt x="295942" y="595027"/>
                      <a:pt x="0" y="944404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A75E439D-E21C-4C4D-BB70-DA018330FCC3}"/>
                  </a:ext>
                </a:extLst>
              </p:cNvPr>
              <p:cNvSpPr/>
              <p:nvPr/>
            </p:nvSpPr>
            <p:spPr>
              <a:xfrm>
                <a:off x="1165847" y="3481177"/>
                <a:ext cx="1190454" cy="1571008"/>
              </a:xfrm>
              <a:custGeom>
                <a:avLst/>
                <a:gdLst>
                  <a:gd name="connsiteX0" fmla="*/ 1074985 w 1190454"/>
                  <a:gd name="connsiteY0" fmla="*/ 15526 h 1571008"/>
                  <a:gd name="connsiteX1" fmla="*/ 1106989 w 1190454"/>
                  <a:gd name="connsiteY1" fmla="*/ 553879 h 1571008"/>
                  <a:gd name="connsiteX2" fmla="*/ 326511 w 1190454"/>
                  <a:gd name="connsiteY2" fmla="*/ 1534954 h 1571008"/>
                  <a:gd name="connsiteX3" fmla="*/ 23711 w 1190454"/>
                  <a:gd name="connsiteY3" fmla="*/ 1458182 h 1571008"/>
                  <a:gd name="connsiteX4" fmla="*/ 57811 w 1190454"/>
                  <a:gd name="connsiteY4" fmla="*/ 1176719 h 1571008"/>
                  <a:gd name="connsiteX5" fmla="*/ 509962 w 1190454"/>
                  <a:gd name="connsiteY5" fmla="*/ 413195 h 1571008"/>
                  <a:gd name="connsiteX6" fmla="*/ 751897 w 1190454"/>
                  <a:gd name="connsiteY6" fmla="*/ 0 h 1571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90454" h="1571008">
                    <a:moveTo>
                      <a:pt x="1074985" y="15526"/>
                    </a:moveTo>
                    <a:cubicBezTo>
                      <a:pt x="1173950" y="94298"/>
                      <a:pt x="1260247" y="340805"/>
                      <a:pt x="1106989" y="553879"/>
                    </a:cubicBezTo>
                    <a:cubicBezTo>
                      <a:pt x="1106989" y="553879"/>
                      <a:pt x="437382" y="1462373"/>
                      <a:pt x="326511" y="1534954"/>
                    </a:cubicBezTo>
                    <a:cubicBezTo>
                      <a:pt x="215640" y="1607534"/>
                      <a:pt x="66383" y="1564767"/>
                      <a:pt x="23711" y="1458182"/>
                    </a:cubicBezTo>
                    <a:cubicBezTo>
                      <a:pt x="-18961" y="1351598"/>
                      <a:pt x="-1911" y="1249204"/>
                      <a:pt x="57811" y="1176719"/>
                    </a:cubicBezTo>
                    <a:cubicBezTo>
                      <a:pt x="117532" y="1104233"/>
                      <a:pt x="509962" y="413195"/>
                      <a:pt x="509962" y="413195"/>
                    </a:cubicBezTo>
                    <a:cubicBezTo>
                      <a:pt x="509962" y="413195"/>
                      <a:pt x="599402" y="92964"/>
                      <a:pt x="751897" y="0"/>
                    </a:cubicBezTo>
                  </a:path>
                </a:pathLst>
              </a:custGeom>
              <a:solidFill>
                <a:srgbClr val="FF725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5B4E28FD-0315-4B58-849F-90D77DC6E291}"/>
                  </a:ext>
                </a:extLst>
              </p:cNvPr>
              <p:cNvSpPr/>
              <p:nvPr/>
            </p:nvSpPr>
            <p:spPr>
              <a:xfrm>
                <a:off x="1163108" y="3481082"/>
                <a:ext cx="1194500" cy="1573847"/>
              </a:xfrm>
              <a:custGeom>
                <a:avLst/>
                <a:gdLst>
                  <a:gd name="connsiteX0" fmla="*/ 754446 w 1194500"/>
                  <a:gd name="connsiteY0" fmla="*/ 0 h 1573847"/>
                  <a:gd name="connsiteX1" fmla="*/ 747588 w 1194500"/>
                  <a:gd name="connsiteY1" fmla="*/ 4858 h 1573847"/>
                  <a:gd name="connsiteX2" fmla="*/ 727776 w 1194500"/>
                  <a:gd name="connsiteY2" fmla="*/ 19621 h 1573847"/>
                  <a:gd name="connsiteX3" fmla="*/ 663197 w 1194500"/>
                  <a:gd name="connsiteY3" fmla="*/ 90106 h 1573847"/>
                  <a:gd name="connsiteX4" fmla="*/ 514035 w 1194500"/>
                  <a:gd name="connsiteY4" fmla="*/ 413957 h 1573847"/>
                  <a:gd name="connsiteX5" fmla="*/ 514035 w 1194500"/>
                  <a:gd name="connsiteY5" fmla="*/ 413957 h 1573847"/>
                  <a:gd name="connsiteX6" fmla="*/ 195329 w 1194500"/>
                  <a:gd name="connsiteY6" fmla="*/ 966407 h 1573847"/>
                  <a:gd name="connsiteX7" fmla="*/ 96650 w 1194500"/>
                  <a:gd name="connsiteY7" fmla="*/ 1128332 h 1573847"/>
                  <a:gd name="connsiteX8" fmla="*/ 69218 w 1194500"/>
                  <a:gd name="connsiteY8" fmla="*/ 1169099 h 1573847"/>
                  <a:gd name="connsiteX9" fmla="*/ 54454 w 1194500"/>
                  <a:gd name="connsiteY9" fmla="*/ 1188815 h 1573847"/>
                  <a:gd name="connsiteX10" fmla="*/ 40833 w 1194500"/>
                  <a:gd name="connsiteY10" fmla="*/ 1209294 h 1573847"/>
                  <a:gd name="connsiteX11" fmla="*/ 19783 w 1194500"/>
                  <a:gd name="connsiteY11" fmla="*/ 1254061 h 1573847"/>
                  <a:gd name="connsiteX12" fmla="*/ 7972 w 1194500"/>
                  <a:gd name="connsiteY12" fmla="*/ 1302734 h 1573847"/>
                  <a:gd name="connsiteX13" fmla="*/ 12258 w 1194500"/>
                  <a:gd name="connsiteY13" fmla="*/ 1403890 h 1573847"/>
                  <a:gd name="connsiteX14" fmla="*/ 18831 w 1194500"/>
                  <a:gd name="connsiteY14" fmla="*/ 1428845 h 1573847"/>
                  <a:gd name="connsiteX15" fmla="*/ 27213 w 1194500"/>
                  <a:gd name="connsiteY15" fmla="*/ 1453325 h 1573847"/>
                  <a:gd name="connsiteX16" fmla="*/ 37976 w 1194500"/>
                  <a:gd name="connsiteY16" fmla="*/ 1476756 h 1573847"/>
                  <a:gd name="connsiteX17" fmla="*/ 45024 w 1194500"/>
                  <a:gd name="connsiteY17" fmla="*/ 1487615 h 1573847"/>
                  <a:gd name="connsiteX18" fmla="*/ 52644 w 1194500"/>
                  <a:gd name="connsiteY18" fmla="*/ 1498092 h 1573847"/>
                  <a:gd name="connsiteX19" fmla="*/ 138369 w 1194500"/>
                  <a:gd name="connsiteY19" fmla="*/ 1556861 h 1573847"/>
                  <a:gd name="connsiteX20" fmla="*/ 243144 w 1194500"/>
                  <a:gd name="connsiteY20" fmla="*/ 1565910 h 1573847"/>
                  <a:gd name="connsiteX21" fmla="*/ 333346 w 1194500"/>
                  <a:gd name="connsiteY21" fmla="*/ 1529048 h 1573847"/>
                  <a:gd name="connsiteX22" fmla="*/ 402402 w 1194500"/>
                  <a:gd name="connsiteY22" fmla="*/ 1459992 h 1573847"/>
                  <a:gd name="connsiteX23" fmla="*/ 526227 w 1194500"/>
                  <a:gd name="connsiteY23" fmla="*/ 1313117 h 1573847"/>
                  <a:gd name="connsiteX24" fmla="*/ 750732 w 1194500"/>
                  <a:gd name="connsiteY24" fmla="*/ 1027367 h 1573847"/>
                  <a:gd name="connsiteX25" fmla="*/ 949709 w 1194500"/>
                  <a:gd name="connsiteY25" fmla="*/ 765715 h 1573847"/>
                  <a:gd name="connsiteX26" fmla="*/ 1039053 w 1194500"/>
                  <a:gd name="connsiteY26" fmla="*/ 646462 h 1573847"/>
                  <a:gd name="connsiteX27" fmla="*/ 1080963 w 1194500"/>
                  <a:gd name="connsiteY27" fmla="*/ 590169 h 1573847"/>
                  <a:gd name="connsiteX28" fmla="*/ 1119825 w 1194500"/>
                  <a:gd name="connsiteY28" fmla="*/ 535495 h 1573847"/>
                  <a:gd name="connsiteX29" fmla="*/ 1172975 w 1194500"/>
                  <a:gd name="connsiteY29" fmla="*/ 423386 h 1573847"/>
                  <a:gd name="connsiteX30" fmla="*/ 1180595 w 1194500"/>
                  <a:gd name="connsiteY30" fmla="*/ 395383 h 1573847"/>
                  <a:gd name="connsiteX31" fmla="*/ 1185834 w 1194500"/>
                  <a:gd name="connsiteY31" fmla="*/ 367665 h 1573847"/>
                  <a:gd name="connsiteX32" fmla="*/ 1161831 w 1194500"/>
                  <a:gd name="connsiteY32" fmla="*/ 140113 h 1573847"/>
                  <a:gd name="connsiteX33" fmla="*/ 1105347 w 1194500"/>
                  <a:gd name="connsiteY33" fmla="*/ 43529 h 1573847"/>
                  <a:gd name="connsiteX34" fmla="*/ 1094108 w 1194500"/>
                  <a:gd name="connsiteY34" fmla="*/ 30861 h 1573847"/>
                  <a:gd name="connsiteX35" fmla="*/ 1085059 w 1194500"/>
                  <a:gd name="connsiteY35" fmla="*/ 22479 h 1573847"/>
                  <a:gd name="connsiteX36" fmla="*/ 1077820 w 1194500"/>
                  <a:gd name="connsiteY36" fmla="*/ 15526 h 1573847"/>
                  <a:gd name="connsiteX37" fmla="*/ 1085440 w 1194500"/>
                  <a:gd name="connsiteY37" fmla="*/ 22098 h 1573847"/>
                  <a:gd name="connsiteX38" fmla="*/ 1094965 w 1194500"/>
                  <a:gd name="connsiteY38" fmla="*/ 30289 h 1573847"/>
                  <a:gd name="connsiteX39" fmla="*/ 1106490 w 1194500"/>
                  <a:gd name="connsiteY39" fmla="*/ 42863 h 1573847"/>
                  <a:gd name="connsiteX40" fmla="*/ 1163640 w 1194500"/>
                  <a:gd name="connsiteY40" fmla="*/ 139446 h 1573847"/>
                  <a:gd name="connsiteX41" fmla="*/ 1194311 w 1194500"/>
                  <a:gd name="connsiteY41" fmla="*/ 314325 h 1573847"/>
                  <a:gd name="connsiteX42" fmla="*/ 1188786 w 1194500"/>
                  <a:gd name="connsiteY42" fmla="*/ 368141 h 1573847"/>
                  <a:gd name="connsiteX43" fmla="*/ 1183643 w 1194500"/>
                  <a:gd name="connsiteY43" fmla="*/ 396050 h 1573847"/>
                  <a:gd name="connsiteX44" fmla="*/ 1175928 w 1194500"/>
                  <a:gd name="connsiteY44" fmla="*/ 424625 h 1573847"/>
                  <a:gd name="connsiteX45" fmla="*/ 1122397 w 1194500"/>
                  <a:gd name="connsiteY45" fmla="*/ 537686 h 1573847"/>
                  <a:gd name="connsiteX46" fmla="*/ 1083535 w 1194500"/>
                  <a:gd name="connsiteY46" fmla="*/ 592645 h 1573847"/>
                  <a:gd name="connsiteX47" fmla="*/ 1041720 w 1194500"/>
                  <a:gd name="connsiteY47" fmla="*/ 649034 h 1573847"/>
                  <a:gd name="connsiteX48" fmla="*/ 952566 w 1194500"/>
                  <a:gd name="connsiteY48" fmla="*/ 768477 h 1573847"/>
                  <a:gd name="connsiteX49" fmla="*/ 753970 w 1194500"/>
                  <a:gd name="connsiteY49" fmla="*/ 1030415 h 1573847"/>
                  <a:gd name="connsiteX50" fmla="*/ 529656 w 1194500"/>
                  <a:gd name="connsiteY50" fmla="*/ 1316165 h 1573847"/>
                  <a:gd name="connsiteX51" fmla="*/ 405831 w 1194500"/>
                  <a:gd name="connsiteY51" fmla="*/ 1463231 h 1573847"/>
                  <a:gd name="connsiteX52" fmla="*/ 372494 w 1194500"/>
                  <a:gd name="connsiteY52" fmla="*/ 1499235 h 1573847"/>
                  <a:gd name="connsiteX53" fmla="*/ 336013 w 1194500"/>
                  <a:gd name="connsiteY53" fmla="*/ 1533049 h 1573847"/>
                  <a:gd name="connsiteX54" fmla="*/ 243621 w 1194500"/>
                  <a:gd name="connsiteY54" fmla="*/ 1571149 h 1573847"/>
                  <a:gd name="connsiteX55" fmla="*/ 136083 w 1194500"/>
                  <a:gd name="connsiteY55" fmla="*/ 1561624 h 1573847"/>
                  <a:gd name="connsiteX56" fmla="*/ 48644 w 1194500"/>
                  <a:gd name="connsiteY56" fmla="*/ 1501235 h 1573847"/>
                  <a:gd name="connsiteX57" fmla="*/ 40738 w 1194500"/>
                  <a:gd name="connsiteY57" fmla="*/ 1490472 h 1573847"/>
                  <a:gd name="connsiteX58" fmla="*/ 33499 w 1194500"/>
                  <a:gd name="connsiteY58" fmla="*/ 1479328 h 1573847"/>
                  <a:gd name="connsiteX59" fmla="*/ 22355 w 1194500"/>
                  <a:gd name="connsiteY59" fmla="*/ 1455134 h 1573847"/>
                  <a:gd name="connsiteX60" fmla="*/ 13878 w 1194500"/>
                  <a:gd name="connsiteY60" fmla="*/ 1430369 h 1573847"/>
                  <a:gd name="connsiteX61" fmla="*/ 7305 w 1194500"/>
                  <a:gd name="connsiteY61" fmla="*/ 1405033 h 1573847"/>
                  <a:gd name="connsiteX62" fmla="*/ 15021 w 1194500"/>
                  <a:gd name="connsiteY62" fmla="*/ 1252633 h 1573847"/>
                  <a:gd name="connsiteX63" fmla="*/ 36547 w 1194500"/>
                  <a:gd name="connsiteY63" fmla="*/ 1207008 h 1573847"/>
                  <a:gd name="connsiteX64" fmla="*/ 50454 w 1194500"/>
                  <a:gd name="connsiteY64" fmla="*/ 1186148 h 1573847"/>
                  <a:gd name="connsiteX65" fmla="*/ 65217 w 1194500"/>
                  <a:gd name="connsiteY65" fmla="*/ 1166432 h 1573847"/>
                  <a:gd name="connsiteX66" fmla="*/ 92554 w 1194500"/>
                  <a:gd name="connsiteY66" fmla="*/ 1125950 h 1573847"/>
                  <a:gd name="connsiteX67" fmla="*/ 191328 w 1194500"/>
                  <a:gd name="connsiteY67" fmla="*/ 964025 h 1573847"/>
                  <a:gd name="connsiteX68" fmla="*/ 511083 w 1194500"/>
                  <a:gd name="connsiteY68" fmla="*/ 412718 h 1573847"/>
                  <a:gd name="connsiteX69" fmla="*/ 511083 w 1194500"/>
                  <a:gd name="connsiteY69" fmla="*/ 412718 h 1573847"/>
                  <a:gd name="connsiteX70" fmla="*/ 661959 w 1194500"/>
                  <a:gd name="connsiteY70" fmla="*/ 88868 h 1573847"/>
                  <a:gd name="connsiteX71" fmla="*/ 727395 w 1194500"/>
                  <a:gd name="connsiteY71" fmla="*/ 18764 h 1573847"/>
                  <a:gd name="connsiteX72" fmla="*/ 747493 w 1194500"/>
                  <a:gd name="connsiteY72" fmla="*/ 4286 h 1573847"/>
                  <a:gd name="connsiteX73" fmla="*/ 754446 w 1194500"/>
                  <a:gd name="connsiteY73" fmla="*/ 0 h 1573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1194500" h="1573847">
                    <a:moveTo>
                      <a:pt x="754446" y="0"/>
                    </a:moveTo>
                    <a:lnTo>
                      <a:pt x="747588" y="4858"/>
                    </a:lnTo>
                    <a:cubicBezTo>
                      <a:pt x="740730" y="9430"/>
                      <a:pt x="734120" y="14364"/>
                      <a:pt x="727776" y="19621"/>
                    </a:cubicBezTo>
                    <a:cubicBezTo>
                      <a:pt x="703497" y="40443"/>
                      <a:pt x="681818" y="64103"/>
                      <a:pt x="663197" y="90106"/>
                    </a:cubicBezTo>
                    <a:cubicBezTo>
                      <a:pt x="613857" y="157353"/>
                      <a:pt x="558422" y="267462"/>
                      <a:pt x="514035" y="413957"/>
                    </a:cubicBezTo>
                    <a:lnTo>
                      <a:pt x="514035" y="413957"/>
                    </a:lnTo>
                    <a:cubicBezTo>
                      <a:pt x="428310" y="565499"/>
                      <a:pt x="320487" y="754190"/>
                      <a:pt x="195329" y="966407"/>
                    </a:cubicBezTo>
                    <a:cubicBezTo>
                      <a:pt x="163801" y="1019175"/>
                      <a:pt x="131511" y="1073658"/>
                      <a:pt x="96650" y="1128332"/>
                    </a:cubicBezTo>
                    <a:cubicBezTo>
                      <a:pt x="87125" y="1141857"/>
                      <a:pt x="79314" y="1155859"/>
                      <a:pt x="69218" y="1169099"/>
                    </a:cubicBezTo>
                    <a:cubicBezTo>
                      <a:pt x="64360" y="1175861"/>
                      <a:pt x="59693" y="1182434"/>
                      <a:pt x="54454" y="1188815"/>
                    </a:cubicBezTo>
                    <a:cubicBezTo>
                      <a:pt x="49558" y="1195397"/>
                      <a:pt x="45005" y="1202227"/>
                      <a:pt x="40833" y="1209294"/>
                    </a:cubicBezTo>
                    <a:cubicBezTo>
                      <a:pt x="32404" y="1223515"/>
                      <a:pt x="25355" y="1238507"/>
                      <a:pt x="19783" y="1254061"/>
                    </a:cubicBezTo>
                    <a:cubicBezTo>
                      <a:pt x="14306" y="1269873"/>
                      <a:pt x="10353" y="1286170"/>
                      <a:pt x="7972" y="1302734"/>
                    </a:cubicBezTo>
                    <a:cubicBezTo>
                      <a:pt x="3352" y="1336434"/>
                      <a:pt x="4810" y="1370695"/>
                      <a:pt x="12258" y="1403890"/>
                    </a:cubicBezTo>
                    <a:cubicBezTo>
                      <a:pt x="14163" y="1412272"/>
                      <a:pt x="16164" y="1420654"/>
                      <a:pt x="18831" y="1428845"/>
                    </a:cubicBezTo>
                    <a:cubicBezTo>
                      <a:pt x="21498" y="1437037"/>
                      <a:pt x="24260" y="1445228"/>
                      <a:pt x="27213" y="1453325"/>
                    </a:cubicBezTo>
                    <a:cubicBezTo>
                      <a:pt x="30165" y="1461421"/>
                      <a:pt x="34356" y="1468945"/>
                      <a:pt x="37976" y="1476756"/>
                    </a:cubicBezTo>
                    <a:lnTo>
                      <a:pt x="45024" y="1487615"/>
                    </a:lnTo>
                    <a:cubicBezTo>
                      <a:pt x="47253" y="1491329"/>
                      <a:pt x="49796" y="1494835"/>
                      <a:pt x="52644" y="1498092"/>
                    </a:cubicBezTo>
                    <a:cubicBezTo>
                      <a:pt x="75057" y="1525429"/>
                      <a:pt x="104794" y="1545812"/>
                      <a:pt x="138369" y="1556861"/>
                    </a:cubicBezTo>
                    <a:cubicBezTo>
                      <a:pt x="172050" y="1568320"/>
                      <a:pt x="208007" y="1571425"/>
                      <a:pt x="243144" y="1565910"/>
                    </a:cubicBezTo>
                    <a:cubicBezTo>
                      <a:pt x="275625" y="1560643"/>
                      <a:pt x="306476" y="1548041"/>
                      <a:pt x="333346" y="1529048"/>
                    </a:cubicBezTo>
                    <a:cubicBezTo>
                      <a:pt x="358121" y="1507855"/>
                      <a:pt x="381200" y="1484767"/>
                      <a:pt x="402402" y="1459992"/>
                    </a:cubicBezTo>
                    <a:cubicBezTo>
                      <a:pt x="445646" y="1411415"/>
                      <a:pt x="486508" y="1361980"/>
                      <a:pt x="526227" y="1313117"/>
                    </a:cubicBezTo>
                    <a:cubicBezTo>
                      <a:pt x="605475" y="1215200"/>
                      <a:pt x="680056" y="1119283"/>
                      <a:pt x="750732" y="1027367"/>
                    </a:cubicBezTo>
                    <a:cubicBezTo>
                      <a:pt x="821407" y="935450"/>
                      <a:pt x="887796" y="847916"/>
                      <a:pt x="949709" y="765715"/>
                    </a:cubicBezTo>
                    <a:lnTo>
                      <a:pt x="1039053" y="646462"/>
                    </a:lnTo>
                    <a:lnTo>
                      <a:pt x="1080963" y="590169"/>
                    </a:lnTo>
                    <a:cubicBezTo>
                      <a:pt x="1094489" y="571691"/>
                      <a:pt x="1108586" y="554165"/>
                      <a:pt x="1119825" y="535495"/>
                    </a:cubicBezTo>
                    <a:cubicBezTo>
                      <a:pt x="1142885" y="500901"/>
                      <a:pt x="1160792" y="463134"/>
                      <a:pt x="1172975" y="423386"/>
                    </a:cubicBezTo>
                    <a:cubicBezTo>
                      <a:pt x="1175547" y="413861"/>
                      <a:pt x="1178118" y="404336"/>
                      <a:pt x="1180595" y="395383"/>
                    </a:cubicBezTo>
                    <a:cubicBezTo>
                      <a:pt x="1183071" y="386429"/>
                      <a:pt x="1184119" y="376809"/>
                      <a:pt x="1185834" y="367665"/>
                    </a:cubicBezTo>
                    <a:cubicBezTo>
                      <a:pt x="1199026" y="291055"/>
                      <a:pt x="1190710" y="212284"/>
                      <a:pt x="1161831" y="140113"/>
                    </a:cubicBezTo>
                    <a:cubicBezTo>
                      <a:pt x="1148524" y="104994"/>
                      <a:pt x="1129436" y="72342"/>
                      <a:pt x="1105347" y="43529"/>
                    </a:cubicBezTo>
                    <a:cubicBezTo>
                      <a:pt x="1101061" y="38671"/>
                      <a:pt x="1097632" y="34004"/>
                      <a:pt x="1094108" y="30861"/>
                    </a:cubicBezTo>
                    <a:lnTo>
                      <a:pt x="1085059" y="22479"/>
                    </a:lnTo>
                    <a:cubicBezTo>
                      <a:pt x="1080201" y="18002"/>
                      <a:pt x="1077820" y="15526"/>
                      <a:pt x="1077820" y="15526"/>
                    </a:cubicBezTo>
                    <a:cubicBezTo>
                      <a:pt x="1077820" y="15526"/>
                      <a:pt x="1080487" y="17717"/>
                      <a:pt x="1085440" y="22098"/>
                    </a:cubicBezTo>
                    <a:lnTo>
                      <a:pt x="1094965" y="30289"/>
                    </a:lnTo>
                    <a:cubicBezTo>
                      <a:pt x="1098680" y="33528"/>
                      <a:pt x="1102109" y="38100"/>
                      <a:pt x="1106490" y="42863"/>
                    </a:cubicBezTo>
                    <a:cubicBezTo>
                      <a:pt x="1130884" y="71580"/>
                      <a:pt x="1150220" y="104242"/>
                      <a:pt x="1163640" y="139446"/>
                    </a:cubicBezTo>
                    <a:cubicBezTo>
                      <a:pt x="1185624" y="195053"/>
                      <a:pt x="1196063" y="254556"/>
                      <a:pt x="1194311" y="314325"/>
                    </a:cubicBezTo>
                    <a:cubicBezTo>
                      <a:pt x="1193558" y="332356"/>
                      <a:pt x="1191711" y="350329"/>
                      <a:pt x="1188786" y="368141"/>
                    </a:cubicBezTo>
                    <a:cubicBezTo>
                      <a:pt x="1187072" y="377666"/>
                      <a:pt x="1186119" y="387191"/>
                      <a:pt x="1183643" y="396050"/>
                    </a:cubicBezTo>
                    <a:cubicBezTo>
                      <a:pt x="1181166" y="404908"/>
                      <a:pt x="1178595" y="415100"/>
                      <a:pt x="1175928" y="424625"/>
                    </a:cubicBezTo>
                    <a:cubicBezTo>
                      <a:pt x="1163707" y="464725"/>
                      <a:pt x="1145676" y="502815"/>
                      <a:pt x="1122397" y="537686"/>
                    </a:cubicBezTo>
                    <a:cubicBezTo>
                      <a:pt x="1111062" y="556736"/>
                      <a:pt x="1096965" y="574072"/>
                      <a:pt x="1083535" y="592645"/>
                    </a:cubicBezTo>
                    <a:lnTo>
                      <a:pt x="1041720" y="649034"/>
                    </a:lnTo>
                    <a:cubicBezTo>
                      <a:pt x="1013145" y="687134"/>
                      <a:pt x="983427" y="726948"/>
                      <a:pt x="952566" y="768477"/>
                    </a:cubicBezTo>
                    <a:cubicBezTo>
                      <a:pt x="890844" y="850773"/>
                      <a:pt x="824455" y="938593"/>
                      <a:pt x="753970" y="1030415"/>
                    </a:cubicBezTo>
                    <a:cubicBezTo>
                      <a:pt x="683485" y="1122235"/>
                      <a:pt x="608904" y="1218248"/>
                      <a:pt x="529656" y="1316165"/>
                    </a:cubicBezTo>
                    <a:cubicBezTo>
                      <a:pt x="489937" y="1365123"/>
                      <a:pt x="449170" y="1414653"/>
                      <a:pt x="405831" y="1463231"/>
                    </a:cubicBezTo>
                    <a:cubicBezTo>
                      <a:pt x="395068" y="1475423"/>
                      <a:pt x="383829" y="1487424"/>
                      <a:pt x="372494" y="1499235"/>
                    </a:cubicBezTo>
                    <a:cubicBezTo>
                      <a:pt x="361150" y="1511351"/>
                      <a:pt x="348958" y="1522657"/>
                      <a:pt x="336013" y="1533049"/>
                    </a:cubicBezTo>
                    <a:cubicBezTo>
                      <a:pt x="308543" y="1552661"/>
                      <a:pt x="276930" y="1565691"/>
                      <a:pt x="243621" y="1571149"/>
                    </a:cubicBezTo>
                    <a:cubicBezTo>
                      <a:pt x="207540" y="1576807"/>
                      <a:pt x="170611" y="1573540"/>
                      <a:pt x="136083" y="1561624"/>
                    </a:cubicBezTo>
                    <a:cubicBezTo>
                      <a:pt x="101803" y="1550194"/>
                      <a:pt x="71475" y="1529248"/>
                      <a:pt x="48644" y="1501235"/>
                    </a:cubicBezTo>
                    <a:cubicBezTo>
                      <a:pt x="45663" y="1497911"/>
                      <a:pt x="43015" y="1494311"/>
                      <a:pt x="40738" y="1490472"/>
                    </a:cubicBezTo>
                    <a:lnTo>
                      <a:pt x="33499" y="1479328"/>
                    </a:lnTo>
                    <a:cubicBezTo>
                      <a:pt x="29784" y="1471232"/>
                      <a:pt x="25403" y="1463421"/>
                      <a:pt x="22355" y="1455134"/>
                    </a:cubicBezTo>
                    <a:cubicBezTo>
                      <a:pt x="19307" y="1446848"/>
                      <a:pt x="16164" y="1438751"/>
                      <a:pt x="13878" y="1430369"/>
                    </a:cubicBezTo>
                    <a:cubicBezTo>
                      <a:pt x="11592" y="1421987"/>
                      <a:pt x="9210" y="1413510"/>
                      <a:pt x="7305" y="1405033"/>
                    </a:cubicBezTo>
                    <a:cubicBezTo>
                      <a:pt x="-4591" y="1354522"/>
                      <a:pt x="-1915" y="1301677"/>
                      <a:pt x="15021" y="1252633"/>
                    </a:cubicBezTo>
                    <a:cubicBezTo>
                      <a:pt x="20774" y="1236793"/>
                      <a:pt x="27984" y="1221524"/>
                      <a:pt x="36547" y="1207008"/>
                    </a:cubicBezTo>
                    <a:cubicBezTo>
                      <a:pt x="40929" y="1199864"/>
                      <a:pt x="45405" y="1192816"/>
                      <a:pt x="50454" y="1186148"/>
                    </a:cubicBezTo>
                    <a:cubicBezTo>
                      <a:pt x="55502" y="1179481"/>
                      <a:pt x="60550" y="1173004"/>
                      <a:pt x="65217" y="1166432"/>
                    </a:cubicBezTo>
                    <a:cubicBezTo>
                      <a:pt x="74742" y="1153477"/>
                      <a:pt x="83505" y="1139381"/>
                      <a:pt x="92554" y="1125950"/>
                    </a:cubicBezTo>
                    <a:cubicBezTo>
                      <a:pt x="127320" y="1071372"/>
                      <a:pt x="159705" y="1016984"/>
                      <a:pt x="191328" y="964025"/>
                    </a:cubicBezTo>
                    <a:cubicBezTo>
                      <a:pt x="316582" y="752475"/>
                      <a:pt x="424500" y="563975"/>
                      <a:pt x="511083" y="412718"/>
                    </a:cubicBezTo>
                    <a:lnTo>
                      <a:pt x="511083" y="412718"/>
                    </a:lnTo>
                    <a:cubicBezTo>
                      <a:pt x="555469" y="266128"/>
                      <a:pt x="612048" y="156210"/>
                      <a:pt x="661959" y="88868"/>
                    </a:cubicBezTo>
                    <a:cubicBezTo>
                      <a:pt x="680732" y="62846"/>
                      <a:pt x="702726" y="39291"/>
                      <a:pt x="727395" y="18764"/>
                    </a:cubicBezTo>
                    <a:cubicBezTo>
                      <a:pt x="733825" y="13573"/>
                      <a:pt x="740530" y="8734"/>
                      <a:pt x="747493" y="4286"/>
                    </a:cubicBezTo>
                    <a:cubicBezTo>
                      <a:pt x="751970" y="1429"/>
                      <a:pt x="754446" y="0"/>
                      <a:pt x="75444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8BFD168F-9700-447B-9250-563683A26DBE}"/>
                  </a:ext>
                </a:extLst>
              </p:cNvPr>
              <p:cNvSpPr/>
              <p:nvPr/>
            </p:nvSpPr>
            <p:spPr>
              <a:xfrm>
                <a:off x="1217600" y="4130592"/>
                <a:ext cx="404679" cy="496943"/>
              </a:xfrm>
              <a:custGeom>
                <a:avLst/>
                <a:gdLst>
                  <a:gd name="connsiteX0" fmla="*/ 404679 w 404679"/>
                  <a:gd name="connsiteY0" fmla="*/ 53721 h 496943"/>
                  <a:gd name="connsiteX1" fmla="*/ 352959 w 404679"/>
                  <a:gd name="connsiteY1" fmla="*/ 2667 h 496943"/>
                  <a:gd name="connsiteX2" fmla="*/ 251898 w 404679"/>
                  <a:gd name="connsiteY2" fmla="*/ 2667 h 496943"/>
                  <a:gd name="connsiteX3" fmla="*/ 222847 w 404679"/>
                  <a:gd name="connsiteY3" fmla="*/ 55054 h 496943"/>
                  <a:gd name="connsiteX4" fmla="*/ 229038 w 404679"/>
                  <a:gd name="connsiteY4" fmla="*/ 106490 h 496943"/>
                  <a:gd name="connsiteX5" fmla="*/ 173222 w 404679"/>
                  <a:gd name="connsiteY5" fmla="*/ 104775 h 496943"/>
                  <a:gd name="connsiteX6" fmla="*/ 113690 w 404679"/>
                  <a:gd name="connsiteY6" fmla="*/ 197929 h 496943"/>
                  <a:gd name="connsiteX7" fmla="*/ 55397 w 404679"/>
                  <a:gd name="connsiteY7" fmla="*/ 231934 h 496943"/>
                  <a:gd name="connsiteX8" fmla="*/ 29775 w 404679"/>
                  <a:gd name="connsiteY8" fmla="*/ 285560 h 496943"/>
                  <a:gd name="connsiteX9" fmla="*/ 629 w 404679"/>
                  <a:gd name="connsiteY9" fmla="*/ 351473 h 496943"/>
                  <a:gd name="connsiteX10" fmla="*/ 45396 w 404679"/>
                  <a:gd name="connsiteY10" fmla="*/ 415195 h 496943"/>
                  <a:gd name="connsiteX11" fmla="*/ 186557 w 404679"/>
                  <a:gd name="connsiteY11" fmla="*/ 495871 h 496943"/>
                  <a:gd name="connsiteX12" fmla="*/ 188176 w 404679"/>
                  <a:gd name="connsiteY12" fmla="*/ 424910 h 496943"/>
                  <a:gd name="connsiteX13" fmla="*/ 114548 w 404679"/>
                  <a:gd name="connsiteY13" fmla="*/ 359664 h 496943"/>
                  <a:gd name="connsiteX14" fmla="*/ 135884 w 404679"/>
                  <a:gd name="connsiteY14" fmla="*/ 326708 h 496943"/>
                  <a:gd name="connsiteX15" fmla="*/ 278759 w 404679"/>
                  <a:gd name="connsiteY15" fmla="*/ 407289 h 496943"/>
                  <a:gd name="connsiteX16" fmla="*/ 318288 w 404679"/>
                  <a:gd name="connsiteY16" fmla="*/ 372142 h 496943"/>
                  <a:gd name="connsiteX17" fmla="*/ 189414 w 404679"/>
                  <a:gd name="connsiteY17" fmla="*/ 253175 h 496943"/>
                  <a:gd name="connsiteX18" fmla="*/ 203035 w 404679"/>
                  <a:gd name="connsiteY18" fmla="*/ 205550 h 496943"/>
                  <a:gd name="connsiteX19" fmla="*/ 358007 w 404679"/>
                  <a:gd name="connsiteY19" fmla="*/ 281273 h 496943"/>
                  <a:gd name="connsiteX20" fmla="*/ 377057 w 404679"/>
                  <a:gd name="connsiteY20" fmla="*/ 230410 h 496943"/>
                  <a:gd name="connsiteX21" fmla="*/ 258756 w 404679"/>
                  <a:gd name="connsiteY21" fmla="*/ 129730 h 496943"/>
                  <a:gd name="connsiteX22" fmla="*/ 298094 w 404679"/>
                  <a:gd name="connsiteY22" fmla="*/ 92964 h 496943"/>
                  <a:gd name="connsiteX23" fmla="*/ 404679 w 404679"/>
                  <a:gd name="connsiteY23" fmla="*/ 53721 h 496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04679" h="496943">
                    <a:moveTo>
                      <a:pt x="404679" y="53721"/>
                    </a:moveTo>
                    <a:cubicBezTo>
                      <a:pt x="404679" y="53721"/>
                      <a:pt x="387439" y="8668"/>
                      <a:pt x="352959" y="2667"/>
                    </a:cubicBezTo>
                    <a:cubicBezTo>
                      <a:pt x="318478" y="-3334"/>
                      <a:pt x="251898" y="2667"/>
                      <a:pt x="251898" y="2667"/>
                    </a:cubicBezTo>
                    <a:cubicBezTo>
                      <a:pt x="251898" y="2667"/>
                      <a:pt x="222561" y="24765"/>
                      <a:pt x="222847" y="55054"/>
                    </a:cubicBezTo>
                    <a:cubicBezTo>
                      <a:pt x="222856" y="72380"/>
                      <a:pt x="224942" y="89649"/>
                      <a:pt x="229038" y="106490"/>
                    </a:cubicBezTo>
                    <a:cubicBezTo>
                      <a:pt x="229038" y="106490"/>
                      <a:pt x="204940" y="74009"/>
                      <a:pt x="173222" y="104775"/>
                    </a:cubicBezTo>
                    <a:cubicBezTo>
                      <a:pt x="141503" y="135541"/>
                      <a:pt x="113690" y="197929"/>
                      <a:pt x="113690" y="197929"/>
                    </a:cubicBezTo>
                    <a:cubicBezTo>
                      <a:pt x="113690" y="197929"/>
                      <a:pt x="71495" y="211455"/>
                      <a:pt x="55397" y="231934"/>
                    </a:cubicBezTo>
                    <a:cubicBezTo>
                      <a:pt x="44053" y="248326"/>
                      <a:pt x="35395" y="266433"/>
                      <a:pt x="29775" y="285560"/>
                    </a:cubicBezTo>
                    <a:cubicBezTo>
                      <a:pt x="8401" y="300276"/>
                      <a:pt x="-2867" y="325765"/>
                      <a:pt x="629" y="351473"/>
                    </a:cubicBezTo>
                    <a:cubicBezTo>
                      <a:pt x="4486" y="378657"/>
                      <a:pt x="21127" y="402345"/>
                      <a:pt x="45396" y="415195"/>
                    </a:cubicBezTo>
                    <a:cubicBezTo>
                      <a:pt x="45396" y="415195"/>
                      <a:pt x="171222" y="507873"/>
                      <a:pt x="186557" y="495871"/>
                    </a:cubicBezTo>
                    <a:cubicBezTo>
                      <a:pt x="201892" y="483870"/>
                      <a:pt x="233420" y="465010"/>
                      <a:pt x="188176" y="424910"/>
                    </a:cubicBezTo>
                    <a:lnTo>
                      <a:pt x="114548" y="359664"/>
                    </a:lnTo>
                    <a:lnTo>
                      <a:pt x="135884" y="326708"/>
                    </a:lnTo>
                    <a:cubicBezTo>
                      <a:pt x="135884" y="326708"/>
                      <a:pt x="259042" y="411385"/>
                      <a:pt x="278759" y="407289"/>
                    </a:cubicBezTo>
                    <a:cubicBezTo>
                      <a:pt x="298476" y="403193"/>
                      <a:pt x="332099" y="402527"/>
                      <a:pt x="318288" y="372142"/>
                    </a:cubicBezTo>
                    <a:cubicBezTo>
                      <a:pt x="304476" y="341757"/>
                      <a:pt x="189414" y="253175"/>
                      <a:pt x="189414" y="253175"/>
                    </a:cubicBezTo>
                    <a:lnTo>
                      <a:pt x="203035" y="205550"/>
                    </a:lnTo>
                    <a:cubicBezTo>
                      <a:pt x="203035" y="205550"/>
                      <a:pt x="336385" y="295656"/>
                      <a:pt x="358007" y="281273"/>
                    </a:cubicBezTo>
                    <a:cubicBezTo>
                      <a:pt x="379628" y="266891"/>
                      <a:pt x="399250" y="260128"/>
                      <a:pt x="377057" y="230410"/>
                    </a:cubicBezTo>
                    <a:cubicBezTo>
                      <a:pt x="354863" y="200692"/>
                      <a:pt x="258756" y="129730"/>
                      <a:pt x="258756" y="129730"/>
                    </a:cubicBezTo>
                    <a:lnTo>
                      <a:pt x="298094" y="92964"/>
                    </a:lnTo>
                    <a:cubicBezTo>
                      <a:pt x="298094" y="92964"/>
                      <a:pt x="391154" y="109252"/>
                      <a:pt x="404679" y="53721"/>
                    </a:cubicBezTo>
                    <a:close/>
                  </a:path>
                </a:pathLst>
              </a:custGeom>
              <a:solidFill>
                <a:srgbClr val="B5676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CA4F2602-9CEE-44EA-858C-973888D88DF7}"/>
                  </a:ext>
                </a:extLst>
              </p:cNvPr>
              <p:cNvSpPr/>
              <p:nvPr/>
            </p:nvSpPr>
            <p:spPr>
              <a:xfrm>
                <a:off x="1353769" y="3326396"/>
                <a:ext cx="845629" cy="959834"/>
              </a:xfrm>
              <a:custGeom>
                <a:avLst/>
                <a:gdLst>
                  <a:gd name="connsiteX0" fmla="*/ 845630 w 845629"/>
                  <a:gd name="connsiteY0" fmla="*/ 0 h 959834"/>
                  <a:gd name="connsiteX1" fmla="*/ 842296 w 845629"/>
                  <a:gd name="connsiteY1" fmla="*/ 953 h 959834"/>
                  <a:gd name="connsiteX2" fmla="*/ 832771 w 845629"/>
                  <a:gd name="connsiteY2" fmla="*/ 3620 h 959834"/>
                  <a:gd name="connsiteX3" fmla="*/ 795242 w 845629"/>
                  <a:gd name="connsiteY3" fmla="*/ 13811 h 959834"/>
                  <a:gd name="connsiteX4" fmla="*/ 659892 w 845629"/>
                  <a:gd name="connsiteY4" fmla="*/ 59150 h 959834"/>
                  <a:gd name="connsiteX5" fmla="*/ 616553 w 845629"/>
                  <a:gd name="connsiteY5" fmla="*/ 78200 h 959834"/>
                  <a:gd name="connsiteX6" fmla="*/ 594074 w 845629"/>
                  <a:gd name="connsiteY6" fmla="*/ 89440 h 959834"/>
                  <a:gd name="connsiteX7" fmla="*/ 582740 w 845629"/>
                  <a:gd name="connsiteY7" fmla="*/ 95631 h 959834"/>
                  <a:gd name="connsiteX8" fmla="*/ 571976 w 845629"/>
                  <a:gd name="connsiteY8" fmla="*/ 102775 h 959834"/>
                  <a:gd name="connsiteX9" fmla="*/ 492157 w 845629"/>
                  <a:gd name="connsiteY9" fmla="*/ 182404 h 959834"/>
                  <a:gd name="connsiteX10" fmla="*/ 332232 w 845629"/>
                  <a:gd name="connsiteY10" fmla="*/ 386715 h 959834"/>
                  <a:gd name="connsiteX11" fmla="*/ 182213 w 845629"/>
                  <a:gd name="connsiteY11" fmla="*/ 598837 h 959834"/>
                  <a:gd name="connsiteX12" fmla="*/ 118872 w 845629"/>
                  <a:gd name="connsiteY12" fmla="*/ 692848 h 959834"/>
                  <a:gd name="connsiteX13" fmla="*/ 68294 w 845629"/>
                  <a:gd name="connsiteY13" fmla="*/ 777335 h 959834"/>
                  <a:gd name="connsiteX14" fmla="*/ 15335 w 845629"/>
                  <a:gd name="connsiteY14" fmla="*/ 909828 h 959834"/>
                  <a:gd name="connsiteX15" fmla="*/ 3905 w 845629"/>
                  <a:gd name="connsiteY15" fmla="*/ 946976 h 959834"/>
                  <a:gd name="connsiteX16" fmla="*/ 1143 w 845629"/>
                  <a:gd name="connsiteY16" fmla="*/ 956501 h 959834"/>
                  <a:gd name="connsiteX17" fmla="*/ 0 w 845629"/>
                  <a:gd name="connsiteY17" fmla="*/ 959834 h 959834"/>
                  <a:gd name="connsiteX18" fmla="*/ 667 w 845629"/>
                  <a:gd name="connsiteY18" fmla="*/ 956405 h 959834"/>
                  <a:gd name="connsiteX19" fmla="*/ 2953 w 845629"/>
                  <a:gd name="connsiteY19" fmla="*/ 946880 h 959834"/>
                  <a:gd name="connsiteX20" fmla="*/ 13430 w 845629"/>
                  <a:gd name="connsiteY20" fmla="*/ 909447 h 959834"/>
                  <a:gd name="connsiteX21" fmla="*/ 65151 w 845629"/>
                  <a:gd name="connsiteY21" fmla="*/ 776097 h 959834"/>
                  <a:gd name="connsiteX22" fmla="*/ 115443 w 845629"/>
                  <a:gd name="connsiteY22" fmla="*/ 690944 h 959834"/>
                  <a:gd name="connsiteX23" fmla="*/ 178403 w 845629"/>
                  <a:gd name="connsiteY23" fmla="*/ 596551 h 959834"/>
                  <a:gd name="connsiteX24" fmla="*/ 328232 w 845629"/>
                  <a:gd name="connsiteY24" fmla="*/ 384143 h 959834"/>
                  <a:gd name="connsiteX25" fmla="*/ 488728 w 845629"/>
                  <a:gd name="connsiteY25" fmla="*/ 179642 h 959834"/>
                  <a:gd name="connsiteX26" fmla="*/ 569595 w 845629"/>
                  <a:gd name="connsiteY26" fmla="*/ 99822 h 959834"/>
                  <a:gd name="connsiteX27" fmla="*/ 580739 w 845629"/>
                  <a:gd name="connsiteY27" fmla="*/ 92392 h 959834"/>
                  <a:gd name="connsiteX28" fmla="*/ 592265 w 845629"/>
                  <a:gd name="connsiteY28" fmla="*/ 86201 h 959834"/>
                  <a:gd name="connsiteX29" fmla="*/ 614934 w 845629"/>
                  <a:gd name="connsiteY29" fmla="*/ 75057 h 959834"/>
                  <a:gd name="connsiteX30" fmla="*/ 658559 w 845629"/>
                  <a:gd name="connsiteY30" fmla="*/ 56007 h 959834"/>
                  <a:gd name="connsiteX31" fmla="*/ 794766 w 845629"/>
                  <a:gd name="connsiteY31" fmla="*/ 12002 h 959834"/>
                  <a:gd name="connsiteX32" fmla="*/ 832866 w 845629"/>
                  <a:gd name="connsiteY32" fmla="*/ 2477 h 959834"/>
                  <a:gd name="connsiteX33" fmla="*/ 842391 w 845629"/>
                  <a:gd name="connsiteY33" fmla="*/ 381 h 959834"/>
                  <a:gd name="connsiteX34" fmla="*/ 845630 w 845629"/>
                  <a:gd name="connsiteY34" fmla="*/ 0 h 959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45629" h="959834">
                    <a:moveTo>
                      <a:pt x="845630" y="0"/>
                    </a:moveTo>
                    <a:lnTo>
                      <a:pt x="842296" y="953"/>
                    </a:lnTo>
                    <a:lnTo>
                      <a:pt x="832771" y="3620"/>
                    </a:lnTo>
                    <a:cubicBezTo>
                      <a:pt x="824198" y="5810"/>
                      <a:pt x="811530" y="9144"/>
                      <a:pt x="795242" y="13811"/>
                    </a:cubicBezTo>
                    <a:cubicBezTo>
                      <a:pt x="749351" y="26518"/>
                      <a:pt x="704174" y="41653"/>
                      <a:pt x="659892" y="59150"/>
                    </a:cubicBezTo>
                    <a:cubicBezTo>
                      <a:pt x="645890" y="64770"/>
                      <a:pt x="631317" y="70961"/>
                      <a:pt x="616553" y="78200"/>
                    </a:cubicBezTo>
                    <a:cubicBezTo>
                      <a:pt x="609124" y="81725"/>
                      <a:pt x="601599" y="85344"/>
                      <a:pt x="594074" y="89440"/>
                    </a:cubicBezTo>
                    <a:cubicBezTo>
                      <a:pt x="590360" y="91535"/>
                      <a:pt x="586454" y="93440"/>
                      <a:pt x="582740" y="95631"/>
                    </a:cubicBezTo>
                    <a:cubicBezTo>
                      <a:pt x="579025" y="97822"/>
                      <a:pt x="575405" y="100108"/>
                      <a:pt x="571976" y="102775"/>
                    </a:cubicBezTo>
                    <a:cubicBezTo>
                      <a:pt x="542925" y="126749"/>
                      <a:pt x="516198" y="153410"/>
                      <a:pt x="492157" y="182404"/>
                    </a:cubicBezTo>
                    <a:cubicBezTo>
                      <a:pt x="439960" y="242697"/>
                      <a:pt x="386715" y="312611"/>
                      <a:pt x="332232" y="386715"/>
                    </a:cubicBezTo>
                    <a:cubicBezTo>
                      <a:pt x="277749" y="460820"/>
                      <a:pt x="227457" y="533019"/>
                      <a:pt x="182213" y="598837"/>
                    </a:cubicBezTo>
                    <a:cubicBezTo>
                      <a:pt x="159639" y="631793"/>
                      <a:pt x="138494" y="663226"/>
                      <a:pt x="118872" y="692848"/>
                    </a:cubicBezTo>
                    <a:cubicBezTo>
                      <a:pt x="100241" y="719909"/>
                      <a:pt x="83353" y="748132"/>
                      <a:pt x="68294" y="777335"/>
                    </a:cubicBezTo>
                    <a:cubicBezTo>
                      <a:pt x="47368" y="820121"/>
                      <a:pt x="29670" y="864413"/>
                      <a:pt x="15335" y="909828"/>
                    </a:cubicBezTo>
                    <a:cubicBezTo>
                      <a:pt x="10096" y="925925"/>
                      <a:pt x="6382" y="938403"/>
                      <a:pt x="3905" y="946976"/>
                    </a:cubicBezTo>
                    <a:lnTo>
                      <a:pt x="1143" y="956501"/>
                    </a:lnTo>
                    <a:cubicBezTo>
                      <a:pt x="867" y="957644"/>
                      <a:pt x="486" y="958758"/>
                      <a:pt x="0" y="959834"/>
                    </a:cubicBezTo>
                    <a:cubicBezTo>
                      <a:pt x="0" y="959834"/>
                      <a:pt x="0" y="958596"/>
                      <a:pt x="667" y="956405"/>
                    </a:cubicBezTo>
                    <a:lnTo>
                      <a:pt x="2953" y="946880"/>
                    </a:lnTo>
                    <a:cubicBezTo>
                      <a:pt x="5144" y="938308"/>
                      <a:pt x="8573" y="925639"/>
                      <a:pt x="13430" y="909447"/>
                    </a:cubicBezTo>
                    <a:cubicBezTo>
                      <a:pt x="27156" y="863718"/>
                      <a:pt x="44453" y="819122"/>
                      <a:pt x="65151" y="776097"/>
                    </a:cubicBezTo>
                    <a:cubicBezTo>
                      <a:pt x="80067" y="746655"/>
                      <a:pt x="96860" y="718214"/>
                      <a:pt x="115443" y="690944"/>
                    </a:cubicBezTo>
                    <a:cubicBezTo>
                      <a:pt x="134493" y="661130"/>
                      <a:pt x="156020" y="629603"/>
                      <a:pt x="178403" y="596551"/>
                    </a:cubicBezTo>
                    <a:cubicBezTo>
                      <a:pt x="223361" y="530543"/>
                      <a:pt x="273653" y="458534"/>
                      <a:pt x="328232" y="384143"/>
                    </a:cubicBezTo>
                    <a:cubicBezTo>
                      <a:pt x="382810" y="309753"/>
                      <a:pt x="436150" y="240030"/>
                      <a:pt x="488728" y="179642"/>
                    </a:cubicBezTo>
                    <a:cubicBezTo>
                      <a:pt x="513026" y="150476"/>
                      <a:pt x="540115" y="123739"/>
                      <a:pt x="569595" y="99822"/>
                    </a:cubicBezTo>
                    <a:cubicBezTo>
                      <a:pt x="573119" y="97060"/>
                      <a:pt x="577025" y="94869"/>
                      <a:pt x="580739" y="92392"/>
                    </a:cubicBezTo>
                    <a:cubicBezTo>
                      <a:pt x="584454" y="89916"/>
                      <a:pt x="588455" y="88297"/>
                      <a:pt x="592265" y="86201"/>
                    </a:cubicBezTo>
                    <a:cubicBezTo>
                      <a:pt x="599789" y="82105"/>
                      <a:pt x="607409" y="78486"/>
                      <a:pt x="614934" y="75057"/>
                    </a:cubicBezTo>
                    <a:cubicBezTo>
                      <a:pt x="629888" y="68008"/>
                      <a:pt x="644462" y="61817"/>
                      <a:pt x="658559" y="56007"/>
                    </a:cubicBezTo>
                    <a:cubicBezTo>
                      <a:pt x="703078" y="38729"/>
                      <a:pt x="748551" y="24041"/>
                      <a:pt x="794766" y="12002"/>
                    </a:cubicBezTo>
                    <a:cubicBezTo>
                      <a:pt x="811149" y="7620"/>
                      <a:pt x="823913" y="4667"/>
                      <a:pt x="832866" y="2477"/>
                    </a:cubicBezTo>
                    <a:lnTo>
                      <a:pt x="842391" y="381"/>
                    </a:lnTo>
                    <a:cubicBezTo>
                      <a:pt x="843458" y="152"/>
                      <a:pt x="844544" y="19"/>
                      <a:pt x="84563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1FDB4095-8483-4E6A-818B-A332442EA1B3}"/>
                  </a:ext>
                </a:extLst>
              </p:cNvPr>
              <p:cNvSpPr/>
              <p:nvPr/>
            </p:nvSpPr>
            <p:spPr>
              <a:xfrm>
                <a:off x="1822209" y="4654086"/>
                <a:ext cx="302323" cy="300418"/>
              </a:xfrm>
              <a:custGeom>
                <a:avLst/>
                <a:gdLst>
                  <a:gd name="connsiteX0" fmla="*/ 302323 w 302323"/>
                  <a:gd name="connsiteY0" fmla="*/ 300418 h 300418"/>
                  <a:gd name="connsiteX1" fmla="*/ 287560 w 302323"/>
                  <a:gd name="connsiteY1" fmla="*/ 292036 h 300418"/>
                  <a:gd name="connsiteX2" fmla="*/ 248984 w 302323"/>
                  <a:gd name="connsiteY2" fmla="*/ 266700 h 300418"/>
                  <a:gd name="connsiteX3" fmla="*/ 34004 w 302323"/>
                  <a:gd name="connsiteY3" fmla="*/ 52864 h 300418"/>
                  <a:gd name="connsiteX4" fmla="*/ 8382 w 302323"/>
                  <a:gd name="connsiteY4" fmla="*/ 14764 h 300418"/>
                  <a:gd name="connsiteX5" fmla="*/ 0 w 302323"/>
                  <a:gd name="connsiteY5" fmla="*/ 0 h 300418"/>
                  <a:gd name="connsiteX6" fmla="*/ 9525 w 302323"/>
                  <a:gd name="connsiteY6" fmla="*/ 13621 h 300418"/>
                  <a:gd name="connsiteX7" fmla="*/ 36385 w 302323"/>
                  <a:gd name="connsiteY7" fmla="*/ 51054 h 300418"/>
                  <a:gd name="connsiteX8" fmla="*/ 250603 w 302323"/>
                  <a:gd name="connsiteY8" fmla="*/ 264128 h 300418"/>
                  <a:gd name="connsiteX9" fmla="*/ 288131 w 302323"/>
                  <a:gd name="connsiteY9" fmla="*/ 290703 h 300418"/>
                  <a:gd name="connsiteX10" fmla="*/ 302323 w 302323"/>
                  <a:gd name="connsiteY10" fmla="*/ 300418 h 300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2323" h="300418">
                    <a:moveTo>
                      <a:pt x="302323" y="300418"/>
                    </a:moveTo>
                    <a:cubicBezTo>
                      <a:pt x="297180" y="298028"/>
                      <a:pt x="292246" y="295227"/>
                      <a:pt x="287560" y="292036"/>
                    </a:cubicBezTo>
                    <a:cubicBezTo>
                      <a:pt x="278035" y="286512"/>
                      <a:pt x="264985" y="277844"/>
                      <a:pt x="248984" y="266700"/>
                    </a:cubicBezTo>
                    <a:cubicBezTo>
                      <a:pt x="165745" y="208093"/>
                      <a:pt x="93050" y="135788"/>
                      <a:pt x="34004" y="52864"/>
                    </a:cubicBezTo>
                    <a:cubicBezTo>
                      <a:pt x="22765" y="36957"/>
                      <a:pt x="14002" y="23813"/>
                      <a:pt x="8382" y="14764"/>
                    </a:cubicBezTo>
                    <a:cubicBezTo>
                      <a:pt x="5239" y="10049"/>
                      <a:pt x="2438" y="5115"/>
                      <a:pt x="0" y="0"/>
                    </a:cubicBezTo>
                    <a:cubicBezTo>
                      <a:pt x="3543" y="4267"/>
                      <a:pt x="6734" y="8830"/>
                      <a:pt x="9525" y="13621"/>
                    </a:cubicBezTo>
                    <a:cubicBezTo>
                      <a:pt x="15621" y="22669"/>
                      <a:pt x="24765" y="35433"/>
                      <a:pt x="36385" y="51054"/>
                    </a:cubicBezTo>
                    <a:cubicBezTo>
                      <a:pt x="96679" y="132436"/>
                      <a:pt x="168897" y="204263"/>
                      <a:pt x="250603" y="264128"/>
                    </a:cubicBezTo>
                    <a:cubicBezTo>
                      <a:pt x="266224" y="275654"/>
                      <a:pt x="279178" y="284702"/>
                      <a:pt x="288131" y="290703"/>
                    </a:cubicBezTo>
                    <a:cubicBezTo>
                      <a:pt x="293084" y="293598"/>
                      <a:pt x="297828" y="296846"/>
                      <a:pt x="302323" y="30041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9D2D6AD3-3DC1-42BE-84DC-F9FB081C54DB}"/>
                  </a:ext>
                </a:extLst>
              </p:cNvPr>
              <p:cNvSpPr/>
              <p:nvPr/>
            </p:nvSpPr>
            <p:spPr>
              <a:xfrm>
                <a:off x="1419968" y="5196630"/>
                <a:ext cx="619791" cy="58674"/>
              </a:xfrm>
              <a:custGeom>
                <a:avLst/>
                <a:gdLst>
                  <a:gd name="connsiteX0" fmla="*/ 0 w 619791"/>
                  <a:gd name="connsiteY0" fmla="*/ 0 h 58674"/>
                  <a:gd name="connsiteX1" fmla="*/ 16097 w 619791"/>
                  <a:gd name="connsiteY1" fmla="*/ 58674 h 58674"/>
                  <a:gd name="connsiteX2" fmla="*/ 619792 w 619791"/>
                  <a:gd name="connsiteY2" fmla="*/ 56674 h 58674"/>
                  <a:gd name="connsiteX3" fmla="*/ 0 w 619791"/>
                  <a:gd name="connsiteY3" fmla="*/ 0 h 58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9791" h="58674">
                    <a:moveTo>
                      <a:pt x="0" y="0"/>
                    </a:moveTo>
                    <a:lnTo>
                      <a:pt x="16097" y="58674"/>
                    </a:lnTo>
                    <a:lnTo>
                      <a:pt x="619792" y="566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C4B4C72D-CEA0-45D1-986B-27137C99EAF7}"/>
              </a:ext>
            </a:extLst>
          </p:cNvPr>
          <p:cNvCxnSpPr>
            <a:cxnSpLocks/>
          </p:cNvCxnSpPr>
          <p:nvPr/>
        </p:nvCxnSpPr>
        <p:spPr>
          <a:xfrm>
            <a:off x="5722374" y="4592906"/>
            <a:ext cx="646962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Freeform: Shape 200">
            <a:extLst>
              <a:ext uri="{FF2B5EF4-FFF2-40B4-BE49-F238E27FC236}">
                <a16:creationId xmlns:a16="http://schemas.microsoft.com/office/drawing/2014/main" id="{54AD8E2F-EE7D-4719-A4ED-DAAA004AD46A}"/>
              </a:ext>
            </a:extLst>
          </p:cNvPr>
          <p:cNvSpPr/>
          <p:nvPr/>
        </p:nvSpPr>
        <p:spPr>
          <a:xfrm rot="10800000" flipV="1">
            <a:off x="5995236" y="6353569"/>
            <a:ext cx="1082619" cy="504431"/>
          </a:xfrm>
          <a:custGeom>
            <a:avLst/>
            <a:gdLst>
              <a:gd name="connsiteX0" fmla="*/ 770214 w 770214"/>
              <a:gd name="connsiteY0" fmla="*/ 358870 h 358870"/>
              <a:gd name="connsiteX1" fmla="*/ 0 w 770214"/>
              <a:gd name="connsiteY1" fmla="*/ 358870 h 358870"/>
              <a:gd name="connsiteX2" fmla="*/ 4943 w 770214"/>
              <a:gd name="connsiteY2" fmla="*/ 309843 h 358870"/>
              <a:gd name="connsiteX3" fmla="*/ 385108 w 770214"/>
              <a:gd name="connsiteY3" fmla="*/ 0 h 358870"/>
              <a:gd name="connsiteX4" fmla="*/ 765272 w 770214"/>
              <a:gd name="connsiteY4" fmla="*/ 309843 h 35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0214" h="358870">
                <a:moveTo>
                  <a:pt x="770214" y="358870"/>
                </a:moveTo>
                <a:lnTo>
                  <a:pt x="0" y="358870"/>
                </a:lnTo>
                <a:lnTo>
                  <a:pt x="4943" y="309843"/>
                </a:lnTo>
                <a:cubicBezTo>
                  <a:pt x="41127" y="133016"/>
                  <a:pt x="197583" y="0"/>
                  <a:pt x="385108" y="0"/>
                </a:cubicBezTo>
                <a:cubicBezTo>
                  <a:pt x="572632" y="0"/>
                  <a:pt x="729088" y="133016"/>
                  <a:pt x="765272" y="309843"/>
                </a:cubicBezTo>
                <a:close/>
              </a:path>
            </a:pathLst>
          </a:custGeom>
          <a:solidFill>
            <a:srgbClr val="F7AB9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2" name="Graphic 28">
            <a:extLst>
              <a:ext uri="{FF2B5EF4-FFF2-40B4-BE49-F238E27FC236}">
                <a16:creationId xmlns:a16="http://schemas.microsoft.com/office/drawing/2014/main" id="{8058C614-E213-4CE8-9329-0B8B46297CAE}"/>
              </a:ext>
            </a:extLst>
          </p:cNvPr>
          <p:cNvGrpSpPr/>
          <p:nvPr/>
        </p:nvGrpSpPr>
        <p:grpSpPr>
          <a:xfrm rot="10800000" flipV="1">
            <a:off x="7794594" y="4902706"/>
            <a:ext cx="302176" cy="302310"/>
            <a:chOff x="10517187" y="-377031"/>
            <a:chExt cx="214979" cy="215074"/>
          </a:xfrm>
          <a:solidFill>
            <a:srgbClr val="FDDABC"/>
          </a:solidFill>
        </p:grpSpPr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14F6663C-29E0-43AA-B669-AB56C4746B28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D96EA5BB-1150-4693-A37A-24D9AFEAEA47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3" name="Graphic 28">
            <a:extLst>
              <a:ext uri="{FF2B5EF4-FFF2-40B4-BE49-F238E27FC236}">
                <a16:creationId xmlns:a16="http://schemas.microsoft.com/office/drawing/2014/main" id="{239480A0-C108-4718-8555-C5B211E21BEF}"/>
              </a:ext>
            </a:extLst>
          </p:cNvPr>
          <p:cNvGrpSpPr/>
          <p:nvPr/>
        </p:nvGrpSpPr>
        <p:grpSpPr>
          <a:xfrm rot="10800000" flipV="1">
            <a:off x="9837642" y="4837198"/>
            <a:ext cx="1604333" cy="305255"/>
            <a:chOff x="10869230" y="-379413"/>
            <a:chExt cx="1141380" cy="217169"/>
          </a:xfrm>
          <a:solidFill>
            <a:srgbClr val="809493"/>
          </a:solidFill>
        </p:grpSpPr>
        <p:grpSp>
          <p:nvGrpSpPr>
            <p:cNvPr id="204" name="Graphic 28">
              <a:extLst>
                <a:ext uri="{FF2B5EF4-FFF2-40B4-BE49-F238E27FC236}">
                  <a16:creationId xmlns:a16="http://schemas.microsoft.com/office/drawing/2014/main" id="{46EBAA00-1D8A-48EA-92B0-244EDC1CE242}"/>
                </a:ext>
              </a:extLst>
            </p:cNvPr>
            <p:cNvGrpSpPr/>
            <p:nvPr/>
          </p:nvGrpSpPr>
          <p:grpSpPr>
            <a:xfrm>
              <a:off x="10869230" y="-379413"/>
              <a:ext cx="522827" cy="217169"/>
              <a:chOff x="10869230" y="-379413"/>
              <a:chExt cx="522827" cy="217169"/>
            </a:xfrm>
            <a:grpFill/>
          </p:grpSpPr>
          <p:grpSp>
            <p:nvGrpSpPr>
              <p:cNvPr id="216" name="Graphic 28">
                <a:extLst>
                  <a:ext uri="{FF2B5EF4-FFF2-40B4-BE49-F238E27FC236}">
                    <a16:creationId xmlns:a16="http://schemas.microsoft.com/office/drawing/2014/main" id="{9FD0D6EE-C9A8-4A06-9F1B-76D2FDB8DC46}"/>
                  </a:ext>
                </a:extLst>
              </p:cNvPr>
              <p:cNvGrpSpPr/>
              <p:nvPr/>
            </p:nvGrpSpPr>
            <p:grpSpPr>
              <a:xfrm>
                <a:off x="11178793" y="-379413"/>
                <a:ext cx="213264" cy="217169"/>
                <a:chOff x="11178793" y="-379413"/>
                <a:chExt cx="213264" cy="217169"/>
              </a:xfrm>
              <a:grpFill/>
            </p:grpSpPr>
            <p:sp>
              <p:nvSpPr>
                <p:cNvPr id="222" name="Freeform: Shape 221">
                  <a:extLst>
                    <a:ext uri="{FF2B5EF4-FFF2-40B4-BE49-F238E27FC236}">
                      <a16:creationId xmlns:a16="http://schemas.microsoft.com/office/drawing/2014/main" id="{FE965339-BF94-462C-A42D-6C563BEA95F0}"/>
                    </a:ext>
                  </a:extLst>
                </p:cNvPr>
                <p:cNvSpPr/>
                <p:nvPr/>
              </p:nvSpPr>
              <p:spPr>
                <a:xfrm>
                  <a:off x="11178888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222">
                  <a:extLst>
                    <a:ext uri="{FF2B5EF4-FFF2-40B4-BE49-F238E27FC236}">
                      <a16:creationId xmlns:a16="http://schemas.microsoft.com/office/drawing/2014/main" id="{3E1A41C3-2072-49E1-BA5F-BDC110D61D88}"/>
                    </a:ext>
                  </a:extLst>
                </p:cNvPr>
                <p:cNvSpPr/>
                <p:nvPr/>
              </p:nvSpPr>
              <p:spPr>
                <a:xfrm>
                  <a:off x="1117879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223">
                  <a:extLst>
                    <a:ext uri="{FF2B5EF4-FFF2-40B4-BE49-F238E27FC236}">
                      <a16:creationId xmlns:a16="http://schemas.microsoft.com/office/drawing/2014/main" id="{C33E3BD7-DA18-45EA-AFE3-5F1489A7CE20}"/>
                    </a:ext>
                  </a:extLst>
                </p:cNvPr>
                <p:cNvSpPr/>
                <p:nvPr/>
              </p:nvSpPr>
              <p:spPr>
                <a:xfrm>
                  <a:off x="11331860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224">
                  <a:extLst>
                    <a:ext uri="{FF2B5EF4-FFF2-40B4-BE49-F238E27FC236}">
                      <a16:creationId xmlns:a16="http://schemas.microsoft.com/office/drawing/2014/main" id="{07F47F79-5411-40E6-B6A5-8EA7137F9082}"/>
                    </a:ext>
                  </a:extLst>
                </p:cNvPr>
                <p:cNvSpPr/>
                <p:nvPr/>
              </p:nvSpPr>
              <p:spPr>
                <a:xfrm>
                  <a:off x="11331764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6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17" name="Graphic 28">
                <a:extLst>
                  <a:ext uri="{FF2B5EF4-FFF2-40B4-BE49-F238E27FC236}">
                    <a16:creationId xmlns:a16="http://schemas.microsoft.com/office/drawing/2014/main" id="{10FA6576-77B1-4399-BF3F-6A4BC24164EF}"/>
                  </a:ext>
                </a:extLst>
              </p:cNvPr>
              <p:cNvGrpSpPr/>
              <p:nvPr/>
            </p:nvGrpSpPr>
            <p:grpSpPr>
              <a:xfrm>
                <a:off x="10869230" y="-379413"/>
                <a:ext cx="213169" cy="217169"/>
                <a:chOff x="10869230" y="-379413"/>
                <a:chExt cx="213169" cy="217169"/>
              </a:xfrm>
              <a:grpFill/>
            </p:grpSpPr>
            <p:sp>
              <p:nvSpPr>
                <p:cNvPr id="218" name="Freeform: Shape 217">
                  <a:extLst>
                    <a:ext uri="{FF2B5EF4-FFF2-40B4-BE49-F238E27FC236}">
                      <a16:creationId xmlns:a16="http://schemas.microsoft.com/office/drawing/2014/main" id="{48DA14E1-4570-40F3-BD1C-51D65B40CEAC}"/>
                    </a:ext>
                  </a:extLst>
                </p:cNvPr>
                <p:cNvSpPr/>
                <p:nvPr/>
              </p:nvSpPr>
              <p:spPr>
                <a:xfrm>
                  <a:off x="10869231" y="-379413"/>
                  <a:ext cx="60198" cy="60198"/>
                </a:xfrm>
                <a:custGeom>
                  <a:avLst/>
                  <a:gdLst>
                    <a:gd name="connsiteX0" fmla="*/ 60198 w 60198"/>
                    <a:gd name="connsiteY0" fmla="*/ 30099 h 60198"/>
                    <a:gd name="connsiteX1" fmla="*/ 30099 w 60198"/>
                    <a:gd name="connsiteY1" fmla="*/ 60198 h 60198"/>
                    <a:gd name="connsiteX2" fmla="*/ 0 w 60198"/>
                    <a:gd name="connsiteY2" fmla="*/ 30099 h 60198"/>
                    <a:gd name="connsiteX3" fmla="*/ 30099 w 60198"/>
                    <a:gd name="connsiteY3" fmla="*/ 0 h 60198"/>
                    <a:gd name="connsiteX4" fmla="*/ 60198 w 60198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8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: Shape 218">
                  <a:extLst>
                    <a:ext uri="{FF2B5EF4-FFF2-40B4-BE49-F238E27FC236}">
                      <a16:creationId xmlns:a16="http://schemas.microsoft.com/office/drawing/2014/main" id="{2665F065-8819-43CE-8E36-44EC35DFF509}"/>
                    </a:ext>
                  </a:extLst>
                </p:cNvPr>
                <p:cNvSpPr/>
                <p:nvPr/>
              </p:nvSpPr>
              <p:spPr>
                <a:xfrm>
                  <a:off x="10869230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6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219">
                  <a:extLst>
                    <a:ext uri="{FF2B5EF4-FFF2-40B4-BE49-F238E27FC236}">
                      <a16:creationId xmlns:a16="http://schemas.microsoft.com/office/drawing/2014/main" id="{9C298788-F6A3-43B5-B367-6AA7581934EF}"/>
                    </a:ext>
                  </a:extLst>
                </p:cNvPr>
                <p:cNvSpPr/>
                <p:nvPr/>
              </p:nvSpPr>
              <p:spPr>
                <a:xfrm>
                  <a:off x="11022202" y="-379413"/>
                  <a:ext cx="60198" cy="60198"/>
                </a:xfrm>
                <a:custGeom>
                  <a:avLst/>
                  <a:gdLst>
                    <a:gd name="connsiteX0" fmla="*/ 60198 w 60198"/>
                    <a:gd name="connsiteY0" fmla="*/ 30099 h 60198"/>
                    <a:gd name="connsiteX1" fmla="*/ 30099 w 60198"/>
                    <a:gd name="connsiteY1" fmla="*/ 60198 h 60198"/>
                    <a:gd name="connsiteX2" fmla="*/ 0 w 60198"/>
                    <a:gd name="connsiteY2" fmla="*/ 30099 h 60198"/>
                    <a:gd name="connsiteX3" fmla="*/ 30099 w 60198"/>
                    <a:gd name="connsiteY3" fmla="*/ 0 h 60198"/>
                    <a:gd name="connsiteX4" fmla="*/ 60198 w 60198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8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220">
                  <a:extLst>
                    <a:ext uri="{FF2B5EF4-FFF2-40B4-BE49-F238E27FC236}">
                      <a16:creationId xmlns:a16="http://schemas.microsoft.com/office/drawing/2014/main" id="{B85BFA03-489A-4851-AC2A-A58A9E696BB8}"/>
                    </a:ext>
                  </a:extLst>
                </p:cNvPr>
                <p:cNvSpPr/>
                <p:nvPr/>
              </p:nvSpPr>
              <p:spPr>
                <a:xfrm>
                  <a:off x="1102220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2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05" name="Graphic 28">
              <a:extLst>
                <a:ext uri="{FF2B5EF4-FFF2-40B4-BE49-F238E27FC236}">
                  <a16:creationId xmlns:a16="http://schemas.microsoft.com/office/drawing/2014/main" id="{04C061C5-A126-42C0-A36B-56C44EA3E589}"/>
                </a:ext>
              </a:extLst>
            </p:cNvPr>
            <p:cNvGrpSpPr/>
            <p:nvPr/>
          </p:nvGrpSpPr>
          <p:grpSpPr>
            <a:xfrm>
              <a:off x="11487879" y="-379413"/>
              <a:ext cx="522731" cy="217169"/>
              <a:chOff x="11487879" y="-379413"/>
              <a:chExt cx="522731" cy="217169"/>
            </a:xfrm>
            <a:grpFill/>
          </p:grpSpPr>
          <p:grpSp>
            <p:nvGrpSpPr>
              <p:cNvPr id="206" name="Graphic 28">
                <a:extLst>
                  <a:ext uri="{FF2B5EF4-FFF2-40B4-BE49-F238E27FC236}">
                    <a16:creationId xmlns:a16="http://schemas.microsoft.com/office/drawing/2014/main" id="{DA31DF0B-3D88-420E-B07A-1EE19F38C251}"/>
                  </a:ext>
                </a:extLst>
              </p:cNvPr>
              <p:cNvGrpSpPr/>
              <p:nvPr/>
            </p:nvGrpSpPr>
            <p:grpSpPr>
              <a:xfrm>
                <a:off x="11797442" y="-379413"/>
                <a:ext cx="213169" cy="217169"/>
                <a:chOff x="11797442" y="-379413"/>
                <a:chExt cx="213169" cy="217169"/>
              </a:xfrm>
              <a:grpFill/>
            </p:grpSpPr>
            <p:sp>
              <p:nvSpPr>
                <p:cNvPr id="212" name="Freeform: Shape 211">
                  <a:extLst>
                    <a:ext uri="{FF2B5EF4-FFF2-40B4-BE49-F238E27FC236}">
                      <a16:creationId xmlns:a16="http://schemas.microsoft.com/office/drawing/2014/main" id="{324656AF-58A8-4032-8AB4-59CF8EC1248D}"/>
                    </a:ext>
                  </a:extLst>
                </p:cNvPr>
                <p:cNvSpPr/>
                <p:nvPr/>
              </p:nvSpPr>
              <p:spPr>
                <a:xfrm>
                  <a:off x="11797537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: Shape 212">
                  <a:extLst>
                    <a:ext uri="{FF2B5EF4-FFF2-40B4-BE49-F238E27FC236}">
                      <a16:creationId xmlns:a16="http://schemas.microsoft.com/office/drawing/2014/main" id="{AF3C0159-8078-453E-BCD7-79C4E3BE5ECD}"/>
                    </a:ext>
                  </a:extLst>
                </p:cNvPr>
                <p:cNvSpPr/>
                <p:nvPr/>
              </p:nvSpPr>
              <p:spPr>
                <a:xfrm>
                  <a:off x="1179744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: Shape 213">
                  <a:extLst>
                    <a:ext uri="{FF2B5EF4-FFF2-40B4-BE49-F238E27FC236}">
                      <a16:creationId xmlns:a16="http://schemas.microsoft.com/office/drawing/2014/main" id="{BBFDB726-6156-48FE-9462-BD6871920810}"/>
                    </a:ext>
                  </a:extLst>
                </p:cNvPr>
                <p:cNvSpPr/>
                <p:nvPr/>
              </p:nvSpPr>
              <p:spPr>
                <a:xfrm>
                  <a:off x="11950413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673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0"/>
                        <a:pt x="60198" y="13430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: Shape 214">
                  <a:extLst>
                    <a:ext uri="{FF2B5EF4-FFF2-40B4-BE49-F238E27FC236}">
                      <a16:creationId xmlns:a16="http://schemas.microsoft.com/office/drawing/2014/main" id="{A298DFB7-EAED-4DBE-BF99-3926EC582353}"/>
                    </a:ext>
                  </a:extLst>
                </p:cNvPr>
                <p:cNvSpPr/>
                <p:nvPr/>
              </p:nvSpPr>
              <p:spPr>
                <a:xfrm>
                  <a:off x="1195041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07" name="Graphic 28">
                <a:extLst>
                  <a:ext uri="{FF2B5EF4-FFF2-40B4-BE49-F238E27FC236}">
                    <a16:creationId xmlns:a16="http://schemas.microsoft.com/office/drawing/2014/main" id="{FF70B0B3-D4D7-4AB3-958E-04B08BBDDE44}"/>
                  </a:ext>
                </a:extLst>
              </p:cNvPr>
              <p:cNvGrpSpPr/>
              <p:nvPr/>
            </p:nvGrpSpPr>
            <p:grpSpPr>
              <a:xfrm>
                <a:off x="11487879" y="-379413"/>
                <a:ext cx="213169" cy="217169"/>
                <a:chOff x="11487879" y="-379413"/>
                <a:chExt cx="213169" cy="217169"/>
              </a:xfrm>
              <a:grpFill/>
            </p:grpSpPr>
            <p:sp>
              <p:nvSpPr>
                <p:cNvPr id="208" name="Freeform: Shape 207">
                  <a:extLst>
                    <a:ext uri="{FF2B5EF4-FFF2-40B4-BE49-F238E27FC236}">
                      <a16:creationId xmlns:a16="http://schemas.microsoft.com/office/drawing/2014/main" id="{31406958-A401-4CE7-AB3C-C66FE9E12A3D}"/>
                    </a:ext>
                  </a:extLst>
                </p:cNvPr>
                <p:cNvSpPr/>
                <p:nvPr/>
              </p:nvSpPr>
              <p:spPr>
                <a:xfrm>
                  <a:off x="11487879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: Shape 208">
                  <a:extLst>
                    <a:ext uri="{FF2B5EF4-FFF2-40B4-BE49-F238E27FC236}">
                      <a16:creationId xmlns:a16="http://schemas.microsoft.com/office/drawing/2014/main" id="{FD3DEEBD-A744-4B18-85A1-B5DADD9DFFCC}"/>
                    </a:ext>
                  </a:extLst>
                </p:cNvPr>
                <p:cNvSpPr/>
                <p:nvPr/>
              </p:nvSpPr>
              <p:spPr>
                <a:xfrm>
                  <a:off x="11487879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: Shape 209">
                  <a:extLst>
                    <a:ext uri="{FF2B5EF4-FFF2-40B4-BE49-F238E27FC236}">
                      <a16:creationId xmlns:a16="http://schemas.microsoft.com/office/drawing/2014/main" id="{ABD2F0A5-1401-4A47-B889-D9BB0CB2A159}"/>
                    </a:ext>
                  </a:extLst>
                </p:cNvPr>
                <p:cNvSpPr/>
                <p:nvPr/>
              </p:nvSpPr>
              <p:spPr>
                <a:xfrm>
                  <a:off x="11640851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: Shape 210">
                  <a:extLst>
                    <a:ext uri="{FF2B5EF4-FFF2-40B4-BE49-F238E27FC236}">
                      <a16:creationId xmlns:a16="http://schemas.microsoft.com/office/drawing/2014/main" id="{8C1355E8-8F1F-4ACA-8B9F-4BFEB668793C}"/>
                    </a:ext>
                  </a:extLst>
                </p:cNvPr>
                <p:cNvSpPr/>
                <p:nvPr/>
              </p:nvSpPr>
              <p:spPr>
                <a:xfrm>
                  <a:off x="11640851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234" name="Graphic 228" descr="An organic corner shape">
            <a:extLst>
              <a:ext uri="{FF2B5EF4-FFF2-40B4-BE49-F238E27FC236}">
                <a16:creationId xmlns:a16="http://schemas.microsoft.com/office/drawing/2014/main" id="{87FA969D-97B1-41E6-B871-D660D6A9027E}"/>
              </a:ext>
            </a:extLst>
          </p:cNvPr>
          <p:cNvSpPr/>
          <p:nvPr/>
        </p:nvSpPr>
        <p:spPr>
          <a:xfrm>
            <a:off x="0" y="0"/>
            <a:ext cx="4000500" cy="2857500"/>
          </a:xfrm>
          <a:custGeom>
            <a:avLst/>
            <a:gdLst>
              <a:gd name="connsiteX0" fmla="*/ 0 w 4000500"/>
              <a:gd name="connsiteY0" fmla="*/ 2857500 h 2857500"/>
              <a:gd name="connsiteX1" fmla="*/ 0 w 4000500"/>
              <a:gd name="connsiteY1" fmla="*/ 0 h 2857500"/>
              <a:gd name="connsiteX2" fmla="*/ 4000500 w 4000500"/>
              <a:gd name="connsiteY2" fmla="*/ 0 h 2857500"/>
              <a:gd name="connsiteX3" fmla="*/ 2328205 w 4000500"/>
              <a:gd name="connsiteY3" fmla="*/ 1271369 h 2857500"/>
              <a:gd name="connsiteX4" fmla="*/ 1504693 w 4000500"/>
              <a:gd name="connsiteY4" fmla="*/ 1483890 h 2857500"/>
              <a:gd name="connsiteX5" fmla="*/ 866775 w 4000500"/>
              <a:gd name="connsiteY5" fmla="*/ 2438400 h 2857500"/>
              <a:gd name="connsiteX6" fmla="*/ 0 w 4000500"/>
              <a:gd name="connsiteY6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00500" h="2857500">
                <a:moveTo>
                  <a:pt x="0" y="2857500"/>
                </a:moveTo>
                <a:lnTo>
                  <a:pt x="0" y="0"/>
                </a:lnTo>
                <a:lnTo>
                  <a:pt x="4000500" y="0"/>
                </a:lnTo>
                <a:cubicBezTo>
                  <a:pt x="4000500" y="0"/>
                  <a:pt x="3276600" y="1181100"/>
                  <a:pt x="2328205" y="1271369"/>
                </a:cubicBezTo>
                <a:cubicBezTo>
                  <a:pt x="2057314" y="1297153"/>
                  <a:pt x="1790957" y="1280779"/>
                  <a:pt x="1504693" y="1483890"/>
                </a:cubicBezTo>
                <a:cubicBezTo>
                  <a:pt x="1174785" y="1717958"/>
                  <a:pt x="1206151" y="2097519"/>
                  <a:pt x="866775" y="2438400"/>
                </a:cubicBezTo>
                <a:cubicBezTo>
                  <a:pt x="571150" y="2735333"/>
                  <a:pt x="0" y="2857500"/>
                  <a:pt x="0" y="2857500"/>
                </a:cubicBezTo>
                <a:close/>
              </a:path>
            </a:pathLst>
          </a:custGeom>
          <a:solidFill>
            <a:srgbClr val="FDDAB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E75CE742-9A0D-4D03-89DB-4BE9EBE7E306}"/>
              </a:ext>
            </a:extLst>
          </p:cNvPr>
          <p:cNvGrpSpPr/>
          <p:nvPr/>
        </p:nvGrpSpPr>
        <p:grpSpPr>
          <a:xfrm rot="20224354">
            <a:off x="7817490" y="346050"/>
            <a:ext cx="1697370" cy="1663897"/>
            <a:chOff x="7758968" y="158862"/>
            <a:chExt cx="2053818" cy="2013315"/>
          </a:xfrm>
        </p:grpSpPr>
        <p:pic>
          <p:nvPicPr>
            <p:cNvPr id="283" name="Graphic 282">
              <a:extLst>
                <a:ext uri="{FF2B5EF4-FFF2-40B4-BE49-F238E27FC236}">
                  <a16:creationId xmlns:a16="http://schemas.microsoft.com/office/drawing/2014/main" id="{9D218322-E00D-420F-8D26-ACCF52EF6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71071" y="838677"/>
              <a:ext cx="1333500" cy="1333500"/>
            </a:xfrm>
            <a:prstGeom prst="rect">
              <a:avLst/>
            </a:prstGeom>
          </p:spPr>
        </p:pic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D50DBA2F-62CE-4B78-8D2B-DB0BAB23C4FD}"/>
                </a:ext>
              </a:extLst>
            </p:cNvPr>
            <p:cNvCxnSpPr>
              <a:cxnSpLocks/>
            </p:cNvCxnSpPr>
            <p:nvPr/>
          </p:nvCxnSpPr>
          <p:spPr>
            <a:xfrm>
              <a:off x="7758968" y="158862"/>
              <a:ext cx="1383970" cy="1383970"/>
            </a:xfrm>
            <a:prstGeom prst="line">
              <a:avLst/>
            </a:prstGeom>
            <a:ln w="38100">
              <a:solidFill>
                <a:srgbClr val="FDDA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id="{C0B892A4-5BE1-4E79-8043-9913CDDF1764}"/>
                </a:ext>
              </a:extLst>
            </p:cNvPr>
            <p:cNvCxnSpPr>
              <a:cxnSpLocks/>
            </p:cNvCxnSpPr>
            <p:nvPr/>
          </p:nvCxnSpPr>
          <p:spPr>
            <a:xfrm>
              <a:off x="9226960" y="1288270"/>
              <a:ext cx="585826" cy="585826"/>
            </a:xfrm>
            <a:prstGeom prst="line">
              <a:avLst/>
            </a:prstGeom>
            <a:ln w="38100">
              <a:solidFill>
                <a:srgbClr val="FDDA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9" name="Freeform: Shape 288">
            <a:extLst>
              <a:ext uri="{FF2B5EF4-FFF2-40B4-BE49-F238E27FC236}">
                <a16:creationId xmlns:a16="http://schemas.microsoft.com/office/drawing/2014/main" id="{0A92BEB7-4195-4090-A92C-55D33552950E}"/>
              </a:ext>
            </a:extLst>
          </p:cNvPr>
          <p:cNvSpPr/>
          <p:nvPr/>
        </p:nvSpPr>
        <p:spPr>
          <a:xfrm rot="5400000">
            <a:off x="9487928" y="3159081"/>
            <a:ext cx="4868304" cy="539839"/>
          </a:xfrm>
          <a:custGeom>
            <a:avLst/>
            <a:gdLst>
              <a:gd name="connsiteX0" fmla="*/ 0 w 6479712"/>
              <a:gd name="connsiteY0" fmla="*/ 0 h 718525"/>
              <a:gd name="connsiteX1" fmla="*/ 6479712 w 6479712"/>
              <a:gd name="connsiteY1" fmla="*/ 0 h 718525"/>
              <a:gd name="connsiteX2" fmla="*/ 6443912 w 6479712"/>
              <a:gd name="connsiteY2" fmla="*/ 22038 h 718525"/>
              <a:gd name="connsiteX3" fmla="*/ 4737151 w 6479712"/>
              <a:gd name="connsiteY3" fmla="*/ 712799 h 718525"/>
              <a:gd name="connsiteX4" fmla="*/ 3372808 w 6479712"/>
              <a:gd name="connsiteY4" fmla="*/ 306399 h 718525"/>
              <a:gd name="connsiteX5" fmla="*/ 1311779 w 6479712"/>
              <a:gd name="connsiteY5" fmla="*/ 538628 h 718525"/>
              <a:gd name="connsiteX6" fmla="*/ 127278 w 6479712"/>
              <a:gd name="connsiteY6" fmla="*/ 80578 h 71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9712" h="718525">
                <a:moveTo>
                  <a:pt x="0" y="0"/>
                </a:moveTo>
                <a:lnTo>
                  <a:pt x="6479712" y="0"/>
                </a:lnTo>
                <a:lnTo>
                  <a:pt x="6443912" y="22038"/>
                </a:lnTo>
                <a:cubicBezTo>
                  <a:pt x="6079647" y="238401"/>
                  <a:pt x="5202817" y="659883"/>
                  <a:pt x="4737151" y="712799"/>
                </a:cubicBezTo>
                <a:cubicBezTo>
                  <a:pt x="4204961" y="773275"/>
                  <a:pt x="3943703" y="335428"/>
                  <a:pt x="3372808" y="306399"/>
                </a:cubicBezTo>
                <a:cubicBezTo>
                  <a:pt x="2801913" y="277370"/>
                  <a:pt x="1911703" y="613618"/>
                  <a:pt x="1311779" y="538628"/>
                </a:cubicBezTo>
                <a:cubicBezTo>
                  <a:pt x="861836" y="482386"/>
                  <a:pt x="485372" y="297555"/>
                  <a:pt x="127278" y="80578"/>
                </a:cubicBezTo>
                <a:close/>
              </a:path>
            </a:pathLst>
          </a:custGeom>
          <a:solidFill>
            <a:srgbClr val="FDD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6BA78007-EDDC-45D1-B331-BB4B6BFDC0E6}"/>
              </a:ext>
            </a:extLst>
          </p:cNvPr>
          <p:cNvGrpSpPr/>
          <p:nvPr/>
        </p:nvGrpSpPr>
        <p:grpSpPr>
          <a:xfrm>
            <a:off x="9423074" y="5869355"/>
            <a:ext cx="1883039" cy="988645"/>
            <a:chOff x="8986114" y="5428343"/>
            <a:chExt cx="2756958" cy="1447476"/>
          </a:xfrm>
        </p:grpSpPr>
        <p:pic>
          <p:nvPicPr>
            <p:cNvPr id="290" name="Graphic 289">
              <a:extLst>
                <a:ext uri="{FF2B5EF4-FFF2-40B4-BE49-F238E27FC236}">
                  <a16:creationId xmlns:a16="http://schemas.microsoft.com/office/drawing/2014/main" id="{4AFFA852-E567-4BB8-AAB5-A3BC440DAA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47497"/>
            <a:stretch>
              <a:fillRect/>
            </a:stretch>
          </p:blipFill>
          <p:spPr>
            <a:xfrm>
              <a:off x="8986114" y="5428343"/>
              <a:ext cx="2756958" cy="1447476"/>
            </a:xfrm>
            <a:custGeom>
              <a:avLst/>
              <a:gdLst>
                <a:gd name="connsiteX0" fmla="*/ 0 w 2756958"/>
                <a:gd name="connsiteY0" fmla="*/ 0 h 1447476"/>
                <a:gd name="connsiteX1" fmla="*/ 2756958 w 2756958"/>
                <a:gd name="connsiteY1" fmla="*/ 0 h 1447476"/>
                <a:gd name="connsiteX2" fmla="*/ 2756958 w 2756958"/>
                <a:gd name="connsiteY2" fmla="*/ 1447476 h 1447476"/>
                <a:gd name="connsiteX3" fmla="*/ 0 w 2756958"/>
                <a:gd name="connsiteY3" fmla="*/ 1447476 h 144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6958" h="1447476">
                  <a:moveTo>
                    <a:pt x="0" y="0"/>
                  </a:moveTo>
                  <a:lnTo>
                    <a:pt x="2756958" y="0"/>
                  </a:lnTo>
                  <a:lnTo>
                    <a:pt x="2756958" y="1447476"/>
                  </a:lnTo>
                  <a:lnTo>
                    <a:pt x="0" y="1447476"/>
                  </a:lnTo>
                  <a:close/>
                </a:path>
              </a:pathLst>
            </a:custGeom>
          </p:spPr>
        </p:pic>
        <p:pic>
          <p:nvPicPr>
            <p:cNvPr id="291" name="Graphic 290">
              <a:extLst>
                <a:ext uri="{FF2B5EF4-FFF2-40B4-BE49-F238E27FC236}">
                  <a16:creationId xmlns:a16="http://schemas.microsoft.com/office/drawing/2014/main" id="{5DFF3C5F-FEE7-4928-8646-C2DF64B07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669266" y="6383689"/>
              <a:ext cx="333375" cy="333375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E38DF66-199C-4DBA-8625-245485F1AF1F}"/>
              </a:ext>
            </a:extLst>
          </p:cNvPr>
          <p:cNvSpPr txBox="1"/>
          <p:nvPr/>
        </p:nvSpPr>
        <p:spPr>
          <a:xfrm>
            <a:off x="5493767" y="4759632"/>
            <a:ext cx="33807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  <a:latin typeface="Georgia" panose="02040502050405020303" pitchFamily="18" charset="0"/>
              </a:rPr>
              <a:t>Group member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err="1">
                <a:solidFill>
                  <a:schemeClr val="bg1"/>
                </a:solidFill>
                <a:latin typeface="Georgia" panose="02040502050405020303" pitchFamily="18" charset="0"/>
              </a:rPr>
              <a:t>Esraa</a:t>
            </a: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 Badawi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err="1">
                <a:solidFill>
                  <a:schemeClr val="bg1"/>
                </a:solidFill>
                <a:latin typeface="Georgia" panose="02040502050405020303" pitchFamily="18" charset="0"/>
              </a:rPr>
              <a:t>Esraa</a:t>
            </a: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 El-</a:t>
            </a:r>
            <a:r>
              <a:rPr lang="en-US" err="1">
                <a:solidFill>
                  <a:schemeClr val="bg1"/>
                </a:solidFill>
                <a:latin typeface="Georgia" panose="02040502050405020303" pitchFamily="18" charset="0"/>
              </a:rPr>
              <a:t>Kot</a:t>
            </a: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Salma Sulta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err="1">
                <a:solidFill>
                  <a:schemeClr val="bg1"/>
                </a:solidFill>
                <a:latin typeface="Georgia" panose="02040502050405020303" pitchFamily="18" charset="0"/>
              </a:rPr>
              <a:t>Sondos</a:t>
            </a: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 Ali</a:t>
            </a:r>
          </a:p>
        </p:txBody>
      </p:sp>
    </p:spTree>
    <p:extLst>
      <p:ext uri="{BB962C8B-B14F-4D97-AF65-F5344CB8AC3E}">
        <p14:creationId xmlns:p14="http://schemas.microsoft.com/office/powerpoint/2010/main" val="2359272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  <a:solidFill>
            <a:srgbClr val="094A44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3151128" y="707383"/>
            <a:ext cx="7177334" cy="4152183"/>
            <a:chOff x="500751" y="632830"/>
            <a:chExt cx="3433074" cy="114465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500751" y="632830"/>
              <a:ext cx="3433074" cy="152724"/>
            </a:xfrm>
            <a:prstGeom prst="rect">
              <a:avLst/>
            </a:prstGeom>
            <a:solidFill>
              <a:srgbClr val="094A44"/>
            </a:solidFill>
          </p:spPr>
          <p:txBody>
            <a:bodyPr wrap="square" lIns="0" tIns="0" rIns="0" bIns="0">
              <a:spAutoFit/>
            </a:bodyPr>
            <a:lstStyle/>
            <a:p>
              <a:pPr lvl="0">
                <a:defRPr/>
              </a:pPr>
              <a:r>
                <a:rPr lang="en-US" sz="3600" b="1">
                  <a:solidFill>
                    <a:schemeClr val="bg1"/>
                  </a:solidFill>
                  <a:latin typeface="Georgia" panose="02040502050405020303" pitchFamily="18" charset="0"/>
                </a:rPr>
                <a:t>The research goal</a:t>
              </a:r>
              <a:endPara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74503B-5122-4623-AB9F-1245C2B01E9D}"/>
                </a:ext>
              </a:extLst>
            </p:cNvPr>
            <p:cNvSpPr/>
            <p:nvPr/>
          </p:nvSpPr>
          <p:spPr>
            <a:xfrm>
              <a:off x="500751" y="878113"/>
              <a:ext cx="3425682" cy="89937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85750" lvl="0" indent="-285750">
                <a:buFont typeface="Wingdings" panose="05000000000000000000" pitchFamily="2" charset="2"/>
                <a:buChar char="Ø"/>
              </a:pPr>
              <a:r>
                <a:rPr lang="en-US" sz="2000">
                  <a:solidFill>
                    <a:srgbClr val="094A44"/>
                  </a:solidFill>
                  <a:latin typeface="Georgia" panose="02040502050405020303" pitchFamily="18" charset="0"/>
                </a:rPr>
                <a:t>Provide an effective way to communicate with a user and offer helpful emotional support.</a:t>
              </a:r>
              <a:br>
                <a:rPr lang="en-US" sz="2000">
                  <a:solidFill>
                    <a:schemeClr val="accent1">
                      <a:lumMod val="50000"/>
                    </a:schemeClr>
                  </a:solidFill>
                  <a:latin typeface="Georgia" panose="02040502050405020303" pitchFamily="18" charset="0"/>
                </a:rPr>
              </a:br>
              <a:endParaRPr lang="en-US" sz="200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</a:endParaRPr>
            </a:p>
            <a:p>
              <a:pPr marL="285750" lvl="0" indent="-285750">
                <a:buFont typeface="Wingdings" panose="05000000000000000000" pitchFamily="2" charset="2"/>
                <a:buChar char="Ø"/>
              </a:pPr>
              <a:r>
                <a:rPr lang="en-US">
                  <a:solidFill>
                    <a:srgbClr val="094A44"/>
                  </a:solidFill>
                  <a:latin typeface="Georgia" panose="02040502050405020303" pitchFamily="18" charset="0"/>
                </a:rPr>
                <a:t>Save the user from making regular psychiatric visits</a:t>
              </a:r>
            </a:p>
            <a:p>
              <a:r>
                <a:rPr lang="en-US">
                  <a:solidFill>
                    <a:srgbClr val="094A44"/>
                  </a:solidFill>
                  <a:latin typeface="Georgia" panose="02040502050405020303" pitchFamily="18" charset="0"/>
                </a:rPr>
                <a:t>      that require a fixed duration.</a:t>
              </a:r>
            </a:p>
            <a:p>
              <a:pPr marL="342900" indent="-342900">
                <a:buFont typeface="Wingdings" panose="05000000000000000000" pitchFamily="2" charset="2"/>
                <a:buChar char="Ø"/>
              </a:pPr>
              <a:endParaRPr lang="en-US" sz="200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  <a:defRPr/>
              </a:pPr>
              <a:r>
                <a:rPr lang="en-US">
                  <a:solidFill>
                    <a:srgbClr val="094A44"/>
                  </a:solidFill>
                  <a:latin typeface="Georgia" panose="02040502050405020303" pitchFamily="18" charset="0"/>
                </a:rPr>
                <a:t>The chatbot offers a self-healing kit suggesting various exercises, both mental and physical that the user may implement in his day-to-day life.</a:t>
              </a:r>
            </a:p>
            <a:p>
              <a:pPr marL="571500" marR="0" lvl="0" indent="-5715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4200" b="1" i="0" u="none" strike="noStrike" kern="1200" cap="none" spc="0" normalizeH="0" baseline="0" noProof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3" name="Picture 4">
            <a:extLst>
              <a:ext uri="{FF2B5EF4-FFF2-40B4-BE49-F238E27FC236}">
                <a16:creationId xmlns:a16="http://schemas.microsoft.com/office/drawing/2014/main" id="{0497C7C2-7330-7834-D7DA-92ECDE8A7D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1376575"/>
            <a:ext cx="2743200" cy="265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5" name="Straight Connector 794">
            <a:extLst>
              <a:ext uri="{FF2B5EF4-FFF2-40B4-BE49-F238E27FC236}">
                <a16:creationId xmlns:a16="http://schemas.microsoft.com/office/drawing/2014/main" id="{D55338C3-926A-4771-B71A-66C538E9ABBE}"/>
              </a:ext>
            </a:extLst>
          </p:cNvPr>
          <p:cNvCxnSpPr>
            <a:cxnSpLocks/>
          </p:cNvCxnSpPr>
          <p:nvPr/>
        </p:nvCxnSpPr>
        <p:spPr>
          <a:xfrm>
            <a:off x="50499" y="2299622"/>
            <a:ext cx="4229100" cy="0"/>
          </a:xfrm>
          <a:prstGeom prst="line">
            <a:avLst/>
          </a:prstGeom>
          <a:ln>
            <a:solidFill>
              <a:srgbClr val="094A4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7A2AC7B-F4C3-4EF0-B897-B3C8F6870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65056"/>
            <a:ext cx="395914" cy="3622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6E39CD-16F1-4381-8EB5-8BA4094A64D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94A4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832F0A-ABD6-48FE-B131-19BEA5E83CB6}"/>
              </a:ext>
            </a:extLst>
          </p:cNvPr>
          <p:cNvSpPr txBox="1"/>
          <p:nvPr/>
        </p:nvSpPr>
        <p:spPr>
          <a:xfrm>
            <a:off x="452706" y="286694"/>
            <a:ext cx="11226928" cy="588644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en-US" sz="4400" b="1">
                <a:solidFill>
                  <a:srgbClr val="094A44"/>
                </a:solidFill>
                <a:latin typeface="Georgia"/>
              </a:rPr>
              <a:t>Background</a:t>
            </a:r>
            <a:endParaRPr lang="en-US">
              <a:solidFill>
                <a:srgbClr val="094A44"/>
              </a:solidFill>
              <a:ea typeface="+mn-ea"/>
              <a:cs typeface="+mn-cs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70C9D4F-8050-4F71-884D-E6727B17B33F}"/>
              </a:ext>
            </a:extLst>
          </p:cNvPr>
          <p:cNvSpPr txBox="1"/>
          <p:nvPr/>
        </p:nvSpPr>
        <p:spPr>
          <a:xfrm>
            <a:off x="795566" y="980990"/>
            <a:ext cx="3319620" cy="176611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285750" indent="-285750">
              <a:buFont typeface="Wingdings" panose="020B0604020202020204" pitchFamily="34" charset="0"/>
              <a:buChar char="ü"/>
            </a:pPr>
            <a:r>
              <a:rPr lang="en-US" sz="1600" b="1">
                <a:solidFill>
                  <a:srgbClr val="094A44"/>
                </a:solidFill>
                <a:latin typeface="Georgia"/>
              </a:rPr>
              <a:t>Sentiment Analysis:</a:t>
            </a:r>
            <a:endParaRPr lang="en-US" sz="1600" b="1">
              <a:solidFill>
                <a:srgbClr val="094A44"/>
              </a:solidFill>
              <a:latin typeface="Georgia" panose="02040502050405020303" pitchFamily="18" charset="0"/>
            </a:endParaRPr>
          </a:p>
          <a:p>
            <a:pPr marL="285750" indent="-285750">
              <a:buFont typeface="Wingdings"/>
              <a:buChar char="Ø"/>
            </a:pP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Focuses on the polarity of a text (positive, negative, neutral).</a:t>
            </a:r>
          </a:p>
          <a:p>
            <a:pPr marL="285750" indent="-285750">
              <a:buFont typeface="Wingdings" panose="020B0604020202020204" pitchFamily="34" charset="0"/>
              <a:buChar char="Ø"/>
            </a:pPr>
            <a:endParaRPr lang="en-US" sz="1600">
              <a:solidFill>
                <a:srgbClr val="094A44"/>
              </a:solidFill>
              <a:latin typeface="Georgia"/>
              <a:cs typeface="Calibri"/>
            </a:endParaRP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C66FF4E5-5F1C-438A-BB41-B06C980C6E21}"/>
              </a:ext>
            </a:extLst>
          </p:cNvPr>
          <p:cNvSpPr txBox="1"/>
          <p:nvPr/>
        </p:nvSpPr>
        <p:spPr>
          <a:xfrm>
            <a:off x="795566" y="2747102"/>
            <a:ext cx="3319620" cy="15553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285750" indent="-285750">
              <a:buFont typeface="Wingdings"/>
              <a:buChar char="ü"/>
            </a:pPr>
            <a:r>
              <a:rPr lang="en-US" sz="1600" b="1">
                <a:solidFill>
                  <a:srgbClr val="094A44"/>
                </a:solidFill>
                <a:latin typeface="Georgia"/>
              </a:rPr>
              <a:t>Chatbots:</a:t>
            </a:r>
            <a:endParaRPr lang="en-US" b="1">
              <a:solidFill>
                <a:srgbClr val="000000"/>
              </a:solidFill>
              <a:latin typeface="Calibri" panose="020F0502020204030204"/>
              <a:ea typeface="+mn-lt"/>
              <a:cs typeface="+mn-lt"/>
            </a:endParaRPr>
          </a:p>
          <a:p>
            <a:pPr marL="285750" indent="-285750">
              <a:buFont typeface="Wingdings"/>
              <a:buChar char="Ø"/>
            </a:pP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a computer program designed to simulate conversation </a:t>
            </a:r>
            <a:r>
              <a:rPr lang="en-US" sz="1600">
                <a:solidFill>
                  <a:srgbClr val="094A44"/>
                </a:solidFill>
                <a:ea typeface="+mn-lt"/>
                <a:cs typeface="+mn-lt"/>
              </a:rPr>
              <a:t>with</a:t>
            </a: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 human users.</a:t>
            </a:r>
          </a:p>
          <a:p>
            <a:pPr marL="285750" indent="-285750">
              <a:buFont typeface="Wingdings"/>
              <a:buChar char="Ø"/>
            </a:pP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Types:</a:t>
            </a:r>
          </a:p>
          <a:p>
            <a:pPr marL="742950" lvl="1" indent="-285750">
              <a:buFont typeface="Wingdings"/>
              <a:buChar char="Ø"/>
            </a:pPr>
            <a:r>
              <a:rPr lang="en-US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Rule-based</a:t>
            </a:r>
          </a:p>
          <a:p>
            <a:pPr marL="742950" lvl="1" indent="-285750">
              <a:buFont typeface="Wingdings"/>
              <a:buChar char="Ø"/>
            </a:pPr>
            <a:r>
              <a:rPr lang="en-US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AI-based</a:t>
            </a:r>
            <a:endParaRPr lang="en-US">
              <a:cs typeface="Calibri"/>
            </a:endParaRPr>
          </a:p>
          <a:p>
            <a:pPr marL="285750" indent="-285750">
              <a:buFont typeface="Wingdings"/>
              <a:buChar char="ü"/>
            </a:pPr>
            <a:endParaRPr lang="en-US" sz="1600">
              <a:solidFill>
                <a:srgbClr val="094A44"/>
              </a:solidFill>
              <a:latin typeface="Georgia"/>
              <a:cs typeface="Calibri" panose="020F0502020204030204"/>
            </a:endParaRPr>
          </a:p>
          <a:p>
            <a:pPr marL="285750" indent="-285750">
              <a:buFont typeface="Wingdings"/>
              <a:buChar char="ü"/>
            </a:pPr>
            <a:endParaRPr lang="en-US" sz="1600">
              <a:solidFill>
                <a:srgbClr val="094A44"/>
              </a:solidFill>
              <a:latin typeface="Georgia"/>
              <a:cs typeface="Calibri" panose="020F0502020204030204"/>
            </a:endParaRPr>
          </a:p>
        </p:txBody>
      </p:sp>
      <p:sp>
        <p:nvSpPr>
          <p:cNvPr id="798" name="Freeform: Shape 797">
            <a:extLst>
              <a:ext uri="{FF2B5EF4-FFF2-40B4-BE49-F238E27FC236}">
                <a16:creationId xmlns:a16="http://schemas.microsoft.com/office/drawing/2014/main" id="{9DA9B069-E4B6-489A-87E2-3312969F2FED}"/>
              </a:ext>
            </a:extLst>
          </p:cNvPr>
          <p:cNvSpPr/>
          <p:nvPr/>
        </p:nvSpPr>
        <p:spPr>
          <a:xfrm rot="16200000">
            <a:off x="11398475" y="1059212"/>
            <a:ext cx="1082619" cy="504431"/>
          </a:xfrm>
          <a:custGeom>
            <a:avLst/>
            <a:gdLst>
              <a:gd name="connsiteX0" fmla="*/ 770214 w 770214"/>
              <a:gd name="connsiteY0" fmla="*/ 358870 h 358870"/>
              <a:gd name="connsiteX1" fmla="*/ 0 w 770214"/>
              <a:gd name="connsiteY1" fmla="*/ 358870 h 358870"/>
              <a:gd name="connsiteX2" fmla="*/ 4943 w 770214"/>
              <a:gd name="connsiteY2" fmla="*/ 309843 h 358870"/>
              <a:gd name="connsiteX3" fmla="*/ 385108 w 770214"/>
              <a:gd name="connsiteY3" fmla="*/ 0 h 358870"/>
              <a:gd name="connsiteX4" fmla="*/ 765272 w 770214"/>
              <a:gd name="connsiteY4" fmla="*/ 309843 h 35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0214" h="358870">
                <a:moveTo>
                  <a:pt x="770214" y="358870"/>
                </a:moveTo>
                <a:lnTo>
                  <a:pt x="0" y="358870"/>
                </a:lnTo>
                <a:lnTo>
                  <a:pt x="4943" y="309843"/>
                </a:lnTo>
                <a:cubicBezTo>
                  <a:pt x="41127" y="133016"/>
                  <a:pt x="197583" y="0"/>
                  <a:pt x="385108" y="0"/>
                </a:cubicBezTo>
                <a:cubicBezTo>
                  <a:pt x="572632" y="0"/>
                  <a:pt x="729088" y="133016"/>
                  <a:pt x="765272" y="309843"/>
                </a:cubicBezTo>
                <a:close/>
              </a:path>
            </a:pathLst>
          </a:custGeom>
          <a:solidFill>
            <a:srgbClr val="F7AB9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7" name="Freeform: Shape 826">
            <a:extLst>
              <a:ext uri="{FF2B5EF4-FFF2-40B4-BE49-F238E27FC236}">
                <a16:creationId xmlns:a16="http://schemas.microsoft.com/office/drawing/2014/main" id="{1F2C893F-E24D-4227-A831-92EDB448E360}"/>
              </a:ext>
            </a:extLst>
          </p:cNvPr>
          <p:cNvSpPr/>
          <p:nvPr/>
        </p:nvSpPr>
        <p:spPr>
          <a:xfrm>
            <a:off x="7507370" y="0"/>
            <a:ext cx="2625938" cy="291186"/>
          </a:xfrm>
          <a:custGeom>
            <a:avLst/>
            <a:gdLst>
              <a:gd name="connsiteX0" fmla="*/ 0 w 6479712"/>
              <a:gd name="connsiteY0" fmla="*/ 0 h 718525"/>
              <a:gd name="connsiteX1" fmla="*/ 6479712 w 6479712"/>
              <a:gd name="connsiteY1" fmla="*/ 0 h 718525"/>
              <a:gd name="connsiteX2" fmla="*/ 6443912 w 6479712"/>
              <a:gd name="connsiteY2" fmla="*/ 22038 h 718525"/>
              <a:gd name="connsiteX3" fmla="*/ 4737151 w 6479712"/>
              <a:gd name="connsiteY3" fmla="*/ 712799 h 718525"/>
              <a:gd name="connsiteX4" fmla="*/ 3372808 w 6479712"/>
              <a:gd name="connsiteY4" fmla="*/ 306399 h 718525"/>
              <a:gd name="connsiteX5" fmla="*/ 1311779 w 6479712"/>
              <a:gd name="connsiteY5" fmla="*/ 538628 h 718525"/>
              <a:gd name="connsiteX6" fmla="*/ 127278 w 6479712"/>
              <a:gd name="connsiteY6" fmla="*/ 80578 h 71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9712" h="718525">
                <a:moveTo>
                  <a:pt x="0" y="0"/>
                </a:moveTo>
                <a:lnTo>
                  <a:pt x="6479712" y="0"/>
                </a:lnTo>
                <a:lnTo>
                  <a:pt x="6443912" y="22038"/>
                </a:lnTo>
                <a:cubicBezTo>
                  <a:pt x="6079647" y="238401"/>
                  <a:pt x="5202817" y="659883"/>
                  <a:pt x="4737151" y="712799"/>
                </a:cubicBezTo>
                <a:cubicBezTo>
                  <a:pt x="4204961" y="773275"/>
                  <a:pt x="3943703" y="335428"/>
                  <a:pt x="3372808" y="306399"/>
                </a:cubicBezTo>
                <a:cubicBezTo>
                  <a:pt x="2801913" y="277370"/>
                  <a:pt x="1911703" y="613618"/>
                  <a:pt x="1311779" y="538628"/>
                </a:cubicBezTo>
                <a:cubicBezTo>
                  <a:pt x="861836" y="482386"/>
                  <a:pt x="485372" y="297555"/>
                  <a:pt x="127278" y="80578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2" name="Freeform: Shape 831">
            <a:extLst>
              <a:ext uri="{FF2B5EF4-FFF2-40B4-BE49-F238E27FC236}">
                <a16:creationId xmlns:a16="http://schemas.microsoft.com/office/drawing/2014/main" id="{BB32310A-5685-4F51-A2F4-1DE2A8C8837F}"/>
              </a:ext>
            </a:extLst>
          </p:cNvPr>
          <p:cNvSpPr/>
          <p:nvPr/>
        </p:nvSpPr>
        <p:spPr>
          <a:xfrm>
            <a:off x="0" y="1544361"/>
            <a:ext cx="594307" cy="4717703"/>
          </a:xfrm>
          <a:custGeom>
            <a:avLst/>
            <a:gdLst>
              <a:gd name="connsiteX0" fmla="*/ 0 w 594307"/>
              <a:gd name="connsiteY0" fmla="*/ 0 h 4717703"/>
              <a:gd name="connsiteX1" fmla="*/ 44592 w 594307"/>
              <a:gd name="connsiteY1" fmla="*/ 57991 h 4717703"/>
              <a:gd name="connsiteX2" fmla="*/ 340251 w 594307"/>
              <a:gd name="connsiteY2" fmla="*/ 1365988 h 4717703"/>
              <a:gd name="connsiteX3" fmla="*/ 153438 w 594307"/>
              <a:gd name="connsiteY3" fmla="*/ 2368879 h 4717703"/>
              <a:gd name="connsiteX4" fmla="*/ 251760 w 594307"/>
              <a:gd name="connsiteY4" fmla="*/ 2840827 h 4717703"/>
              <a:gd name="connsiteX5" fmla="*/ 586057 w 594307"/>
              <a:gd name="connsiteY5" fmla="*/ 3420930 h 4717703"/>
              <a:gd name="connsiteX6" fmla="*/ 46819 w 594307"/>
              <a:gd name="connsiteY6" fmla="*/ 4664864 h 4717703"/>
              <a:gd name="connsiteX7" fmla="*/ 0 w 594307"/>
              <a:gd name="connsiteY7" fmla="*/ 4717703 h 471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4307" h="4717703">
                <a:moveTo>
                  <a:pt x="0" y="0"/>
                </a:moveTo>
                <a:lnTo>
                  <a:pt x="44592" y="57991"/>
                </a:lnTo>
                <a:cubicBezTo>
                  <a:pt x="171259" y="311479"/>
                  <a:pt x="311984" y="1071021"/>
                  <a:pt x="340251" y="1365988"/>
                </a:cubicBezTo>
                <a:cubicBezTo>
                  <a:pt x="377941" y="1759278"/>
                  <a:pt x="168187" y="2123073"/>
                  <a:pt x="153438" y="2368879"/>
                </a:cubicBezTo>
                <a:cubicBezTo>
                  <a:pt x="138690" y="2614686"/>
                  <a:pt x="179657" y="2665485"/>
                  <a:pt x="251760" y="2840827"/>
                </a:cubicBezTo>
                <a:cubicBezTo>
                  <a:pt x="323863" y="3016169"/>
                  <a:pt x="649967" y="3094827"/>
                  <a:pt x="586057" y="3420930"/>
                </a:cubicBezTo>
                <a:cubicBezTo>
                  <a:pt x="538125" y="3665507"/>
                  <a:pt x="258827" y="4366363"/>
                  <a:pt x="46819" y="4664864"/>
                </a:cubicBezTo>
                <a:lnTo>
                  <a:pt x="0" y="4717703"/>
                </a:lnTo>
                <a:close/>
              </a:path>
            </a:pathLst>
          </a:custGeom>
          <a:solidFill>
            <a:srgbClr val="8094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DA3684B-CF07-1206-2ED5-101B1A02AEA1}"/>
              </a:ext>
            </a:extLst>
          </p:cNvPr>
          <p:cNvSpPr txBox="1"/>
          <p:nvPr/>
        </p:nvSpPr>
        <p:spPr>
          <a:xfrm>
            <a:off x="100758" y="1227692"/>
            <a:ext cx="89535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800" b="1">
                <a:solidFill>
                  <a:srgbClr val="FFFFFF"/>
                </a:solidFill>
                <a:latin typeface="Georgia"/>
              </a:rPr>
              <a:t>1</a:t>
            </a:r>
            <a:endParaRPr lang="en-US" sz="4800" b="1">
              <a:solidFill>
                <a:srgbClr val="FFFFFF"/>
              </a:solidFill>
              <a:latin typeface="Georgia"/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C3F13E-4EC1-7914-EA2B-BC6BB5009959}"/>
              </a:ext>
            </a:extLst>
          </p:cNvPr>
          <p:cNvSpPr txBox="1"/>
          <p:nvPr/>
        </p:nvSpPr>
        <p:spPr>
          <a:xfrm>
            <a:off x="88798" y="2212967"/>
            <a:ext cx="9144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800" b="1">
                <a:solidFill>
                  <a:schemeClr val="bg1"/>
                </a:solidFill>
                <a:latin typeface="Georgia"/>
                <a:cs typeface="Calibri"/>
              </a:rPr>
              <a:t>2</a:t>
            </a: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7E823262-A4EB-608C-58C0-74C9E91ECA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975" y="1276728"/>
            <a:ext cx="5657850" cy="388544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E78A964-E952-1763-1DC2-2BD358F6D56E}"/>
              </a:ext>
            </a:extLst>
          </p:cNvPr>
          <p:cNvSpPr txBox="1"/>
          <p:nvPr/>
        </p:nvSpPr>
        <p:spPr>
          <a:xfrm>
            <a:off x="46346" y="4230673"/>
            <a:ext cx="9144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800" b="1">
                <a:solidFill>
                  <a:schemeClr val="bg1"/>
                </a:solidFill>
                <a:latin typeface="Georgia"/>
                <a:cs typeface="Calibri"/>
              </a:rPr>
              <a:t>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500AA42-8BEF-0EF0-0105-9BF0937BC9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650" y="4369099"/>
            <a:ext cx="4237087" cy="609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52C24FE-9A54-5688-0D9F-07195AA2CE23}"/>
              </a:ext>
            </a:extLst>
          </p:cNvPr>
          <p:cNvSpPr txBox="1"/>
          <p:nvPr/>
        </p:nvSpPr>
        <p:spPr>
          <a:xfrm>
            <a:off x="795566" y="4816578"/>
            <a:ext cx="3319620" cy="15553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285750" indent="-285750">
              <a:buFont typeface="Wingdings"/>
              <a:buChar char="ü"/>
            </a:pPr>
            <a:r>
              <a:rPr lang="en-US" sz="1600" b="1">
                <a:solidFill>
                  <a:srgbClr val="094A44"/>
                </a:solidFill>
                <a:latin typeface="Georgia"/>
              </a:rPr>
              <a:t>K-10 scale:</a:t>
            </a:r>
            <a:endParaRPr lang="en-US" b="1">
              <a:solidFill>
                <a:srgbClr val="000000"/>
              </a:solidFill>
              <a:latin typeface="Calibri" panose="020F0502020204030204"/>
              <a:ea typeface="+mn-lt"/>
              <a:cs typeface="+mn-lt"/>
            </a:endParaRPr>
          </a:p>
          <a:p>
            <a:pPr marL="285750" indent="-285750">
              <a:buFont typeface="Wingdings"/>
              <a:buChar char="Ø"/>
            </a:pP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A simple measure of psychological distress. </a:t>
            </a:r>
          </a:p>
          <a:p>
            <a:pPr marL="285750" indent="-285750">
              <a:buFont typeface="Wingdings"/>
              <a:buChar char="Ø"/>
            </a:pP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Involves 10 questions about emotional states each with a five-level response scale. </a:t>
            </a:r>
          </a:p>
          <a:p>
            <a:pPr marL="285750" indent="-285750">
              <a:buFont typeface="Wingdings"/>
              <a:buChar char="Ø"/>
            </a:pPr>
            <a:r>
              <a:rPr lang="en-US" sz="1600">
                <a:solidFill>
                  <a:srgbClr val="094A44"/>
                </a:solidFill>
                <a:latin typeface="Georgia"/>
                <a:ea typeface="+mn-lt"/>
                <a:cs typeface="+mn-lt"/>
              </a:rPr>
              <a:t>Used as a brief screen to identify levels of distress.</a:t>
            </a:r>
          </a:p>
          <a:p>
            <a:pPr marL="285750" indent="-285750">
              <a:buFont typeface="Wingdings"/>
              <a:buChar char="ü"/>
            </a:pPr>
            <a:endParaRPr lang="en-US" sz="1600">
              <a:solidFill>
                <a:srgbClr val="094A44"/>
              </a:solidFill>
              <a:latin typeface="Georgia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19139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7" name="Straight Connector 796">
            <a:extLst>
              <a:ext uri="{FF2B5EF4-FFF2-40B4-BE49-F238E27FC236}">
                <a16:creationId xmlns:a16="http://schemas.microsoft.com/office/drawing/2014/main" id="{CD096C55-0292-4895-984F-116404E84E73}"/>
              </a:ext>
            </a:extLst>
          </p:cNvPr>
          <p:cNvCxnSpPr>
            <a:cxnSpLocks/>
          </p:cNvCxnSpPr>
          <p:nvPr/>
        </p:nvCxnSpPr>
        <p:spPr>
          <a:xfrm>
            <a:off x="7962900" y="3688156"/>
            <a:ext cx="4229100" cy="0"/>
          </a:xfrm>
          <a:prstGeom prst="line">
            <a:avLst/>
          </a:prstGeom>
          <a:ln>
            <a:solidFill>
              <a:srgbClr val="094A4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5" name="Straight Connector 794">
            <a:extLst>
              <a:ext uri="{FF2B5EF4-FFF2-40B4-BE49-F238E27FC236}">
                <a16:creationId xmlns:a16="http://schemas.microsoft.com/office/drawing/2014/main" id="{D55338C3-926A-4771-B71A-66C538E9ABBE}"/>
              </a:ext>
            </a:extLst>
          </p:cNvPr>
          <p:cNvCxnSpPr>
            <a:cxnSpLocks/>
          </p:cNvCxnSpPr>
          <p:nvPr/>
        </p:nvCxnSpPr>
        <p:spPr>
          <a:xfrm>
            <a:off x="0" y="3688156"/>
            <a:ext cx="4229100" cy="0"/>
          </a:xfrm>
          <a:prstGeom prst="line">
            <a:avLst/>
          </a:prstGeom>
          <a:ln>
            <a:solidFill>
              <a:srgbClr val="094A4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7A2AC7B-F4C3-4EF0-B897-B3C8F6870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65056"/>
            <a:ext cx="395914" cy="3622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6E39CD-16F1-4381-8EB5-8BA4094A64D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94A4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7D8496A-1BE1-4815-8D59-8CA04E0ECD52}"/>
              </a:ext>
            </a:extLst>
          </p:cNvPr>
          <p:cNvGraphicFramePr/>
          <p:nvPr/>
        </p:nvGraphicFramePr>
        <p:xfrm>
          <a:off x="2569497" y="1337154"/>
          <a:ext cx="7053006" cy="47020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3832F0A-ABD6-48FE-B131-19BEA5E83CB6}"/>
              </a:ext>
            </a:extLst>
          </p:cNvPr>
          <p:cNvSpPr txBox="1"/>
          <p:nvPr/>
        </p:nvSpPr>
        <p:spPr>
          <a:xfrm>
            <a:off x="452706" y="286694"/>
            <a:ext cx="11226928" cy="58864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pplied method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AB8B54-EAF5-4F75-B986-765C4FA4E04A}"/>
              </a:ext>
            </a:extLst>
          </p:cNvPr>
          <p:cNvSpPr/>
          <p:nvPr/>
        </p:nvSpPr>
        <p:spPr>
          <a:xfrm>
            <a:off x="5057775" y="2649931"/>
            <a:ext cx="2076450" cy="20764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47FD5FC0-05E6-4164-B0E5-8D2A9A88D7FC}"/>
              </a:ext>
            </a:extLst>
          </p:cNvPr>
          <p:cNvGrpSpPr/>
          <p:nvPr/>
        </p:nvGrpSpPr>
        <p:grpSpPr>
          <a:xfrm>
            <a:off x="5184434" y="2978796"/>
            <a:ext cx="1821631" cy="1418243"/>
            <a:chOff x="5184434" y="2978796"/>
            <a:chExt cx="1821631" cy="1418243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F97521-7ABA-4327-88AA-BBBF07776507}"/>
                </a:ext>
              </a:extLst>
            </p:cNvPr>
            <p:cNvSpPr/>
            <p:nvPr/>
          </p:nvSpPr>
          <p:spPr>
            <a:xfrm>
              <a:off x="5485204" y="4141976"/>
              <a:ext cx="22735" cy="1595"/>
            </a:xfrm>
            <a:custGeom>
              <a:avLst/>
              <a:gdLst>
                <a:gd name="connsiteX0" fmla="*/ 22736 w 22735"/>
                <a:gd name="connsiteY0" fmla="*/ 798 h 1595"/>
                <a:gd name="connsiteX1" fmla="*/ 11368 w 22735"/>
                <a:gd name="connsiteY1" fmla="*/ 1595 h 1595"/>
                <a:gd name="connsiteX2" fmla="*/ 0 w 22735"/>
                <a:gd name="connsiteY2" fmla="*/ 798 h 1595"/>
                <a:gd name="connsiteX3" fmla="*/ 11368 w 22735"/>
                <a:gd name="connsiteY3" fmla="*/ 2 h 1595"/>
                <a:gd name="connsiteX4" fmla="*/ 22736 w 22735"/>
                <a:gd name="connsiteY4" fmla="*/ 798 h 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35" h="1595">
                  <a:moveTo>
                    <a:pt x="22736" y="798"/>
                  </a:moveTo>
                  <a:cubicBezTo>
                    <a:pt x="22736" y="1227"/>
                    <a:pt x="17649" y="1595"/>
                    <a:pt x="11368" y="1595"/>
                  </a:cubicBezTo>
                  <a:cubicBezTo>
                    <a:pt x="5086" y="1595"/>
                    <a:pt x="0" y="1227"/>
                    <a:pt x="0" y="798"/>
                  </a:cubicBezTo>
                  <a:cubicBezTo>
                    <a:pt x="0" y="370"/>
                    <a:pt x="5086" y="2"/>
                    <a:pt x="11368" y="2"/>
                  </a:cubicBezTo>
                  <a:cubicBezTo>
                    <a:pt x="17649" y="-29"/>
                    <a:pt x="22736" y="339"/>
                    <a:pt x="22736" y="798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220AC6E-FFDA-4F38-9840-FE712F495D7F}"/>
                </a:ext>
              </a:extLst>
            </p:cNvPr>
            <p:cNvSpPr/>
            <p:nvPr/>
          </p:nvSpPr>
          <p:spPr>
            <a:xfrm>
              <a:off x="6003250" y="3087963"/>
              <a:ext cx="18384" cy="1593"/>
            </a:xfrm>
            <a:custGeom>
              <a:avLst/>
              <a:gdLst>
                <a:gd name="connsiteX0" fmla="*/ 0 w 18384"/>
                <a:gd name="connsiteY0" fmla="*/ 797 h 1593"/>
                <a:gd name="connsiteX1" fmla="*/ 9192 w 18384"/>
                <a:gd name="connsiteY1" fmla="*/ 0 h 1593"/>
                <a:gd name="connsiteX2" fmla="*/ 18385 w 18384"/>
                <a:gd name="connsiteY2" fmla="*/ 797 h 1593"/>
                <a:gd name="connsiteX3" fmla="*/ 9192 w 18384"/>
                <a:gd name="connsiteY3" fmla="*/ 1593 h 1593"/>
                <a:gd name="connsiteX4" fmla="*/ 0 w 18384"/>
                <a:gd name="connsiteY4" fmla="*/ 797 h 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84" h="1593">
                  <a:moveTo>
                    <a:pt x="0" y="797"/>
                  </a:moveTo>
                  <a:cubicBezTo>
                    <a:pt x="0" y="368"/>
                    <a:pt x="4106" y="0"/>
                    <a:pt x="9192" y="0"/>
                  </a:cubicBezTo>
                  <a:cubicBezTo>
                    <a:pt x="14279" y="0"/>
                    <a:pt x="18385" y="368"/>
                    <a:pt x="18385" y="797"/>
                  </a:cubicBezTo>
                  <a:cubicBezTo>
                    <a:pt x="18385" y="1226"/>
                    <a:pt x="14279" y="1593"/>
                    <a:pt x="9192" y="1593"/>
                  </a:cubicBezTo>
                  <a:cubicBezTo>
                    <a:pt x="4106" y="1593"/>
                    <a:pt x="0" y="1256"/>
                    <a:pt x="0" y="797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F8138B7-B157-4F0E-9130-22A8C3AC3D2A}"/>
                </a:ext>
              </a:extLst>
            </p:cNvPr>
            <p:cNvSpPr/>
            <p:nvPr/>
          </p:nvSpPr>
          <p:spPr>
            <a:xfrm>
              <a:off x="5825564" y="3214050"/>
              <a:ext cx="1593" cy="18384"/>
            </a:xfrm>
            <a:custGeom>
              <a:avLst/>
              <a:gdLst>
                <a:gd name="connsiteX0" fmla="*/ 797 w 1593"/>
                <a:gd name="connsiteY0" fmla="*/ 18385 h 18384"/>
                <a:gd name="connsiteX1" fmla="*/ 0 w 1593"/>
                <a:gd name="connsiteY1" fmla="*/ 9192 h 18384"/>
                <a:gd name="connsiteX2" fmla="*/ 797 w 1593"/>
                <a:gd name="connsiteY2" fmla="*/ 0 h 18384"/>
                <a:gd name="connsiteX3" fmla="*/ 1593 w 1593"/>
                <a:gd name="connsiteY3" fmla="*/ 9192 h 18384"/>
                <a:gd name="connsiteX4" fmla="*/ 797 w 1593"/>
                <a:gd name="connsiteY4" fmla="*/ 18385 h 18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" h="18384">
                  <a:moveTo>
                    <a:pt x="797" y="18385"/>
                  </a:moveTo>
                  <a:cubicBezTo>
                    <a:pt x="368" y="18385"/>
                    <a:pt x="0" y="14279"/>
                    <a:pt x="0" y="9192"/>
                  </a:cubicBezTo>
                  <a:cubicBezTo>
                    <a:pt x="0" y="4106"/>
                    <a:pt x="368" y="0"/>
                    <a:pt x="797" y="0"/>
                  </a:cubicBezTo>
                  <a:cubicBezTo>
                    <a:pt x="1226" y="0"/>
                    <a:pt x="1593" y="4106"/>
                    <a:pt x="1593" y="9192"/>
                  </a:cubicBezTo>
                  <a:cubicBezTo>
                    <a:pt x="1593" y="14279"/>
                    <a:pt x="1256" y="18385"/>
                    <a:pt x="797" y="18385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0B6D681-1643-4602-B440-1B5A59F1DC39}"/>
                </a:ext>
              </a:extLst>
            </p:cNvPr>
            <p:cNvSpPr/>
            <p:nvPr/>
          </p:nvSpPr>
          <p:spPr>
            <a:xfrm>
              <a:off x="5988407" y="3577310"/>
              <a:ext cx="192328" cy="193598"/>
            </a:xfrm>
            <a:custGeom>
              <a:avLst/>
              <a:gdLst>
                <a:gd name="connsiteX0" fmla="*/ 191886 w 192328"/>
                <a:gd name="connsiteY0" fmla="*/ 99110 h 193598"/>
                <a:gd name="connsiteX1" fmla="*/ 191212 w 192328"/>
                <a:gd name="connsiteY1" fmla="*/ 93105 h 193598"/>
                <a:gd name="connsiteX2" fmla="*/ 190415 w 192328"/>
                <a:gd name="connsiteY2" fmla="*/ 85873 h 193598"/>
                <a:gd name="connsiteX3" fmla="*/ 188516 w 192328"/>
                <a:gd name="connsiteY3" fmla="*/ 76160 h 193598"/>
                <a:gd name="connsiteX4" fmla="*/ 178435 w 192328"/>
                <a:gd name="connsiteY4" fmla="*/ 51188 h 193598"/>
                <a:gd name="connsiteX5" fmla="*/ 155209 w 192328"/>
                <a:gd name="connsiteY5" fmla="*/ 24439 h 193598"/>
                <a:gd name="connsiteX6" fmla="*/ 116540 w 192328"/>
                <a:gd name="connsiteY6" fmla="*/ 6422 h 193598"/>
                <a:gd name="connsiteX7" fmla="*/ 67944 w 192328"/>
                <a:gd name="connsiteY7" fmla="*/ 9455 h 193598"/>
                <a:gd name="connsiteX8" fmla="*/ 44350 w 192328"/>
                <a:gd name="connsiteY8" fmla="*/ 21497 h 193598"/>
                <a:gd name="connsiteX9" fmla="*/ 33687 w 192328"/>
                <a:gd name="connsiteY9" fmla="*/ 30138 h 193598"/>
                <a:gd name="connsiteX10" fmla="*/ 24434 w 192328"/>
                <a:gd name="connsiteY10" fmla="*/ 40617 h 193598"/>
                <a:gd name="connsiteX11" fmla="*/ 5252 w 192328"/>
                <a:gd name="connsiteY11" fmla="*/ 94606 h 193598"/>
                <a:gd name="connsiteX12" fmla="*/ 21799 w 192328"/>
                <a:gd name="connsiteY12" fmla="*/ 149453 h 193598"/>
                <a:gd name="connsiteX13" fmla="*/ 30562 w 192328"/>
                <a:gd name="connsiteY13" fmla="*/ 160361 h 193598"/>
                <a:gd name="connsiteX14" fmla="*/ 40796 w 192328"/>
                <a:gd name="connsiteY14" fmla="*/ 169523 h 193598"/>
                <a:gd name="connsiteX15" fmla="*/ 63777 w 192328"/>
                <a:gd name="connsiteY15" fmla="*/ 182699 h 193598"/>
                <a:gd name="connsiteX16" fmla="*/ 112158 w 192328"/>
                <a:gd name="connsiteY16" fmla="*/ 188091 h 193598"/>
                <a:gd name="connsiteX17" fmla="*/ 151655 w 192328"/>
                <a:gd name="connsiteY17" fmla="*/ 171974 h 193598"/>
                <a:gd name="connsiteX18" fmla="*/ 176137 w 192328"/>
                <a:gd name="connsiteY18" fmla="*/ 146389 h 193598"/>
                <a:gd name="connsiteX19" fmla="*/ 187413 w 192328"/>
                <a:gd name="connsiteY19" fmla="*/ 121938 h 193598"/>
                <a:gd name="connsiteX20" fmla="*/ 189772 w 192328"/>
                <a:gd name="connsiteY20" fmla="*/ 112347 h 193598"/>
                <a:gd name="connsiteX21" fmla="*/ 190936 w 192328"/>
                <a:gd name="connsiteY21" fmla="*/ 105177 h 193598"/>
                <a:gd name="connsiteX22" fmla="*/ 191886 w 192328"/>
                <a:gd name="connsiteY22" fmla="*/ 99110 h 193598"/>
                <a:gd name="connsiteX23" fmla="*/ 191947 w 192328"/>
                <a:gd name="connsiteY23" fmla="*/ 105177 h 193598"/>
                <a:gd name="connsiteX24" fmla="*/ 191273 w 192328"/>
                <a:gd name="connsiteY24" fmla="*/ 112531 h 193598"/>
                <a:gd name="connsiteX25" fmla="*/ 189343 w 192328"/>
                <a:gd name="connsiteY25" fmla="*/ 122428 h 193598"/>
                <a:gd name="connsiteX26" fmla="*/ 178557 w 192328"/>
                <a:gd name="connsiteY26" fmla="*/ 147891 h 193598"/>
                <a:gd name="connsiteX27" fmla="*/ 153769 w 192328"/>
                <a:gd name="connsiteY27" fmla="*/ 174916 h 193598"/>
                <a:gd name="connsiteX28" fmla="*/ 112802 w 192328"/>
                <a:gd name="connsiteY28" fmla="*/ 192320 h 193598"/>
                <a:gd name="connsiteX29" fmla="*/ 61969 w 192328"/>
                <a:gd name="connsiteY29" fmla="*/ 187141 h 193598"/>
                <a:gd name="connsiteX30" fmla="*/ 37670 w 192328"/>
                <a:gd name="connsiteY30" fmla="*/ 173414 h 193598"/>
                <a:gd name="connsiteX31" fmla="*/ 26854 w 192328"/>
                <a:gd name="connsiteY31" fmla="*/ 163824 h 193598"/>
                <a:gd name="connsiteX32" fmla="*/ 17570 w 192328"/>
                <a:gd name="connsiteY32" fmla="*/ 152364 h 193598"/>
                <a:gd name="connsiteX33" fmla="*/ 13 w 192328"/>
                <a:gd name="connsiteY33" fmla="*/ 94453 h 193598"/>
                <a:gd name="connsiteX34" fmla="*/ 20389 w 192328"/>
                <a:gd name="connsiteY34" fmla="*/ 37492 h 193598"/>
                <a:gd name="connsiteX35" fmla="*/ 30225 w 192328"/>
                <a:gd name="connsiteY35" fmla="*/ 26491 h 193598"/>
                <a:gd name="connsiteX36" fmla="*/ 41501 w 192328"/>
                <a:gd name="connsiteY36" fmla="*/ 17422 h 193598"/>
                <a:gd name="connsiteX37" fmla="*/ 66442 w 192328"/>
                <a:gd name="connsiteY37" fmla="*/ 4890 h 193598"/>
                <a:gd name="connsiteX38" fmla="*/ 117459 w 192328"/>
                <a:gd name="connsiteY38" fmla="*/ 2193 h 193598"/>
                <a:gd name="connsiteX39" fmla="*/ 157507 w 192328"/>
                <a:gd name="connsiteY39" fmla="*/ 21558 h 193598"/>
                <a:gd name="connsiteX40" fmla="*/ 180978 w 192328"/>
                <a:gd name="connsiteY40" fmla="*/ 49748 h 193598"/>
                <a:gd name="connsiteX41" fmla="*/ 190507 w 192328"/>
                <a:gd name="connsiteY41" fmla="*/ 75701 h 193598"/>
                <a:gd name="connsiteX42" fmla="*/ 191978 w 192328"/>
                <a:gd name="connsiteY42" fmla="*/ 85690 h 193598"/>
                <a:gd name="connsiteX43" fmla="*/ 192284 w 192328"/>
                <a:gd name="connsiteY43" fmla="*/ 93043 h 193598"/>
                <a:gd name="connsiteX44" fmla="*/ 191886 w 192328"/>
                <a:gd name="connsiteY44" fmla="*/ 99110 h 193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2328" h="193598">
                  <a:moveTo>
                    <a:pt x="191886" y="99110"/>
                  </a:moveTo>
                  <a:cubicBezTo>
                    <a:pt x="191702" y="99110"/>
                    <a:pt x="191488" y="97027"/>
                    <a:pt x="191212" y="93105"/>
                  </a:cubicBezTo>
                  <a:cubicBezTo>
                    <a:pt x="191120" y="91144"/>
                    <a:pt x="190936" y="88723"/>
                    <a:pt x="190415" y="85873"/>
                  </a:cubicBezTo>
                  <a:cubicBezTo>
                    <a:pt x="189986" y="83024"/>
                    <a:pt x="189557" y="79745"/>
                    <a:pt x="188516" y="76160"/>
                  </a:cubicBezTo>
                  <a:cubicBezTo>
                    <a:pt x="186922" y="68898"/>
                    <a:pt x="183644" y="60319"/>
                    <a:pt x="178435" y="51188"/>
                  </a:cubicBezTo>
                  <a:cubicBezTo>
                    <a:pt x="173195" y="42088"/>
                    <a:pt x="165596" y="32589"/>
                    <a:pt x="155209" y="24439"/>
                  </a:cubicBezTo>
                  <a:cubicBezTo>
                    <a:pt x="144852" y="16380"/>
                    <a:pt x="131769" y="9425"/>
                    <a:pt x="116540" y="6422"/>
                  </a:cubicBezTo>
                  <a:cubicBezTo>
                    <a:pt x="101434" y="3511"/>
                    <a:pt x="84337" y="3633"/>
                    <a:pt x="67944" y="9455"/>
                  </a:cubicBezTo>
                  <a:cubicBezTo>
                    <a:pt x="59701" y="12121"/>
                    <a:pt x="51704" y="16227"/>
                    <a:pt x="44350" y="21497"/>
                  </a:cubicBezTo>
                  <a:cubicBezTo>
                    <a:pt x="40551" y="23979"/>
                    <a:pt x="37211" y="27135"/>
                    <a:pt x="33687" y="30138"/>
                  </a:cubicBezTo>
                  <a:cubicBezTo>
                    <a:pt x="30501" y="33508"/>
                    <a:pt x="27191" y="36787"/>
                    <a:pt x="24434" y="40617"/>
                  </a:cubicBezTo>
                  <a:cubicBezTo>
                    <a:pt x="12759" y="55416"/>
                    <a:pt x="5896" y="74628"/>
                    <a:pt x="5252" y="94606"/>
                  </a:cubicBezTo>
                  <a:cubicBezTo>
                    <a:pt x="4946" y="114584"/>
                    <a:pt x="10860" y="134102"/>
                    <a:pt x="21799" y="149453"/>
                  </a:cubicBezTo>
                  <a:cubicBezTo>
                    <a:pt x="24372" y="153406"/>
                    <a:pt x="27528" y="156868"/>
                    <a:pt x="30562" y="160361"/>
                  </a:cubicBezTo>
                  <a:cubicBezTo>
                    <a:pt x="33902" y="163548"/>
                    <a:pt x="37088" y="166857"/>
                    <a:pt x="40796" y="169523"/>
                  </a:cubicBezTo>
                  <a:cubicBezTo>
                    <a:pt x="47905" y="175130"/>
                    <a:pt x="55687" y="179634"/>
                    <a:pt x="63777" y="182699"/>
                  </a:cubicBezTo>
                  <a:cubicBezTo>
                    <a:pt x="79863" y="189317"/>
                    <a:pt x="96930" y="190267"/>
                    <a:pt x="112158" y="188091"/>
                  </a:cubicBezTo>
                  <a:cubicBezTo>
                    <a:pt x="127479" y="185824"/>
                    <a:pt x="140900" y="179512"/>
                    <a:pt x="151655" y="171974"/>
                  </a:cubicBezTo>
                  <a:cubicBezTo>
                    <a:pt x="162440" y="164345"/>
                    <a:pt x="170468" y="155214"/>
                    <a:pt x="176137" y="146389"/>
                  </a:cubicBezTo>
                  <a:cubicBezTo>
                    <a:pt x="181775" y="137534"/>
                    <a:pt x="185482" y="129108"/>
                    <a:pt x="187413" y="121938"/>
                  </a:cubicBezTo>
                  <a:cubicBezTo>
                    <a:pt x="188638" y="118414"/>
                    <a:pt x="189190" y="115135"/>
                    <a:pt x="189772" y="112347"/>
                  </a:cubicBezTo>
                  <a:cubicBezTo>
                    <a:pt x="190446" y="109559"/>
                    <a:pt x="190752" y="107138"/>
                    <a:pt x="190936" y="105177"/>
                  </a:cubicBezTo>
                  <a:cubicBezTo>
                    <a:pt x="191365" y="101163"/>
                    <a:pt x="191702" y="99110"/>
                    <a:pt x="191886" y="99110"/>
                  </a:cubicBezTo>
                  <a:cubicBezTo>
                    <a:pt x="192070" y="99110"/>
                    <a:pt x="192101" y="101194"/>
                    <a:pt x="191947" y="105177"/>
                  </a:cubicBezTo>
                  <a:cubicBezTo>
                    <a:pt x="191917" y="107169"/>
                    <a:pt x="191794" y="109651"/>
                    <a:pt x="191273" y="112531"/>
                  </a:cubicBezTo>
                  <a:cubicBezTo>
                    <a:pt x="190844" y="115411"/>
                    <a:pt x="190415" y="118782"/>
                    <a:pt x="189343" y="122428"/>
                  </a:cubicBezTo>
                  <a:cubicBezTo>
                    <a:pt x="187658" y="129843"/>
                    <a:pt x="184165" y="138606"/>
                    <a:pt x="178557" y="147891"/>
                  </a:cubicBezTo>
                  <a:cubicBezTo>
                    <a:pt x="172950" y="157144"/>
                    <a:pt x="164800" y="166796"/>
                    <a:pt x="153769" y="174916"/>
                  </a:cubicBezTo>
                  <a:cubicBezTo>
                    <a:pt x="142738" y="182974"/>
                    <a:pt x="128827" y="189746"/>
                    <a:pt x="112802" y="192320"/>
                  </a:cubicBezTo>
                  <a:cubicBezTo>
                    <a:pt x="96899" y="194802"/>
                    <a:pt x="78974" y="193974"/>
                    <a:pt x="61969" y="187141"/>
                  </a:cubicBezTo>
                  <a:cubicBezTo>
                    <a:pt x="53420" y="183985"/>
                    <a:pt x="45178" y="179297"/>
                    <a:pt x="37670" y="173414"/>
                  </a:cubicBezTo>
                  <a:cubicBezTo>
                    <a:pt x="33779" y="170626"/>
                    <a:pt x="30409" y="167164"/>
                    <a:pt x="26854" y="163824"/>
                  </a:cubicBezTo>
                  <a:cubicBezTo>
                    <a:pt x="23668" y="160147"/>
                    <a:pt x="20297" y="156531"/>
                    <a:pt x="17570" y="152364"/>
                  </a:cubicBezTo>
                  <a:cubicBezTo>
                    <a:pt x="5957" y="136186"/>
                    <a:pt x="-324" y="115534"/>
                    <a:pt x="13" y="94453"/>
                  </a:cubicBezTo>
                  <a:cubicBezTo>
                    <a:pt x="718" y="73372"/>
                    <a:pt x="8010" y="53057"/>
                    <a:pt x="20389" y="37492"/>
                  </a:cubicBezTo>
                  <a:cubicBezTo>
                    <a:pt x="23331" y="33478"/>
                    <a:pt x="26854" y="30015"/>
                    <a:pt x="30225" y="26491"/>
                  </a:cubicBezTo>
                  <a:cubicBezTo>
                    <a:pt x="33932" y="23305"/>
                    <a:pt x="37487" y="20026"/>
                    <a:pt x="41501" y="17422"/>
                  </a:cubicBezTo>
                  <a:cubicBezTo>
                    <a:pt x="49283" y="11937"/>
                    <a:pt x="57740" y="7647"/>
                    <a:pt x="66442" y="4890"/>
                  </a:cubicBezTo>
                  <a:cubicBezTo>
                    <a:pt x="83754" y="-1116"/>
                    <a:pt x="101679" y="-1055"/>
                    <a:pt x="117459" y="2193"/>
                  </a:cubicBezTo>
                  <a:cubicBezTo>
                    <a:pt x="133331" y="5533"/>
                    <a:pt x="146905" y="12979"/>
                    <a:pt x="157507" y="21558"/>
                  </a:cubicBezTo>
                  <a:cubicBezTo>
                    <a:pt x="168170" y="30230"/>
                    <a:pt x="175800" y="40249"/>
                    <a:pt x="180978" y="49748"/>
                  </a:cubicBezTo>
                  <a:cubicBezTo>
                    <a:pt x="186095" y="59308"/>
                    <a:pt x="189190" y="68224"/>
                    <a:pt x="190507" y="75701"/>
                  </a:cubicBezTo>
                  <a:cubicBezTo>
                    <a:pt x="191426" y="79408"/>
                    <a:pt x="191672" y="82779"/>
                    <a:pt x="191978" y="85690"/>
                  </a:cubicBezTo>
                  <a:cubicBezTo>
                    <a:pt x="192346" y="88601"/>
                    <a:pt x="192376" y="91052"/>
                    <a:pt x="192284" y="93043"/>
                  </a:cubicBezTo>
                  <a:cubicBezTo>
                    <a:pt x="192192" y="97027"/>
                    <a:pt x="192070" y="99110"/>
                    <a:pt x="191886" y="99110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CCF784A-73F9-44DC-87A8-A9472351A07F}"/>
                </a:ext>
              </a:extLst>
            </p:cNvPr>
            <p:cNvSpPr/>
            <p:nvPr/>
          </p:nvSpPr>
          <p:spPr>
            <a:xfrm>
              <a:off x="6012847" y="3613597"/>
              <a:ext cx="148527" cy="31413"/>
            </a:xfrm>
            <a:custGeom>
              <a:avLst/>
              <a:gdLst>
                <a:gd name="connsiteX0" fmla="*/ 148510 w 148527"/>
                <a:gd name="connsiteY0" fmla="*/ 3686 h 31413"/>
                <a:gd name="connsiteX1" fmla="*/ 143730 w 148527"/>
                <a:gd name="connsiteY1" fmla="*/ 7915 h 31413"/>
                <a:gd name="connsiteX2" fmla="*/ 137632 w 148527"/>
                <a:gd name="connsiteY2" fmla="*/ 12297 h 31413"/>
                <a:gd name="connsiteX3" fmla="*/ 133771 w 148527"/>
                <a:gd name="connsiteY3" fmla="*/ 14932 h 31413"/>
                <a:gd name="connsiteX4" fmla="*/ 129114 w 148527"/>
                <a:gd name="connsiteY4" fmla="*/ 17352 h 31413"/>
                <a:gd name="connsiteX5" fmla="*/ 73470 w 148527"/>
                <a:gd name="connsiteY5" fmla="*/ 31355 h 31413"/>
                <a:gd name="connsiteX6" fmla="*/ 65044 w 148527"/>
                <a:gd name="connsiteY6" fmla="*/ 30987 h 31413"/>
                <a:gd name="connsiteX7" fmla="*/ 56955 w 148527"/>
                <a:gd name="connsiteY7" fmla="*/ 29731 h 31413"/>
                <a:gd name="connsiteX8" fmla="*/ 53033 w 148527"/>
                <a:gd name="connsiteY8" fmla="*/ 29057 h 31413"/>
                <a:gd name="connsiteX9" fmla="*/ 49264 w 148527"/>
                <a:gd name="connsiteY9" fmla="*/ 28046 h 31413"/>
                <a:gd name="connsiteX10" fmla="*/ 42002 w 148527"/>
                <a:gd name="connsiteY10" fmla="*/ 26024 h 31413"/>
                <a:gd name="connsiteX11" fmla="*/ 18408 w 148527"/>
                <a:gd name="connsiteY11" fmla="*/ 15146 h 31413"/>
                <a:gd name="connsiteX12" fmla="*/ 24 w 148527"/>
                <a:gd name="connsiteY12" fmla="*/ 40 h 31413"/>
                <a:gd name="connsiteX13" fmla="*/ 20216 w 148527"/>
                <a:gd name="connsiteY13" fmla="*/ 11929 h 31413"/>
                <a:gd name="connsiteX14" fmla="*/ 43442 w 148527"/>
                <a:gd name="connsiteY14" fmla="*/ 21428 h 31413"/>
                <a:gd name="connsiteX15" fmla="*/ 50459 w 148527"/>
                <a:gd name="connsiteY15" fmla="*/ 23205 h 31413"/>
                <a:gd name="connsiteX16" fmla="*/ 54075 w 148527"/>
                <a:gd name="connsiteY16" fmla="*/ 24093 h 31413"/>
                <a:gd name="connsiteX17" fmla="*/ 57843 w 148527"/>
                <a:gd name="connsiteY17" fmla="*/ 24675 h 31413"/>
                <a:gd name="connsiteX18" fmla="*/ 65565 w 148527"/>
                <a:gd name="connsiteY18" fmla="*/ 25809 h 31413"/>
                <a:gd name="connsiteX19" fmla="*/ 73593 w 148527"/>
                <a:gd name="connsiteY19" fmla="*/ 26146 h 31413"/>
                <a:gd name="connsiteX20" fmla="*/ 127459 w 148527"/>
                <a:gd name="connsiteY20" fmla="*/ 14043 h 31413"/>
                <a:gd name="connsiteX21" fmla="*/ 132178 w 148527"/>
                <a:gd name="connsiteY21" fmla="*/ 11990 h 31413"/>
                <a:gd name="connsiteX22" fmla="*/ 136161 w 148527"/>
                <a:gd name="connsiteY22" fmla="*/ 9753 h 31413"/>
                <a:gd name="connsiteX23" fmla="*/ 142627 w 148527"/>
                <a:gd name="connsiteY23" fmla="*/ 6199 h 31413"/>
                <a:gd name="connsiteX24" fmla="*/ 148510 w 148527"/>
                <a:gd name="connsiteY24" fmla="*/ 3686 h 3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8527" h="31413">
                  <a:moveTo>
                    <a:pt x="148510" y="3686"/>
                  </a:moveTo>
                  <a:cubicBezTo>
                    <a:pt x="148724" y="3993"/>
                    <a:pt x="147008" y="5464"/>
                    <a:pt x="143730" y="7915"/>
                  </a:cubicBezTo>
                  <a:cubicBezTo>
                    <a:pt x="141922" y="9202"/>
                    <a:pt x="139900" y="10673"/>
                    <a:pt x="137632" y="12297"/>
                  </a:cubicBezTo>
                  <a:cubicBezTo>
                    <a:pt x="136437" y="13124"/>
                    <a:pt x="135150" y="14043"/>
                    <a:pt x="133771" y="14932"/>
                  </a:cubicBezTo>
                  <a:cubicBezTo>
                    <a:pt x="132270" y="15698"/>
                    <a:pt x="130738" y="16525"/>
                    <a:pt x="129114" y="17352"/>
                  </a:cubicBezTo>
                  <a:cubicBezTo>
                    <a:pt x="116459" y="24675"/>
                    <a:pt x="96390" y="32152"/>
                    <a:pt x="73470" y="31355"/>
                  </a:cubicBezTo>
                  <a:cubicBezTo>
                    <a:pt x="70621" y="31233"/>
                    <a:pt x="67832" y="31110"/>
                    <a:pt x="65044" y="30987"/>
                  </a:cubicBezTo>
                  <a:cubicBezTo>
                    <a:pt x="62317" y="30559"/>
                    <a:pt x="59621" y="30130"/>
                    <a:pt x="56955" y="29731"/>
                  </a:cubicBezTo>
                  <a:cubicBezTo>
                    <a:pt x="55637" y="29517"/>
                    <a:pt x="54320" y="29333"/>
                    <a:pt x="53033" y="29057"/>
                  </a:cubicBezTo>
                  <a:cubicBezTo>
                    <a:pt x="51776" y="28720"/>
                    <a:pt x="50520" y="28383"/>
                    <a:pt x="49264" y="28046"/>
                  </a:cubicBezTo>
                  <a:cubicBezTo>
                    <a:pt x="46782" y="27372"/>
                    <a:pt x="44331" y="26759"/>
                    <a:pt x="42002" y="26024"/>
                  </a:cubicBezTo>
                  <a:cubicBezTo>
                    <a:pt x="32718" y="22806"/>
                    <a:pt x="24690" y="19038"/>
                    <a:pt x="18408" y="15146"/>
                  </a:cubicBezTo>
                  <a:cubicBezTo>
                    <a:pt x="5723" y="7486"/>
                    <a:pt x="-436" y="500"/>
                    <a:pt x="24" y="40"/>
                  </a:cubicBezTo>
                  <a:cubicBezTo>
                    <a:pt x="545" y="-542"/>
                    <a:pt x="7439" y="5280"/>
                    <a:pt x="20216" y="11929"/>
                  </a:cubicBezTo>
                  <a:cubicBezTo>
                    <a:pt x="26559" y="15299"/>
                    <a:pt x="34464" y="18578"/>
                    <a:pt x="43442" y="21428"/>
                  </a:cubicBezTo>
                  <a:cubicBezTo>
                    <a:pt x="45710" y="22071"/>
                    <a:pt x="48069" y="22592"/>
                    <a:pt x="50459" y="23205"/>
                  </a:cubicBezTo>
                  <a:cubicBezTo>
                    <a:pt x="51654" y="23511"/>
                    <a:pt x="52879" y="23787"/>
                    <a:pt x="54075" y="24093"/>
                  </a:cubicBezTo>
                  <a:cubicBezTo>
                    <a:pt x="55331" y="24277"/>
                    <a:pt x="56587" y="24461"/>
                    <a:pt x="57843" y="24675"/>
                  </a:cubicBezTo>
                  <a:cubicBezTo>
                    <a:pt x="60387" y="25043"/>
                    <a:pt x="62960" y="25442"/>
                    <a:pt x="65565" y="25809"/>
                  </a:cubicBezTo>
                  <a:cubicBezTo>
                    <a:pt x="68200" y="25901"/>
                    <a:pt x="70896" y="26024"/>
                    <a:pt x="73593" y="26146"/>
                  </a:cubicBezTo>
                  <a:cubicBezTo>
                    <a:pt x="95378" y="26912"/>
                    <a:pt x="114682" y="20355"/>
                    <a:pt x="127459" y="14043"/>
                  </a:cubicBezTo>
                  <a:cubicBezTo>
                    <a:pt x="129083" y="13338"/>
                    <a:pt x="130677" y="12664"/>
                    <a:pt x="132178" y="11990"/>
                  </a:cubicBezTo>
                  <a:cubicBezTo>
                    <a:pt x="133618" y="11255"/>
                    <a:pt x="134905" y="10428"/>
                    <a:pt x="136161" y="9753"/>
                  </a:cubicBezTo>
                  <a:cubicBezTo>
                    <a:pt x="138551" y="8436"/>
                    <a:pt x="140696" y="7241"/>
                    <a:pt x="142627" y="6199"/>
                  </a:cubicBezTo>
                  <a:cubicBezTo>
                    <a:pt x="146181" y="4330"/>
                    <a:pt x="148295" y="3380"/>
                    <a:pt x="148510" y="3686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56EB600-8E9B-4804-9B49-E74F1278352D}"/>
                </a:ext>
              </a:extLst>
            </p:cNvPr>
            <p:cNvSpPr/>
            <p:nvPr/>
          </p:nvSpPr>
          <p:spPr>
            <a:xfrm>
              <a:off x="6009912" y="3704644"/>
              <a:ext cx="148527" cy="31413"/>
            </a:xfrm>
            <a:custGeom>
              <a:avLst/>
              <a:gdLst>
                <a:gd name="connsiteX0" fmla="*/ 18 w 148527"/>
                <a:gd name="connsiteY0" fmla="*/ 27727 h 31413"/>
                <a:gd name="connsiteX1" fmla="*/ 4798 w 148527"/>
                <a:gd name="connsiteY1" fmla="*/ 23499 h 31413"/>
                <a:gd name="connsiteX2" fmla="*/ 10895 w 148527"/>
                <a:gd name="connsiteY2" fmla="*/ 19117 h 31413"/>
                <a:gd name="connsiteX3" fmla="*/ 14756 w 148527"/>
                <a:gd name="connsiteY3" fmla="*/ 16482 h 31413"/>
                <a:gd name="connsiteX4" fmla="*/ 19414 w 148527"/>
                <a:gd name="connsiteY4" fmla="*/ 14061 h 31413"/>
                <a:gd name="connsiteX5" fmla="*/ 75057 w 148527"/>
                <a:gd name="connsiteY5" fmla="*/ 59 h 31413"/>
                <a:gd name="connsiteX6" fmla="*/ 83484 w 148527"/>
                <a:gd name="connsiteY6" fmla="*/ 426 h 31413"/>
                <a:gd name="connsiteX7" fmla="*/ 91573 w 148527"/>
                <a:gd name="connsiteY7" fmla="*/ 1682 h 31413"/>
                <a:gd name="connsiteX8" fmla="*/ 95495 w 148527"/>
                <a:gd name="connsiteY8" fmla="*/ 2357 h 31413"/>
                <a:gd name="connsiteX9" fmla="*/ 99264 w 148527"/>
                <a:gd name="connsiteY9" fmla="*/ 3368 h 31413"/>
                <a:gd name="connsiteX10" fmla="*/ 106526 w 148527"/>
                <a:gd name="connsiteY10" fmla="*/ 5390 h 31413"/>
                <a:gd name="connsiteX11" fmla="*/ 130119 w 148527"/>
                <a:gd name="connsiteY11" fmla="*/ 16268 h 31413"/>
                <a:gd name="connsiteX12" fmla="*/ 148504 w 148527"/>
                <a:gd name="connsiteY12" fmla="*/ 31373 h 31413"/>
                <a:gd name="connsiteX13" fmla="*/ 128311 w 148527"/>
                <a:gd name="connsiteY13" fmla="*/ 19485 h 31413"/>
                <a:gd name="connsiteX14" fmla="*/ 105086 w 148527"/>
                <a:gd name="connsiteY14" fmla="*/ 9986 h 31413"/>
                <a:gd name="connsiteX15" fmla="*/ 98069 w 148527"/>
                <a:gd name="connsiteY15" fmla="*/ 8209 h 31413"/>
                <a:gd name="connsiteX16" fmla="*/ 94453 w 148527"/>
                <a:gd name="connsiteY16" fmla="*/ 7320 h 31413"/>
                <a:gd name="connsiteX17" fmla="*/ 90684 w 148527"/>
                <a:gd name="connsiteY17" fmla="*/ 6738 h 31413"/>
                <a:gd name="connsiteX18" fmla="*/ 82963 w 148527"/>
                <a:gd name="connsiteY18" fmla="*/ 5605 h 31413"/>
                <a:gd name="connsiteX19" fmla="*/ 74935 w 148527"/>
                <a:gd name="connsiteY19" fmla="*/ 5267 h 31413"/>
                <a:gd name="connsiteX20" fmla="*/ 21068 w 148527"/>
                <a:gd name="connsiteY20" fmla="*/ 17371 h 31413"/>
                <a:gd name="connsiteX21" fmla="*/ 16349 w 148527"/>
                <a:gd name="connsiteY21" fmla="*/ 19424 h 31413"/>
                <a:gd name="connsiteX22" fmla="*/ 12366 w 148527"/>
                <a:gd name="connsiteY22" fmla="*/ 21660 h 31413"/>
                <a:gd name="connsiteX23" fmla="*/ 5901 w 148527"/>
                <a:gd name="connsiteY23" fmla="*/ 25215 h 31413"/>
                <a:gd name="connsiteX24" fmla="*/ 18 w 148527"/>
                <a:gd name="connsiteY24" fmla="*/ 27727 h 3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8527" h="31413">
                  <a:moveTo>
                    <a:pt x="18" y="27727"/>
                  </a:moveTo>
                  <a:cubicBezTo>
                    <a:pt x="-197" y="27421"/>
                    <a:pt x="1519" y="25950"/>
                    <a:pt x="4798" y="23499"/>
                  </a:cubicBezTo>
                  <a:cubicBezTo>
                    <a:pt x="6606" y="22212"/>
                    <a:pt x="8628" y="20741"/>
                    <a:pt x="10895" y="19117"/>
                  </a:cubicBezTo>
                  <a:cubicBezTo>
                    <a:pt x="12090" y="18290"/>
                    <a:pt x="13377" y="17371"/>
                    <a:pt x="14756" y="16482"/>
                  </a:cubicBezTo>
                  <a:cubicBezTo>
                    <a:pt x="16258" y="15716"/>
                    <a:pt x="17790" y="14889"/>
                    <a:pt x="19414" y="14061"/>
                  </a:cubicBezTo>
                  <a:cubicBezTo>
                    <a:pt x="32068" y="6738"/>
                    <a:pt x="52138" y="-738"/>
                    <a:pt x="75057" y="59"/>
                  </a:cubicBezTo>
                  <a:cubicBezTo>
                    <a:pt x="77907" y="181"/>
                    <a:pt x="80695" y="304"/>
                    <a:pt x="83484" y="426"/>
                  </a:cubicBezTo>
                  <a:cubicBezTo>
                    <a:pt x="86211" y="855"/>
                    <a:pt x="88907" y="1284"/>
                    <a:pt x="91573" y="1682"/>
                  </a:cubicBezTo>
                  <a:cubicBezTo>
                    <a:pt x="92890" y="1897"/>
                    <a:pt x="94208" y="2081"/>
                    <a:pt x="95495" y="2357"/>
                  </a:cubicBezTo>
                  <a:cubicBezTo>
                    <a:pt x="96751" y="2694"/>
                    <a:pt x="98008" y="3031"/>
                    <a:pt x="99264" y="3368"/>
                  </a:cubicBezTo>
                  <a:cubicBezTo>
                    <a:pt x="101746" y="4042"/>
                    <a:pt x="104197" y="4655"/>
                    <a:pt x="106526" y="5390"/>
                  </a:cubicBezTo>
                  <a:cubicBezTo>
                    <a:pt x="115810" y="8607"/>
                    <a:pt x="123838" y="12376"/>
                    <a:pt x="130119" y="16268"/>
                  </a:cubicBezTo>
                  <a:cubicBezTo>
                    <a:pt x="142805" y="23928"/>
                    <a:pt x="148963" y="30914"/>
                    <a:pt x="148504" y="31373"/>
                  </a:cubicBezTo>
                  <a:cubicBezTo>
                    <a:pt x="147983" y="31956"/>
                    <a:pt x="141089" y="26134"/>
                    <a:pt x="128311" y="19485"/>
                  </a:cubicBezTo>
                  <a:cubicBezTo>
                    <a:pt x="121969" y="16114"/>
                    <a:pt x="114063" y="12836"/>
                    <a:pt x="105086" y="9986"/>
                  </a:cubicBezTo>
                  <a:cubicBezTo>
                    <a:pt x="102818" y="9343"/>
                    <a:pt x="100459" y="8822"/>
                    <a:pt x="98069" y="8209"/>
                  </a:cubicBezTo>
                  <a:cubicBezTo>
                    <a:pt x="96874" y="7903"/>
                    <a:pt x="95648" y="7627"/>
                    <a:pt x="94453" y="7320"/>
                  </a:cubicBezTo>
                  <a:cubicBezTo>
                    <a:pt x="93197" y="7137"/>
                    <a:pt x="91941" y="6953"/>
                    <a:pt x="90684" y="6738"/>
                  </a:cubicBezTo>
                  <a:cubicBezTo>
                    <a:pt x="88141" y="6371"/>
                    <a:pt x="85567" y="5972"/>
                    <a:pt x="82963" y="5605"/>
                  </a:cubicBezTo>
                  <a:cubicBezTo>
                    <a:pt x="80328" y="5513"/>
                    <a:pt x="77631" y="5390"/>
                    <a:pt x="74935" y="5267"/>
                  </a:cubicBezTo>
                  <a:cubicBezTo>
                    <a:pt x="53149" y="4532"/>
                    <a:pt x="33846" y="11059"/>
                    <a:pt x="21068" y="17371"/>
                  </a:cubicBezTo>
                  <a:cubicBezTo>
                    <a:pt x="19444" y="18075"/>
                    <a:pt x="17851" y="18749"/>
                    <a:pt x="16349" y="19424"/>
                  </a:cubicBezTo>
                  <a:cubicBezTo>
                    <a:pt x="14909" y="20159"/>
                    <a:pt x="13623" y="20986"/>
                    <a:pt x="12366" y="21660"/>
                  </a:cubicBezTo>
                  <a:cubicBezTo>
                    <a:pt x="9976" y="22978"/>
                    <a:pt x="7831" y="24173"/>
                    <a:pt x="5901" y="25215"/>
                  </a:cubicBezTo>
                  <a:cubicBezTo>
                    <a:pt x="2347" y="27084"/>
                    <a:pt x="232" y="28003"/>
                    <a:pt x="18" y="27727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5393B0B-4287-40B3-9CC1-311FFB008F22}"/>
                </a:ext>
              </a:extLst>
            </p:cNvPr>
            <p:cNvSpPr/>
            <p:nvPr/>
          </p:nvSpPr>
          <p:spPr>
            <a:xfrm>
              <a:off x="5990994" y="3672860"/>
              <a:ext cx="189238" cy="6937"/>
            </a:xfrm>
            <a:custGeom>
              <a:avLst/>
              <a:gdLst>
                <a:gd name="connsiteX0" fmla="*/ 189238 w 189238"/>
                <a:gd name="connsiteY0" fmla="*/ 5767 h 6937"/>
                <a:gd name="connsiteX1" fmla="*/ 94558 w 189238"/>
                <a:gd name="connsiteY1" fmla="*/ 6073 h 6937"/>
                <a:gd name="connsiteX2" fmla="*/ 0 w 189238"/>
                <a:gd name="connsiteY2" fmla="*/ 1171 h 6937"/>
                <a:gd name="connsiteX3" fmla="*/ 94680 w 189238"/>
                <a:gd name="connsiteY3" fmla="*/ 864 h 6937"/>
                <a:gd name="connsiteX4" fmla="*/ 189238 w 189238"/>
                <a:gd name="connsiteY4" fmla="*/ 5767 h 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238" h="6937">
                  <a:moveTo>
                    <a:pt x="189238" y="5767"/>
                  </a:moveTo>
                  <a:cubicBezTo>
                    <a:pt x="189208" y="7207"/>
                    <a:pt x="146801" y="7330"/>
                    <a:pt x="94558" y="6073"/>
                  </a:cubicBezTo>
                  <a:cubicBezTo>
                    <a:pt x="42284" y="4817"/>
                    <a:pt x="-31" y="2611"/>
                    <a:pt x="0" y="1171"/>
                  </a:cubicBezTo>
                  <a:cubicBezTo>
                    <a:pt x="31" y="-269"/>
                    <a:pt x="42438" y="-392"/>
                    <a:pt x="94680" y="864"/>
                  </a:cubicBezTo>
                  <a:cubicBezTo>
                    <a:pt x="146923" y="2121"/>
                    <a:pt x="189269" y="4327"/>
                    <a:pt x="189238" y="5767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4E43FD1-6D1F-4164-9A6D-0AF28D3F60F5}"/>
                </a:ext>
              </a:extLst>
            </p:cNvPr>
            <p:cNvSpPr/>
            <p:nvPr/>
          </p:nvSpPr>
          <p:spPr>
            <a:xfrm>
              <a:off x="6080060" y="3579473"/>
              <a:ext cx="6937" cy="189176"/>
            </a:xfrm>
            <a:custGeom>
              <a:avLst/>
              <a:gdLst>
                <a:gd name="connsiteX0" fmla="*/ 1171 w 6937"/>
                <a:gd name="connsiteY0" fmla="*/ 189177 h 189176"/>
                <a:gd name="connsiteX1" fmla="*/ 864 w 6937"/>
                <a:gd name="connsiteY1" fmla="*/ 94527 h 189176"/>
                <a:gd name="connsiteX2" fmla="*/ 5767 w 6937"/>
                <a:gd name="connsiteY2" fmla="*/ 0 h 189176"/>
                <a:gd name="connsiteX3" fmla="*/ 6073 w 6937"/>
                <a:gd name="connsiteY3" fmla="*/ 94650 h 189176"/>
                <a:gd name="connsiteX4" fmla="*/ 1171 w 6937"/>
                <a:gd name="connsiteY4" fmla="*/ 189177 h 18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37" h="189176">
                  <a:moveTo>
                    <a:pt x="1171" y="189177"/>
                  </a:moveTo>
                  <a:cubicBezTo>
                    <a:pt x="-269" y="189146"/>
                    <a:pt x="-392" y="146770"/>
                    <a:pt x="864" y="94527"/>
                  </a:cubicBezTo>
                  <a:cubicBezTo>
                    <a:pt x="2121" y="42284"/>
                    <a:pt x="4327" y="-31"/>
                    <a:pt x="5767" y="0"/>
                  </a:cubicBezTo>
                  <a:cubicBezTo>
                    <a:pt x="7207" y="31"/>
                    <a:pt x="7330" y="42407"/>
                    <a:pt x="6073" y="94650"/>
                  </a:cubicBezTo>
                  <a:cubicBezTo>
                    <a:pt x="4817" y="146892"/>
                    <a:pt x="2611" y="189207"/>
                    <a:pt x="1171" y="189177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ACA732-E5DF-4412-A506-A84D280A6E87}"/>
                </a:ext>
              </a:extLst>
            </p:cNvPr>
            <p:cNvSpPr/>
            <p:nvPr/>
          </p:nvSpPr>
          <p:spPr>
            <a:xfrm>
              <a:off x="6034175" y="3579415"/>
              <a:ext cx="51702" cy="189111"/>
            </a:xfrm>
            <a:custGeom>
              <a:avLst/>
              <a:gdLst>
                <a:gd name="connsiteX0" fmla="*/ 47086 w 51702"/>
                <a:gd name="connsiteY0" fmla="*/ 189082 h 189111"/>
                <a:gd name="connsiteX1" fmla="*/ 24259 w 51702"/>
                <a:gd name="connsiteY1" fmla="*/ 166561 h 189111"/>
                <a:gd name="connsiteX2" fmla="*/ 7345 w 51702"/>
                <a:gd name="connsiteY2" fmla="*/ 135859 h 189111"/>
                <a:gd name="connsiteX3" fmla="*/ 22 w 51702"/>
                <a:gd name="connsiteY3" fmla="*/ 93452 h 189111"/>
                <a:gd name="connsiteX4" fmla="*/ 9582 w 51702"/>
                <a:gd name="connsiteY4" fmla="*/ 51474 h 189111"/>
                <a:gd name="connsiteX5" fmla="*/ 28058 w 51702"/>
                <a:gd name="connsiteY5" fmla="*/ 21721 h 189111"/>
                <a:gd name="connsiteX6" fmla="*/ 51682 w 51702"/>
                <a:gd name="connsiteY6" fmla="*/ 28 h 189111"/>
                <a:gd name="connsiteX7" fmla="*/ 30969 w 51702"/>
                <a:gd name="connsiteY7" fmla="*/ 23989 h 189111"/>
                <a:gd name="connsiteX8" fmla="*/ 13994 w 51702"/>
                <a:gd name="connsiteY8" fmla="*/ 53404 h 189111"/>
                <a:gd name="connsiteX9" fmla="*/ 5231 w 51702"/>
                <a:gd name="connsiteY9" fmla="*/ 93574 h 189111"/>
                <a:gd name="connsiteX10" fmla="*/ 11849 w 51702"/>
                <a:gd name="connsiteY10" fmla="*/ 134235 h 189111"/>
                <a:gd name="connsiteX11" fmla="*/ 27262 w 51702"/>
                <a:gd name="connsiteY11" fmla="*/ 164477 h 189111"/>
                <a:gd name="connsiteX12" fmla="*/ 47086 w 51702"/>
                <a:gd name="connsiteY12" fmla="*/ 189082 h 18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02" h="189111">
                  <a:moveTo>
                    <a:pt x="47086" y="189082"/>
                  </a:moveTo>
                  <a:cubicBezTo>
                    <a:pt x="46719" y="189633"/>
                    <a:pt x="36301" y="182555"/>
                    <a:pt x="24259" y="166561"/>
                  </a:cubicBezTo>
                  <a:cubicBezTo>
                    <a:pt x="18314" y="158563"/>
                    <a:pt x="12064" y="148268"/>
                    <a:pt x="7345" y="135859"/>
                  </a:cubicBezTo>
                  <a:cubicBezTo>
                    <a:pt x="2657" y="123449"/>
                    <a:pt x="-285" y="108833"/>
                    <a:pt x="22" y="93452"/>
                  </a:cubicBezTo>
                  <a:cubicBezTo>
                    <a:pt x="298" y="78009"/>
                    <a:pt x="4189" y="63577"/>
                    <a:pt x="9582" y="51474"/>
                  </a:cubicBezTo>
                  <a:cubicBezTo>
                    <a:pt x="14975" y="39340"/>
                    <a:pt x="21777" y="29412"/>
                    <a:pt x="28058" y="21721"/>
                  </a:cubicBezTo>
                  <a:cubicBezTo>
                    <a:pt x="40805" y="6309"/>
                    <a:pt x="51315" y="-493"/>
                    <a:pt x="51682" y="28"/>
                  </a:cubicBezTo>
                  <a:cubicBezTo>
                    <a:pt x="52203" y="610"/>
                    <a:pt x="42674" y="8362"/>
                    <a:pt x="30969" y="23989"/>
                  </a:cubicBezTo>
                  <a:cubicBezTo>
                    <a:pt x="25178" y="31802"/>
                    <a:pt x="18927" y="41607"/>
                    <a:pt x="13994" y="53404"/>
                  </a:cubicBezTo>
                  <a:cubicBezTo>
                    <a:pt x="9030" y="65140"/>
                    <a:pt x="5507" y="78897"/>
                    <a:pt x="5231" y="93574"/>
                  </a:cubicBezTo>
                  <a:cubicBezTo>
                    <a:pt x="4924" y="108251"/>
                    <a:pt x="7590" y="122223"/>
                    <a:pt x="11849" y="134235"/>
                  </a:cubicBezTo>
                  <a:cubicBezTo>
                    <a:pt x="16139" y="146276"/>
                    <a:pt x="21838" y="156419"/>
                    <a:pt x="27262" y="164477"/>
                  </a:cubicBezTo>
                  <a:cubicBezTo>
                    <a:pt x="38200" y="180564"/>
                    <a:pt x="47607" y="188530"/>
                    <a:pt x="47086" y="189082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3C3B41F-3763-4A7A-8DA4-2498E56FB910}"/>
                </a:ext>
              </a:extLst>
            </p:cNvPr>
            <p:cNvSpPr/>
            <p:nvPr/>
          </p:nvSpPr>
          <p:spPr>
            <a:xfrm>
              <a:off x="6083356" y="3579474"/>
              <a:ext cx="51702" cy="189111"/>
            </a:xfrm>
            <a:custGeom>
              <a:avLst/>
              <a:gdLst>
                <a:gd name="connsiteX0" fmla="*/ 4617 w 51702"/>
                <a:gd name="connsiteY0" fmla="*/ 30 h 189111"/>
                <a:gd name="connsiteX1" fmla="*/ 27444 w 51702"/>
                <a:gd name="connsiteY1" fmla="*/ 22551 h 189111"/>
                <a:gd name="connsiteX2" fmla="*/ 44358 w 51702"/>
                <a:gd name="connsiteY2" fmla="*/ 53253 h 189111"/>
                <a:gd name="connsiteX3" fmla="*/ 51681 w 51702"/>
                <a:gd name="connsiteY3" fmla="*/ 95660 h 189111"/>
                <a:gd name="connsiteX4" fmla="*/ 42121 w 51702"/>
                <a:gd name="connsiteY4" fmla="*/ 137638 h 189111"/>
                <a:gd name="connsiteX5" fmla="*/ 23644 w 51702"/>
                <a:gd name="connsiteY5" fmla="*/ 167390 h 189111"/>
                <a:gd name="connsiteX6" fmla="*/ 20 w 51702"/>
                <a:gd name="connsiteY6" fmla="*/ 189084 h 189111"/>
                <a:gd name="connsiteX7" fmla="*/ 20734 w 51702"/>
                <a:gd name="connsiteY7" fmla="*/ 165123 h 189111"/>
                <a:gd name="connsiteX8" fmla="*/ 37709 w 51702"/>
                <a:gd name="connsiteY8" fmla="*/ 135708 h 189111"/>
                <a:gd name="connsiteX9" fmla="*/ 46472 w 51702"/>
                <a:gd name="connsiteY9" fmla="*/ 95537 h 189111"/>
                <a:gd name="connsiteX10" fmla="*/ 39854 w 51702"/>
                <a:gd name="connsiteY10" fmla="*/ 54877 h 189111"/>
                <a:gd name="connsiteX11" fmla="*/ 24441 w 51702"/>
                <a:gd name="connsiteY11" fmla="*/ 24634 h 189111"/>
                <a:gd name="connsiteX12" fmla="*/ 4617 w 51702"/>
                <a:gd name="connsiteY12" fmla="*/ 30 h 18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02" h="189111">
                  <a:moveTo>
                    <a:pt x="4617" y="30"/>
                  </a:moveTo>
                  <a:cubicBezTo>
                    <a:pt x="4984" y="-522"/>
                    <a:pt x="15402" y="6556"/>
                    <a:pt x="27444" y="22551"/>
                  </a:cubicBezTo>
                  <a:cubicBezTo>
                    <a:pt x="33388" y="30548"/>
                    <a:pt x="39639" y="40843"/>
                    <a:pt x="44358" y="53253"/>
                  </a:cubicBezTo>
                  <a:cubicBezTo>
                    <a:pt x="49046" y="65663"/>
                    <a:pt x="51987" y="80278"/>
                    <a:pt x="51681" y="95660"/>
                  </a:cubicBezTo>
                  <a:cubicBezTo>
                    <a:pt x="51405" y="111103"/>
                    <a:pt x="47514" y="125535"/>
                    <a:pt x="42121" y="137638"/>
                  </a:cubicBezTo>
                  <a:cubicBezTo>
                    <a:pt x="36728" y="149772"/>
                    <a:pt x="29926" y="159699"/>
                    <a:pt x="23644" y="167390"/>
                  </a:cubicBezTo>
                  <a:cubicBezTo>
                    <a:pt x="10898" y="182803"/>
                    <a:pt x="388" y="189605"/>
                    <a:pt x="20" y="189084"/>
                  </a:cubicBezTo>
                  <a:cubicBezTo>
                    <a:pt x="-501" y="188502"/>
                    <a:pt x="9029" y="180750"/>
                    <a:pt x="20734" y="165123"/>
                  </a:cubicBezTo>
                  <a:cubicBezTo>
                    <a:pt x="26525" y="157309"/>
                    <a:pt x="32776" y="147504"/>
                    <a:pt x="37709" y="135708"/>
                  </a:cubicBezTo>
                  <a:cubicBezTo>
                    <a:pt x="42672" y="123972"/>
                    <a:pt x="46196" y="110214"/>
                    <a:pt x="46472" y="95537"/>
                  </a:cubicBezTo>
                  <a:cubicBezTo>
                    <a:pt x="46778" y="80860"/>
                    <a:pt x="44113" y="66888"/>
                    <a:pt x="39854" y="54877"/>
                  </a:cubicBezTo>
                  <a:cubicBezTo>
                    <a:pt x="35564" y="42835"/>
                    <a:pt x="29865" y="32693"/>
                    <a:pt x="24441" y="24634"/>
                  </a:cubicBezTo>
                  <a:cubicBezTo>
                    <a:pt x="13472" y="8548"/>
                    <a:pt x="4065" y="581"/>
                    <a:pt x="4617" y="30"/>
                  </a:cubicBez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37FFCEB-FE92-4446-A927-59A895BCDAD5}"/>
                </a:ext>
              </a:extLst>
            </p:cNvPr>
            <p:cNvSpPr/>
            <p:nvPr/>
          </p:nvSpPr>
          <p:spPr>
            <a:xfrm>
              <a:off x="6308188" y="3652000"/>
              <a:ext cx="697264" cy="517830"/>
            </a:xfrm>
            <a:custGeom>
              <a:avLst/>
              <a:gdLst>
                <a:gd name="connsiteX0" fmla="*/ 0 w 697264"/>
                <a:gd name="connsiteY0" fmla="*/ 0 h 517830"/>
                <a:gd name="connsiteX1" fmla="*/ 697264 w 697264"/>
                <a:gd name="connsiteY1" fmla="*/ 0 h 517830"/>
                <a:gd name="connsiteX2" fmla="*/ 697264 w 697264"/>
                <a:gd name="connsiteY2" fmla="*/ 517830 h 517830"/>
                <a:gd name="connsiteX3" fmla="*/ 0 w 697264"/>
                <a:gd name="connsiteY3" fmla="*/ 517830 h 517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264" h="517830">
                  <a:moveTo>
                    <a:pt x="0" y="0"/>
                  </a:moveTo>
                  <a:lnTo>
                    <a:pt x="697264" y="0"/>
                  </a:lnTo>
                  <a:lnTo>
                    <a:pt x="697264" y="517830"/>
                  </a:lnTo>
                  <a:lnTo>
                    <a:pt x="0" y="517830"/>
                  </a:ln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F66CE0D-7770-4C51-A969-B8B4AEFF0021}"/>
                </a:ext>
              </a:extLst>
            </p:cNvPr>
            <p:cNvSpPr/>
            <p:nvPr/>
          </p:nvSpPr>
          <p:spPr>
            <a:xfrm>
              <a:off x="6307361" y="3651234"/>
              <a:ext cx="698704" cy="519362"/>
            </a:xfrm>
            <a:custGeom>
              <a:avLst/>
              <a:gdLst>
                <a:gd name="connsiteX0" fmla="*/ 698061 w 698704"/>
                <a:gd name="connsiteY0" fmla="*/ 518627 h 519362"/>
                <a:gd name="connsiteX1" fmla="*/ 697417 w 698704"/>
                <a:gd name="connsiteY1" fmla="*/ 797 h 519362"/>
                <a:gd name="connsiteX2" fmla="*/ 698061 w 698704"/>
                <a:gd name="connsiteY2" fmla="*/ 1440 h 519362"/>
                <a:gd name="connsiteX3" fmla="*/ 858 w 698704"/>
                <a:gd name="connsiteY3" fmla="*/ 1593 h 519362"/>
                <a:gd name="connsiteX4" fmla="*/ 797 w 698704"/>
                <a:gd name="connsiteY4" fmla="*/ 1593 h 519362"/>
                <a:gd name="connsiteX5" fmla="*/ 1593 w 698704"/>
                <a:gd name="connsiteY5" fmla="*/ 797 h 519362"/>
                <a:gd name="connsiteX6" fmla="*/ 1501 w 698704"/>
                <a:gd name="connsiteY6" fmla="*/ 518627 h 519362"/>
                <a:gd name="connsiteX7" fmla="*/ 766 w 698704"/>
                <a:gd name="connsiteY7" fmla="*/ 517892 h 519362"/>
                <a:gd name="connsiteX8" fmla="*/ 698061 w 698704"/>
                <a:gd name="connsiteY8" fmla="*/ 518627 h 519362"/>
                <a:gd name="connsiteX9" fmla="*/ 797 w 698704"/>
                <a:gd name="connsiteY9" fmla="*/ 519362 h 519362"/>
                <a:gd name="connsiteX10" fmla="*/ 61 w 698704"/>
                <a:gd name="connsiteY10" fmla="*/ 519362 h 519362"/>
                <a:gd name="connsiteX11" fmla="*/ 61 w 698704"/>
                <a:gd name="connsiteY11" fmla="*/ 518627 h 519362"/>
                <a:gd name="connsiteX12" fmla="*/ 0 w 698704"/>
                <a:gd name="connsiteY12" fmla="*/ 797 h 519362"/>
                <a:gd name="connsiteX13" fmla="*/ 0 w 698704"/>
                <a:gd name="connsiteY13" fmla="*/ 0 h 519362"/>
                <a:gd name="connsiteX14" fmla="*/ 797 w 698704"/>
                <a:gd name="connsiteY14" fmla="*/ 0 h 519362"/>
                <a:gd name="connsiteX15" fmla="*/ 858 w 698704"/>
                <a:gd name="connsiteY15" fmla="*/ 0 h 519362"/>
                <a:gd name="connsiteX16" fmla="*/ 698061 w 698704"/>
                <a:gd name="connsiteY16" fmla="*/ 153 h 519362"/>
                <a:gd name="connsiteX17" fmla="*/ 698704 w 698704"/>
                <a:gd name="connsiteY17" fmla="*/ 153 h 519362"/>
                <a:gd name="connsiteX18" fmla="*/ 698704 w 698704"/>
                <a:gd name="connsiteY18" fmla="*/ 797 h 519362"/>
                <a:gd name="connsiteX19" fmla="*/ 698061 w 698704"/>
                <a:gd name="connsiteY19" fmla="*/ 518627 h 519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98704" h="519362">
                  <a:moveTo>
                    <a:pt x="698061" y="518627"/>
                  </a:moveTo>
                  <a:cubicBezTo>
                    <a:pt x="698061" y="513234"/>
                    <a:pt x="697816" y="314253"/>
                    <a:pt x="697417" y="797"/>
                  </a:cubicBezTo>
                  <a:lnTo>
                    <a:pt x="698061" y="1440"/>
                  </a:lnTo>
                  <a:cubicBezTo>
                    <a:pt x="501714" y="1471"/>
                    <a:pt x="260815" y="1532"/>
                    <a:pt x="858" y="1593"/>
                  </a:cubicBezTo>
                  <a:lnTo>
                    <a:pt x="797" y="1593"/>
                  </a:lnTo>
                  <a:lnTo>
                    <a:pt x="1593" y="797"/>
                  </a:lnTo>
                  <a:cubicBezTo>
                    <a:pt x="1563" y="186817"/>
                    <a:pt x="1532" y="363063"/>
                    <a:pt x="1501" y="518627"/>
                  </a:cubicBezTo>
                  <a:lnTo>
                    <a:pt x="766" y="517892"/>
                  </a:lnTo>
                  <a:cubicBezTo>
                    <a:pt x="413652" y="518320"/>
                    <a:pt x="691687" y="518596"/>
                    <a:pt x="698061" y="518627"/>
                  </a:cubicBezTo>
                  <a:cubicBezTo>
                    <a:pt x="691687" y="518627"/>
                    <a:pt x="413652" y="518933"/>
                    <a:pt x="797" y="519362"/>
                  </a:cubicBezTo>
                  <a:lnTo>
                    <a:pt x="61" y="519362"/>
                  </a:lnTo>
                  <a:lnTo>
                    <a:pt x="61" y="518627"/>
                  </a:lnTo>
                  <a:cubicBezTo>
                    <a:pt x="31" y="363033"/>
                    <a:pt x="0" y="186817"/>
                    <a:pt x="0" y="797"/>
                  </a:cubicBezTo>
                  <a:lnTo>
                    <a:pt x="0" y="0"/>
                  </a:lnTo>
                  <a:lnTo>
                    <a:pt x="797" y="0"/>
                  </a:lnTo>
                  <a:lnTo>
                    <a:pt x="858" y="0"/>
                  </a:lnTo>
                  <a:cubicBezTo>
                    <a:pt x="260815" y="61"/>
                    <a:pt x="501714" y="92"/>
                    <a:pt x="698061" y="153"/>
                  </a:cubicBezTo>
                  <a:lnTo>
                    <a:pt x="698704" y="153"/>
                  </a:lnTo>
                  <a:lnTo>
                    <a:pt x="698704" y="797"/>
                  </a:lnTo>
                  <a:cubicBezTo>
                    <a:pt x="698337" y="314253"/>
                    <a:pt x="698061" y="513234"/>
                    <a:pt x="698061" y="51862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E0F8035-2996-4CE2-8D3F-11B1EB79657F}"/>
                </a:ext>
              </a:extLst>
            </p:cNvPr>
            <p:cNvSpPr/>
            <p:nvPr/>
          </p:nvSpPr>
          <p:spPr>
            <a:xfrm>
              <a:off x="6309720" y="3727958"/>
              <a:ext cx="695701" cy="1593"/>
            </a:xfrm>
            <a:custGeom>
              <a:avLst/>
              <a:gdLst>
                <a:gd name="connsiteX0" fmla="*/ 695701 w 695701"/>
                <a:gd name="connsiteY0" fmla="*/ 797 h 1593"/>
                <a:gd name="connsiteX1" fmla="*/ 347866 w 695701"/>
                <a:gd name="connsiteY1" fmla="*/ 1593 h 1593"/>
                <a:gd name="connsiteX2" fmla="*/ 0 w 695701"/>
                <a:gd name="connsiteY2" fmla="*/ 797 h 1593"/>
                <a:gd name="connsiteX3" fmla="*/ 347866 w 695701"/>
                <a:gd name="connsiteY3" fmla="*/ 0 h 1593"/>
                <a:gd name="connsiteX4" fmla="*/ 695701 w 695701"/>
                <a:gd name="connsiteY4" fmla="*/ 797 h 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5701" h="1593">
                  <a:moveTo>
                    <a:pt x="695701" y="797"/>
                  </a:moveTo>
                  <a:cubicBezTo>
                    <a:pt x="695701" y="1226"/>
                    <a:pt x="539954" y="1593"/>
                    <a:pt x="347866" y="1593"/>
                  </a:cubicBezTo>
                  <a:cubicBezTo>
                    <a:pt x="155717" y="1593"/>
                    <a:pt x="0" y="1226"/>
                    <a:pt x="0" y="797"/>
                  </a:cubicBezTo>
                  <a:cubicBezTo>
                    <a:pt x="0" y="368"/>
                    <a:pt x="155717" y="0"/>
                    <a:pt x="347866" y="0"/>
                  </a:cubicBezTo>
                  <a:cubicBezTo>
                    <a:pt x="539954" y="0"/>
                    <a:pt x="695701" y="337"/>
                    <a:pt x="695701" y="797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8066128-A431-47B0-A5C2-87195E0F207F}"/>
                </a:ext>
              </a:extLst>
            </p:cNvPr>
            <p:cNvSpPr/>
            <p:nvPr/>
          </p:nvSpPr>
          <p:spPr>
            <a:xfrm>
              <a:off x="6329514" y="3679546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01" y="31"/>
                    <a:pt x="21020" y="4719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67D4153-27DC-4398-A57D-817040FB13F3}"/>
                </a:ext>
              </a:extLst>
            </p:cNvPr>
            <p:cNvSpPr/>
            <p:nvPr/>
          </p:nvSpPr>
          <p:spPr>
            <a:xfrm>
              <a:off x="6361136" y="3679546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32" y="31"/>
                    <a:pt x="21020" y="4719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5C3E119-B11C-4239-BDF8-751F5148047D}"/>
                </a:ext>
              </a:extLst>
            </p:cNvPr>
            <p:cNvSpPr/>
            <p:nvPr/>
          </p:nvSpPr>
          <p:spPr>
            <a:xfrm>
              <a:off x="6392788" y="3679546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01" y="31"/>
                    <a:pt x="21020" y="4719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656BF82-B38A-4C8D-BCF3-6B232D1BE58C}"/>
                </a:ext>
              </a:extLst>
            </p:cNvPr>
            <p:cNvSpPr/>
            <p:nvPr/>
          </p:nvSpPr>
          <p:spPr>
            <a:xfrm>
              <a:off x="6570043" y="3597427"/>
              <a:ext cx="115777" cy="86623"/>
            </a:xfrm>
            <a:custGeom>
              <a:avLst/>
              <a:gdLst>
                <a:gd name="connsiteX0" fmla="*/ 114262 w 115777"/>
                <a:gd name="connsiteY0" fmla="*/ 15965 h 86623"/>
                <a:gd name="connsiteX1" fmla="*/ 95816 w 115777"/>
                <a:gd name="connsiteY1" fmla="*/ 5762 h 86623"/>
                <a:gd name="connsiteX2" fmla="*/ 65144 w 115777"/>
                <a:gd name="connsiteY2" fmla="*/ 4812 h 86623"/>
                <a:gd name="connsiteX3" fmla="*/ 43328 w 115777"/>
                <a:gd name="connsiteY3" fmla="*/ 3310 h 86623"/>
                <a:gd name="connsiteX4" fmla="*/ 30827 w 115777"/>
                <a:gd name="connsiteY4" fmla="*/ 21266 h 86623"/>
                <a:gd name="connsiteX5" fmla="*/ 11002 w 115777"/>
                <a:gd name="connsiteY5" fmla="*/ 30060 h 86623"/>
                <a:gd name="connsiteX6" fmla="*/ 13116 w 115777"/>
                <a:gd name="connsiteY6" fmla="*/ 51631 h 86623"/>
                <a:gd name="connsiteX7" fmla="*/ 216 w 115777"/>
                <a:gd name="connsiteY7" fmla="*/ 71731 h 86623"/>
                <a:gd name="connsiteX8" fmla="*/ 18907 w 115777"/>
                <a:gd name="connsiteY8" fmla="*/ 86592 h 86623"/>
                <a:gd name="connsiteX9" fmla="*/ 109941 w 115777"/>
                <a:gd name="connsiteY9" fmla="*/ 36586 h 86623"/>
                <a:gd name="connsiteX10" fmla="*/ 114262 w 115777"/>
                <a:gd name="connsiteY10" fmla="*/ 15965 h 8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777" h="86623">
                  <a:moveTo>
                    <a:pt x="114262" y="15965"/>
                  </a:moveTo>
                  <a:cubicBezTo>
                    <a:pt x="111136" y="9132"/>
                    <a:pt x="103262" y="4781"/>
                    <a:pt x="95816" y="5762"/>
                  </a:cubicBezTo>
                  <a:cubicBezTo>
                    <a:pt x="87482" y="-1531"/>
                    <a:pt x="73908" y="-1960"/>
                    <a:pt x="65144" y="4812"/>
                  </a:cubicBezTo>
                  <a:cubicBezTo>
                    <a:pt x="58802" y="614"/>
                    <a:pt x="50192" y="1"/>
                    <a:pt x="43328" y="3310"/>
                  </a:cubicBezTo>
                  <a:cubicBezTo>
                    <a:pt x="36464" y="6620"/>
                    <a:pt x="31531" y="13667"/>
                    <a:pt x="30827" y="21266"/>
                  </a:cubicBezTo>
                  <a:cubicBezTo>
                    <a:pt x="23258" y="19673"/>
                    <a:pt x="14893" y="23380"/>
                    <a:pt x="11002" y="30060"/>
                  </a:cubicBezTo>
                  <a:cubicBezTo>
                    <a:pt x="7111" y="36740"/>
                    <a:pt x="7999" y="45840"/>
                    <a:pt x="13116" y="51631"/>
                  </a:cubicBezTo>
                  <a:cubicBezTo>
                    <a:pt x="4690" y="53898"/>
                    <a:pt x="-1224" y="63121"/>
                    <a:pt x="216" y="71731"/>
                  </a:cubicBezTo>
                  <a:cubicBezTo>
                    <a:pt x="1626" y="80341"/>
                    <a:pt x="10205" y="87144"/>
                    <a:pt x="18907" y="86592"/>
                  </a:cubicBezTo>
                  <a:lnTo>
                    <a:pt x="109941" y="36586"/>
                  </a:lnTo>
                  <a:cubicBezTo>
                    <a:pt x="115549" y="31592"/>
                    <a:pt x="117387" y="22798"/>
                    <a:pt x="114262" y="15965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EDC610F-FBCC-427E-A6C5-7FF2863885E0}"/>
                </a:ext>
              </a:extLst>
            </p:cNvPr>
            <p:cNvSpPr/>
            <p:nvPr/>
          </p:nvSpPr>
          <p:spPr>
            <a:xfrm>
              <a:off x="6575886" y="3620654"/>
              <a:ext cx="149780" cy="246352"/>
            </a:xfrm>
            <a:custGeom>
              <a:avLst/>
              <a:gdLst>
                <a:gd name="connsiteX0" fmla="*/ 10338 w 149780"/>
                <a:gd name="connsiteY0" fmla="*/ 65756 h 246352"/>
                <a:gd name="connsiteX1" fmla="*/ 88993 w 149780"/>
                <a:gd name="connsiteY1" fmla="*/ 92 h 246352"/>
                <a:gd name="connsiteX2" fmla="*/ 92915 w 149780"/>
                <a:gd name="connsiteY2" fmla="*/ 276 h 246352"/>
                <a:gd name="connsiteX3" fmla="*/ 148804 w 149780"/>
                <a:gd name="connsiteY3" fmla="*/ 84906 h 246352"/>
                <a:gd name="connsiteX4" fmla="*/ 135721 w 149780"/>
                <a:gd name="connsiteY4" fmla="*/ 224904 h 246352"/>
                <a:gd name="connsiteX5" fmla="*/ 135016 w 149780"/>
                <a:gd name="connsiteY5" fmla="*/ 231706 h 246352"/>
                <a:gd name="connsiteX6" fmla="*/ 36812 w 149780"/>
                <a:gd name="connsiteY6" fmla="*/ 246353 h 246352"/>
                <a:gd name="connsiteX7" fmla="*/ 38711 w 149780"/>
                <a:gd name="connsiteY7" fmla="*/ 210595 h 246352"/>
                <a:gd name="connsiteX8" fmla="*/ 43 w 149780"/>
                <a:gd name="connsiteY8" fmla="*/ 161753 h 246352"/>
                <a:gd name="connsiteX9" fmla="*/ 10338 w 149780"/>
                <a:gd name="connsiteY9" fmla="*/ 65756 h 246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780" h="246352">
                  <a:moveTo>
                    <a:pt x="10338" y="65756"/>
                  </a:moveTo>
                  <a:cubicBezTo>
                    <a:pt x="15455" y="26719"/>
                    <a:pt x="49681" y="-1838"/>
                    <a:pt x="88993" y="92"/>
                  </a:cubicBezTo>
                  <a:lnTo>
                    <a:pt x="92915" y="276"/>
                  </a:lnTo>
                  <a:cubicBezTo>
                    <a:pt x="134924" y="4842"/>
                    <a:pt x="154534" y="43051"/>
                    <a:pt x="148804" y="84906"/>
                  </a:cubicBezTo>
                  <a:lnTo>
                    <a:pt x="135721" y="224904"/>
                  </a:lnTo>
                  <a:lnTo>
                    <a:pt x="135016" y="231706"/>
                  </a:lnTo>
                  <a:lnTo>
                    <a:pt x="36812" y="246353"/>
                  </a:lnTo>
                  <a:lnTo>
                    <a:pt x="38711" y="210595"/>
                  </a:lnTo>
                  <a:cubicBezTo>
                    <a:pt x="38711" y="210595"/>
                    <a:pt x="-1489" y="202291"/>
                    <a:pt x="43" y="161753"/>
                  </a:cubicBezTo>
                  <a:cubicBezTo>
                    <a:pt x="809" y="142235"/>
                    <a:pt x="5589" y="102065"/>
                    <a:pt x="10338" y="65756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4C8D299-279D-43B9-A2E9-881A7B0B1CFC}"/>
                </a:ext>
              </a:extLst>
            </p:cNvPr>
            <p:cNvSpPr/>
            <p:nvPr/>
          </p:nvSpPr>
          <p:spPr>
            <a:xfrm>
              <a:off x="6613984" y="3818318"/>
              <a:ext cx="54142" cy="23603"/>
            </a:xfrm>
            <a:custGeom>
              <a:avLst/>
              <a:gdLst>
                <a:gd name="connsiteX0" fmla="*/ 306 w 54142"/>
                <a:gd name="connsiteY0" fmla="*/ 12900 h 23603"/>
                <a:gd name="connsiteX1" fmla="*/ 54142 w 54142"/>
                <a:gd name="connsiteY1" fmla="*/ 0 h 23603"/>
                <a:gd name="connsiteX2" fmla="*/ 0 w 54142"/>
                <a:gd name="connsiteY2" fmla="*/ 22858 h 23603"/>
                <a:gd name="connsiteX3" fmla="*/ 306 w 54142"/>
                <a:gd name="connsiteY3" fmla="*/ 12900 h 23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42" h="23603">
                  <a:moveTo>
                    <a:pt x="306" y="12900"/>
                  </a:moveTo>
                  <a:cubicBezTo>
                    <a:pt x="306" y="12900"/>
                    <a:pt x="26075" y="15749"/>
                    <a:pt x="54142" y="0"/>
                  </a:cubicBezTo>
                  <a:cubicBezTo>
                    <a:pt x="54142" y="0"/>
                    <a:pt x="40201" y="28527"/>
                    <a:pt x="0" y="22858"/>
                  </a:cubicBezTo>
                  <a:lnTo>
                    <a:pt x="306" y="12900"/>
                  </a:ln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1921C92-E11B-4C2C-8DD9-5F73617E49B4}"/>
                </a:ext>
              </a:extLst>
            </p:cNvPr>
            <p:cNvSpPr/>
            <p:nvPr/>
          </p:nvSpPr>
          <p:spPr>
            <a:xfrm>
              <a:off x="6594965" y="3720816"/>
              <a:ext cx="11560" cy="11098"/>
            </a:xfrm>
            <a:custGeom>
              <a:avLst/>
              <a:gdLst>
                <a:gd name="connsiteX0" fmla="*/ 22 w 11560"/>
                <a:gd name="connsiteY0" fmla="*/ 4967 h 11098"/>
                <a:gd name="connsiteX1" fmla="*/ 5322 w 11560"/>
                <a:gd name="connsiteY1" fmla="*/ 11065 h 11098"/>
                <a:gd name="connsiteX2" fmla="*/ 11543 w 11560"/>
                <a:gd name="connsiteY2" fmla="*/ 6162 h 11098"/>
                <a:gd name="connsiteX3" fmla="*/ 6272 w 11560"/>
                <a:gd name="connsiteY3" fmla="*/ 34 h 11098"/>
                <a:gd name="connsiteX4" fmla="*/ 22 w 11560"/>
                <a:gd name="connsiteY4" fmla="*/ 4967 h 1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60" h="11098">
                  <a:moveTo>
                    <a:pt x="22" y="4967"/>
                  </a:moveTo>
                  <a:cubicBezTo>
                    <a:pt x="-254" y="8001"/>
                    <a:pt x="2136" y="10758"/>
                    <a:pt x="5322" y="11065"/>
                  </a:cubicBezTo>
                  <a:cubicBezTo>
                    <a:pt x="8509" y="11402"/>
                    <a:pt x="11297" y="9196"/>
                    <a:pt x="11543" y="6162"/>
                  </a:cubicBezTo>
                  <a:cubicBezTo>
                    <a:pt x="11788" y="3129"/>
                    <a:pt x="9428" y="371"/>
                    <a:pt x="6272" y="34"/>
                  </a:cubicBezTo>
                  <a:cubicBezTo>
                    <a:pt x="3086" y="-303"/>
                    <a:pt x="297" y="1903"/>
                    <a:pt x="22" y="496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DA1D2D7-F4B9-4B17-A415-3BD3C77E6AF4}"/>
                </a:ext>
              </a:extLst>
            </p:cNvPr>
            <p:cNvSpPr/>
            <p:nvPr/>
          </p:nvSpPr>
          <p:spPr>
            <a:xfrm>
              <a:off x="6593864" y="3701099"/>
              <a:ext cx="22932" cy="6677"/>
            </a:xfrm>
            <a:custGeom>
              <a:avLst/>
              <a:gdLst>
                <a:gd name="connsiteX0" fmla="*/ 81 w 22932"/>
                <a:gd name="connsiteY0" fmla="*/ 5533 h 6677"/>
                <a:gd name="connsiteX1" fmla="*/ 11510 w 22932"/>
                <a:gd name="connsiteY1" fmla="*/ 3633 h 6677"/>
                <a:gd name="connsiteX2" fmla="*/ 22847 w 22932"/>
                <a:gd name="connsiteY2" fmla="*/ 6575 h 6677"/>
                <a:gd name="connsiteX3" fmla="*/ 20610 w 22932"/>
                <a:gd name="connsiteY3" fmla="*/ 3296 h 6677"/>
                <a:gd name="connsiteX4" fmla="*/ 11571 w 22932"/>
                <a:gd name="connsiteY4" fmla="*/ 18 h 6677"/>
                <a:gd name="connsiteX5" fmla="*/ 2410 w 22932"/>
                <a:gd name="connsiteY5" fmla="*/ 2469 h 6677"/>
                <a:gd name="connsiteX6" fmla="*/ 81 w 22932"/>
                <a:gd name="connsiteY6" fmla="*/ 5533 h 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32" h="6677">
                  <a:moveTo>
                    <a:pt x="81" y="5533"/>
                  </a:moveTo>
                  <a:cubicBezTo>
                    <a:pt x="755" y="6330"/>
                    <a:pt x="5290" y="3296"/>
                    <a:pt x="11510" y="3633"/>
                  </a:cubicBezTo>
                  <a:cubicBezTo>
                    <a:pt x="17730" y="3878"/>
                    <a:pt x="22142" y="7310"/>
                    <a:pt x="22847" y="6575"/>
                  </a:cubicBezTo>
                  <a:cubicBezTo>
                    <a:pt x="23184" y="6268"/>
                    <a:pt x="22541" y="4859"/>
                    <a:pt x="20610" y="3296"/>
                  </a:cubicBezTo>
                  <a:cubicBezTo>
                    <a:pt x="18711" y="1764"/>
                    <a:pt x="15463" y="201"/>
                    <a:pt x="11571" y="18"/>
                  </a:cubicBezTo>
                  <a:cubicBezTo>
                    <a:pt x="7680" y="-166"/>
                    <a:pt x="4371" y="1121"/>
                    <a:pt x="2410" y="2469"/>
                  </a:cubicBezTo>
                  <a:cubicBezTo>
                    <a:pt x="449" y="3848"/>
                    <a:pt x="-256" y="5196"/>
                    <a:pt x="81" y="553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6CC83C5-0C5F-4C3A-8D6D-0ADF3EDFFCD8}"/>
                </a:ext>
              </a:extLst>
            </p:cNvPr>
            <p:cNvSpPr/>
            <p:nvPr/>
          </p:nvSpPr>
          <p:spPr>
            <a:xfrm>
              <a:off x="6649909" y="3724503"/>
              <a:ext cx="11555" cy="11118"/>
            </a:xfrm>
            <a:custGeom>
              <a:avLst/>
              <a:gdLst>
                <a:gd name="connsiteX0" fmla="*/ 17 w 11555"/>
                <a:gd name="connsiteY0" fmla="*/ 4987 h 11118"/>
                <a:gd name="connsiteX1" fmla="*/ 5318 w 11555"/>
                <a:gd name="connsiteY1" fmla="*/ 11085 h 11118"/>
                <a:gd name="connsiteX2" fmla="*/ 11538 w 11555"/>
                <a:gd name="connsiteY2" fmla="*/ 6151 h 11118"/>
                <a:gd name="connsiteX3" fmla="*/ 6268 w 11555"/>
                <a:gd name="connsiteY3" fmla="*/ 23 h 11118"/>
                <a:gd name="connsiteX4" fmla="*/ 17 w 11555"/>
                <a:gd name="connsiteY4" fmla="*/ 4987 h 11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55" h="11118">
                  <a:moveTo>
                    <a:pt x="17" y="4987"/>
                  </a:moveTo>
                  <a:cubicBezTo>
                    <a:pt x="-228" y="8021"/>
                    <a:pt x="2132" y="10778"/>
                    <a:pt x="5318" y="11085"/>
                  </a:cubicBezTo>
                  <a:cubicBezTo>
                    <a:pt x="8505" y="11422"/>
                    <a:pt x="11293" y="9216"/>
                    <a:pt x="11538" y="6151"/>
                  </a:cubicBezTo>
                  <a:cubicBezTo>
                    <a:pt x="11784" y="3118"/>
                    <a:pt x="9424" y="360"/>
                    <a:pt x="6268" y="23"/>
                  </a:cubicBezTo>
                  <a:cubicBezTo>
                    <a:pt x="3051" y="-252"/>
                    <a:pt x="263" y="1954"/>
                    <a:pt x="17" y="498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604A4D9-5084-4C55-8E94-71B7B9440231}"/>
                </a:ext>
              </a:extLst>
            </p:cNvPr>
            <p:cNvSpPr/>
            <p:nvPr/>
          </p:nvSpPr>
          <p:spPr>
            <a:xfrm>
              <a:off x="6654964" y="3705297"/>
              <a:ext cx="22961" cy="6677"/>
            </a:xfrm>
            <a:custGeom>
              <a:avLst/>
              <a:gdLst>
                <a:gd name="connsiteX0" fmla="*/ 79 w 22961"/>
                <a:gd name="connsiteY0" fmla="*/ 5533 h 6677"/>
                <a:gd name="connsiteX1" fmla="*/ 11539 w 22961"/>
                <a:gd name="connsiteY1" fmla="*/ 3633 h 6677"/>
                <a:gd name="connsiteX2" fmla="*/ 22876 w 22961"/>
                <a:gd name="connsiteY2" fmla="*/ 6575 h 6677"/>
                <a:gd name="connsiteX3" fmla="*/ 20639 w 22961"/>
                <a:gd name="connsiteY3" fmla="*/ 3296 h 6677"/>
                <a:gd name="connsiteX4" fmla="*/ 11600 w 22961"/>
                <a:gd name="connsiteY4" fmla="*/ 18 h 6677"/>
                <a:gd name="connsiteX5" fmla="*/ 2438 w 22961"/>
                <a:gd name="connsiteY5" fmla="*/ 2469 h 6677"/>
                <a:gd name="connsiteX6" fmla="*/ 79 w 22961"/>
                <a:gd name="connsiteY6" fmla="*/ 5533 h 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61" h="6677">
                  <a:moveTo>
                    <a:pt x="79" y="5533"/>
                  </a:moveTo>
                  <a:cubicBezTo>
                    <a:pt x="753" y="6330"/>
                    <a:pt x="5318" y="3296"/>
                    <a:pt x="11539" y="3633"/>
                  </a:cubicBezTo>
                  <a:cubicBezTo>
                    <a:pt x="17759" y="3878"/>
                    <a:pt x="22171" y="7310"/>
                    <a:pt x="22876" y="6575"/>
                  </a:cubicBezTo>
                  <a:cubicBezTo>
                    <a:pt x="23213" y="6268"/>
                    <a:pt x="22569" y="4859"/>
                    <a:pt x="20639" y="3296"/>
                  </a:cubicBezTo>
                  <a:cubicBezTo>
                    <a:pt x="18739" y="1764"/>
                    <a:pt x="15491" y="201"/>
                    <a:pt x="11600" y="18"/>
                  </a:cubicBezTo>
                  <a:cubicBezTo>
                    <a:pt x="7708" y="-166"/>
                    <a:pt x="4399" y="1121"/>
                    <a:pt x="2438" y="2469"/>
                  </a:cubicBezTo>
                  <a:cubicBezTo>
                    <a:pt x="477" y="3848"/>
                    <a:pt x="-258" y="5196"/>
                    <a:pt x="79" y="553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C2FA40-273B-4D12-A572-953569C2F459}"/>
                </a:ext>
              </a:extLst>
            </p:cNvPr>
            <p:cNvSpPr/>
            <p:nvPr/>
          </p:nvSpPr>
          <p:spPr>
            <a:xfrm>
              <a:off x="6614497" y="3704146"/>
              <a:ext cx="21145" cy="51884"/>
            </a:xfrm>
            <a:custGeom>
              <a:avLst/>
              <a:gdLst>
                <a:gd name="connsiteX0" fmla="*/ 15665 w 21145"/>
                <a:gd name="connsiteY0" fmla="*/ 51726 h 51884"/>
                <a:gd name="connsiteX1" fmla="*/ 5646 w 21145"/>
                <a:gd name="connsiteY1" fmla="*/ 49397 h 51884"/>
                <a:gd name="connsiteX2" fmla="*/ 2367 w 21145"/>
                <a:gd name="connsiteY2" fmla="*/ 47651 h 51884"/>
                <a:gd name="connsiteX3" fmla="*/ 3654 w 21145"/>
                <a:gd name="connsiteY3" fmla="*/ 42993 h 51884"/>
                <a:gd name="connsiteX4" fmla="*/ 8955 w 21145"/>
                <a:gd name="connsiteY4" fmla="*/ 31135 h 51884"/>
                <a:gd name="connsiteX5" fmla="*/ 21089 w 21145"/>
                <a:gd name="connsiteY5" fmla="*/ 4 h 51884"/>
                <a:gd name="connsiteX6" fmla="*/ 6473 w 21145"/>
                <a:gd name="connsiteY6" fmla="*/ 30093 h 51884"/>
                <a:gd name="connsiteX7" fmla="*/ 1356 w 21145"/>
                <a:gd name="connsiteY7" fmla="*/ 42043 h 51884"/>
                <a:gd name="connsiteX8" fmla="*/ 222 w 21145"/>
                <a:gd name="connsiteY8" fmla="*/ 48233 h 51884"/>
                <a:gd name="connsiteX9" fmla="*/ 2704 w 21145"/>
                <a:gd name="connsiteY9" fmla="*/ 50684 h 51884"/>
                <a:gd name="connsiteX10" fmla="*/ 5370 w 21145"/>
                <a:gd name="connsiteY10" fmla="*/ 51205 h 51884"/>
                <a:gd name="connsiteX11" fmla="*/ 15665 w 21145"/>
                <a:gd name="connsiteY11" fmla="*/ 51726 h 51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145" h="51884">
                  <a:moveTo>
                    <a:pt x="15665" y="51726"/>
                  </a:moveTo>
                  <a:cubicBezTo>
                    <a:pt x="15727" y="51358"/>
                    <a:pt x="11866" y="50500"/>
                    <a:pt x="5646" y="49397"/>
                  </a:cubicBezTo>
                  <a:cubicBezTo>
                    <a:pt x="4052" y="49152"/>
                    <a:pt x="2582" y="48754"/>
                    <a:pt x="2367" y="47651"/>
                  </a:cubicBezTo>
                  <a:cubicBezTo>
                    <a:pt x="2061" y="46486"/>
                    <a:pt x="2796" y="44801"/>
                    <a:pt x="3654" y="42993"/>
                  </a:cubicBezTo>
                  <a:cubicBezTo>
                    <a:pt x="5339" y="39224"/>
                    <a:pt x="7117" y="35272"/>
                    <a:pt x="8955" y="31135"/>
                  </a:cubicBezTo>
                  <a:cubicBezTo>
                    <a:pt x="16339" y="14222"/>
                    <a:pt x="21763" y="311"/>
                    <a:pt x="21089" y="4"/>
                  </a:cubicBezTo>
                  <a:cubicBezTo>
                    <a:pt x="20415" y="-272"/>
                    <a:pt x="13858" y="13180"/>
                    <a:pt x="6473" y="30093"/>
                  </a:cubicBezTo>
                  <a:cubicBezTo>
                    <a:pt x="4696" y="34261"/>
                    <a:pt x="2980" y="38244"/>
                    <a:pt x="1356" y="42043"/>
                  </a:cubicBezTo>
                  <a:cubicBezTo>
                    <a:pt x="651" y="43821"/>
                    <a:pt x="-482" y="45812"/>
                    <a:pt x="222" y="48233"/>
                  </a:cubicBezTo>
                  <a:cubicBezTo>
                    <a:pt x="590" y="49428"/>
                    <a:pt x="1724" y="50347"/>
                    <a:pt x="2704" y="50684"/>
                  </a:cubicBezTo>
                  <a:cubicBezTo>
                    <a:pt x="3715" y="51052"/>
                    <a:pt x="4604" y="51113"/>
                    <a:pt x="5370" y="51205"/>
                  </a:cubicBezTo>
                  <a:cubicBezTo>
                    <a:pt x="11713" y="51848"/>
                    <a:pt x="15635" y="52063"/>
                    <a:pt x="15665" y="51726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EE0CD04E-BF7C-41CD-8D41-ECD48129CC97}"/>
                </a:ext>
              </a:extLst>
            </p:cNvPr>
            <p:cNvSpPr/>
            <p:nvPr/>
          </p:nvSpPr>
          <p:spPr>
            <a:xfrm>
              <a:off x="6627613" y="3761080"/>
              <a:ext cx="21514" cy="17174"/>
            </a:xfrm>
            <a:custGeom>
              <a:avLst/>
              <a:gdLst>
                <a:gd name="connsiteX0" fmla="*/ 20658 w 21514"/>
                <a:gd name="connsiteY0" fmla="*/ 2 h 17174"/>
                <a:gd name="connsiteX1" fmla="*/ 13274 w 21514"/>
                <a:gd name="connsiteY1" fmla="*/ 11155 h 17174"/>
                <a:gd name="connsiteX2" fmla="*/ 6 w 21514"/>
                <a:gd name="connsiteY2" fmla="*/ 15506 h 17174"/>
                <a:gd name="connsiteX3" fmla="*/ 4572 w 21514"/>
                <a:gd name="connsiteY3" fmla="*/ 17130 h 17174"/>
                <a:gd name="connsiteX4" fmla="*/ 15633 w 21514"/>
                <a:gd name="connsiteY4" fmla="*/ 13882 h 17174"/>
                <a:gd name="connsiteX5" fmla="*/ 21394 w 21514"/>
                <a:gd name="connsiteY5" fmla="*/ 4506 h 17174"/>
                <a:gd name="connsiteX6" fmla="*/ 20658 w 21514"/>
                <a:gd name="connsiteY6" fmla="*/ 2 h 1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14" h="17174">
                  <a:moveTo>
                    <a:pt x="20658" y="2"/>
                  </a:moveTo>
                  <a:cubicBezTo>
                    <a:pt x="19647" y="-121"/>
                    <a:pt x="19310" y="6651"/>
                    <a:pt x="13274" y="11155"/>
                  </a:cubicBezTo>
                  <a:cubicBezTo>
                    <a:pt x="7268" y="15690"/>
                    <a:pt x="98" y="14556"/>
                    <a:pt x="6" y="15506"/>
                  </a:cubicBezTo>
                  <a:cubicBezTo>
                    <a:pt x="-116" y="15935"/>
                    <a:pt x="1538" y="16885"/>
                    <a:pt x="4572" y="17130"/>
                  </a:cubicBezTo>
                  <a:cubicBezTo>
                    <a:pt x="7544" y="17375"/>
                    <a:pt x="11956" y="16640"/>
                    <a:pt x="15633" y="13882"/>
                  </a:cubicBezTo>
                  <a:cubicBezTo>
                    <a:pt x="19310" y="11124"/>
                    <a:pt x="21026" y="7264"/>
                    <a:pt x="21394" y="4506"/>
                  </a:cubicBezTo>
                  <a:cubicBezTo>
                    <a:pt x="21792" y="1687"/>
                    <a:pt x="21118" y="2"/>
                    <a:pt x="20658" y="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52EEA36-DBA4-4E6E-B5EA-3D6CB621685B}"/>
                </a:ext>
              </a:extLst>
            </p:cNvPr>
            <p:cNvSpPr/>
            <p:nvPr/>
          </p:nvSpPr>
          <p:spPr>
            <a:xfrm>
              <a:off x="6654623" y="3682276"/>
              <a:ext cx="28262" cy="9098"/>
            </a:xfrm>
            <a:custGeom>
              <a:avLst/>
              <a:gdLst>
                <a:gd name="connsiteX0" fmla="*/ 21 w 28262"/>
                <a:gd name="connsiteY0" fmla="*/ 4103 h 9098"/>
                <a:gd name="connsiteX1" fmla="*/ 14055 w 28262"/>
                <a:gd name="connsiteY1" fmla="*/ 6584 h 9098"/>
                <a:gd name="connsiteX2" fmla="*/ 28150 w 28262"/>
                <a:gd name="connsiteY2" fmla="*/ 8637 h 9098"/>
                <a:gd name="connsiteX3" fmla="*/ 25361 w 28262"/>
                <a:gd name="connsiteY3" fmla="*/ 4532 h 9098"/>
                <a:gd name="connsiteX4" fmla="*/ 15035 w 28262"/>
                <a:gd name="connsiteY4" fmla="*/ 334 h 9098"/>
                <a:gd name="connsiteX5" fmla="*/ 3913 w 28262"/>
                <a:gd name="connsiteY5" fmla="*/ 1069 h 9098"/>
                <a:gd name="connsiteX6" fmla="*/ 21 w 28262"/>
                <a:gd name="connsiteY6" fmla="*/ 4103 h 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62" h="9098">
                  <a:moveTo>
                    <a:pt x="21" y="4103"/>
                  </a:moveTo>
                  <a:cubicBezTo>
                    <a:pt x="542" y="5818"/>
                    <a:pt x="6793" y="5328"/>
                    <a:pt x="14055" y="6584"/>
                  </a:cubicBezTo>
                  <a:cubicBezTo>
                    <a:pt x="21347" y="7688"/>
                    <a:pt x="27108" y="10108"/>
                    <a:pt x="28150" y="8637"/>
                  </a:cubicBezTo>
                  <a:cubicBezTo>
                    <a:pt x="28609" y="7933"/>
                    <a:pt x="27659" y="6278"/>
                    <a:pt x="25361" y="4532"/>
                  </a:cubicBezTo>
                  <a:cubicBezTo>
                    <a:pt x="23094" y="2785"/>
                    <a:pt x="19386" y="1038"/>
                    <a:pt x="15035" y="334"/>
                  </a:cubicBezTo>
                  <a:cubicBezTo>
                    <a:pt x="10684" y="-371"/>
                    <a:pt x="6640" y="119"/>
                    <a:pt x="3913" y="1069"/>
                  </a:cubicBezTo>
                  <a:cubicBezTo>
                    <a:pt x="1216" y="2019"/>
                    <a:pt x="-193" y="3275"/>
                    <a:pt x="21" y="4103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A7E1379-FB1C-4E9E-B7EB-1404FB8A135F}"/>
                </a:ext>
              </a:extLst>
            </p:cNvPr>
            <p:cNvSpPr/>
            <p:nvPr/>
          </p:nvSpPr>
          <p:spPr>
            <a:xfrm>
              <a:off x="6596992" y="3682822"/>
              <a:ext cx="21378" cy="6940"/>
            </a:xfrm>
            <a:custGeom>
              <a:avLst/>
              <a:gdLst>
                <a:gd name="connsiteX0" fmla="*/ 139 w 21378"/>
                <a:gd name="connsiteY0" fmla="*/ 5916 h 6940"/>
                <a:gd name="connsiteX1" fmla="*/ 10680 w 21378"/>
                <a:gd name="connsiteY1" fmla="*/ 6314 h 6940"/>
                <a:gd name="connsiteX2" fmla="*/ 21220 w 21378"/>
                <a:gd name="connsiteY2" fmla="*/ 6314 h 6940"/>
                <a:gd name="connsiteX3" fmla="*/ 19229 w 21378"/>
                <a:gd name="connsiteY3" fmla="*/ 2729 h 6940"/>
                <a:gd name="connsiteX4" fmla="*/ 10772 w 21378"/>
                <a:gd name="connsiteY4" fmla="*/ 2 h 6940"/>
                <a:gd name="connsiteX5" fmla="*/ 2223 w 21378"/>
                <a:gd name="connsiteY5" fmla="*/ 2423 h 6940"/>
                <a:gd name="connsiteX6" fmla="*/ 139 w 21378"/>
                <a:gd name="connsiteY6" fmla="*/ 5916 h 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378" h="6940">
                  <a:moveTo>
                    <a:pt x="139" y="5916"/>
                  </a:moveTo>
                  <a:cubicBezTo>
                    <a:pt x="1150" y="7387"/>
                    <a:pt x="5532" y="6131"/>
                    <a:pt x="10680" y="6314"/>
                  </a:cubicBezTo>
                  <a:cubicBezTo>
                    <a:pt x="15858" y="6314"/>
                    <a:pt x="20148" y="7724"/>
                    <a:pt x="21220" y="6314"/>
                  </a:cubicBezTo>
                  <a:cubicBezTo>
                    <a:pt x="21710" y="5610"/>
                    <a:pt x="21067" y="4170"/>
                    <a:pt x="19229" y="2729"/>
                  </a:cubicBezTo>
                  <a:cubicBezTo>
                    <a:pt x="17421" y="1289"/>
                    <a:pt x="14326" y="64"/>
                    <a:pt x="10772" y="2"/>
                  </a:cubicBezTo>
                  <a:cubicBezTo>
                    <a:pt x="7217" y="-59"/>
                    <a:pt x="4092" y="1075"/>
                    <a:pt x="2223" y="2423"/>
                  </a:cubicBezTo>
                  <a:cubicBezTo>
                    <a:pt x="354" y="3771"/>
                    <a:pt x="-320" y="5211"/>
                    <a:pt x="139" y="5916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F329026-6704-4287-881C-088DFDD50CA2}"/>
                </a:ext>
              </a:extLst>
            </p:cNvPr>
            <p:cNvSpPr/>
            <p:nvPr/>
          </p:nvSpPr>
          <p:spPr>
            <a:xfrm>
              <a:off x="6591034" y="3615426"/>
              <a:ext cx="144510" cy="146338"/>
            </a:xfrm>
            <a:custGeom>
              <a:avLst/>
              <a:gdLst>
                <a:gd name="connsiteX0" fmla="*/ 0 w 144510"/>
                <a:gd name="connsiteY0" fmla="*/ 52599 h 146338"/>
                <a:gd name="connsiteX1" fmla="*/ 24452 w 144510"/>
                <a:gd name="connsiteY1" fmla="*/ 22448 h 146338"/>
                <a:gd name="connsiteX2" fmla="*/ 59474 w 144510"/>
                <a:gd name="connsiteY2" fmla="*/ 29343 h 146338"/>
                <a:gd name="connsiteX3" fmla="*/ 102126 w 144510"/>
                <a:gd name="connsiteY3" fmla="*/ 31549 h 146338"/>
                <a:gd name="connsiteX4" fmla="*/ 109572 w 144510"/>
                <a:gd name="connsiteY4" fmla="*/ 70279 h 146338"/>
                <a:gd name="connsiteX5" fmla="*/ 127681 w 144510"/>
                <a:gd name="connsiteY5" fmla="*/ 130457 h 146338"/>
                <a:gd name="connsiteX6" fmla="*/ 141194 w 144510"/>
                <a:gd name="connsiteY6" fmla="*/ 108427 h 146338"/>
                <a:gd name="connsiteX7" fmla="*/ 142389 w 144510"/>
                <a:gd name="connsiteY7" fmla="*/ 48125 h 146338"/>
                <a:gd name="connsiteX8" fmla="*/ 120388 w 144510"/>
                <a:gd name="connsiteY8" fmla="*/ 16749 h 146338"/>
                <a:gd name="connsiteX9" fmla="*/ 55307 w 144510"/>
                <a:gd name="connsiteY9" fmla="*/ 203 h 146338"/>
                <a:gd name="connsiteX10" fmla="*/ 0 w 144510"/>
                <a:gd name="connsiteY10" fmla="*/ 52599 h 14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510" h="146338">
                  <a:moveTo>
                    <a:pt x="0" y="52599"/>
                  </a:moveTo>
                  <a:cubicBezTo>
                    <a:pt x="0" y="52599"/>
                    <a:pt x="11950" y="27780"/>
                    <a:pt x="24452" y="22448"/>
                  </a:cubicBezTo>
                  <a:cubicBezTo>
                    <a:pt x="39619" y="16014"/>
                    <a:pt x="45165" y="32590"/>
                    <a:pt x="59474" y="29343"/>
                  </a:cubicBezTo>
                  <a:cubicBezTo>
                    <a:pt x="73784" y="26095"/>
                    <a:pt x="88246" y="19936"/>
                    <a:pt x="102126" y="31549"/>
                  </a:cubicBezTo>
                  <a:cubicBezTo>
                    <a:pt x="117324" y="44265"/>
                    <a:pt x="109511" y="52262"/>
                    <a:pt x="109572" y="70279"/>
                  </a:cubicBezTo>
                  <a:cubicBezTo>
                    <a:pt x="109909" y="143326"/>
                    <a:pt x="122196" y="164591"/>
                    <a:pt x="127681" y="130457"/>
                  </a:cubicBezTo>
                  <a:cubicBezTo>
                    <a:pt x="128294" y="126719"/>
                    <a:pt x="138865" y="124237"/>
                    <a:pt x="141194" y="108427"/>
                  </a:cubicBezTo>
                  <a:cubicBezTo>
                    <a:pt x="144227" y="87928"/>
                    <a:pt x="146249" y="62956"/>
                    <a:pt x="142389" y="48125"/>
                  </a:cubicBezTo>
                  <a:cubicBezTo>
                    <a:pt x="139141" y="35624"/>
                    <a:pt x="132522" y="26738"/>
                    <a:pt x="120388" y="16749"/>
                  </a:cubicBezTo>
                  <a:cubicBezTo>
                    <a:pt x="101238" y="938"/>
                    <a:pt x="73937" y="-716"/>
                    <a:pt x="55307" y="203"/>
                  </a:cubicBezTo>
                  <a:cubicBezTo>
                    <a:pt x="36708" y="1184"/>
                    <a:pt x="-122" y="20763"/>
                    <a:pt x="0" y="52599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235B654-9309-4A04-8A68-FA2B740A34BD}"/>
                </a:ext>
              </a:extLst>
            </p:cNvPr>
            <p:cNvSpPr/>
            <p:nvPr/>
          </p:nvSpPr>
          <p:spPr>
            <a:xfrm>
              <a:off x="6713475" y="3734583"/>
              <a:ext cx="29671" cy="42045"/>
            </a:xfrm>
            <a:custGeom>
              <a:avLst/>
              <a:gdLst>
                <a:gd name="connsiteX0" fmla="*/ 2727 w 29671"/>
                <a:gd name="connsiteY0" fmla="*/ 10105 h 42045"/>
                <a:gd name="connsiteX1" fmla="*/ 15106 w 29671"/>
                <a:gd name="connsiteY1" fmla="*/ 116 h 42045"/>
                <a:gd name="connsiteX2" fmla="*/ 29538 w 29671"/>
                <a:gd name="connsiteY2" fmla="*/ 21503 h 42045"/>
                <a:gd name="connsiteX3" fmla="*/ 0 w 29671"/>
                <a:gd name="connsiteY3" fmla="*/ 40378 h 42045"/>
                <a:gd name="connsiteX4" fmla="*/ 2727 w 29671"/>
                <a:gd name="connsiteY4" fmla="*/ 10105 h 42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71" h="42045">
                  <a:moveTo>
                    <a:pt x="2727" y="10105"/>
                  </a:moveTo>
                  <a:cubicBezTo>
                    <a:pt x="3279" y="3854"/>
                    <a:pt x="8917" y="-803"/>
                    <a:pt x="15106" y="116"/>
                  </a:cubicBezTo>
                  <a:cubicBezTo>
                    <a:pt x="22613" y="1219"/>
                    <a:pt x="30825" y="5907"/>
                    <a:pt x="29538" y="21503"/>
                  </a:cubicBezTo>
                  <a:cubicBezTo>
                    <a:pt x="27270" y="49141"/>
                    <a:pt x="0" y="41175"/>
                    <a:pt x="0" y="40378"/>
                  </a:cubicBezTo>
                  <a:cubicBezTo>
                    <a:pt x="61" y="39796"/>
                    <a:pt x="1685" y="21656"/>
                    <a:pt x="2727" y="10105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4EC164F-4E12-42B4-A48A-2B348E18BEA3}"/>
                </a:ext>
              </a:extLst>
            </p:cNvPr>
            <p:cNvSpPr/>
            <p:nvPr/>
          </p:nvSpPr>
          <p:spPr>
            <a:xfrm>
              <a:off x="6720340" y="3743546"/>
              <a:ext cx="13241" cy="24056"/>
            </a:xfrm>
            <a:custGeom>
              <a:avLst/>
              <a:gdLst>
                <a:gd name="connsiteX0" fmla="*/ 29 w 13241"/>
                <a:gd name="connsiteY0" fmla="*/ 21457 h 24056"/>
                <a:gd name="connsiteX1" fmla="*/ 1255 w 13241"/>
                <a:gd name="connsiteY1" fmla="*/ 22285 h 24056"/>
                <a:gd name="connsiteX2" fmla="*/ 4840 w 13241"/>
                <a:gd name="connsiteY2" fmla="*/ 22652 h 24056"/>
                <a:gd name="connsiteX3" fmla="*/ 11213 w 13241"/>
                <a:gd name="connsiteY3" fmla="*/ 12418 h 24056"/>
                <a:gd name="connsiteX4" fmla="*/ 10416 w 13241"/>
                <a:gd name="connsiteY4" fmla="*/ 5401 h 24056"/>
                <a:gd name="connsiteX5" fmla="*/ 7107 w 13241"/>
                <a:gd name="connsiteY5" fmla="*/ 1418 h 24056"/>
                <a:gd name="connsiteX6" fmla="*/ 4166 w 13241"/>
                <a:gd name="connsiteY6" fmla="*/ 2491 h 24056"/>
                <a:gd name="connsiteX7" fmla="*/ 3706 w 13241"/>
                <a:gd name="connsiteY7" fmla="*/ 3839 h 24056"/>
                <a:gd name="connsiteX8" fmla="*/ 3461 w 13241"/>
                <a:gd name="connsiteY8" fmla="*/ 2215 h 24056"/>
                <a:gd name="connsiteX9" fmla="*/ 4687 w 13241"/>
                <a:gd name="connsiteY9" fmla="*/ 560 h 24056"/>
                <a:gd name="connsiteX10" fmla="*/ 7414 w 13241"/>
                <a:gd name="connsiteY10" fmla="*/ 70 h 24056"/>
                <a:gd name="connsiteX11" fmla="*/ 12102 w 13241"/>
                <a:gd name="connsiteY11" fmla="*/ 4758 h 24056"/>
                <a:gd name="connsiteX12" fmla="*/ 13143 w 13241"/>
                <a:gd name="connsiteY12" fmla="*/ 12602 h 24056"/>
                <a:gd name="connsiteX13" fmla="*/ 5146 w 13241"/>
                <a:gd name="connsiteY13" fmla="*/ 23970 h 24056"/>
                <a:gd name="connsiteX14" fmla="*/ 795 w 13241"/>
                <a:gd name="connsiteY14" fmla="*/ 22867 h 24056"/>
                <a:gd name="connsiteX15" fmla="*/ 29 w 13241"/>
                <a:gd name="connsiteY15" fmla="*/ 21457 h 2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241" h="24056">
                  <a:moveTo>
                    <a:pt x="29" y="21457"/>
                  </a:moveTo>
                  <a:cubicBezTo>
                    <a:pt x="152" y="21365"/>
                    <a:pt x="489" y="21825"/>
                    <a:pt x="1255" y="22285"/>
                  </a:cubicBezTo>
                  <a:cubicBezTo>
                    <a:pt x="2021" y="22713"/>
                    <a:pt x="3369" y="23081"/>
                    <a:pt x="4840" y="22652"/>
                  </a:cubicBezTo>
                  <a:cubicBezTo>
                    <a:pt x="7843" y="21825"/>
                    <a:pt x="10692" y="17382"/>
                    <a:pt x="11213" y="12418"/>
                  </a:cubicBezTo>
                  <a:cubicBezTo>
                    <a:pt x="11489" y="9906"/>
                    <a:pt x="11152" y="7485"/>
                    <a:pt x="10416" y="5401"/>
                  </a:cubicBezTo>
                  <a:cubicBezTo>
                    <a:pt x="9742" y="3318"/>
                    <a:pt x="8547" y="1786"/>
                    <a:pt x="7107" y="1418"/>
                  </a:cubicBezTo>
                  <a:cubicBezTo>
                    <a:pt x="5667" y="959"/>
                    <a:pt x="4564" y="1755"/>
                    <a:pt x="4166" y="2491"/>
                  </a:cubicBezTo>
                  <a:cubicBezTo>
                    <a:pt x="3737" y="3226"/>
                    <a:pt x="3859" y="3808"/>
                    <a:pt x="3706" y="3839"/>
                  </a:cubicBezTo>
                  <a:cubicBezTo>
                    <a:pt x="3614" y="3900"/>
                    <a:pt x="3155" y="3318"/>
                    <a:pt x="3461" y="2215"/>
                  </a:cubicBezTo>
                  <a:cubicBezTo>
                    <a:pt x="3614" y="1663"/>
                    <a:pt x="4013" y="1050"/>
                    <a:pt x="4687" y="560"/>
                  </a:cubicBezTo>
                  <a:cubicBezTo>
                    <a:pt x="5391" y="70"/>
                    <a:pt x="6403" y="-114"/>
                    <a:pt x="7414" y="70"/>
                  </a:cubicBezTo>
                  <a:cubicBezTo>
                    <a:pt x="9528" y="376"/>
                    <a:pt x="11305" y="2521"/>
                    <a:pt x="12102" y="4758"/>
                  </a:cubicBezTo>
                  <a:cubicBezTo>
                    <a:pt x="13021" y="7025"/>
                    <a:pt x="13450" y="9783"/>
                    <a:pt x="13143" y="12602"/>
                  </a:cubicBezTo>
                  <a:cubicBezTo>
                    <a:pt x="12500" y="18148"/>
                    <a:pt x="9221" y="23142"/>
                    <a:pt x="5146" y="23970"/>
                  </a:cubicBezTo>
                  <a:cubicBezTo>
                    <a:pt x="3155" y="24307"/>
                    <a:pt x="1592" y="23602"/>
                    <a:pt x="795" y="22867"/>
                  </a:cubicBezTo>
                  <a:cubicBezTo>
                    <a:pt x="29" y="22131"/>
                    <a:pt x="-63" y="21519"/>
                    <a:pt x="29" y="21457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63A8BF-ABAF-41CC-A78D-B098C34E608E}"/>
                </a:ext>
              </a:extLst>
            </p:cNvPr>
            <p:cNvSpPr/>
            <p:nvPr/>
          </p:nvSpPr>
          <p:spPr>
            <a:xfrm>
              <a:off x="6611567" y="3606005"/>
              <a:ext cx="134485" cy="89853"/>
            </a:xfrm>
            <a:custGeom>
              <a:avLst/>
              <a:gdLst>
                <a:gd name="connsiteX0" fmla="*/ 106780 w 134485"/>
                <a:gd name="connsiteY0" fmla="*/ 85000 h 89853"/>
                <a:gd name="connsiteX1" fmla="*/ 94800 w 134485"/>
                <a:gd name="connsiteY1" fmla="*/ 89841 h 89853"/>
                <a:gd name="connsiteX2" fmla="*/ 85087 w 134485"/>
                <a:gd name="connsiteY2" fmla="*/ 82978 h 89853"/>
                <a:gd name="connsiteX3" fmla="*/ 84229 w 134485"/>
                <a:gd name="connsiteY3" fmla="*/ 77279 h 89853"/>
                <a:gd name="connsiteX4" fmla="*/ 77641 w 134485"/>
                <a:gd name="connsiteY4" fmla="*/ 75961 h 89853"/>
                <a:gd name="connsiteX5" fmla="*/ 59930 w 134485"/>
                <a:gd name="connsiteY5" fmla="*/ 62387 h 89853"/>
                <a:gd name="connsiteX6" fmla="*/ 49942 w 134485"/>
                <a:gd name="connsiteY6" fmla="*/ 62816 h 89853"/>
                <a:gd name="connsiteX7" fmla="*/ 42802 w 134485"/>
                <a:gd name="connsiteY7" fmla="*/ 54390 h 89853"/>
                <a:gd name="connsiteX8" fmla="*/ 33549 w 134485"/>
                <a:gd name="connsiteY8" fmla="*/ 49150 h 89853"/>
                <a:gd name="connsiteX9" fmla="*/ 27451 w 134485"/>
                <a:gd name="connsiteY9" fmla="*/ 50192 h 89853"/>
                <a:gd name="connsiteX10" fmla="*/ 21905 w 134485"/>
                <a:gd name="connsiteY10" fmla="*/ 41705 h 89853"/>
                <a:gd name="connsiteX11" fmla="*/ 18320 w 134485"/>
                <a:gd name="connsiteY11" fmla="*/ 31716 h 89853"/>
                <a:gd name="connsiteX12" fmla="*/ 8423 w 134485"/>
                <a:gd name="connsiteY12" fmla="*/ 30950 h 89853"/>
                <a:gd name="connsiteX13" fmla="*/ 89 w 134485"/>
                <a:gd name="connsiteY13" fmla="*/ 26966 h 89853"/>
                <a:gd name="connsiteX14" fmla="*/ 1590 w 134485"/>
                <a:gd name="connsiteY14" fmla="*/ 22003 h 89853"/>
                <a:gd name="connsiteX15" fmla="*/ 23100 w 134485"/>
                <a:gd name="connsiteY15" fmla="*/ 16273 h 89853"/>
                <a:gd name="connsiteX16" fmla="*/ 44702 w 134485"/>
                <a:gd name="connsiteY16" fmla="*/ 33 h 89853"/>
                <a:gd name="connsiteX17" fmla="*/ 67989 w 134485"/>
                <a:gd name="connsiteY17" fmla="*/ 13791 h 89853"/>
                <a:gd name="connsiteX18" fmla="*/ 90326 w 134485"/>
                <a:gd name="connsiteY18" fmla="*/ 9103 h 89853"/>
                <a:gd name="connsiteX19" fmla="*/ 106964 w 134485"/>
                <a:gd name="connsiteY19" fmla="*/ 24730 h 89853"/>
                <a:gd name="connsiteX20" fmla="*/ 125318 w 134485"/>
                <a:gd name="connsiteY20" fmla="*/ 31992 h 89853"/>
                <a:gd name="connsiteX21" fmla="*/ 125808 w 134485"/>
                <a:gd name="connsiteY21" fmla="*/ 51724 h 89853"/>
                <a:gd name="connsiteX22" fmla="*/ 134480 w 134485"/>
                <a:gd name="connsiteY22" fmla="*/ 65696 h 89853"/>
                <a:gd name="connsiteX23" fmla="*/ 122989 w 134485"/>
                <a:gd name="connsiteY23" fmla="*/ 75073 h 89853"/>
                <a:gd name="connsiteX24" fmla="*/ 118424 w 134485"/>
                <a:gd name="connsiteY24" fmla="*/ 87880 h 89853"/>
                <a:gd name="connsiteX25" fmla="*/ 105371 w 134485"/>
                <a:gd name="connsiteY25" fmla="*/ 84081 h 89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4485" h="89853">
                  <a:moveTo>
                    <a:pt x="106780" y="85000"/>
                  </a:moveTo>
                  <a:cubicBezTo>
                    <a:pt x="103073" y="87268"/>
                    <a:pt x="99151" y="89627"/>
                    <a:pt x="94800" y="89841"/>
                  </a:cubicBezTo>
                  <a:cubicBezTo>
                    <a:pt x="90449" y="90056"/>
                    <a:pt x="85608" y="87329"/>
                    <a:pt x="85087" y="82978"/>
                  </a:cubicBezTo>
                  <a:cubicBezTo>
                    <a:pt x="84842" y="81048"/>
                    <a:pt x="85424" y="78811"/>
                    <a:pt x="84229" y="77279"/>
                  </a:cubicBezTo>
                  <a:cubicBezTo>
                    <a:pt x="82819" y="75440"/>
                    <a:pt x="80000" y="75839"/>
                    <a:pt x="77641" y="75961"/>
                  </a:cubicBezTo>
                  <a:cubicBezTo>
                    <a:pt x="69552" y="76421"/>
                    <a:pt x="61585" y="70323"/>
                    <a:pt x="59930" y="62387"/>
                  </a:cubicBezTo>
                  <a:cubicBezTo>
                    <a:pt x="57724" y="65359"/>
                    <a:pt x="52944" y="64992"/>
                    <a:pt x="49942" y="62816"/>
                  </a:cubicBezTo>
                  <a:cubicBezTo>
                    <a:pt x="46939" y="60671"/>
                    <a:pt x="45100" y="57270"/>
                    <a:pt x="42802" y="54390"/>
                  </a:cubicBezTo>
                  <a:cubicBezTo>
                    <a:pt x="40504" y="51479"/>
                    <a:pt x="37226" y="48813"/>
                    <a:pt x="33549" y="49150"/>
                  </a:cubicBezTo>
                  <a:cubicBezTo>
                    <a:pt x="31496" y="49334"/>
                    <a:pt x="29504" y="50468"/>
                    <a:pt x="27451" y="50192"/>
                  </a:cubicBezTo>
                  <a:cubicBezTo>
                    <a:pt x="23835" y="49702"/>
                    <a:pt x="22273" y="45351"/>
                    <a:pt x="21905" y="41705"/>
                  </a:cubicBezTo>
                  <a:cubicBezTo>
                    <a:pt x="21537" y="38058"/>
                    <a:pt x="21323" y="33830"/>
                    <a:pt x="18320" y="31716"/>
                  </a:cubicBezTo>
                  <a:cubicBezTo>
                    <a:pt x="15562" y="29755"/>
                    <a:pt x="11794" y="30613"/>
                    <a:pt x="8423" y="30950"/>
                  </a:cubicBezTo>
                  <a:cubicBezTo>
                    <a:pt x="5053" y="31287"/>
                    <a:pt x="763" y="30276"/>
                    <a:pt x="89" y="26966"/>
                  </a:cubicBezTo>
                  <a:cubicBezTo>
                    <a:pt x="-279" y="25220"/>
                    <a:pt x="548" y="23443"/>
                    <a:pt x="1590" y="22003"/>
                  </a:cubicBezTo>
                  <a:cubicBezTo>
                    <a:pt x="6248" y="15445"/>
                    <a:pt x="15777" y="12872"/>
                    <a:pt x="23100" y="16273"/>
                  </a:cubicBezTo>
                  <a:cubicBezTo>
                    <a:pt x="26256" y="7264"/>
                    <a:pt x="35173" y="554"/>
                    <a:pt x="44702" y="33"/>
                  </a:cubicBezTo>
                  <a:cubicBezTo>
                    <a:pt x="54231" y="-488"/>
                    <a:pt x="63822" y="5181"/>
                    <a:pt x="67989" y="13791"/>
                  </a:cubicBezTo>
                  <a:cubicBezTo>
                    <a:pt x="74117" y="8766"/>
                    <a:pt x="82727" y="6958"/>
                    <a:pt x="90326" y="9103"/>
                  </a:cubicBezTo>
                  <a:cubicBezTo>
                    <a:pt x="97956" y="11248"/>
                    <a:pt x="104360" y="17284"/>
                    <a:pt x="106964" y="24730"/>
                  </a:cubicBezTo>
                  <a:cubicBezTo>
                    <a:pt x="113797" y="23290"/>
                    <a:pt x="121335" y="26292"/>
                    <a:pt x="125318" y="31992"/>
                  </a:cubicBezTo>
                  <a:cubicBezTo>
                    <a:pt x="129301" y="37721"/>
                    <a:pt x="129516" y="45811"/>
                    <a:pt x="125808" y="51724"/>
                  </a:cubicBezTo>
                  <a:cubicBezTo>
                    <a:pt x="130650" y="54819"/>
                    <a:pt x="134664" y="59967"/>
                    <a:pt x="134480" y="65696"/>
                  </a:cubicBezTo>
                  <a:cubicBezTo>
                    <a:pt x="134296" y="71426"/>
                    <a:pt x="128443" y="76850"/>
                    <a:pt x="122989" y="75073"/>
                  </a:cubicBezTo>
                  <a:cubicBezTo>
                    <a:pt x="125012" y="79638"/>
                    <a:pt x="122897" y="85613"/>
                    <a:pt x="118424" y="87880"/>
                  </a:cubicBezTo>
                  <a:cubicBezTo>
                    <a:pt x="113981" y="90148"/>
                    <a:pt x="107883" y="88401"/>
                    <a:pt x="105371" y="84081"/>
                  </a:cubicBezTo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2D2CEAD-9090-41A1-8428-D716DF564E04}"/>
                </a:ext>
              </a:extLst>
            </p:cNvPr>
            <p:cNvSpPr/>
            <p:nvPr/>
          </p:nvSpPr>
          <p:spPr>
            <a:xfrm>
              <a:off x="6695725" y="3681167"/>
              <a:ext cx="40917" cy="15461"/>
            </a:xfrm>
            <a:custGeom>
              <a:avLst/>
              <a:gdLst>
                <a:gd name="connsiteX0" fmla="*/ 40853 w 40917"/>
                <a:gd name="connsiteY0" fmla="*/ 3 h 15461"/>
                <a:gd name="connsiteX1" fmla="*/ 38862 w 40917"/>
                <a:gd name="connsiteY1" fmla="*/ 5242 h 15461"/>
                <a:gd name="connsiteX2" fmla="*/ 33162 w 40917"/>
                <a:gd name="connsiteY2" fmla="*/ 8276 h 15461"/>
                <a:gd name="connsiteX3" fmla="*/ 25380 w 40917"/>
                <a:gd name="connsiteY3" fmla="*/ 5579 h 15461"/>
                <a:gd name="connsiteX4" fmla="*/ 26574 w 40917"/>
                <a:gd name="connsiteY4" fmla="*/ 5457 h 15461"/>
                <a:gd name="connsiteX5" fmla="*/ 20691 w 40917"/>
                <a:gd name="connsiteY5" fmla="*/ 12075 h 15461"/>
                <a:gd name="connsiteX6" fmla="*/ 15482 w 40917"/>
                <a:gd name="connsiteY6" fmla="*/ 14955 h 15461"/>
                <a:gd name="connsiteX7" fmla="*/ 9875 w 40917"/>
                <a:gd name="connsiteY7" fmla="*/ 15201 h 15461"/>
                <a:gd name="connsiteX8" fmla="*/ 2123 w 40917"/>
                <a:gd name="connsiteY8" fmla="*/ 10206 h 15461"/>
                <a:gd name="connsiteX9" fmla="*/ 162 w 40917"/>
                <a:gd name="connsiteY9" fmla="*/ 4323 h 15461"/>
                <a:gd name="connsiteX10" fmla="*/ 70 w 40917"/>
                <a:gd name="connsiteY10" fmla="*/ 2086 h 15461"/>
                <a:gd name="connsiteX11" fmla="*/ 775 w 40917"/>
                <a:gd name="connsiteY11" fmla="*/ 4200 h 15461"/>
                <a:gd name="connsiteX12" fmla="*/ 3073 w 40917"/>
                <a:gd name="connsiteY12" fmla="*/ 9593 h 15461"/>
                <a:gd name="connsiteX13" fmla="*/ 19680 w 40917"/>
                <a:gd name="connsiteY13" fmla="*/ 10819 h 15461"/>
                <a:gd name="connsiteX14" fmla="*/ 25257 w 40917"/>
                <a:gd name="connsiteY14" fmla="*/ 4599 h 15461"/>
                <a:gd name="connsiteX15" fmla="*/ 25778 w 40917"/>
                <a:gd name="connsiteY15" fmla="*/ 3802 h 15461"/>
                <a:gd name="connsiteX16" fmla="*/ 26421 w 40917"/>
                <a:gd name="connsiteY16" fmla="*/ 4476 h 15461"/>
                <a:gd name="connsiteX17" fmla="*/ 32978 w 40917"/>
                <a:gd name="connsiteY17" fmla="*/ 6928 h 15461"/>
                <a:gd name="connsiteX18" fmla="*/ 38126 w 40917"/>
                <a:gd name="connsiteY18" fmla="*/ 4538 h 15461"/>
                <a:gd name="connsiteX19" fmla="*/ 40853 w 40917"/>
                <a:gd name="connsiteY19" fmla="*/ 3 h 15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917" h="15461">
                  <a:moveTo>
                    <a:pt x="40853" y="3"/>
                  </a:moveTo>
                  <a:cubicBezTo>
                    <a:pt x="40945" y="-59"/>
                    <a:pt x="41251" y="2362"/>
                    <a:pt x="38862" y="5242"/>
                  </a:cubicBezTo>
                  <a:cubicBezTo>
                    <a:pt x="37697" y="6621"/>
                    <a:pt x="35705" y="8000"/>
                    <a:pt x="33162" y="8276"/>
                  </a:cubicBezTo>
                  <a:cubicBezTo>
                    <a:pt x="30650" y="8582"/>
                    <a:pt x="27616" y="7816"/>
                    <a:pt x="25380" y="5579"/>
                  </a:cubicBezTo>
                  <a:lnTo>
                    <a:pt x="26574" y="5457"/>
                  </a:lnTo>
                  <a:cubicBezTo>
                    <a:pt x="25073" y="7785"/>
                    <a:pt x="23173" y="10114"/>
                    <a:pt x="20691" y="12075"/>
                  </a:cubicBezTo>
                  <a:cubicBezTo>
                    <a:pt x="19098" y="13331"/>
                    <a:pt x="17382" y="14373"/>
                    <a:pt x="15482" y="14955"/>
                  </a:cubicBezTo>
                  <a:cubicBezTo>
                    <a:pt x="13644" y="15599"/>
                    <a:pt x="11560" y="15568"/>
                    <a:pt x="9875" y="15201"/>
                  </a:cubicBezTo>
                  <a:cubicBezTo>
                    <a:pt x="6382" y="14649"/>
                    <a:pt x="3410" y="12596"/>
                    <a:pt x="2123" y="10206"/>
                  </a:cubicBezTo>
                  <a:cubicBezTo>
                    <a:pt x="744" y="7877"/>
                    <a:pt x="407" y="5763"/>
                    <a:pt x="162" y="4323"/>
                  </a:cubicBezTo>
                  <a:cubicBezTo>
                    <a:pt x="-52" y="2883"/>
                    <a:pt x="-22" y="2086"/>
                    <a:pt x="70" y="2086"/>
                  </a:cubicBezTo>
                  <a:cubicBezTo>
                    <a:pt x="193" y="2056"/>
                    <a:pt x="377" y="2852"/>
                    <a:pt x="775" y="4200"/>
                  </a:cubicBezTo>
                  <a:cubicBezTo>
                    <a:pt x="1173" y="5549"/>
                    <a:pt x="1725" y="7571"/>
                    <a:pt x="3073" y="9593"/>
                  </a:cubicBezTo>
                  <a:cubicBezTo>
                    <a:pt x="5494" y="13699"/>
                    <a:pt x="13950" y="16150"/>
                    <a:pt x="19680" y="10819"/>
                  </a:cubicBezTo>
                  <a:cubicBezTo>
                    <a:pt x="21948" y="8980"/>
                    <a:pt x="23817" y="6774"/>
                    <a:pt x="25257" y="4599"/>
                  </a:cubicBezTo>
                  <a:lnTo>
                    <a:pt x="25778" y="3802"/>
                  </a:lnTo>
                  <a:lnTo>
                    <a:pt x="26421" y="4476"/>
                  </a:lnTo>
                  <a:cubicBezTo>
                    <a:pt x="28229" y="6345"/>
                    <a:pt x="30803" y="7111"/>
                    <a:pt x="32978" y="6928"/>
                  </a:cubicBezTo>
                  <a:cubicBezTo>
                    <a:pt x="35185" y="6774"/>
                    <a:pt x="36962" y="5702"/>
                    <a:pt x="38126" y="4538"/>
                  </a:cubicBezTo>
                  <a:cubicBezTo>
                    <a:pt x="40516" y="2178"/>
                    <a:pt x="40639" y="-89"/>
                    <a:pt x="40853" y="3"/>
                  </a:cubicBez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F3F528E-81ED-4428-A2A0-75D4A317AAB1}"/>
                </a:ext>
              </a:extLst>
            </p:cNvPr>
            <p:cNvSpPr/>
            <p:nvPr/>
          </p:nvSpPr>
          <p:spPr>
            <a:xfrm>
              <a:off x="6612418" y="3603328"/>
              <a:ext cx="75012" cy="34791"/>
            </a:xfrm>
            <a:custGeom>
              <a:avLst/>
              <a:gdLst>
                <a:gd name="connsiteX0" fmla="*/ 75012 w 75012"/>
                <a:gd name="connsiteY0" fmla="*/ 11994 h 34791"/>
                <a:gd name="connsiteX1" fmla="*/ 73021 w 75012"/>
                <a:gd name="connsiteY1" fmla="*/ 12607 h 34791"/>
                <a:gd name="connsiteX2" fmla="*/ 68547 w 75012"/>
                <a:gd name="connsiteY2" fmla="*/ 16039 h 34791"/>
                <a:gd name="connsiteX3" fmla="*/ 68179 w 75012"/>
                <a:gd name="connsiteY3" fmla="*/ 16560 h 34791"/>
                <a:gd name="connsiteX4" fmla="*/ 67812 w 75012"/>
                <a:gd name="connsiteY4" fmla="*/ 16039 h 34791"/>
                <a:gd name="connsiteX5" fmla="*/ 54973 w 75012"/>
                <a:gd name="connsiteY5" fmla="*/ 4549 h 34791"/>
                <a:gd name="connsiteX6" fmla="*/ 44188 w 75012"/>
                <a:gd name="connsiteY6" fmla="*/ 1607 h 34791"/>
                <a:gd name="connsiteX7" fmla="*/ 32299 w 75012"/>
                <a:gd name="connsiteY7" fmla="*/ 4365 h 34791"/>
                <a:gd name="connsiteX8" fmla="*/ 24976 w 75012"/>
                <a:gd name="connsiteY8" fmla="*/ 10646 h 34791"/>
                <a:gd name="connsiteX9" fmla="*/ 21513 w 75012"/>
                <a:gd name="connsiteY9" fmla="*/ 18827 h 34791"/>
                <a:gd name="connsiteX10" fmla="*/ 21391 w 75012"/>
                <a:gd name="connsiteY10" fmla="*/ 19685 h 34791"/>
                <a:gd name="connsiteX11" fmla="*/ 20563 w 75012"/>
                <a:gd name="connsiteY11" fmla="*/ 19409 h 34791"/>
                <a:gd name="connsiteX12" fmla="*/ 8981 w 75012"/>
                <a:gd name="connsiteY12" fmla="*/ 20237 h 34791"/>
                <a:gd name="connsiteX13" fmla="*/ 2363 w 75012"/>
                <a:gd name="connsiteY13" fmla="*/ 26671 h 34791"/>
                <a:gd name="connsiteX14" fmla="*/ 218 w 75012"/>
                <a:gd name="connsiteY14" fmla="*/ 34791 h 34791"/>
                <a:gd name="connsiteX15" fmla="*/ 3 w 75012"/>
                <a:gd name="connsiteY15" fmla="*/ 32524 h 34791"/>
                <a:gd name="connsiteX16" fmla="*/ 1566 w 75012"/>
                <a:gd name="connsiteY16" fmla="*/ 26273 h 34791"/>
                <a:gd name="connsiteX17" fmla="*/ 8430 w 75012"/>
                <a:gd name="connsiteY17" fmla="*/ 19134 h 34791"/>
                <a:gd name="connsiteX18" fmla="*/ 21023 w 75012"/>
                <a:gd name="connsiteY18" fmla="*/ 18000 h 34791"/>
                <a:gd name="connsiteX19" fmla="*/ 20073 w 75012"/>
                <a:gd name="connsiteY19" fmla="*/ 18613 h 34791"/>
                <a:gd name="connsiteX20" fmla="*/ 23719 w 75012"/>
                <a:gd name="connsiteY20" fmla="*/ 9696 h 34791"/>
                <a:gd name="connsiteX21" fmla="*/ 31533 w 75012"/>
                <a:gd name="connsiteY21" fmla="*/ 2955 h 34791"/>
                <a:gd name="connsiteX22" fmla="*/ 44279 w 75012"/>
                <a:gd name="connsiteY22" fmla="*/ 44 h 34791"/>
                <a:gd name="connsiteX23" fmla="*/ 55617 w 75012"/>
                <a:gd name="connsiteY23" fmla="*/ 3292 h 34791"/>
                <a:gd name="connsiteX24" fmla="*/ 68547 w 75012"/>
                <a:gd name="connsiteY24" fmla="*/ 15579 h 34791"/>
                <a:gd name="connsiteX25" fmla="*/ 67842 w 75012"/>
                <a:gd name="connsiteY25" fmla="*/ 15549 h 34791"/>
                <a:gd name="connsiteX26" fmla="*/ 72898 w 75012"/>
                <a:gd name="connsiteY26" fmla="*/ 12178 h 34791"/>
                <a:gd name="connsiteX27" fmla="*/ 75012 w 75012"/>
                <a:gd name="connsiteY27" fmla="*/ 11994 h 3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5012" h="34791">
                  <a:moveTo>
                    <a:pt x="75012" y="11994"/>
                  </a:moveTo>
                  <a:cubicBezTo>
                    <a:pt x="75012" y="12086"/>
                    <a:pt x="74277" y="12148"/>
                    <a:pt x="73021" y="12607"/>
                  </a:cubicBezTo>
                  <a:cubicBezTo>
                    <a:pt x="71795" y="13067"/>
                    <a:pt x="69957" y="14017"/>
                    <a:pt x="68547" y="16039"/>
                  </a:cubicBezTo>
                  <a:lnTo>
                    <a:pt x="68179" y="16560"/>
                  </a:lnTo>
                  <a:lnTo>
                    <a:pt x="67812" y="16039"/>
                  </a:lnTo>
                  <a:cubicBezTo>
                    <a:pt x="65391" y="12454"/>
                    <a:pt x="61285" y="7766"/>
                    <a:pt x="54973" y="4549"/>
                  </a:cubicBezTo>
                  <a:cubicBezTo>
                    <a:pt x="51848" y="2955"/>
                    <a:pt x="48140" y="1791"/>
                    <a:pt x="44188" y="1607"/>
                  </a:cubicBezTo>
                  <a:cubicBezTo>
                    <a:pt x="40235" y="1393"/>
                    <a:pt x="36068" y="2312"/>
                    <a:pt x="32299" y="4365"/>
                  </a:cubicBezTo>
                  <a:cubicBezTo>
                    <a:pt x="29388" y="5958"/>
                    <a:pt x="26875" y="8134"/>
                    <a:pt x="24976" y="10646"/>
                  </a:cubicBezTo>
                  <a:cubicBezTo>
                    <a:pt x="23137" y="13159"/>
                    <a:pt x="21942" y="16008"/>
                    <a:pt x="21513" y="18827"/>
                  </a:cubicBezTo>
                  <a:lnTo>
                    <a:pt x="21391" y="19685"/>
                  </a:lnTo>
                  <a:lnTo>
                    <a:pt x="20563" y="19409"/>
                  </a:lnTo>
                  <a:cubicBezTo>
                    <a:pt x="16458" y="18061"/>
                    <a:pt x="12168" y="18643"/>
                    <a:pt x="8981" y="20237"/>
                  </a:cubicBezTo>
                  <a:cubicBezTo>
                    <a:pt x="5733" y="21830"/>
                    <a:pt x="3588" y="24373"/>
                    <a:pt x="2363" y="26671"/>
                  </a:cubicBezTo>
                  <a:cubicBezTo>
                    <a:pt x="-119" y="31421"/>
                    <a:pt x="524" y="34852"/>
                    <a:pt x="218" y="34791"/>
                  </a:cubicBezTo>
                  <a:cubicBezTo>
                    <a:pt x="157" y="34791"/>
                    <a:pt x="-27" y="33995"/>
                    <a:pt x="3" y="32524"/>
                  </a:cubicBezTo>
                  <a:cubicBezTo>
                    <a:pt x="65" y="31053"/>
                    <a:pt x="340" y="28816"/>
                    <a:pt x="1566" y="26273"/>
                  </a:cubicBezTo>
                  <a:cubicBezTo>
                    <a:pt x="2761" y="23791"/>
                    <a:pt x="4967" y="20941"/>
                    <a:pt x="8430" y="19134"/>
                  </a:cubicBezTo>
                  <a:cubicBezTo>
                    <a:pt x="11831" y="17326"/>
                    <a:pt x="16458" y="16591"/>
                    <a:pt x="21023" y="18000"/>
                  </a:cubicBezTo>
                  <a:lnTo>
                    <a:pt x="20073" y="18613"/>
                  </a:lnTo>
                  <a:cubicBezTo>
                    <a:pt x="20502" y="15518"/>
                    <a:pt x="21758" y="12423"/>
                    <a:pt x="23719" y="9696"/>
                  </a:cubicBezTo>
                  <a:cubicBezTo>
                    <a:pt x="25742" y="7000"/>
                    <a:pt x="28407" y="4641"/>
                    <a:pt x="31533" y="2955"/>
                  </a:cubicBezTo>
                  <a:cubicBezTo>
                    <a:pt x="35547" y="780"/>
                    <a:pt x="40051" y="-231"/>
                    <a:pt x="44279" y="44"/>
                  </a:cubicBezTo>
                  <a:cubicBezTo>
                    <a:pt x="48508" y="290"/>
                    <a:pt x="52369" y="1577"/>
                    <a:pt x="55617" y="3292"/>
                  </a:cubicBezTo>
                  <a:cubicBezTo>
                    <a:pt x="62174" y="6785"/>
                    <a:pt x="66249" y="11749"/>
                    <a:pt x="68547" y="15579"/>
                  </a:cubicBezTo>
                  <a:lnTo>
                    <a:pt x="67842" y="15549"/>
                  </a:lnTo>
                  <a:cubicBezTo>
                    <a:pt x="69497" y="13404"/>
                    <a:pt x="71550" y="12546"/>
                    <a:pt x="72898" y="12178"/>
                  </a:cubicBezTo>
                  <a:cubicBezTo>
                    <a:pt x="74246" y="11841"/>
                    <a:pt x="75012" y="11933"/>
                    <a:pt x="75012" y="11994"/>
                  </a:cubicBez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0AB5A86-A6AD-4765-9A18-28D30BE79912}"/>
                </a:ext>
              </a:extLst>
            </p:cNvPr>
            <p:cNvSpPr/>
            <p:nvPr/>
          </p:nvSpPr>
          <p:spPr>
            <a:xfrm>
              <a:off x="6649895" y="3756323"/>
              <a:ext cx="8158" cy="9263"/>
            </a:xfrm>
            <a:custGeom>
              <a:avLst/>
              <a:gdLst>
                <a:gd name="connsiteX0" fmla="*/ 7691 w 8158"/>
                <a:gd name="connsiteY0" fmla="*/ 9263 h 9263"/>
                <a:gd name="connsiteX1" fmla="*/ 4995 w 8158"/>
                <a:gd name="connsiteY1" fmla="*/ 3778 h 9263"/>
                <a:gd name="connsiteX2" fmla="*/ 0 w 8158"/>
                <a:gd name="connsiteY2" fmla="*/ 254 h 9263"/>
                <a:gd name="connsiteX3" fmla="*/ 2053 w 8158"/>
                <a:gd name="connsiteY3" fmla="*/ 132 h 9263"/>
                <a:gd name="connsiteX4" fmla="*/ 6220 w 8158"/>
                <a:gd name="connsiteY4" fmla="*/ 2736 h 9263"/>
                <a:gd name="connsiteX5" fmla="*/ 8151 w 8158"/>
                <a:gd name="connsiteY5" fmla="*/ 7240 h 9263"/>
                <a:gd name="connsiteX6" fmla="*/ 7691 w 8158"/>
                <a:gd name="connsiteY6" fmla="*/ 9263 h 9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8" h="9263">
                  <a:moveTo>
                    <a:pt x="7691" y="9263"/>
                  </a:moveTo>
                  <a:cubicBezTo>
                    <a:pt x="7232" y="9232"/>
                    <a:pt x="7201" y="6321"/>
                    <a:pt x="4995" y="3778"/>
                  </a:cubicBezTo>
                  <a:cubicBezTo>
                    <a:pt x="2850" y="1174"/>
                    <a:pt x="-30" y="683"/>
                    <a:pt x="0" y="254"/>
                  </a:cubicBezTo>
                  <a:cubicBezTo>
                    <a:pt x="0" y="70"/>
                    <a:pt x="797" y="-144"/>
                    <a:pt x="2053" y="132"/>
                  </a:cubicBezTo>
                  <a:cubicBezTo>
                    <a:pt x="3279" y="408"/>
                    <a:pt x="4933" y="1265"/>
                    <a:pt x="6220" y="2736"/>
                  </a:cubicBezTo>
                  <a:cubicBezTo>
                    <a:pt x="7507" y="4238"/>
                    <a:pt x="8089" y="5984"/>
                    <a:pt x="8151" y="7240"/>
                  </a:cubicBezTo>
                  <a:cubicBezTo>
                    <a:pt x="8212" y="8527"/>
                    <a:pt x="7906" y="9293"/>
                    <a:pt x="7691" y="9263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73BEB13-87F1-4FF1-B896-99790F8B35ED}"/>
                </a:ext>
              </a:extLst>
            </p:cNvPr>
            <p:cNvSpPr/>
            <p:nvPr/>
          </p:nvSpPr>
          <p:spPr>
            <a:xfrm>
              <a:off x="6654794" y="3754534"/>
              <a:ext cx="5763" cy="3542"/>
            </a:xfrm>
            <a:custGeom>
              <a:avLst/>
              <a:gdLst>
                <a:gd name="connsiteX0" fmla="*/ 5641 w 5763"/>
                <a:gd name="connsiteY0" fmla="*/ 3513 h 3542"/>
                <a:gd name="connsiteX1" fmla="*/ 2853 w 5763"/>
                <a:gd name="connsiteY1" fmla="*/ 1981 h 3542"/>
                <a:gd name="connsiteX2" fmla="*/ 3 w 5763"/>
                <a:gd name="connsiteY2" fmla="*/ 541 h 3542"/>
                <a:gd name="connsiteX3" fmla="*/ 3588 w 5763"/>
                <a:gd name="connsiteY3" fmla="*/ 572 h 3542"/>
                <a:gd name="connsiteX4" fmla="*/ 5641 w 5763"/>
                <a:gd name="connsiteY4" fmla="*/ 3513 h 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3" h="3542">
                  <a:moveTo>
                    <a:pt x="5641" y="3513"/>
                  </a:moveTo>
                  <a:cubicBezTo>
                    <a:pt x="5243" y="3728"/>
                    <a:pt x="4293" y="2717"/>
                    <a:pt x="2853" y="1981"/>
                  </a:cubicBezTo>
                  <a:cubicBezTo>
                    <a:pt x="1444" y="1215"/>
                    <a:pt x="65" y="1001"/>
                    <a:pt x="3" y="541"/>
                  </a:cubicBezTo>
                  <a:cubicBezTo>
                    <a:pt x="-89" y="112"/>
                    <a:pt x="1689" y="-439"/>
                    <a:pt x="3588" y="572"/>
                  </a:cubicBezTo>
                  <a:cubicBezTo>
                    <a:pt x="5488" y="1583"/>
                    <a:pt x="6040" y="3360"/>
                    <a:pt x="5641" y="3513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34346D8-26B4-4BC9-B200-23D21E65E93E}"/>
                </a:ext>
              </a:extLst>
            </p:cNvPr>
            <p:cNvSpPr/>
            <p:nvPr/>
          </p:nvSpPr>
          <p:spPr>
            <a:xfrm>
              <a:off x="6687882" y="3800290"/>
              <a:ext cx="5139" cy="24297"/>
            </a:xfrm>
            <a:custGeom>
              <a:avLst/>
              <a:gdLst>
                <a:gd name="connsiteX0" fmla="*/ 2398 w 5139"/>
                <a:gd name="connsiteY0" fmla="*/ 24187 h 24297"/>
                <a:gd name="connsiteX1" fmla="*/ 3164 w 5139"/>
                <a:gd name="connsiteY1" fmla="*/ 23482 h 24297"/>
                <a:gd name="connsiteX2" fmla="*/ 3348 w 5139"/>
                <a:gd name="connsiteY2" fmla="*/ 21031 h 24297"/>
                <a:gd name="connsiteX3" fmla="*/ 989 w 5139"/>
                <a:gd name="connsiteY3" fmla="*/ 17139 h 24297"/>
                <a:gd name="connsiteX4" fmla="*/ 1173 w 5139"/>
                <a:gd name="connsiteY4" fmla="*/ 13922 h 24297"/>
                <a:gd name="connsiteX5" fmla="*/ 3073 w 5139"/>
                <a:gd name="connsiteY5" fmla="*/ 11655 h 24297"/>
                <a:gd name="connsiteX6" fmla="*/ 100 w 5139"/>
                <a:gd name="connsiteY6" fmla="*/ 3320 h 24297"/>
                <a:gd name="connsiteX7" fmla="*/ 1724 w 5139"/>
                <a:gd name="connsiteY7" fmla="*/ 440 h 24297"/>
                <a:gd name="connsiteX8" fmla="*/ 2858 w 5139"/>
                <a:gd name="connsiteY8" fmla="*/ 42 h 24297"/>
                <a:gd name="connsiteX9" fmla="*/ 1203 w 5139"/>
                <a:gd name="connsiteY9" fmla="*/ 3412 h 24297"/>
                <a:gd name="connsiteX10" fmla="*/ 3103 w 5139"/>
                <a:gd name="connsiteY10" fmla="*/ 6783 h 24297"/>
                <a:gd name="connsiteX11" fmla="*/ 4880 w 5139"/>
                <a:gd name="connsiteY11" fmla="*/ 9173 h 24297"/>
                <a:gd name="connsiteX12" fmla="*/ 4329 w 5139"/>
                <a:gd name="connsiteY12" fmla="*/ 12635 h 24297"/>
                <a:gd name="connsiteX13" fmla="*/ 2521 w 5139"/>
                <a:gd name="connsiteY13" fmla="*/ 14749 h 24297"/>
                <a:gd name="connsiteX14" fmla="*/ 2368 w 5139"/>
                <a:gd name="connsiteY14" fmla="*/ 16680 h 24297"/>
                <a:gd name="connsiteX15" fmla="*/ 4421 w 5139"/>
                <a:gd name="connsiteY15" fmla="*/ 20694 h 24297"/>
                <a:gd name="connsiteX16" fmla="*/ 3593 w 5139"/>
                <a:gd name="connsiteY16" fmla="*/ 23972 h 24297"/>
                <a:gd name="connsiteX17" fmla="*/ 2398 w 5139"/>
                <a:gd name="connsiteY17" fmla="*/ 24187 h 2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39" h="24297">
                  <a:moveTo>
                    <a:pt x="2398" y="24187"/>
                  </a:moveTo>
                  <a:cubicBezTo>
                    <a:pt x="2368" y="24064"/>
                    <a:pt x="2797" y="24003"/>
                    <a:pt x="3164" y="23482"/>
                  </a:cubicBezTo>
                  <a:cubicBezTo>
                    <a:pt x="3532" y="22992"/>
                    <a:pt x="3839" y="22042"/>
                    <a:pt x="3348" y="21031"/>
                  </a:cubicBezTo>
                  <a:cubicBezTo>
                    <a:pt x="2950" y="19958"/>
                    <a:pt x="1755" y="18978"/>
                    <a:pt x="989" y="17139"/>
                  </a:cubicBezTo>
                  <a:cubicBezTo>
                    <a:pt x="621" y="16281"/>
                    <a:pt x="529" y="14902"/>
                    <a:pt x="1173" y="13922"/>
                  </a:cubicBezTo>
                  <a:cubicBezTo>
                    <a:pt x="1755" y="12942"/>
                    <a:pt x="2552" y="12329"/>
                    <a:pt x="3073" y="11655"/>
                  </a:cubicBezTo>
                  <a:cubicBezTo>
                    <a:pt x="5309" y="8989"/>
                    <a:pt x="-849" y="6813"/>
                    <a:pt x="100" y="3320"/>
                  </a:cubicBezTo>
                  <a:cubicBezTo>
                    <a:pt x="315" y="1850"/>
                    <a:pt x="1112" y="900"/>
                    <a:pt x="1724" y="440"/>
                  </a:cubicBezTo>
                  <a:cubicBezTo>
                    <a:pt x="2368" y="-20"/>
                    <a:pt x="2827" y="-50"/>
                    <a:pt x="2858" y="42"/>
                  </a:cubicBezTo>
                  <a:cubicBezTo>
                    <a:pt x="3011" y="226"/>
                    <a:pt x="1326" y="1053"/>
                    <a:pt x="1203" y="3412"/>
                  </a:cubicBezTo>
                  <a:cubicBezTo>
                    <a:pt x="1142" y="4577"/>
                    <a:pt x="1816" y="5618"/>
                    <a:pt x="3103" y="6783"/>
                  </a:cubicBezTo>
                  <a:cubicBezTo>
                    <a:pt x="3716" y="7365"/>
                    <a:pt x="4451" y="8131"/>
                    <a:pt x="4880" y="9173"/>
                  </a:cubicBezTo>
                  <a:cubicBezTo>
                    <a:pt x="5401" y="10214"/>
                    <a:pt x="5095" y="11777"/>
                    <a:pt x="4329" y="12635"/>
                  </a:cubicBezTo>
                  <a:cubicBezTo>
                    <a:pt x="3624" y="13524"/>
                    <a:pt x="2889" y="14106"/>
                    <a:pt x="2521" y="14749"/>
                  </a:cubicBezTo>
                  <a:cubicBezTo>
                    <a:pt x="2153" y="15332"/>
                    <a:pt x="2123" y="15975"/>
                    <a:pt x="2368" y="16680"/>
                  </a:cubicBezTo>
                  <a:cubicBezTo>
                    <a:pt x="2827" y="18058"/>
                    <a:pt x="4022" y="19254"/>
                    <a:pt x="4421" y="20694"/>
                  </a:cubicBezTo>
                  <a:cubicBezTo>
                    <a:pt x="4911" y="22164"/>
                    <a:pt x="4268" y="23482"/>
                    <a:pt x="3593" y="23972"/>
                  </a:cubicBezTo>
                  <a:cubicBezTo>
                    <a:pt x="2889" y="24462"/>
                    <a:pt x="2368" y="24279"/>
                    <a:pt x="2398" y="24187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765E14E-52E6-4F68-A90F-01CB3A5E8A1F}"/>
                </a:ext>
              </a:extLst>
            </p:cNvPr>
            <p:cNvSpPr/>
            <p:nvPr/>
          </p:nvSpPr>
          <p:spPr>
            <a:xfrm>
              <a:off x="6695639" y="3799410"/>
              <a:ext cx="5206" cy="24178"/>
            </a:xfrm>
            <a:custGeom>
              <a:avLst/>
              <a:gdLst>
                <a:gd name="connsiteX0" fmla="*/ 3252 w 5206"/>
                <a:gd name="connsiteY0" fmla="*/ 24179 h 24178"/>
                <a:gd name="connsiteX1" fmla="*/ 2945 w 5206"/>
                <a:gd name="connsiteY1" fmla="*/ 23168 h 24178"/>
                <a:gd name="connsiteX2" fmla="*/ 1505 w 5206"/>
                <a:gd name="connsiteY2" fmla="*/ 20778 h 24178"/>
                <a:gd name="connsiteX3" fmla="*/ 402 w 5206"/>
                <a:gd name="connsiteY3" fmla="*/ 18939 h 24178"/>
                <a:gd name="connsiteX4" fmla="*/ 126 w 5206"/>
                <a:gd name="connsiteY4" fmla="*/ 16212 h 24178"/>
                <a:gd name="connsiteX5" fmla="*/ 3190 w 5206"/>
                <a:gd name="connsiteY5" fmla="*/ 11677 h 24178"/>
                <a:gd name="connsiteX6" fmla="*/ 2271 w 5206"/>
                <a:gd name="connsiteY6" fmla="*/ 7817 h 24178"/>
                <a:gd name="connsiteX7" fmla="*/ 862 w 5206"/>
                <a:gd name="connsiteY7" fmla="*/ 5733 h 24178"/>
                <a:gd name="connsiteX8" fmla="*/ 525 w 5206"/>
                <a:gd name="connsiteY8" fmla="*/ 3466 h 24178"/>
                <a:gd name="connsiteX9" fmla="*/ 2853 w 5206"/>
                <a:gd name="connsiteY9" fmla="*/ 34 h 24178"/>
                <a:gd name="connsiteX10" fmla="*/ 1658 w 5206"/>
                <a:gd name="connsiteY10" fmla="*/ 3527 h 24178"/>
                <a:gd name="connsiteX11" fmla="*/ 3374 w 5206"/>
                <a:gd name="connsiteY11" fmla="*/ 6897 h 24178"/>
                <a:gd name="connsiteX12" fmla="*/ 4998 w 5206"/>
                <a:gd name="connsiteY12" fmla="*/ 9257 h 24178"/>
                <a:gd name="connsiteX13" fmla="*/ 4569 w 5206"/>
                <a:gd name="connsiteY13" fmla="*/ 12566 h 24178"/>
                <a:gd name="connsiteX14" fmla="*/ 1536 w 5206"/>
                <a:gd name="connsiteY14" fmla="*/ 16702 h 24178"/>
                <a:gd name="connsiteX15" fmla="*/ 2455 w 5206"/>
                <a:gd name="connsiteY15" fmla="*/ 20257 h 24178"/>
                <a:gd name="connsiteX16" fmla="*/ 3527 w 5206"/>
                <a:gd name="connsiteY16" fmla="*/ 23137 h 24178"/>
                <a:gd name="connsiteX17" fmla="*/ 3252 w 5206"/>
                <a:gd name="connsiteY17" fmla="*/ 24179 h 2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06" h="24178">
                  <a:moveTo>
                    <a:pt x="3252" y="24179"/>
                  </a:moveTo>
                  <a:cubicBezTo>
                    <a:pt x="3129" y="24148"/>
                    <a:pt x="3129" y="23750"/>
                    <a:pt x="2945" y="23168"/>
                  </a:cubicBezTo>
                  <a:cubicBezTo>
                    <a:pt x="2761" y="22555"/>
                    <a:pt x="2240" y="21789"/>
                    <a:pt x="1505" y="20778"/>
                  </a:cubicBezTo>
                  <a:cubicBezTo>
                    <a:pt x="1137" y="20257"/>
                    <a:pt x="739" y="19705"/>
                    <a:pt x="402" y="18939"/>
                  </a:cubicBezTo>
                  <a:cubicBezTo>
                    <a:pt x="65" y="18204"/>
                    <a:pt x="-150" y="17193"/>
                    <a:pt x="126" y="16212"/>
                  </a:cubicBezTo>
                  <a:cubicBezTo>
                    <a:pt x="678" y="14251"/>
                    <a:pt x="2363" y="13056"/>
                    <a:pt x="3190" y="11677"/>
                  </a:cubicBezTo>
                  <a:cubicBezTo>
                    <a:pt x="4110" y="10299"/>
                    <a:pt x="3405" y="9073"/>
                    <a:pt x="2271" y="7817"/>
                  </a:cubicBezTo>
                  <a:cubicBezTo>
                    <a:pt x="1750" y="7173"/>
                    <a:pt x="1199" y="6530"/>
                    <a:pt x="862" y="5733"/>
                  </a:cubicBezTo>
                  <a:cubicBezTo>
                    <a:pt x="525" y="4936"/>
                    <a:pt x="463" y="4140"/>
                    <a:pt x="525" y="3466"/>
                  </a:cubicBezTo>
                  <a:cubicBezTo>
                    <a:pt x="892" y="585"/>
                    <a:pt x="2853" y="-181"/>
                    <a:pt x="2853" y="34"/>
                  </a:cubicBezTo>
                  <a:cubicBezTo>
                    <a:pt x="3037" y="187"/>
                    <a:pt x="1628" y="1229"/>
                    <a:pt x="1658" y="3527"/>
                  </a:cubicBezTo>
                  <a:cubicBezTo>
                    <a:pt x="1658" y="4691"/>
                    <a:pt x="2210" y="5702"/>
                    <a:pt x="3374" y="6897"/>
                  </a:cubicBezTo>
                  <a:cubicBezTo>
                    <a:pt x="3926" y="7510"/>
                    <a:pt x="4600" y="8184"/>
                    <a:pt x="4998" y="9257"/>
                  </a:cubicBezTo>
                  <a:cubicBezTo>
                    <a:pt x="5427" y="10329"/>
                    <a:pt x="5151" y="11677"/>
                    <a:pt x="4569" y="12566"/>
                  </a:cubicBezTo>
                  <a:cubicBezTo>
                    <a:pt x="3405" y="14374"/>
                    <a:pt x="1903" y="15416"/>
                    <a:pt x="1536" y="16702"/>
                  </a:cubicBezTo>
                  <a:cubicBezTo>
                    <a:pt x="1107" y="17897"/>
                    <a:pt x="1873" y="19184"/>
                    <a:pt x="2455" y="20257"/>
                  </a:cubicBezTo>
                  <a:cubicBezTo>
                    <a:pt x="3068" y="21329"/>
                    <a:pt x="3527" y="22371"/>
                    <a:pt x="3527" y="23137"/>
                  </a:cubicBezTo>
                  <a:cubicBezTo>
                    <a:pt x="3589" y="23811"/>
                    <a:pt x="3344" y="24179"/>
                    <a:pt x="3252" y="24179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0B69C0E-721E-481D-A67C-6360F885D634}"/>
                </a:ext>
              </a:extLst>
            </p:cNvPr>
            <p:cNvSpPr/>
            <p:nvPr/>
          </p:nvSpPr>
          <p:spPr>
            <a:xfrm>
              <a:off x="6724200" y="3991286"/>
              <a:ext cx="167458" cy="214775"/>
            </a:xfrm>
            <a:custGeom>
              <a:avLst/>
              <a:gdLst>
                <a:gd name="connsiteX0" fmla="*/ 42805 w 167458"/>
                <a:gd name="connsiteY0" fmla="*/ 55920 h 214775"/>
                <a:gd name="connsiteX1" fmla="*/ 79544 w 167458"/>
                <a:gd name="connsiteY1" fmla="*/ 91340 h 214775"/>
                <a:gd name="connsiteX2" fmla="*/ 67655 w 167458"/>
                <a:gd name="connsiteY2" fmla="*/ 23593 h 214775"/>
                <a:gd name="connsiteX3" fmla="*/ 142266 w 167458"/>
                <a:gd name="connsiteY3" fmla="*/ 0 h 214775"/>
                <a:gd name="connsiteX4" fmla="*/ 165522 w 167458"/>
                <a:gd name="connsiteY4" fmla="*/ 114965 h 214775"/>
                <a:gd name="connsiteX5" fmla="*/ 127344 w 167458"/>
                <a:gd name="connsiteY5" fmla="*/ 214455 h 214775"/>
                <a:gd name="connsiteX6" fmla="*/ 38424 w 167458"/>
                <a:gd name="connsiteY6" fmla="*/ 153756 h 214775"/>
                <a:gd name="connsiteX7" fmla="*/ 0 w 167458"/>
                <a:gd name="connsiteY7" fmla="*/ 99368 h 214775"/>
                <a:gd name="connsiteX8" fmla="*/ 42805 w 167458"/>
                <a:gd name="connsiteY8" fmla="*/ 55920 h 21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458" h="214775">
                  <a:moveTo>
                    <a:pt x="42805" y="55920"/>
                  </a:moveTo>
                  <a:lnTo>
                    <a:pt x="79544" y="91340"/>
                  </a:lnTo>
                  <a:lnTo>
                    <a:pt x="67655" y="23593"/>
                  </a:lnTo>
                  <a:lnTo>
                    <a:pt x="142266" y="0"/>
                  </a:lnTo>
                  <a:cubicBezTo>
                    <a:pt x="142266" y="0"/>
                    <a:pt x="162090" y="92964"/>
                    <a:pt x="165522" y="114965"/>
                  </a:cubicBezTo>
                  <a:cubicBezTo>
                    <a:pt x="171712" y="154430"/>
                    <a:pt x="164113" y="210503"/>
                    <a:pt x="127344" y="214455"/>
                  </a:cubicBezTo>
                  <a:cubicBezTo>
                    <a:pt x="87572" y="218714"/>
                    <a:pt x="57513" y="179494"/>
                    <a:pt x="38424" y="153756"/>
                  </a:cubicBezTo>
                  <a:cubicBezTo>
                    <a:pt x="23716" y="133962"/>
                    <a:pt x="0" y="99368"/>
                    <a:pt x="0" y="99368"/>
                  </a:cubicBezTo>
                  <a:lnTo>
                    <a:pt x="42805" y="55920"/>
                  </a:lnTo>
                </a:path>
              </a:pathLst>
            </a:custGeom>
            <a:solidFill>
              <a:srgbClr val="FDDABC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BE8D040-E2FB-4B13-B415-96D35294DE1F}"/>
                </a:ext>
              </a:extLst>
            </p:cNvPr>
            <p:cNvSpPr/>
            <p:nvPr/>
          </p:nvSpPr>
          <p:spPr>
            <a:xfrm>
              <a:off x="6447280" y="3986935"/>
              <a:ext cx="90224" cy="209424"/>
            </a:xfrm>
            <a:custGeom>
              <a:avLst/>
              <a:gdLst>
                <a:gd name="connsiteX0" fmla="*/ 35531 w 90224"/>
                <a:gd name="connsiteY0" fmla="*/ 0 h 209424"/>
                <a:gd name="connsiteX1" fmla="*/ 202 w 90224"/>
                <a:gd name="connsiteY1" fmla="*/ 151366 h 209424"/>
                <a:gd name="connsiteX2" fmla="*/ 23428 w 90224"/>
                <a:gd name="connsiteY2" fmla="*/ 207316 h 209424"/>
                <a:gd name="connsiteX3" fmla="*/ 90225 w 90224"/>
                <a:gd name="connsiteY3" fmla="*/ 182926 h 209424"/>
                <a:gd name="connsiteX4" fmla="*/ 90225 w 90224"/>
                <a:gd name="connsiteY4" fmla="*/ 108560 h 209424"/>
                <a:gd name="connsiteX5" fmla="*/ 35531 w 90224"/>
                <a:gd name="connsiteY5" fmla="*/ 0 h 20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4" h="209424">
                  <a:moveTo>
                    <a:pt x="35531" y="0"/>
                  </a:moveTo>
                  <a:cubicBezTo>
                    <a:pt x="23550" y="37688"/>
                    <a:pt x="6820" y="43387"/>
                    <a:pt x="202" y="151366"/>
                  </a:cubicBezTo>
                  <a:cubicBezTo>
                    <a:pt x="-1085" y="172416"/>
                    <a:pt x="3450" y="200514"/>
                    <a:pt x="23428" y="207316"/>
                  </a:cubicBezTo>
                  <a:cubicBezTo>
                    <a:pt x="45612" y="214854"/>
                    <a:pt x="79562" y="201126"/>
                    <a:pt x="90225" y="182926"/>
                  </a:cubicBezTo>
                  <a:lnTo>
                    <a:pt x="90225" y="108560"/>
                  </a:lnTo>
                  <a:lnTo>
                    <a:pt x="35531" y="0"/>
                  </a:lnTo>
                  <a:close/>
                </a:path>
              </a:pathLst>
            </a:custGeom>
            <a:solidFill>
              <a:srgbClr val="FDDABC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E0A92B08-F93A-4B60-AC1A-30F123706F51}"/>
                </a:ext>
              </a:extLst>
            </p:cNvPr>
            <p:cNvSpPr/>
            <p:nvPr/>
          </p:nvSpPr>
          <p:spPr>
            <a:xfrm>
              <a:off x="6514757" y="4114515"/>
              <a:ext cx="17545" cy="30129"/>
            </a:xfrm>
            <a:custGeom>
              <a:avLst/>
              <a:gdLst>
                <a:gd name="connsiteX0" fmla="*/ 17508 w 17545"/>
                <a:gd name="connsiteY0" fmla="*/ 30128 h 30129"/>
                <a:gd name="connsiteX1" fmla="*/ 10154 w 17545"/>
                <a:gd name="connsiteY1" fmla="*/ 14256 h 30129"/>
                <a:gd name="connsiteX2" fmla="*/ 12 w 17545"/>
                <a:gd name="connsiteY2" fmla="*/ 8 h 30129"/>
                <a:gd name="connsiteX3" fmla="*/ 3873 w 17545"/>
                <a:gd name="connsiteY3" fmla="*/ 3471 h 30129"/>
                <a:gd name="connsiteX4" fmla="*/ 11288 w 17545"/>
                <a:gd name="connsiteY4" fmla="*/ 13582 h 30129"/>
                <a:gd name="connsiteX5" fmla="*/ 16374 w 17545"/>
                <a:gd name="connsiteY5" fmla="*/ 25042 h 30129"/>
                <a:gd name="connsiteX6" fmla="*/ 17508 w 17545"/>
                <a:gd name="connsiteY6" fmla="*/ 30128 h 30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45" h="30129">
                  <a:moveTo>
                    <a:pt x="17508" y="30128"/>
                  </a:moveTo>
                  <a:cubicBezTo>
                    <a:pt x="17110" y="30251"/>
                    <a:pt x="15057" y="22590"/>
                    <a:pt x="10154" y="14256"/>
                  </a:cubicBezTo>
                  <a:cubicBezTo>
                    <a:pt x="5343" y="5891"/>
                    <a:pt x="-294" y="284"/>
                    <a:pt x="12" y="8"/>
                  </a:cubicBezTo>
                  <a:cubicBezTo>
                    <a:pt x="134" y="-114"/>
                    <a:pt x="1667" y="1142"/>
                    <a:pt x="3873" y="3471"/>
                  </a:cubicBezTo>
                  <a:cubicBezTo>
                    <a:pt x="6048" y="5830"/>
                    <a:pt x="8836" y="9323"/>
                    <a:pt x="11288" y="13582"/>
                  </a:cubicBezTo>
                  <a:cubicBezTo>
                    <a:pt x="13739" y="17841"/>
                    <a:pt x="15424" y="21978"/>
                    <a:pt x="16374" y="25042"/>
                  </a:cubicBezTo>
                  <a:cubicBezTo>
                    <a:pt x="17355" y="28136"/>
                    <a:pt x="17661" y="30098"/>
                    <a:pt x="17508" y="3012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5ED290FE-3480-485B-AA03-54C9CCC62394}"/>
                </a:ext>
              </a:extLst>
            </p:cNvPr>
            <p:cNvSpPr/>
            <p:nvPr/>
          </p:nvSpPr>
          <p:spPr>
            <a:xfrm>
              <a:off x="6464794" y="3866978"/>
              <a:ext cx="416961" cy="235319"/>
            </a:xfrm>
            <a:custGeom>
              <a:avLst/>
              <a:gdLst>
                <a:gd name="connsiteX0" fmla="*/ 0 w 416961"/>
                <a:gd name="connsiteY0" fmla="*/ 163436 h 235319"/>
                <a:gd name="connsiteX1" fmla="*/ 49209 w 416961"/>
                <a:gd name="connsiteY1" fmla="*/ 39034 h 235319"/>
                <a:gd name="connsiteX2" fmla="*/ 111135 w 416961"/>
                <a:gd name="connsiteY2" fmla="*/ 59 h 235319"/>
                <a:gd name="connsiteX3" fmla="*/ 325713 w 416961"/>
                <a:gd name="connsiteY3" fmla="*/ 14552 h 235319"/>
                <a:gd name="connsiteX4" fmla="*/ 391805 w 416961"/>
                <a:gd name="connsiteY4" fmla="*/ 78101 h 235319"/>
                <a:gd name="connsiteX5" fmla="*/ 416961 w 416961"/>
                <a:gd name="connsiteY5" fmla="*/ 201982 h 235319"/>
                <a:gd name="connsiteX6" fmla="*/ 318604 w 416961"/>
                <a:gd name="connsiteY6" fmla="*/ 223216 h 235319"/>
                <a:gd name="connsiteX7" fmla="*/ 307022 w 416961"/>
                <a:gd name="connsiteY7" fmla="*/ 194077 h 235319"/>
                <a:gd name="connsiteX8" fmla="*/ 122227 w 416961"/>
                <a:gd name="connsiteY8" fmla="*/ 235319 h 235319"/>
                <a:gd name="connsiteX9" fmla="*/ 77092 w 416961"/>
                <a:gd name="connsiteY9" fmla="*/ 168583 h 235319"/>
                <a:gd name="connsiteX10" fmla="*/ 0 w 416961"/>
                <a:gd name="connsiteY10" fmla="*/ 163436 h 23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6961" h="235319">
                  <a:moveTo>
                    <a:pt x="0" y="163436"/>
                  </a:moveTo>
                  <a:cubicBezTo>
                    <a:pt x="644" y="161199"/>
                    <a:pt x="37443" y="60973"/>
                    <a:pt x="49209" y="39034"/>
                  </a:cubicBezTo>
                  <a:cubicBezTo>
                    <a:pt x="63274" y="12805"/>
                    <a:pt x="92811" y="1193"/>
                    <a:pt x="111135" y="59"/>
                  </a:cubicBezTo>
                  <a:cubicBezTo>
                    <a:pt x="129458" y="-1075"/>
                    <a:pt x="325713" y="14552"/>
                    <a:pt x="325713" y="14552"/>
                  </a:cubicBezTo>
                  <a:cubicBezTo>
                    <a:pt x="325713" y="14552"/>
                    <a:pt x="380682" y="28371"/>
                    <a:pt x="391805" y="78101"/>
                  </a:cubicBezTo>
                  <a:cubicBezTo>
                    <a:pt x="405747" y="140455"/>
                    <a:pt x="416961" y="201982"/>
                    <a:pt x="416961" y="201982"/>
                  </a:cubicBezTo>
                  <a:lnTo>
                    <a:pt x="318604" y="223216"/>
                  </a:lnTo>
                  <a:lnTo>
                    <a:pt x="307022" y="194077"/>
                  </a:lnTo>
                  <a:lnTo>
                    <a:pt x="122227" y="235319"/>
                  </a:lnTo>
                  <a:lnTo>
                    <a:pt x="77092" y="168583"/>
                  </a:lnTo>
                  <a:lnTo>
                    <a:pt x="0" y="163436"/>
                  </a:lnTo>
                  <a:close/>
                </a:path>
              </a:pathLst>
            </a:custGeom>
            <a:solidFill>
              <a:srgbClr val="FDDABC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C39974B-74DE-409F-BBB7-A690B0F0BFA2}"/>
                </a:ext>
              </a:extLst>
            </p:cNvPr>
            <p:cNvSpPr/>
            <p:nvPr/>
          </p:nvSpPr>
          <p:spPr>
            <a:xfrm>
              <a:off x="6536861" y="3820402"/>
              <a:ext cx="266575" cy="351205"/>
            </a:xfrm>
            <a:custGeom>
              <a:avLst/>
              <a:gdLst>
                <a:gd name="connsiteX0" fmla="*/ 266576 w 266575"/>
                <a:gd name="connsiteY0" fmla="*/ 66858 h 351205"/>
                <a:gd name="connsiteX1" fmla="*/ 189943 w 266575"/>
                <a:gd name="connsiteY1" fmla="*/ 33061 h 351205"/>
                <a:gd name="connsiteX2" fmla="*/ 181363 w 266575"/>
                <a:gd name="connsiteY2" fmla="*/ 0 h 351205"/>
                <a:gd name="connsiteX3" fmla="*/ 91892 w 266575"/>
                <a:gd name="connsiteY3" fmla="*/ 42315 h 351205"/>
                <a:gd name="connsiteX4" fmla="*/ 73140 w 266575"/>
                <a:gd name="connsiteY4" fmla="*/ 21602 h 351205"/>
                <a:gd name="connsiteX5" fmla="*/ 65296 w 266575"/>
                <a:gd name="connsiteY5" fmla="*/ 44950 h 351205"/>
                <a:gd name="connsiteX6" fmla="*/ 45686 w 266575"/>
                <a:gd name="connsiteY6" fmla="*/ 51354 h 351205"/>
                <a:gd name="connsiteX7" fmla="*/ 7109 w 266575"/>
                <a:gd name="connsiteY7" fmla="*/ 127405 h 351205"/>
                <a:gd name="connsiteX8" fmla="*/ 0 w 266575"/>
                <a:gd name="connsiteY8" fmla="*/ 303681 h 351205"/>
                <a:gd name="connsiteX9" fmla="*/ 674 w 266575"/>
                <a:gd name="connsiteY9" fmla="*/ 349459 h 351205"/>
                <a:gd name="connsiteX10" fmla="*/ 265105 w 266575"/>
                <a:gd name="connsiteY10" fmla="*/ 351205 h 351205"/>
                <a:gd name="connsiteX11" fmla="*/ 262960 w 266575"/>
                <a:gd name="connsiteY11" fmla="*/ 276258 h 35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6575" h="351205">
                  <a:moveTo>
                    <a:pt x="266576" y="66858"/>
                  </a:moveTo>
                  <a:lnTo>
                    <a:pt x="189943" y="33061"/>
                  </a:lnTo>
                  <a:lnTo>
                    <a:pt x="181363" y="0"/>
                  </a:lnTo>
                  <a:lnTo>
                    <a:pt x="91892" y="42315"/>
                  </a:lnTo>
                  <a:lnTo>
                    <a:pt x="73140" y="21602"/>
                  </a:lnTo>
                  <a:lnTo>
                    <a:pt x="65296" y="44950"/>
                  </a:lnTo>
                  <a:lnTo>
                    <a:pt x="45686" y="51354"/>
                  </a:lnTo>
                  <a:lnTo>
                    <a:pt x="7109" y="127405"/>
                  </a:lnTo>
                  <a:lnTo>
                    <a:pt x="0" y="303681"/>
                  </a:lnTo>
                  <a:lnTo>
                    <a:pt x="674" y="349459"/>
                  </a:lnTo>
                  <a:lnTo>
                    <a:pt x="265105" y="351205"/>
                  </a:lnTo>
                  <a:lnTo>
                    <a:pt x="262960" y="276258"/>
                  </a:lnTo>
                  <a:close/>
                </a:path>
              </a:pathLst>
            </a:custGeom>
            <a:solidFill>
              <a:srgbClr val="FDDABC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952D5DB-FFD5-4712-8024-DEC868142901}"/>
                </a:ext>
              </a:extLst>
            </p:cNvPr>
            <p:cNvSpPr/>
            <p:nvPr/>
          </p:nvSpPr>
          <p:spPr>
            <a:xfrm>
              <a:off x="6628753" y="3820402"/>
              <a:ext cx="97376" cy="82730"/>
            </a:xfrm>
            <a:custGeom>
              <a:avLst/>
              <a:gdLst>
                <a:gd name="connsiteX0" fmla="*/ 89471 w 97376"/>
                <a:gd name="connsiteY0" fmla="*/ 0 h 82730"/>
                <a:gd name="connsiteX1" fmla="*/ 53775 w 97376"/>
                <a:gd name="connsiteY1" fmla="*/ 16607 h 82730"/>
                <a:gd name="connsiteX2" fmla="*/ 0 w 97376"/>
                <a:gd name="connsiteY2" fmla="*/ 42315 h 82730"/>
                <a:gd name="connsiteX3" fmla="*/ 2175 w 97376"/>
                <a:gd name="connsiteY3" fmla="*/ 82730 h 82730"/>
                <a:gd name="connsiteX4" fmla="*/ 97377 w 97376"/>
                <a:gd name="connsiteY4" fmla="*/ 34931 h 8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376" h="82730">
                  <a:moveTo>
                    <a:pt x="89471" y="0"/>
                  </a:moveTo>
                  <a:cubicBezTo>
                    <a:pt x="89471" y="0"/>
                    <a:pt x="79452" y="2880"/>
                    <a:pt x="53775" y="16607"/>
                  </a:cubicBezTo>
                  <a:cubicBezTo>
                    <a:pt x="28619" y="30028"/>
                    <a:pt x="0" y="42315"/>
                    <a:pt x="0" y="42315"/>
                  </a:cubicBezTo>
                  <a:lnTo>
                    <a:pt x="2175" y="82730"/>
                  </a:lnTo>
                  <a:lnTo>
                    <a:pt x="97377" y="34931"/>
                  </a:lnTo>
                </a:path>
              </a:pathLst>
            </a:custGeom>
            <a:solidFill>
              <a:srgbClr val="FDDABC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F05C9113-5184-43EB-8589-2B32B59820CA}"/>
                </a:ext>
              </a:extLst>
            </p:cNvPr>
            <p:cNvSpPr/>
            <p:nvPr/>
          </p:nvSpPr>
          <p:spPr>
            <a:xfrm>
              <a:off x="6602034" y="3842004"/>
              <a:ext cx="26718" cy="64008"/>
            </a:xfrm>
            <a:custGeom>
              <a:avLst/>
              <a:gdLst>
                <a:gd name="connsiteX0" fmla="*/ 7967 w 26718"/>
                <a:gd name="connsiteY0" fmla="*/ 0 h 64008"/>
                <a:gd name="connsiteX1" fmla="*/ 26719 w 26718"/>
                <a:gd name="connsiteY1" fmla="*/ 20713 h 64008"/>
                <a:gd name="connsiteX2" fmla="*/ 16699 w 26718"/>
                <a:gd name="connsiteY2" fmla="*/ 64009 h 64008"/>
                <a:gd name="connsiteX3" fmla="*/ 0 w 26718"/>
                <a:gd name="connsiteY3" fmla="*/ 24880 h 64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18" h="64008">
                  <a:moveTo>
                    <a:pt x="7967" y="0"/>
                  </a:moveTo>
                  <a:lnTo>
                    <a:pt x="26719" y="20713"/>
                  </a:lnTo>
                  <a:lnTo>
                    <a:pt x="16699" y="64009"/>
                  </a:lnTo>
                  <a:lnTo>
                    <a:pt x="0" y="24880"/>
                  </a:lnTo>
                </a:path>
              </a:pathLst>
            </a:custGeom>
            <a:solidFill>
              <a:srgbClr val="FDDABC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FC0F8D9-A3AF-43D1-A914-48ABE21691B9}"/>
                </a:ext>
              </a:extLst>
            </p:cNvPr>
            <p:cNvSpPr/>
            <p:nvPr/>
          </p:nvSpPr>
          <p:spPr>
            <a:xfrm>
              <a:off x="6622349" y="3859500"/>
              <a:ext cx="95446" cy="57665"/>
            </a:xfrm>
            <a:custGeom>
              <a:avLst/>
              <a:gdLst>
                <a:gd name="connsiteX0" fmla="*/ 6036 w 95446"/>
                <a:gd name="connsiteY0" fmla="*/ 7691 h 57665"/>
                <a:gd name="connsiteX1" fmla="*/ 0 w 95446"/>
                <a:gd name="connsiteY1" fmla="*/ 57666 h 57665"/>
                <a:gd name="connsiteX2" fmla="*/ 95446 w 95446"/>
                <a:gd name="connsiteY2" fmla="*/ 0 h 57665"/>
                <a:gd name="connsiteX3" fmla="*/ 8549 w 95446"/>
                <a:gd name="connsiteY3" fmla="*/ 43633 h 57665"/>
                <a:gd name="connsiteX4" fmla="*/ 6036 w 95446"/>
                <a:gd name="connsiteY4" fmla="*/ 7691 h 57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446" h="57665">
                  <a:moveTo>
                    <a:pt x="6036" y="7691"/>
                  </a:moveTo>
                  <a:cubicBezTo>
                    <a:pt x="5209" y="8304"/>
                    <a:pt x="0" y="57666"/>
                    <a:pt x="0" y="57666"/>
                  </a:cubicBezTo>
                  <a:lnTo>
                    <a:pt x="95446" y="0"/>
                  </a:lnTo>
                  <a:lnTo>
                    <a:pt x="8549" y="43633"/>
                  </a:lnTo>
                  <a:lnTo>
                    <a:pt x="6036" y="7691"/>
                  </a:lnTo>
                  <a:close/>
                </a:path>
              </a:pathLst>
            </a:custGeom>
            <a:solidFill>
              <a:srgbClr val="00000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52444AB-FFC8-4EB4-9E38-9928A08309C7}"/>
                </a:ext>
              </a:extLst>
            </p:cNvPr>
            <p:cNvSpPr/>
            <p:nvPr/>
          </p:nvSpPr>
          <p:spPr>
            <a:xfrm>
              <a:off x="6576664" y="3915358"/>
              <a:ext cx="52620" cy="255115"/>
            </a:xfrm>
            <a:custGeom>
              <a:avLst/>
              <a:gdLst>
                <a:gd name="connsiteX0" fmla="*/ 52610 w 52620"/>
                <a:gd name="connsiteY0" fmla="*/ 255116 h 255115"/>
                <a:gd name="connsiteX1" fmla="*/ 52396 w 52620"/>
                <a:gd name="connsiteY1" fmla="*/ 136045 h 255115"/>
                <a:gd name="connsiteX2" fmla="*/ 47892 w 52620"/>
                <a:gd name="connsiteY2" fmla="*/ 1992 h 255115"/>
                <a:gd name="connsiteX3" fmla="*/ 35452 w 52620"/>
                <a:gd name="connsiteY3" fmla="*/ 0 h 255115"/>
                <a:gd name="connsiteX4" fmla="*/ 3524 w 52620"/>
                <a:gd name="connsiteY4" fmla="*/ 208358 h 255115"/>
                <a:gd name="connsiteX5" fmla="*/ 0 w 52620"/>
                <a:gd name="connsiteY5" fmla="*/ 254779 h 255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620" h="255115">
                  <a:moveTo>
                    <a:pt x="52610" y="255116"/>
                  </a:moveTo>
                  <a:cubicBezTo>
                    <a:pt x="52610" y="255116"/>
                    <a:pt x="50649" y="181915"/>
                    <a:pt x="52396" y="136045"/>
                  </a:cubicBezTo>
                  <a:cubicBezTo>
                    <a:pt x="53836" y="98296"/>
                    <a:pt x="47892" y="1992"/>
                    <a:pt x="47892" y="1992"/>
                  </a:cubicBezTo>
                  <a:lnTo>
                    <a:pt x="35452" y="0"/>
                  </a:lnTo>
                  <a:cubicBezTo>
                    <a:pt x="35452" y="0"/>
                    <a:pt x="12226" y="93638"/>
                    <a:pt x="3524" y="208358"/>
                  </a:cubicBezTo>
                  <a:cubicBezTo>
                    <a:pt x="0" y="254779"/>
                    <a:pt x="0" y="254779"/>
                    <a:pt x="0" y="254779"/>
                  </a:cubicBezTo>
                </a:path>
              </a:pathLst>
            </a:custGeom>
            <a:solidFill>
              <a:srgbClr val="FF725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E1C4D34-5985-4C83-86BF-A7CDB5BB2035}"/>
                </a:ext>
              </a:extLst>
            </p:cNvPr>
            <p:cNvSpPr/>
            <p:nvPr/>
          </p:nvSpPr>
          <p:spPr>
            <a:xfrm>
              <a:off x="6780764" y="3976272"/>
              <a:ext cx="16696" cy="100226"/>
            </a:xfrm>
            <a:custGeom>
              <a:avLst/>
              <a:gdLst>
                <a:gd name="connsiteX0" fmla="*/ 29 w 16696"/>
                <a:gd name="connsiteY0" fmla="*/ 0 h 100226"/>
                <a:gd name="connsiteX1" fmla="*/ 918 w 16696"/>
                <a:gd name="connsiteY1" fmla="*/ 3891 h 100226"/>
                <a:gd name="connsiteX2" fmla="*/ 2848 w 16696"/>
                <a:gd name="connsiteY2" fmla="*/ 14616 h 100226"/>
                <a:gd name="connsiteX3" fmla="*/ 8946 w 16696"/>
                <a:gd name="connsiteY3" fmla="*/ 50006 h 100226"/>
                <a:gd name="connsiteX4" fmla="*/ 14767 w 16696"/>
                <a:gd name="connsiteY4" fmla="*/ 85457 h 100226"/>
                <a:gd name="connsiteX5" fmla="*/ 16300 w 16696"/>
                <a:gd name="connsiteY5" fmla="*/ 96243 h 100226"/>
                <a:gd name="connsiteX6" fmla="*/ 16667 w 16696"/>
                <a:gd name="connsiteY6" fmla="*/ 100226 h 100226"/>
                <a:gd name="connsiteX7" fmla="*/ 15779 w 16696"/>
                <a:gd name="connsiteY7" fmla="*/ 96335 h 100226"/>
                <a:gd name="connsiteX8" fmla="*/ 13848 w 16696"/>
                <a:gd name="connsiteY8" fmla="*/ 85611 h 100226"/>
                <a:gd name="connsiteX9" fmla="*/ 7659 w 16696"/>
                <a:gd name="connsiteY9" fmla="*/ 50220 h 100226"/>
                <a:gd name="connsiteX10" fmla="*/ 1960 w 16696"/>
                <a:gd name="connsiteY10" fmla="*/ 14738 h 100226"/>
                <a:gd name="connsiteX11" fmla="*/ 428 w 16696"/>
                <a:gd name="connsiteY11" fmla="*/ 3953 h 100226"/>
                <a:gd name="connsiteX12" fmla="*/ 29 w 16696"/>
                <a:gd name="connsiteY12" fmla="*/ 0 h 100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96" h="100226">
                  <a:moveTo>
                    <a:pt x="29" y="0"/>
                  </a:moveTo>
                  <a:cubicBezTo>
                    <a:pt x="121" y="0"/>
                    <a:pt x="428" y="1379"/>
                    <a:pt x="918" y="3891"/>
                  </a:cubicBezTo>
                  <a:cubicBezTo>
                    <a:pt x="1408" y="6649"/>
                    <a:pt x="2082" y="10265"/>
                    <a:pt x="2848" y="14616"/>
                  </a:cubicBezTo>
                  <a:cubicBezTo>
                    <a:pt x="4442" y="23900"/>
                    <a:pt x="6586" y="36309"/>
                    <a:pt x="8946" y="50006"/>
                  </a:cubicBezTo>
                  <a:cubicBezTo>
                    <a:pt x="11366" y="63825"/>
                    <a:pt x="13419" y="76357"/>
                    <a:pt x="14767" y="85457"/>
                  </a:cubicBezTo>
                  <a:cubicBezTo>
                    <a:pt x="15442" y="89992"/>
                    <a:pt x="15963" y="93700"/>
                    <a:pt x="16300" y="96243"/>
                  </a:cubicBezTo>
                  <a:cubicBezTo>
                    <a:pt x="16637" y="98786"/>
                    <a:pt x="16759" y="100196"/>
                    <a:pt x="16667" y="100226"/>
                  </a:cubicBezTo>
                  <a:cubicBezTo>
                    <a:pt x="16575" y="100226"/>
                    <a:pt x="16269" y="98847"/>
                    <a:pt x="15779" y="96335"/>
                  </a:cubicBezTo>
                  <a:cubicBezTo>
                    <a:pt x="15288" y="93577"/>
                    <a:pt x="14614" y="89962"/>
                    <a:pt x="13848" y="85611"/>
                  </a:cubicBezTo>
                  <a:cubicBezTo>
                    <a:pt x="12224" y="76326"/>
                    <a:pt x="10049" y="63947"/>
                    <a:pt x="7659" y="50220"/>
                  </a:cubicBezTo>
                  <a:cubicBezTo>
                    <a:pt x="5269" y="36401"/>
                    <a:pt x="3308" y="23839"/>
                    <a:pt x="1960" y="14738"/>
                  </a:cubicBezTo>
                  <a:cubicBezTo>
                    <a:pt x="1347" y="10357"/>
                    <a:pt x="826" y="6741"/>
                    <a:pt x="428" y="3953"/>
                  </a:cubicBezTo>
                  <a:cubicBezTo>
                    <a:pt x="60" y="1440"/>
                    <a:pt x="-63" y="0"/>
                    <a:pt x="29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7F8C8D9-0B48-4DCD-A307-7B27583009B8}"/>
                </a:ext>
              </a:extLst>
            </p:cNvPr>
            <p:cNvSpPr/>
            <p:nvPr/>
          </p:nvSpPr>
          <p:spPr>
            <a:xfrm>
              <a:off x="6780720" y="3893102"/>
              <a:ext cx="28452" cy="52774"/>
            </a:xfrm>
            <a:custGeom>
              <a:avLst/>
              <a:gdLst>
                <a:gd name="connsiteX0" fmla="*/ 28447 w 28452"/>
                <a:gd name="connsiteY0" fmla="*/ 11 h 52774"/>
                <a:gd name="connsiteX1" fmla="*/ 21982 w 28452"/>
                <a:gd name="connsiteY1" fmla="*/ 6292 h 52774"/>
                <a:gd name="connsiteX2" fmla="*/ 9235 w 28452"/>
                <a:gd name="connsiteY2" fmla="*/ 23696 h 52774"/>
                <a:gd name="connsiteX3" fmla="*/ 1758 w 28452"/>
                <a:gd name="connsiteY3" fmla="*/ 43919 h 52774"/>
                <a:gd name="connsiteX4" fmla="*/ 73 w 28452"/>
                <a:gd name="connsiteY4" fmla="*/ 52774 h 52774"/>
                <a:gd name="connsiteX5" fmla="*/ 43 w 28452"/>
                <a:gd name="connsiteY5" fmla="*/ 50323 h 52774"/>
                <a:gd name="connsiteX6" fmla="*/ 839 w 28452"/>
                <a:gd name="connsiteY6" fmla="*/ 43735 h 52774"/>
                <a:gd name="connsiteX7" fmla="*/ 8071 w 28452"/>
                <a:gd name="connsiteY7" fmla="*/ 23053 h 52774"/>
                <a:gd name="connsiteX8" fmla="*/ 21307 w 28452"/>
                <a:gd name="connsiteY8" fmla="*/ 5618 h 52774"/>
                <a:gd name="connsiteX9" fmla="*/ 26363 w 28452"/>
                <a:gd name="connsiteY9" fmla="*/ 1329 h 52774"/>
                <a:gd name="connsiteX10" fmla="*/ 28447 w 28452"/>
                <a:gd name="connsiteY10" fmla="*/ 11 h 5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452" h="52774">
                  <a:moveTo>
                    <a:pt x="28447" y="11"/>
                  </a:moveTo>
                  <a:cubicBezTo>
                    <a:pt x="28600" y="195"/>
                    <a:pt x="25873" y="2340"/>
                    <a:pt x="21982" y="6292"/>
                  </a:cubicBezTo>
                  <a:cubicBezTo>
                    <a:pt x="18121" y="10245"/>
                    <a:pt x="13249" y="16251"/>
                    <a:pt x="9235" y="23696"/>
                  </a:cubicBezTo>
                  <a:cubicBezTo>
                    <a:pt x="5252" y="31142"/>
                    <a:pt x="2923" y="38496"/>
                    <a:pt x="1758" y="43919"/>
                  </a:cubicBezTo>
                  <a:cubicBezTo>
                    <a:pt x="564" y="49343"/>
                    <a:pt x="318" y="52805"/>
                    <a:pt x="73" y="52774"/>
                  </a:cubicBezTo>
                  <a:cubicBezTo>
                    <a:pt x="-19" y="52774"/>
                    <a:pt x="-19" y="51916"/>
                    <a:pt x="43" y="50323"/>
                  </a:cubicBezTo>
                  <a:cubicBezTo>
                    <a:pt x="104" y="48760"/>
                    <a:pt x="349" y="46493"/>
                    <a:pt x="839" y="43735"/>
                  </a:cubicBezTo>
                  <a:cubicBezTo>
                    <a:pt x="1789" y="38220"/>
                    <a:pt x="4026" y="30652"/>
                    <a:pt x="8071" y="23053"/>
                  </a:cubicBezTo>
                  <a:cubicBezTo>
                    <a:pt x="12146" y="15485"/>
                    <a:pt x="17232" y="9448"/>
                    <a:pt x="21307" y="5618"/>
                  </a:cubicBezTo>
                  <a:cubicBezTo>
                    <a:pt x="23360" y="3688"/>
                    <a:pt x="25076" y="2217"/>
                    <a:pt x="26363" y="1329"/>
                  </a:cubicBezTo>
                  <a:cubicBezTo>
                    <a:pt x="27650" y="409"/>
                    <a:pt x="28385" y="-81"/>
                    <a:pt x="28447" y="1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2FC587D-CC55-466F-B55D-9B6B4663935D}"/>
                </a:ext>
              </a:extLst>
            </p:cNvPr>
            <p:cNvSpPr/>
            <p:nvPr/>
          </p:nvSpPr>
          <p:spPr>
            <a:xfrm>
              <a:off x="6610981" y="3878711"/>
              <a:ext cx="19947" cy="38454"/>
            </a:xfrm>
            <a:custGeom>
              <a:avLst/>
              <a:gdLst>
                <a:gd name="connsiteX0" fmla="*/ 18047 w 19947"/>
                <a:gd name="connsiteY0" fmla="*/ 3309 h 38454"/>
                <a:gd name="connsiteX1" fmla="*/ 9529 w 19947"/>
                <a:gd name="connsiteY1" fmla="*/ 0 h 38454"/>
                <a:gd name="connsiteX2" fmla="*/ 1471 w 19947"/>
                <a:gd name="connsiteY2" fmla="*/ 13850 h 38454"/>
                <a:gd name="connsiteX3" fmla="*/ 0 w 19947"/>
                <a:gd name="connsiteY3" fmla="*/ 36616 h 38454"/>
                <a:gd name="connsiteX4" fmla="*/ 11368 w 19947"/>
                <a:gd name="connsiteY4" fmla="*/ 38454 h 38454"/>
                <a:gd name="connsiteX5" fmla="*/ 19947 w 19947"/>
                <a:gd name="connsiteY5" fmla="*/ 24390 h 3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47" h="38454">
                  <a:moveTo>
                    <a:pt x="18047" y="3309"/>
                  </a:moveTo>
                  <a:lnTo>
                    <a:pt x="9529" y="0"/>
                  </a:lnTo>
                  <a:lnTo>
                    <a:pt x="1471" y="13850"/>
                  </a:lnTo>
                  <a:lnTo>
                    <a:pt x="0" y="36616"/>
                  </a:lnTo>
                  <a:lnTo>
                    <a:pt x="11368" y="38454"/>
                  </a:lnTo>
                  <a:lnTo>
                    <a:pt x="19947" y="24390"/>
                  </a:lnTo>
                  <a:close/>
                </a:path>
              </a:pathLst>
            </a:custGeom>
            <a:solidFill>
              <a:srgbClr val="FF725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C2178DD-241B-487E-8618-46D19BBE8259}"/>
                </a:ext>
              </a:extLst>
            </p:cNvPr>
            <p:cNvSpPr/>
            <p:nvPr/>
          </p:nvSpPr>
          <p:spPr>
            <a:xfrm>
              <a:off x="6536187" y="3949737"/>
              <a:ext cx="1348" cy="220123"/>
            </a:xfrm>
            <a:custGeom>
              <a:avLst/>
              <a:gdLst>
                <a:gd name="connsiteX0" fmla="*/ 674 w 1348"/>
                <a:gd name="connsiteY0" fmla="*/ 0 h 220123"/>
                <a:gd name="connsiteX1" fmla="*/ 1348 w 1348"/>
                <a:gd name="connsiteY1" fmla="*/ 110062 h 220123"/>
                <a:gd name="connsiteX2" fmla="*/ 674 w 1348"/>
                <a:gd name="connsiteY2" fmla="*/ 220124 h 220123"/>
                <a:gd name="connsiteX3" fmla="*/ 0 w 1348"/>
                <a:gd name="connsiteY3" fmla="*/ 110062 h 220123"/>
                <a:gd name="connsiteX4" fmla="*/ 674 w 1348"/>
                <a:gd name="connsiteY4" fmla="*/ 0 h 22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8" h="220123">
                  <a:moveTo>
                    <a:pt x="674" y="0"/>
                  </a:moveTo>
                  <a:cubicBezTo>
                    <a:pt x="1042" y="0"/>
                    <a:pt x="1348" y="49271"/>
                    <a:pt x="1348" y="110062"/>
                  </a:cubicBezTo>
                  <a:cubicBezTo>
                    <a:pt x="1348" y="170853"/>
                    <a:pt x="1042" y="220124"/>
                    <a:pt x="674" y="220124"/>
                  </a:cubicBezTo>
                  <a:cubicBezTo>
                    <a:pt x="306" y="220124"/>
                    <a:pt x="0" y="170853"/>
                    <a:pt x="0" y="110062"/>
                  </a:cubicBezTo>
                  <a:cubicBezTo>
                    <a:pt x="31" y="49271"/>
                    <a:pt x="306" y="0"/>
                    <a:pt x="674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BD92604-CD76-401C-B100-0E6A75D6AD5B}"/>
                </a:ext>
              </a:extLst>
            </p:cNvPr>
            <p:cNvSpPr/>
            <p:nvPr/>
          </p:nvSpPr>
          <p:spPr>
            <a:xfrm>
              <a:off x="6601610" y="3862348"/>
              <a:ext cx="28040" cy="31775"/>
            </a:xfrm>
            <a:custGeom>
              <a:avLst/>
              <a:gdLst>
                <a:gd name="connsiteX0" fmla="*/ 28032 w 28040"/>
                <a:gd name="connsiteY0" fmla="*/ 1 h 31775"/>
                <a:gd name="connsiteX1" fmla="*/ 23160 w 28040"/>
                <a:gd name="connsiteY1" fmla="*/ 8243 h 31775"/>
                <a:gd name="connsiteX2" fmla="*/ 12313 w 28040"/>
                <a:gd name="connsiteY2" fmla="*/ 28528 h 31775"/>
                <a:gd name="connsiteX3" fmla="*/ 11394 w 28040"/>
                <a:gd name="connsiteY3" fmla="*/ 30489 h 31775"/>
                <a:gd name="connsiteX4" fmla="*/ 10812 w 28040"/>
                <a:gd name="connsiteY4" fmla="*/ 31776 h 31775"/>
                <a:gd name="connsiteX5" fmla="*/ 10199 w 28040"/>
                <a:gd name="connsiteY5" fmla="*/ 30489 h 31775"/>
                <a:gd name="connsiteX6" fmla="*/ 2232 w 28040"/>
                <a:gd name="connsiteY6" fmla="*/ 10327 h 31775"/>
                <a:gd name="connsiteX7" fmla="*/ 455 w 28040"/>
                <a:gd name="connsiteY7" fmla="*/ 4076 h 31775"/>
                <a:gd name="connsiteX8" fmla="*/ 26 w 28040"/>
                <a:gd name="connsiteY8" fmla="*/ 1748 h 31775"/>
                <a:gd name="connsiteX9" fmla="*/ 3090 w 28040"/>
                <a:gd name="connsiteY9" fmla="*/ 10051 h 31775"/>
                <a:gd name="connsiteX10" fmla="*/ 11394 w 28040"/>
                <a:gd name="connsiteY10" fmla="*/ 29937 h 31775"/>
                <a:gd name="connsiteX11" fmla="*/ 10199 w 28040"/>
                <a:gd name="connsiteY11" fmla="*/ 29937 h 31775"/>
                <a:gd name="connsiteX12" fmla="*/ 11118 w 28040"/>
                <a:gd name="connsiteY12" fmla="*/ 27976 h 31775"/>
                <a:gd name="connsiteX13" fmla="*/ 22363 w 28040"/>
                <a:gd name="connsiteY13" fmla="*/ 7753 h 31775"/>
                <a:gd name="connsiteX14" fmla="*/ 26347 w 28040"/>
                <a:gd name="connsiteY14" fmla="*/ 1993 h 31775"/>
                <a:gd name="connsiteX15" fmla="*/ 28032 w 28040"/>
                <a:gd name="connsiteY15" fmla="*/ 1 h 31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040" h="31775">
                  <a:moveTo>
                    <a:pt x="28032" y="1"/>
                  </a:moveTo>
                  <a:cubicBezTo>
                    <a:pt x="28185" y="124"/>
                    <a:pt x="26193" y="3188"/>
                    <a:pt x="23160" y="8243"/>
                  </a:cubicBezTo>
                  <a:cubicBezTo>
                    <a:pt x="20126" y="13299"/>
                    <a:pt x="16143" y="20408"/>
                    <a:pt x="12313" y="28528"/>
                  </a:cubicBezTo>
                  <a:cubicBezTo>
                    <a:pt x="12007" y="29202"/>
                    <a:pt x="11700" y="29845"/>
                    <a:pt x="11394" y="30489"/>
                  </a:cubicBezTo>
                  <a:lnTo>
                    <a:pt x="10812" y="31776"/>
                  </a:lnTo>
                  <a:lnTo>
                    <a:pt x="10199" y="30489"/>
                  </a:lnTo>
                  <a:cubicBezTo>
                    <a:pt x="6522" y="22767"/>
                    <a:pt x="3887" y="15567"/>
                    <a:pt x="2232" y="10327"/>
                  </a:cubicBezTo>
                  <a:cubicBezTo>
                    <a:pt x="1405" y="7692"/>
                    <a:pt x="823" y="5578"/>
                    <a:pt x="455" y="4076"/>
                  </a:cubicBezTo>
                  <a:cubicBezTo>
                    <a:pt x="87" y="2575"/>
                    <a:pt x="-66" y="1748"/>
                    <a:pt x="26" y="1748"/>
                  </a:cubicBezTo>
                  <a:cubicBezTo>
                    <a:pt x="210" y="1686"/>
                    <a:pt x="1221" y="4904"/>
                    <a:pt x="3090" y="10051"/>
                  </a:cubicBezTo>
                  <a:cubicBezTo>
                    <a:pt x="4959" y="15199"/>
                    <a:pt x="7717" y="22277"/>
                    <a:pt x="11394" y="29937"/>
                  </a:cubicBezTo>
                  <a:lnTo>
                    <a:pt x="10199" y="29937"/>
                  </a:lnTo>
                  <a:cubicBezTo>
                    <a:pt x="10475" y="29324"/>
                    <a:pt x="10812" y="28650"/>
                    <a:pt x="11118" y="27976"/>
                  </a:cubicBezTo>
                  <a:cubicBezTo>
                    <a:pt x="14948" y="19795"/>
                    <a:pt x="19115" y="12717"/>
                    <a:pt x="22363" y="7753"/>
                  </a:cubicBezTo>
                  <a:cubicBezTo>
                    <a:pt x="23987" y="5271"/>
                    <a:pt x="25366" y="3310"/>
                    <a:pt x="26347" y="1993"/>
                  </a:cubicBezTo>
                  <a:cubicBezTo>
                    <a:pt x="27358" y="644"/>
                    <a:pt x="27971" y="-30"/>
                    <a:pt x="28032" y="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E6AD3A9-3005-4A25-BB42-58EA3149E302}"/>
                </a:ext>
              </a:extLst>
            </p:cNvPr>
            <p:cNvSpPr/>
            <p:nvPr/>
          </p:nvSpPr>
          <p:spPr>
            <a:xfrm>
              <a:off x="6628906" y="3853460"/>
              <a:ext cx="97899" cy="51418"/>
            </a:xfrm>
            <a:custGeom>
              <a:avLst/>
              <a:gdLst>
                <a:gd name="connsiteX0" fmla="*/ 97898 w 97899"/>
                <a:gd name="connsiteY0" fmla="*/ 3 h 51418"/>
                <a:gd name="connsiteX1" fmla="*/ 96580 w 97899"/>
                <a:gd name="connsiteY1" fmla="*/ 800 h 51418"/>
                <a:gd name="connsiteX2" fmla="*/ 92719 w 97899"/>
                <a:gd name="connsiteY2" fmla="*/ 2822 h 51418"/>
                <a:gd name="connsiteX3" fmla="*/ 78502 w 97899"/>
                <a:gd name="connsiteY3" fmla="*/ 10176 h 51418"/>
                <a:gd name="connsiteX4" fmla="*/ 31867 w 97899"/>
                <a:gd name="connsiteY4" fmla="*/ 35026 h 51418"/>
                <a:gd name="connsiteX5" fmla="*/ 1134 w 97899"/>
                <a:gd name="connsiteY5" fmla="*/ 50990 h 51418"/>
                <a:gd name="connsiteX6" fmla="*/ 276 w 97899"/>
                <a:gd name="connsiteY6" fmla="*/ 51419 h 51418"/>
                <a:gd name="connsiteX7" fmla="*/ 276 w 97899"/>
                <a:gd name="connsiteY7" fmla="*/ 50469 h 51418"/>
                <a:gd name="connsiteX8" fmla="*/ 0 w 97899"/>
                <a:gd name="connsiteY8" fmla="*/ 21421 h 51418"/>
                <a:gd name="connsiteX9" fmla="*/ 31 w 97899"/>
                <a:gd name="connsiteY9" fmla="*/ 13240 h 51418"/>
                <a:gd name="connsiteX10" fmla="*/ 153 w 97899"/>
                <a:gd name="connsiteY10" fmla="*/ 10329 h 51418"/>
                <a:gd name="connsiteX11" fmla="*/ 398 w 97899"/>
                <a:gd name="connsiteY11" fmla="*/ 13240 h 51418"/>
                <a:gd name="connsiteX12" fmla="*/ 705 w 97899"/>
                <a:gd name="connsiteY12" fmla="*/ 21421 h 51418"/>
                <a:gd name="connsiteX13" fmla="*/ 1471 w 97899"/>
                <a:gd name="connsiteY13" fmla="*/ 50469 h 51418"/>
                <a:gd name="connsiteX14" fmla="*/ 613 w 97899"/>
                <a:gd name="connsiteY14" fmla="*/ 49948 h 51418"/>
                <a:gd name="connsiteX15" fmla="*/ 31254 w 97899"/>
                <a:gd name="connsiteY15" fmla="*/ 33861 h 51418"/>
                <a:gd name="connsiteX16" fmla="*/ 78104 w 97899"/>
                <a:gd name="connsiteY16" fmla="*/ 9318 h 51418"/>
                <a:gd name="connsiteX17" fmla="*/ 92535 w 97899"/>
                <a:gd name="connsiteY17" fmla="*/ 2332 h 51418"/>
                <a:gd name="connsiteX18" fmla="*/ 96519 w 97899"/>
                <a:gd name="connsiteY18" fmla="*/ 524 h 51418"/>
                <a:gd name="connsiteX19" fmla="*/ 97898 w 97899"/>
                <a:gd name="connsiteY19" fmla="*/ 3 h 51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7899" h="51418">
                  <a:moveTo>
                    <a:pt x="97898" y="3"/>
                  </a:moveTo>
                  <a:cubicBezTo>
                    <a:pt x="97928" y="34"/>
                    <a:pt x="97469" y="310"/>
                    <a:pt x="96580" y="800"/>
                  </a:cubicBezTo>
                  <a:cubicBezTo>
                    <a:pt x="95569" y="1321"/>
                    <a:pt x="94282" y="1995"/>
                    <a:pt x="92719" y="2822"/>
                  </a:cubicBezTo>
                  <a:cubicBezTo>
                    <a:pt x="89196" y="4630"/>
                    <a:pt x="84385" y="7143"/>
                    <a:pt x="78502" y="10176"/>
                  </a:cubicBezTo>
                  <a:cubicBezTo>
                    <a:pt x="66491" y="16427"/>
                    <a:pt x="50067" y="25313"/>
                    <a:pt x="31867" y="35026"/>
                  </a:cubicBezTo>
                  <a:cubicBezTo>
                    <a:pt x="20775" y="40939"/>
                    <a:pt x="10265" y="46424"/>
                    <a:pt x="1134" y="50990"/>
                  </a:cubicBezTo>
                  <a:lnTo>
                    <a:pt x="276" y="51419"/>
                  </a:lnTo>
                  <a:lnTo>
                    <a:pt x="276" y="50469"/>
                  </a:lnTo>
                  <a:cubicBezTo>
                    <a:pt x="153" y="38611"/>
                    <a:pt x="61" y="28622"/>
                    <a:pt x="0" y="21421"/>
                  </a:cubicBezTo>
                  <a:cubicBezTo>
                    <a:pt x="0" y="18020"/>
                    <a:pt x="0" y="15293"/>
                    <a:pt x="31" y="13240"/>
                  </a:cubicBezTo>
                  <a:cubicBezTo>
                    <a:pt x="61" y="11340"/>
                    <a:pt x="92" y="10329"/>
                    <a:pt x="153" y="10329"/>
                  </a:cubicBezTo>
                  <a:cubicBezTo>
                    <a:pt x="214" y="10329"/>
                    <a:pt x="306" y="11340"/>
                    <a:pt x="398" y="13240"/>
                  </a:cubicBezTo>
                  <a:cubicBezTo>
                    <a:pt x="490" y="15293"/>
                    <a:pt x="582" y="18020"/>
                    <a:pt x="705" y="21421"/>
                  </a:cubicBezTo>
                  <a:cubicBezTo>
                    <a:pt x="889" y="28652"/>
                    <a:pt x="1164" y="38611"/>
                    <a:pt x="1471" y="50469"/>
                  </a:cubicBezTo>
                  <a:lnTo>
                    <a:pt x="613" y="49948"/>
                  </a:lnTo>
                  <a:cubicBezTo>
                    <a:pt x="9682" y="45290"/>
                    <a:pt x="20162" y="39775"/>
                    <a:pt x="31254" y="33861"/>
                  </a:cubicBezTo>
                  <a:cubicBezTo>
                    <a:pt x="49454" y="24148"/>
                    <a:pt x="65970" y="15354"/>
                    <a:pt x="78104" y="9318"/>
                  </a:cubicBezTo>
                  <a:cubicBezTo>
                    <a:pt x="84171" y="6285"/>
                    <a:pt x="89104" y="3925"/>
                    <a:pt x="92535" y="2332"/>
                  </a:cubicBezTo>
                  <a:cubicBezTo>
                    <a:pt x="94159" y="1597"/>
                    <a:pt x="95477" y="1014"/>
                    <a:pt x="96519" y="524"/>
                  </a:cubicBezTo>
                  <a:cubicBezTo>
                    <a:pt x="97377" y="156"/>
                    <a:pt x="97867" y="-27"/>
                    <a:pt x="97898" y="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447D2E85-3C94-4504-90E8-CDEE6DD76C0D}"/>
                </a:ext>
              </a:extLst>
            </p:cNvPr>
            <p:cNvSpPr/>
            <p:nvPr/>
          </p:nvSpPr>
          <p:spPr>
            <a:xfrm>
              <a:off x="6537292" y="3884593"/>
              <a:ext cx="11105" cy="50559"/>
            </a:xfrm>
            <a:custGeom>
              <a:avLst/>
              <a:gdLst>
                <a:gd name="connsiteX0" fmla="*/ 11090 w 11105"/>
                <a:gd name="connsiteY0" fmla="*/ 1 h 50559"/>
                <a:gd name="connsiteX1" fmla="*/ 7842 w 11105"/>
                <a:gd name="connsiteY1" fmla="*/ 6987 h 50559"/>
                <a:gd name="connsiteX2" fmla="*/ 2388 w 11105"/>
                <a:gd name="connsiteY2" fmla="*/ 24544 h 50559"/>
                <a:gd name="connsiteX3" fmla="*/ 1254 w 11105"/>
                <a:gd name="connsiteY3" fmla="*/ 42898 h 50559"/>
                <a:gd name="connsiteX4" fmla="*/ 1806 w 11105"/>
                <a:gd name="connsiteY4" fmla="*/ 50559 h 50559"/>
                <a:gd name="connsiteX5" fmla="*/ 1224 w 11105"/>
                <a:gd name="connsiteY5" fmla="*/ 48567 h 50559"/>
                <a:gd name="connsiteX6" fmla="*/ 335 w 11105"/>
                <a:gd name="connsiteY6" fmla="*/ 42960 h 50559"/>
                <a:gd name="connsiteX7" fmla="*/ 1101 w 11105"/>
                <a:gd name="connsiteY7" fmla="*/ 24299 h 50559"/>
                <a:gd name="connsiteX8" fmla="*/ 7015 w 11105"/>
                <a:gd name="connsiteY8" fmla="*/ 6589 h 50559"/>
                <a:gd name="connsiteX9" fmla="*/ 9834 w 11105"/>
                <a:gd name="connsiteY9" fmla="*/ 1686 h 50559"/>
                <a:gd name="connsiteX10" fmla="*/ 11090 w 11105"/>
                <a:gd name="connsiteY10" fmla="*/ 1 h 50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105" h="50559">
                  <a:moveTo>
                    <a:pt x="11090" y="1"/>
                  </a:moveTo>
                  <a:cubicBezTo>
                    <a:pt x="11274" y="124"/>
                    <a:pt x="9772" y="2667"/>
                    <a:pt x="7842" y="6987"/>
                  </a:cubicBezTo>
                  <a:cubicBezTo>
                    <a:pt x="5912" y="11308"/>
                    <a:pt x="3705" y="17466"/>
                    <a:pt x="2388" y="24544"/>
                  </a:cubicBezTo>
                  <a:cubicBezTo>
                    <a:pt x="1101" y="31623"/>
                    <a:pt x="978" y="38180"/>
                    <a:pt x="1254" y="42898"/>
                  </a:cubicBezTo>
                  <a:cubicBezTo>
                    <a:pt x="1530" y="47617"/>
                    <a:pt x="2020" y="50528"/>
                    <a:pt x="1806" y="50559"/>
                  </a:cubicBezTo>
                  <a:cubicBezTo>
                    <a:pt x="1714" y="50589"/>
                    <a:pt x="1499" y="49854"/>
                    <a:pt x="1224" y="48567"/>
                  </a:cubicBezTo>
                  <a:cubicBezTo>
                    <a:pt x="917" y="47280"/>
                    <a:pt x="611" y="45350"/>
                    <a:pt x="335" y="42960"/>
                  </a:cubicBezTo>
                  <a:cubicBezTo>
                    <a:pt x="-186" y="38210"/>
                    <a:pt x="-217" y="31500"/>
                    <a:pt x="1101" y="24299"/>
                  </a:cubicBezTo>
                  <a:cubicBezTo>
                    <a:pt x="2449" y="17099"/>
                    <a:pt x="4839" y="10848"/>
                    <a:pt x="7015" y="6589"/>
                  </a:cubicBezTo>
                  <a:cubicBezTo>
                    <a:pt x="8087" y="4444"/>
                    <a:pt x="9068" y="2789"/>
                    <a:pt x="9834" y="1686"/>
                  </a:cubicBezTo>
                  <a:cubicBezTo>
                    <a:pt x="10569" y="553"/>
                    <a:pt x="10998" y="-29"/>
                    <a:pt x="11090" y="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9D4D3CA-3479-41AC-8471-E7B9341551F9}"/>
                </a:ext>
              </a:extLst>
            </p:cNvPr>
            <p:cNvSpPr/>
            <p:nvPr/>
          </p:nvSpPr>
          <p:spPr>
            <a:xfrm>
              <a:off x="6611275" y="3912913"/>
              <a:ext cx="9007" cy="5778"/>
            </a:xfrm>
            <a:custGeom>
              <a:avLst/>
              <a:gdLst>
                <a:gd name="connsiteX0" fmla="*/ 8990 w 9007"/>
                <a:gd name="connsiteY0" fmla="*/ 5723 h 5778"/>
                <a:gd name="connsiteX1" fmla="*/ 4149 w 9007"/>
                <a:gd name="connsiteY1" fmla="*/ 3456 h 5778"/>
                <a:gd name="connsiteX2" fmla="*/ 13 w 9007"/>
                <a:gd name="connsiteY2" fmla="*/ 55 h 5778"/>
                <a:gd name="connsiteX3" fmla="*/ 4854 w 9007"/>
                <a:gd name="connsiteY3" fmla="*/ 2322 h 5778"/>
                <a:gd name="connsiteX4" fmla="*/ 8990 w 9007"/>
                <a:gd name="connsiteY4" fmla="*/ 5723 h 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07" h="5778">
                  <a:moveTo>
                    <a:pt x="8990" y="5723"/>
                  </a:moveTo>
                  <a:cubicBezTo>
                    <a:pt x="8807" y="6030"/>
                    <a:pt x="6631" y="5019"/>
                    <a:pt x="4149" y="3456"/>
                  </a:cubicBezTo>
                  <a:cubicBezTo>
                    <a:pt x="1667" y="1893"/>
                    <a:pt x="-171" y="361"/>
                    <a:pt x="13" y="55"/>
                  </a:cubicBezTo>
                  <a:cubicBezTo>
                    <a:pt x="197" y="-252"/>
                    <a:pt x="2372" y="759"/>
                    <a:pt x="4854" y="2322"/>
                  </a:cubicBezTo>
                  <a:cubicBezTo>
                    <a:pt x="7366" y="3885"/>
                    <a:pt x="9205" y="5417"/>
                    <a:pt x="8990" y="572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ADC7945-8354-42DC-A88E-D07F8E57DFB3}"/>
                </a:ext>
              </a:extLst>
            </p:cNvPr>
            <p:cNvSpPr/>
            <p:nvPr/>
          </p:nvSpPr>
          <p:spPr>
            <a:xfrm>
              <a:off x="6613979" y="3889463"/>
              <a:ext cx="10429" cy="23600"/>
            </a:xfrm>
            <a:custGeom>
              <a:avLst/>
              <a:gdLst>
                <a:gd name="connsiteX0" fmla="*/ 10393 w 10429"/>
                <a:gd name="connsiteY0" fmla="*/ 23597 h 23600"/>
                <a:gd name="connsiteX1" fmla="*/ 4602 w 10429"/>
                <a:gd name="connsiteY1" fmla="*/ 12076 h 23600"/>
                <a:gd name="connsiteX2" fmla="*/ 36 w 10429"/>
                <a:gd name="connsiteY2" fmla="*/ 3 h 23600"/>
                <a:gd name="connsiteX3" fmla="*/ 5827 w 10429"/>
                <a:gd name="connsiteY3" fmla="*/ 11524 h 23600"/>
                <a:gd name="connsiteX4" fmla="*/ 10393 w 10429"/>
                <a:gd name="connsiteY4" fmla="*/ 23597 h 2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29" h="23600">
                  <a:moveTo>
                    <a:pt x="10393" y="23597"/>
                  </a:moveTo>
                  <a:cubicBezTo>
                    <a:pt x="10056" y="23750"/>
                    <a:pt x="7451" y="18572"/>
                    <a:pt x="4602" y="12076"/>
                  </a:cubicBezTo>
                  <a:cubicBezTo>
                    <a:pt x="1752" y="5549"/>
                    <a:pt x="-301" y="156"/>
                    <a:pt x="36" y="3"/>
                  </a:cubicBezTo>
                  <a:cubicBezTo>
                    <a:pt x="373" y="-150"/>
                    <a:pt x="2947" y="5028"/>
                    <a:pt x="5827" y="11524"/>
                  </a:cubicBezTo>
                  <a:cubicBezTo>
                    <a:pt x="8677" y="18051"/>
                    <a:pt x="10730" y="23444"/>
                    <a:pt x="10393" y="2359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9926AE70-AE9E-4364-A620-EB5C7565C4AD}"/>
                </a:ext>
              </a:extLst>
            </p:cNvPr>
            <p:cNvSpPr/>
            <p:nvPr/>
          </p:nvSpPr>
          <p:spPr>
            <a:xfrm>
              <a:off x="6469482" y="4059278"/>
              <a:ext cx="210250" cy="82696"/>
            </a:xfrm>
            <a:custGeom>
              <a:avLst/>
              <a:gdLst>
                <a:gd name="connsiteX0" fmla="*/ 208787 w 210250"/>
                <a:gd name="connsiteY0" fmla="*/ 55368 h 82696"/>
                <a:gd name="connsiteX1" fmla="*/ 205845 w 210250"/>
                <a:gd name="connsiteY1" fmla="*/ 49791 h 82696"/>
                <a:gd name="connsiteX2" fmla="*/ 195489 w 210250"/>
                <a:gd name="connsiteY2" fmla="*/ 52365 h 82696"/>
                <a:gd name="connsiteX3" fmla="*/ 166503 w 210250"/>
                <a:gd name="connsiteY3" fmla="*/ 56839 h 82696"/>
                <a:gd name="connsiteX4" fmla="*/ 77184 w 210250"/>
                <a:gd name="connsiteY4" fmla="*/ 48351 h 82696"/>
                <a:gd name="connsiteX5" fmla="*/ 35237 w 210250"/>
                <a:gd name="connsiteY5" fmla="*/ 35850 h 82696"/>
                <a:gd name="connsiteX6" fmla="*/ 6894 w 210250"/>
                <a:gd name="connsiteY6" fmla="*/ 3738 h 82696"/>
                <a:gd name="connsiteX7" fmla="*/ 0 w 210250"/>
                <a:gd name="connsiteY7" fmla="*/ 0 h 82696"/>
                <a:gd name="connsiteX8" fmla="*/ 6710 w 210250"/>
                <a:gd name="connsiteY8" fmla="*/ 56226 h 82696"/>
                <a:gd name="connsiteX9" fmla="*/ 26167 w 210250"/>
                <a:gd name="connsiteY9" fmla="*/ 81443 h 82696"/>
                <a:gd name="connsiteX10" fmla="*/ 41243 w 210250"/>
                <a:gd name="connsiteY10" fmla="*/ 82516 h 82696"/>
                <a:gd name="connsiteX11" fmla="*/ 189330 w 210250"/>
                <a:gd name="connsiteY11" fmla="*/ 79850 h 82696"/>
                <a:gd name="connsiteX12" fmla="*/ 208266 w 210250"/>
                <a:gd name="connsiteY12" fmla="*/ 72619 h 82696"/>
                <a:gd name="connsiteX13" fmla="*/ 208787 w 210250"/>
                <a:gd name="connsiteY13" fmla="*/ 55368 h 8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0250" h="82696">
                  <a:moveTo>
                    <a:pt x="208787" y="55368"/>
                  </a:moveTo>
                  <a:cubicBezTo>
                    <a:pt x="208297" y="53284"/>
                    <a:pt x="207653" y="50986"/>
                    <a:pt x="205845" y="49791"/>
                  </a:cubicBezTo>
                  <a:cubicBezTo>
                    <a:pt x="202689" y="47738"/>
                    <a:pt x="198737" y="50435"/>
                    <a:pt x="195489" y="52365"/>
                  </a:cubicBezTo>
                  <a:cubicBezTo>
                    <a:pt x="186971" y="57452"/>
                    <a:pt x="176430" y="57268"/>
                    <a:pt x="166503" y="56839"/>
                  </a:cubicBezTo>
                  <a:cubicBezTo>
                    <a:pt x="136597" y="55521"/>
                    <a:pt x="106692" y="53315"/>
                    <a:pt x="77184" y="48351"/>
                  </a:cubicBezTo>
                  <a:cubicBezTo>
                    <a:pt x="62722" y="45931"/>
                    <a:pt x="48167" y="42775"/>
                    <a:pt x="35237" y="35850"/>
                  </a:cubicBezTo>
                  <a:cubicBezTo>
                    <a:pt x="22307" y="28956"/>
                    <a:pt x="11061" y="17802"/>
                    <a:pt x="6894" y="3738"/>
                  </a:cubicBezTo>
                  <a:lnTo>
                    <a:pt x="0" y="0"/>
                  </a:lnTo>
                  <a:cubicBezTo>
                    <a:pt x="5362" y="11429"/>
                    <a:pt x="4811" y="43755"/>
                    <a:pt x="6710" y="56226"/>
                  </a:cubicBezTo>
                  <a:cubicBezTo>
                    <a:pt x="8641" y="68697"/>
                    <a:pt x="14156" y="77583"/>
                    <a:pt x="26167" y="81443"/>
                  </a:cubicBezTo>
                  <a:cubicBezTo>
                    <a:pt x="30978" y="83006"/>
                    <a:pt x="36187" y="82761"/>
                    <a:pt x="41243" y="82516"/>
                  </a:cubicBezTo>
                  <a:cubicBezTo>
                    <a:pt x="90452" y="80065"/>
                    <a:pt x="140121" y="82301"/>
                    <a:pt x="189330" y="79850"/>
                  </a:cubicBezTo>
                  <a:cubicBezTo>
                    <a:pt x="196377" y="79513"/>
                    <a:pt x="204497" y="78563"/>
                    <a:pt x="208266" y="72619"/>
                  </a:cubicBezTo>
                  <a:cubicBezTo>
                    <a:pt x="211453" y="67624"/>
                    <a:pt x="210166" y="61129"/>
                    <a:pt x="208787" y="55368"/>
                  </a:cubicBezTo>
                  <a:close/>
                </a:path>
              </a:pathLst>
            </a:custGeom>
            <a:solidFill>
              <a:srgbClr val="00000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53A2805-9316-45B7-AC1F-18BF92A83DDF}"/>
                </a:ext>
              </a:extLst>
            </p:cNvPr>
            <p:cNvSpPr/>
            <p:nvPr/>
          </p:nvSpPr>
          <p:spPr>
            <a:xfrm>
              <a:off x="6722637" y="4046225"/>
              <a:ext cx="140555" cy="160828"/>
            </a:xfrm>
            <a:custGeom>
              <a:avLst/>
              <a:gdLst>
                <a:gd name="connsiteX0" fmla="*/ 140550 w 140555"/>
                <a:gd name="connsiteY0" fmla="*/ 96519 h 160828"/>
                <a:gd name="connsiteX1" fmla="*/ 140213 w 140555"/>
                <a:gd name="connsiteY1" fmla="*/ 95937 h 160828"/>
                <a:gd name="connsiteX2" fmla="*/ 139324 w 140555"/>
                <a:gd name="connsiteY2" fmla="*/ 94190 h 160828"/>
                <a:gd name="connsiteX3" fmla="*/ 137915 w 140555"/>
                <a:gd name="connsiteY3" fmla="*/ 91340 h 160828"/>
                <a:gd name="connsiteX4" fmla="*/ 135494 w 140555"/>
                <a:gd name="connsiteY4" fmla="*/ 87725 h 160828"/>
                <a:gd name="connsiteX5" fmla="*/ 116405 w 140555"/>
                <a:gd name="connsiteY5" fmla="*/ 66981 h 160828"/>
                <a:gd name="connsiteX6" fmla="*/ 83527 w 140555"/>
                <a:gd name="connsiteY6" fmla="*/ 39067 h 160828"/>
                <a:gd name="connsiteX7" fmla="*/ 63764 w 140555"/>
                <a:gd name="connsiteY7" fmla="*/ 22000 h 160828"/>
                <a:gd name="connsiteX8" fmla="*/ 43908 w 140555"/>
                <a:gd name="connsiteY8" fmla="*/ 1348 h 160828"/>
                <a:gd name="connsiteX9" fmla="*/ 44858 w 140555"/>
                <a:gd name="connsiteY9" fmla="*/ 1410 h 160828"/>
                <a:gd name="connsiteX10" fmla="*/ 6527 w 140555"/>
                <a:gd name="connsiteY10" fmla="*/ 41488 h 160828"/>
                <a:gd name="connsiteX11" fmla="*/ 1409 w 140555"/>
                <a:gd name="connsiteY11" fmla="*/ 46850 h 160828"/>
                <a:gd name="connsiteX12" fmla="*/ 1471 w 140555"/>
                <a:gd name="connsiteY12" fmla="*/ 46023 h 160828"/>
                <a:gd name="connsiteX13" fmla="*/ 42989 w 140555"/>
                <a:gd name="connsiteY13" fmla="*/ 104884 h 160828"/>
                <a:gd name="connsiteX14" fmla="*/ 63825 w 140555"/>
                <a:gd name="connsiteY14" fmla="*/ 128171 h 160828"/>
                <a:gd name="connsiteX15" fmla="*/ 84079 w 140555"/>
                <a:gd name="connsiteY15" fmla="*/ 146218 h 160828"/>
                <a:gd name="connsiteX16" fmla="*/ 119867 w 140555"/>
                <a:gd name="connsiteY16" fmla="*/ 160282 h 160828"/>
                <a:gd name="connsiteX17" fmla="*/ 123115 w 140555"/>
                <a:gd name="connsiteY17" fmla="*/ 160282 h 160828"/>
                <a:gd name="connsiteX18" fmla="*/ 125965 w 140555"/>
                <a:gd name="connsiteY18" fmla="*/ 159976 h 160828"/>
                <a:gd name="connsiteX19" fmla="*/ 128416 w 140555"/>
                <a:gd name="connsiteY19" fmla="*/ 159731 h 160828"/>
                <a:gd name="connsiteX20" fmla="*/ 130408 w 140555"/>
                <a:gd name="connsiteY20" fmla="*/ 159271 h 160828"/>
                <a:gd name="connsiteX21" fmla="*/ 133104 w 140555"/>
                <a:gd name="connsiteY21" fmla="*/ 158689 h 160828"/>
                <a:gd name="connsiteX22" fmla="*/ 134054 w 140555"/>
                <a:gd name="connsiteY22" fmla="*/ 158536 h 160828"/>
                <a:gd name="connsiteX23" fmla="*/ 133165 w 140555"/>
                <a:gd name="connsiteY23" fmla="*/ 158812 h 160828"/>
                <a:gd name="connsiteX24" fmla="*/ 130469 w 140555"/>
                <a:gd name="connsiteY24" fmla="*/ 159516 h 160828"/>
                <a:gd name="connsiteX25" fmla="*/ 128477 w 140555"/>
                <a:gd name="connsiteY25" fmla="*/ 160037 h 160828"/>
                <a:gd name="connsiteX26" fmla="*/ 126026 w 140555"/>
                <a:gd name="connsiteY26" fmla="*/ 160374 h 160828"/>
                <a:gd name="connsiteX27" fmla="*/ 123146 w 140555"/>
                <a:gd name="connsiteY27" fmla="*/ 160742 h 160828"/>
                <a:gd name="connsiteX28" fmla="*/ 119836 w 140555"/>
                <a:gd name="connsiteY28" fmla="*/ 160803 h 160828"/>
                <a:gd name="connsiteX29" fmla="*/ 83496 w 140555"/>
                <a:gd name="connsiteY29" fmla="*/ 146984 h 160828"/>
                <a:gd name="connsiteX30" fmla="*/ 62998 w 140555"/>
                <a:gd name="connsiteY30" fmla="*/ 128967 h 160828"/>
                <a:gd name="connsiteX31" fmla="*/ 41978 w 140555"/>
                <a:gd name="connsiteY31" fmla="*/ 105650 h 160828"/>
                <a:gd name="connsiteX32" fmla="*/ 306 w 140555"/>
                <a:gd name="connsiteY32" fmla="*/ 46789 h 160828"/>
                <a:gd name="connsiteX33" fmla="*/ 0 w 140555"/>
                <a:gd name="connsiteY33" fmla="*/ 46329 h 160828"/>
                <a:gd name="connsiteX34" fmla="*/ 368 w 140555"/>
                <a:gd name="connsiteY34" fmla="*/ 45931 h 160828"/>
                <a:gd name="connsiteX35" fmla="*/ 5485 w 140555"/>
                <a:gd name="connsiteY35" fmla="*/ 40569 h 160828"/>
                <a:gd name="connsiteX36" fmla="*/ 43847 w 140555"/>
                <a:gd name="connsiteY36" fmla="*/ 521 h 160828"/>
                <a:gd name="connsiteX37" fmla="*/ 44337 w 140555"/>
                <a:gd name="connsiteY37" fmla="*/ 0 h 160828"/>
                <a:gd name="connsiteX38" fmla="*/ 44797 w 140555"/>
                <a:gd name="connsiteY38" fmla="*/ 582 h 160828"/>
                <a:gd name="connsiteX39" fmla="*/ 64438 w 140555"/>
                <a:gd name="connsiteY39" fmla="*/ 21112 h 160828"/>
                <a:gd name="connsiteX40" fmla="*/ 84109 w 140555"/>
                <a:gd name="connsiteY40" fmla="*/ 38240 h 160828"/>
                <a:gd name="connsiteX41" fmla="*/ 116834 w 140555"/>
                <a:gd name="connsiteY41" fmla="*/ 66399 h 160828"/>
                <a:gd name="connsiteX42" fmla="*/ 135739 w 140555"/>
                <a:gd name="connsiteY42" fmla="*/ 87510 h 160828"/>
                <a:gd name="connsiteX43" fmla="*/ 138099 w 140555"/>
                <a:gd name="connsiteY43" fmla="*/ 91218 h 160828"/>
                <a:gd name="connsiteX44" fmla="*/ 139447 w 140555"/>
                <a:gd name="connsiteY44" fmla="*/ 94129 h 160828"/>
                <a:gd name="connsiteX45" fmla="*/ 140243 w 140555"/>
                <a:gd name="connsiteY45" fmla="*/ 95906 h 160828"/>
                <a:gd name="connsiteX46" fmla="*/ 140550 w 140555"/>
                <a:gd name="connsiteY46" fmla="*/ 96519 h 16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40555" h="160828">
                  <a:moveTo>
                    <a:pt x="140550" y="96519"/>
                  </a:moveTo>
                  <a:cubicBezTo>
                    <a:pt x="140519" y="96519"/>
                    <a:pt x="140427" y="96335"/>
                    <a:pt x="140213" y="95937"/>
                  </a:cubicBezTo>
                  <a:cubicBezTo>
                    <a:pt x="139998" y="95508"/>
                    <a:pt x="139692" y="94925"/>
                    <a:pt x="139324" y="94190"/>
                  </a:cubicBezTo>
                  <a:cubicBezTo>
                    <a:pt x="138926" y="93393"/>
                    <a:pt x="138466" y="92443"/>
                    <a:pt x="137915" y="91340"/>
                  </a:cubicBezTo>
                  <a:cubicBezTo>
                    <a:pt x="137210" y="90268"/>
                    <a:pt x="136383" y="89073"/>
                    <a:pt x="135494" y="87725"/>
                  </a:cubicBezTo>
                  <a:cubicBezTo>
                    <a:pt x="131756" y="82301"/>
                    <a:pt x="125321" y="75101"/>
                    <a:pt x="116405" y="66981"/>
                  </a:cubicBezTo>
                  <a:cubicBezTo>
                    <a:pt x="107519" y="58800"/>
                    <a:pt x="96212" y="49577"/>
                    <a:pt x="83527" y="39067"/>
                  </a:cubicBezTo>
                  <a:cubicBezTo>
                    <a:pt x="77215" y="33766"/>
                    <a:pt x="70474" y="28190"/>
                    <a:pt x="63764" y="22000"/>
                  </a:cubicBezTo>
                  <a:cubicBezTo>
                    <a:pt x="57053" y="15811"/>
                    <a:pt x="50128" y="9131"/>
                    <a:pt x="43908" y="1348"/>
                  </a:cubicBezTo>
                  <a:lnTo>
                    <a:pt x="44858" y="1410"/>
                  </a:lnTo>
                  <a:cubicBezTo>
                    <a:pt x="32908" y="13911"/>
                    <a:pt x="19947" y="27454"/>
                    <a:pt x="6527" y="41488"/>
                  </a:cubicBezTo>
                  <a:cubicBezTo>
                    <a:pt x="4780" y="43326"/>
                    <a:pt x="3033" y="45134"/>
                    <a:pt x="1409" y="46850"/>
                  </a:cubicBezTo>
                  <a:lnTo>
                    <a:pt x="1471" y="46023"/>
                  </a:lnTo>
                  <a:cubicBezTo>
                    <a:pt x="15964" y="67195"/>
                    <a:pt x="29139" y="87694"/>
                    <a:pt x="42989" y="104884"/>
                  </a:cubicBezTo>
                  <a:cubicBezTo>
                    <a:pt x="49853" y="113524"/>
                    <a:pt x="56931" y="121246"/>
                    <a:pt x="63825" y="128171"/>
                  </a:cubicBezTo>
                  <a:cubicBezTo>
                    <a:pt x="70689" y="135126"/>
                    <a:pt x="77399" y="141316"/>
                    <a:pt x="84079" y="146218"/>
                  </a:cubicBezTo>
                  <a:cubicBezTo>
                    <a:pt x="97316" y="156207"/>
                    <a:pt x="110644" y="160527"/>
                    <a:pt x="119867" y="160282"/>
                  </a:cubicBezTo>
                  <a:cubicBezTo>
                    <a:pt x="121032" y="160282"/>
                    <a:pt x="122104" y="160344"/>
                    <a:pt x="123115" y="160282"/>
                  </a:cubicBezTo>
                  <a:cubicBezTo>
                    <a:pt x="124126" y="160160"/>
                    <a:pt x="125076" y="160068"/>
                    <a:pt x="125965" y="159976"/>
                  </a:cubicBezTo>
                  <a:cubicBezTo>
                    <a:pt x="126853" y="159884"/>
                    <a:pt x="127650" y="159792"/>
                    <a:pt x="128416" y="159731"/>
                  </a:cubicBezTo>
                  <a:cubicBezTo>
                    <a:pt x="129151" y="159578"/>
                    <a:pt x="129795" y="159424"/>
                    <a:pt x="130408" y="159271"/>
                  </a:cubicBezTo>
                  <a:cubicBezTo>
                    <a:pt x="131541" y="159026"/>
                    <a:pt x="132430" y="158842"/>
                    <a:pt x="133104" y="158689"/>
                  </a:cubicBezTo>
                  <a:cubicBezTo>
                    <a:pt x="133717" y="158566"/>
                    <a:pt x="134023" y="158505"/>
                    <a:pt x="134054" y="158536"/>
                  </a:cubicBezTo>
                  <a:cubicBezTo>
                    <a:pt x="134054" y="158566"/>
                    <a:pt x="133747" y="158658"/>
                    <a:pt x="133165" y="158812"/>
                  </a:cubicBezTo>
                  <a:cubicBezTo>
                    <a:pt x="132491" y="158995"/>
                    <a:pt x="131603" y="159240"/>
                    <a:pt x="130469" y="159516"/>
                  </a:cubicBezTo>
                  <a:cubicBezTo>
                    <a:pt x="129856" y="159669"/>
                    <a:pt x="129213" y="159853"/>
                    <a:pt x="128477" y="160037"/>
                  </a:cubicBezTo>
                  <a:cubicBezTo>
                    <a:pt x="127711" y="160129"/>
                    <a:pt x="126915" y="160252"/>
                    <a:pt x="126026" y="160374"/>
                  </a:cubicBezTo>
                  <a:cubicBezTo>
                    <a:pt x="125137" y="160497"/>
                    <a:pt x="124187" y="160619"/>
                    <a:pt x="123146" y="160742"/>
                  </a:cubicBezTo>
                  <a:cubicBezTo>
                    <a:pt x="122104" y="160803"/>
                    <a:pt x="121001" y="160773"/>
                    <a:pt x="119836" y="160803"/>
                  </a:cubicBezTo>
                  <a:cubicBezTo>
                    <a:pt x="110491" y="161202"/>
                    <a:pt x="96917" y="156973"/>
                    <a:pt x="83496" y="146984"/>
                  </a:cubicBezTo>
                  <a:cubicBezTo>
                    <a:pt x="76725" y="142082"/>
                    <a:pt x="69923" y="135923"/>
                    <a:pt x="62998" y="128967"/>
                  </a:cubicBezTo>
                  <a:cubicBezTo>
                    <a:pt x="56042" y="122043"/>
                    <a:pt x="48903" y="114321"/>
                    <a:pt x="41978" y="105650"/>
                  </a:cubicBezTo>
                  <a:cubicBezTo>
                    <a:pt x="28006" y="88430"/>
                    <a:pt x="14800" y="67931"/>
                    <a:pt x="306" y="46789"/>
                  </a:cubicBezTo>
                  <a:lnTo>
                    <a:pt x="0" y="46329"/>
                  </a:lnTo>
                  <a:lnTo>
                    <a:pt x="368" y="45931"/>
                  </a:lnTo>
                  <a:cubicBezTo>
                    <a:pt x="1992" y="44245"/>
                    <a:pt x="3738" y="42407"/>
                    <a:pt x="5485" y="40569"/>
                  </a:cubicBezTo>
                  <a:cubicBezTo>
                    <a:pt x="18905" y="26535"/>
                    <a:pt x="31897" y="13022"/>
                    <a:pt x="43847" y="521"/>
                  </a:cubicBezTo>
                  <a:lnTo>
                    <a:pt x="44337" y="0"/>
                  </a:lnTo>
                  <a:lnTo>
                    <a:pt x="44797" y="582"/>
                  </a:lnTo>
                  <a:cubicBezTo>
                    <a:pt x="50925" y="8273"/>
                    <a:pt x="57789" y="14922"/>
                    <a:pt x="64438" y="21112"/>
                  </a:cubicBezTo>
                  <a:cubicBezTo>
                    <a:pt x="71117" y="27301"/>
                    <a:pt x="77828" y="32908"/>
                    <a:pt x="84109" y="38240"/>
                  </a:cubicBezTo>
                  <a:cubicBezTo>
                    <a:pt x="96733" y="48811"/>
                    <a:pt x="107978" y="58126"/>
                    <a:pt x="116834" y="66399"/>
                  </a:cubicBezTo>
                  <a:cubicBezTo>
                    <a:pt x="125719" y="74641"/>
                    <a:pt x="132093" y="81964"/>
                    <a:pt x="135739" y="87510"/>
                  </a:cubicBezTo>
                  <a:cubicBezTo>
                    <a:pt x="136628" y="88889"/>
                    <a:pt x="137394" y="90145"/>
                    <a:pt x="138099" y="91218"/>
                  </a:cubicBezTo>
                  <a:cubicBezTo>
                    <a:pt x="138619" y="92352"/>
                    <a:pt x="139079" y="93332"/>
                    <a:pt x="139447" y="94129"/>
                  </a:cubicBezTo>
                  <a:cubicBezTo>
                    <a:pt x="139784" y="94864"/>
                    <a:pt x="140029" y="95446"/>
                    <a:pt x="140243" y="95906"/>
                  </a:cubicBezTo>
                  <a:cubicBezTo>
                    <a:pt x="140488" y="96304"/>
                    <a:pt x="140580" y="96519"/>
                    <a:pt x="140550" y="96519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5D2F7CA-2B7E-44F4-B419-721701EFE75A}"/>
                </a:ext>
              </a:extLst>
            </p:cNvPr>
            <p:cNvSpPr/>
            <p:nvPr/>
          </p:nvSpPr>
          <p:spPr>
            <a:xfrm>
              <a:off x="6728857" y="4103339"/>
              <a:ext cx="55092" cy="68267"/>
            </a:xfrm>
            <a:custGeom>
              <a:avLst/>
              <a:gdLst>
                <a:gd name="connsiteX0" fmla="*/ 4167 w 55092"/>
                <a:gd name="connsiteY0" fmla="*/ 1256 h 68267"/>
                <a:gd name="connsiteX1" fmla="*/ 0 w 55092"/>
                <a:gd name="connsiteY1" fmla="*/ 0 h 68267"/>
                <a:gd name="connsiteX2" fmla="*/ 25217 w 55092"/>
                <a:gd name="connsiteY2" fmla="*/ 68268 h 68267"/>
                <a:gd name="connsiteX3" fmla="*/ 55092 w 55092"/>
                <a:gd name="connsiteY3" fmla="*/ 68268 h 68267"/>
                <a:gd name="connsiteX4" fmla="*/ 4167 w 55092"/>
                <a:gd name="connsiteY4" fmla="*/ 1256 h 6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92" h="68267">
                  <a:moveTo>
                    <a:pt x="4167" y="1256"/>
                  </a:moveTo>
                  <a:lnTo>
                    <a:pt x="0" y="0"/>
                  </a:lnTo>
                  <a:cubicBezTo>
                    <a:pt x="3616" y="20683"/>
                    <a:pt x="14953" y="49945"/>
                    <a:pt x="25217" y="68268"/>
                  </a:cubicBezTo>
                  <a:lnTo>
                    <a:pt x="55092" y="68268"/>
                  </a:lnTo>
                  <a:cubicBezTo>
                    <a:pt x="43786" y="54112"/>
                    <a:pt x="4167" y="1256"/>
                    <a:pt x="4167" y="1256"/>
                  </a:cubicBezTo>
                  <a:close/>
                </a:path>
              </a:pathLst>
            </a:custGeom>
            <a:solidFill>
              <a:srgbClr val="00000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34E4876-5BF3-42E8-BD1E-E79FCF82CAA8}"/>
                </a:ext>
              </a:extLst>
            </p:cNvPr>
            <p:cNvSpPr/>
            <p:nvPr/>
          </p:nvSpPr>
          <p:spPr>
            <a:xfrm>
              <a:off x="6607887" y="3980041"/>
              <a:ext cx="153235" cy="108162"/>
            </a:xfrm>
            <a:custGeom>
              <a:avLst/>
              <a:gdLst>
                <a:gd name="connsiteX0" fmla="*/ 153235 w 153235"/>
                <a:gd name="connsiteY0" fmla="*/ 72986 h 108162"/>
                <a:gd name="connsiteX1" fmla="*/ 92719 w 153235"/>
                <a:gd name="connsiteY1" fmla="*/ 6894 h 108162"/>
                <a:gd name="connsiteX2" fmla="*/ 56441 w 153235"/>
                <a:gd name="connsiteY2" fmla="*/ 0 h 108162"/>
                <a:gd name="connsiteX3" fmla="*/ 15259 w 153235"/>
                <a:gd name="connsiteY3" fmla="*/ 5209 h 108162"/>
                <a:gd name="connsiteX4" fmla="*/ 20468 w 153235"/>
                <a:gd name="connsiteY4" fmla="*/ 15198 h 108162"/>
                <a:gd name="connsiteX5" fmla="*/ 5240 w 153235"/>
                <a:gd name="connsiteY5" fmla="*/ 16056 h 108162"/>
                <a:gd name="connsiteX6" fmla="*/ 10877 w 153235"/>
                <a:gd name="connsiteY6" fmla="*/ 27362 h 108162"/>
                <a:gd name="connsiteX7" fmla="*/ 0 w 153235"/>
                <a:gd name="connsiteY7" fmla="*/ 29262 h 108162"/>
                <a:gd name="connsiteX8" fmla="*/ 16944 w 153235"/>
                <a:gd name="connsiteY8" fmla="*/ 38209 h 108162"/>
                <a:gd name="connsiteX9" fmla="*/ 49117 w 153235"/>
                <a:gd name="connsiteY9" fmla="*/ 36034 h 108162"/>
                <a:gd name="connsiteX10" fmla="*/ 70413 w 153235"/>
                <a:gd name="connsiteY10" fmla="*/ 47769 h 108162"/>
                <a:gd name="connsiteX11" fmla="*/ 38669 w 153235"/>
                <a:gd name="connsiteY11" fmla="*/ 46452 h 108162"/>
                <a:gd name="connsiteX12" fmla="*/ 15627 w 153235"/>
                <a:gd name="connsiteY12" fmla="*/ 50802 h 108162"/>
                <a:gd name="connsiteX13" fmla="*/ 17802 w 153235"/>
                <a:gd name="connsiteY13" fmla="*/ 58095 h 108162"/>
                <a:gd name="connsiteX14" fmla="*/ 43020 w 153235"/>
                <a:gd name="connsiteY14" fmla="*/ 58095 h 108162"/>
                <a:gd name="connsiteX15" fmla="*/ 71792 w 153235"/>
                <a:gd name="connsiteY15" fmla="*/ 67226 h 108162"/>
                <a:gd name="connsiteX16" fmla="*/ 86928 w 153235"/>
                <a:gd name="connsiteY16" fmla="*/ 87510 h 108162"/>
                <a:gd name="connsiteX17" fmla="*/ 109541 w 153235"/>
                <a:gd name="connsiteY17" fmla="*/ 99920 h 108162"/>
                <a:gd name="connsiteX18" fmla="*/ 118764 w 153235"/>
                <a:gd name="connsiteY18" fmla="*/ 108162 h 108162"/>
                <a:gd name="connsiteX19" fmla="*/ 153235 w 153235"/>
                <a:gd name="connsiteY19" fmla="*/ 72986 h 10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3235" h="108162">
                  <a:moveTo>
                    <a:pt x="153235" y="72986"/>
                  </a:moveTo>
                  <a:lnTo>
                    <a:pt x="92719" y="6894"/>
                  </a:lnTo>
                  <a:lnTo>
                    <a:pt x="56441" y="0"/>
                  </a:lnTo>
                  <a:lnTo>
                    <a:pt x="15259" y="5209"/>
                  </a:lnTo>
                  <a:cubicBezTo>
                    <a:pt x="15259" y="5209"/>
                    <a:pt x="13513" y="11735"/>
                    <a:pt x="20468" y="15198"/>
                  </a:cubicBezTo>
                  <a:lnTo>
                    <a:pt x="5240" y="16056"/>
                  </a:lnTo>
                  <a:cubicBezTo>
                    <a:pt x="5240" y="16056"/>
                    <a:pt x="2206" y="23869"/>
                    <a:pt x="10877" y="27362"/>
                  </a:cubicBezTo>
                  <a:lnTo>
                    <a:pt x="0" y="29262"/>
                  </a:lnTo>
                  <a:cubicBezTo>
                    <a:pt x="0" y="29262"/>
                    <a:pt x="4780" y="40385"/>
                    <a:pt x="16944" y="38209"/>
                  </a:cubicBezTo>
                  <a:cubicBezTo>
                    <a:pt x="29109" y="36034"/>
                    <a:pt x="49117" y="36034"/>
                    <a:pt x="49117" y="36034"/>
                  </a:cubicBezTo>
                  <a:lnTo>
                    <a:pt x="70413" y="47769"/>
                  </a:lnTo>
                  <a:lnTo>
                    <a:pt x="38669" y="46452"/>
                  </a:lnTo>
                  <a:lnTo>
                    <a:pt x="15627" y="50802"/>
                  </a:lnTo>
                  <a:cubicBezTo>
                    <a:pt x="15627" y="50802"/>
                    <a:pt x="12593" y="56686"/>
                    <a:pt x="17802" y="58095"/>
                  </a:cubicBezTo>
                  <a:cubicBezTo>
                    <a:pt x="23011" y="59504"/>
                    <a:pt x="43020" y="58095"/>
                    <a:pt x="43020" y="58095"/>
                  </a:cubicBezTo>
                  <a:lnTo>
                    <a:pt x="71792" y="67226"/>
                  </a:lnTo>
                  <a:cubicBezTo>
                    <a:pt x="71792" y="67226"/>
                    <a:pt x="83037" y="83190"/>
                    <a:pt x="86928" y="87510"/>
                  </a:cubicBezTo>
                  <a:cubicBezTo>
                    <a:pt x="90850" y="91861"/>
                    <a:pt x="109541" y="99920"/>
                    <a:pt x="109541" y="99920"/>
                  </a:cubicBezTo>
                  <a:lnTo>
                    <a:pt x="118764" y="108162"/>
                  </a:lnTo>
                  <a:lnTo>
                    <a:pt x="153235" y="72986"/>
                  </a:ln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7AB8DC39-6C99-43F4-B036-41D0303DBCC2}"/>
                </a:ext>
              </a:extLst>
            </p:cNvPr>
            <p:cNvSpPr/>
            <p:nvPr/>
          </p:nvSpPr>
          <p:spPr>
            <a:xfrm>
              <a:off x="6613157" y="3989570"/>
              <a:ext cx="79085" cy="9459"/>
            </a:xfrm>
            <a:custGeom>
              <a:avLst/>
              <a:gdLst>
                <a:gd name="connsiteX0" fmla="*/ 0 w 79085"/>
                <a:gd name="connsiteY0" fmla="*/ 6588 h 9459"/>
                <a:gd name="connsiteX1" fmla="*/ 11828 w 79085"/>
                <a:gd name="connsiteY1" fmla="*/ 6159 h 9459"/>
                <a:gd name="connsiteX2" fmla="*/ 40170 w 79085"/>
                <a:gd name="connsiteY2" fmla="*/ 3462 h 9459"/>
                <a:gd name="connsiteX3" fmla="*/ 50772 w 79085"/>
                <a:gd name="connsiteY3" fmla="*/ 2267 h 9459"/>
                <a:gd name="connsiteX4" fmla="*/ 50343 w 79085"/>
                <a:gd name="connsiteY4" fmla="*/ 2237 h 9459"/>
                <a:gd name="connsiteX5" fmla="*/ 70842 w 79085"/>
                <a:gd name="connsiteY5" fmla="*/ 7752 h 9459"/>
                <a:gd name="connsiteX6" fmla="*/ 79084 w 79085"/>
                <a:gd name="connsiteY6" fmla="*/ 9407 h 9459"/>
                <a:gd name="connsiteX7" fmla="*/ 71240 w 79085"/>
                <a:gd name="connsiteY7" fmla="*/ 6373 h 9459"/>
                <a:gd name="connsiteX8" fmla="*/ 50987 w 79085"/>
                <a:gd name="connsiteY8" fmla="*/ 61 h 9459"/>
                <a:gd name="connsiteX9" fmla="*/ 50772 w 79085"/>
                <a:gd name="connsiteY9" fmla="*/ 0 h 9459"/>
                <a:gd name="connsiteX10" fmla="*/ 50527 w 79085"/>
                <a:gd name="connsiteY10" fmla="*/ 31 h 9459"/>
                <a:gd name="connsiteX11" fmla="*/ 39895 w 79085"/>
                <a:gd name="connsiteY11" fmla="*/ 1134 h 9459"/>
                <a:gd name="connsiteX12" fmla="*/ 11613 w 79085"/>
                <a:gd name="connsiteY12" fmla="*/ 4535 h 9459"/>
                <a:gd name="connsiteX13" fmla="*/ 0 w 79085"/>
                <a:gd name="connsiteY13" fmla="*/ 6588 h 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085" h="9459">
                  <a:moveTo>
                    <a:pt x="0" y="6588"/>
                  </a:moveTo>
                  <a:cubicBezTo>
                    <a:pt x="31" y="6925"/>
                    <a:pt x="4566" y="6710"/>
                    <a:pt x="11828" y="6159"/>
                  </a:cubicBezTo>
                  <a:cubicBezTo>
                    <a:pt x="19089" y="5577"/>
                    <a:pt x="29140" y="4627"/>
                    <a:pt x="40170" y="3462"/>
                  </a:cubicBezTo>
                  <a:cubicBezTo>
                    <a:pt x="43847" y="3064"/>
                    <a:pt x="47432" y="2666"/>
                    <a:pt x="50772" y="2267"/>
                  </a:cubicBezTo>
                  <a:lnTo>
                    <a:pt x="50343" y="2237"/>
                  </a:lnTo>
                  <a:cubicBezTo>
                    <a:pt x="58586" y="4565"/>
                    <a:pt x="65725" y="6496"/>
                    <a:pt x="70842" y="7752"/>
                  </a:cubicBezTo>
                  <a:cubicBezTo>
                    <a:pt x="75959" y="9039"/>
                    <a:pt x="79023" y="9652"/>
                    <a:pt x="79084" y="9407"/>
                  </a:cubicBezTo>
                  <a:cubicBezTo>
                    <a:pt x="79146" y="9162"/>
                    <a:pt x="76235" y="8028"/>
                    <a:pt x="71240" y="6373"/>
                  </a:cubicBezTo>
                  <a:cubicBezTo>
                    <a:pt x="66246" y="4719"/>
                    <a:pt x="59168" y="2513"/>
                    <a:pt x="50987" y="61"/>
                  </a:cubicBezTo>
                  <a:lnTo>
                    <a:pt x="50772" y="0"/>
                  </a:lnTo>
                  <a:lnTo>
                    <a:pt x="50527" y="31"/>
                  </a:lnTo>
                  <a:cubicBezTo>
                    <a:pt x="47157" y="368"/>
                    <a:pt x="43602" y="735"/>
                    <a:pt x="39895" y="1134"/>
                  </a:cubicBezTo>
                  <a:cubicBezTo>
                    <a:pt x="28833" y="2329"/>
                    <a:pt x="18844" y="3524"/>
                    <a:pt x="11613" y="4535"/>
                  </a:cubicBezTo>
                  <a:cubicBezTo>
                    <a:pt x="4412" y="5485"/>
                    <a:pt x="-31" y="6251"/>
                    <a:pt x="0" y="6588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D05BB0C-5BE7-49E9-AE8A-1C457BE51CAC}"/>
                </a:ext>
              </a:extLst>
            </p:cNvPr>
            <p:cNvSpPr/>
            <p:nvPr/>
          </p:nvSpPr>
          <p:spPr>
            <a:xfrm>
              <a:off x="6610522" y="4000968"/>
              <a:ext cx="70722" cy="11079"/>
            </a:xfrm>
            <a:custGeom>
              <a:avLst/>
              <a:gdLst>
                <a:gd name="connsiteX0" fmla="*/ 0 w 70722"/>
                <a:gd name="connsiteY0" fmla="*/ 7936 h 11079"/>
                <a:gd name="connsiteX1" fmla="*/ 10724 w 70722"/>
                <a:gd name="connsiteY1" fmla="*/ 7201 h 11079"/>
                <a:gd name="connsiteX2" fmla="*/ 36340 w 70722"/>
                <a:gd name="connsiteY2" fmla="*/ 3799 h 11079"/>
                <a:gd name="connsiteX3" fmla="*/ 46268 w 70722"/>
                <a:gd name="connsiteY3" fmla="*/ 2298 h 11079"/>
                <a:gd name="connsiteX4" fmla="*/ 45686 w 70722"/>
                <a:gd name="connsiteY4" fmla="*/ 2237 h 11079"/>
                <a:gd name="connsiteX5" fmla="*/ 70719 w 70722"/>
                <a:gd name="connsiteY5" fmla="*/ 11031 h 11079"/>
                <a:gd name="connsiteX6" fmla="*/ 46544 w 70722"/>
                <a:gd name="connsiteY6" fmla="*/ 123 h 11079"/>
                <a:gd name="connsiteX7" fmla="*/ 46268 w 70722"/>
                <a:gd name="connsiteY7" fmla="*/ 0 h 11079"/>
                <a:gd name="connsiteX8" fmla="*/ 45962 w 70722"/>
                <a:gd name="connsiteY8" fmla="*/ 31 h 11079"/>
                <a:gd name="connsiteX9" fmla="*/ 36003 w 70722"/>
                <a:gd name="connsiteY9" fmla="*/ 1440 h 11079"/>
                <a:gd name="connsiteX10" fmla="*/ 10479 w 70722"/>
                <a:gd name="connsiteY10" fmla="*/ 5515 h 11079"/>
                <a:gd name="connsiteX11" fmla="*/ 0 w 70722"/>
                <a:gd name="connsiteY11" fmla="*/ 7936 h 1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722" h="11079">
                  <a:moveTo>
                    <a:pt x="0" y="7936"/>
                  </a:moveTo>
                  <a:cubicBezTo>
                    <a:pt x="61" y="8242"/>
                    <a:pt x="4137" y="7967"/>
                    <a:pt x="10724" y="7201"/>
                  </a:cubicBezTo>
                  <a:cubicBezTo>
                    <a:pt x="17312" y="6465"/>
                    <a:pt x="26351" y="5270"/>
                    <a:pt x="36340" y="3799"/>
                  </a:cubicBezTo>
                  <a:cubicBezTo>
                    <a:pt x="39803" y="3279"/>
                    <a:pt x="43143" y="2788"/>
                    <a:pt x="46268" y="2298"/>
                  </a:cubicBezTo>
                  <a:lnTo>
                    <a:pt x="45686" y="2237"/>
                  </a:lnTo>
                  <a:cubicBezTo>
                    <a:pt x="59964" y="7813"/>
                    <a:pt x="70505" y="11552"/>
                    <a:pt x="70719" y="11031"/>
                  </a:cubicBezTo>
                  <a:cubicBezTo>
                    <a:pt x="70934" y="10540"/>
                    <a:pt x="60730" y="5975"/>
                    <a:pt x="46544" y="123"/>
                  </a:cubicBezTo>
                  <a:lnTo>
                    <a:pt x="46268" y="0"/>
                  </a:lnTo>
                  <a:lnTo>
                    <a:pt x="45962" y="31"/>
                  </a:lnTo>
                  <a:cubicBezTo>
                    <a:pt x="42806" y="490"/>
                    <a:pt x="39466" y="950"/>
                    <a:pt x="36003" y="1440"/>
                  </a:cubicBezTo>
                  <a:cubicBezTo>
                    <a:pt x="26014" y="2911"/>
                    <a:pt x="17006" y="4351"/>
                    <a:pt x="10479" y="5515"/>
                  </a:cubicBezTo>
                  <a:cubicBezTo>
                    <a:pt x="3983" y="6741"/>
                    <a:pt x="-30" y="7599"/>
                    <a:pt x="0" y="7936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38CB326A-4337-402F-B54D-7CB14DD79C63}"/>
                </a:ext>
              </a:extLst>
            </p:cNvPr>
            <p:cNvSpPr/>
            <p:nvPr/>
          </p:nvSpPr>
          <p:spPr>
            <a:xfrm>
              <a:off x="6456084" y="3982308"/>
              <a:ext cx="218303" cy="142911"/>
            </a:xfrm>
            <a:custGeom>
              <a:avLst/>
              <a:gdLst>
                <a:gd name="connsiteX0" fmla="*/ 437 w 218303"/>
                <a:gd name="connsiteY0" fmla="*/ 16301 h 142911"/>
                <a:gd name="connsiteX1" fmla="*/ 31109 w 218303"/>
                <a:gd name="connsiteY1" fmla="*/ 132185 h 142911"/>
                <a:gd name="connsiteX2" fmla="*/ 45326 w 218303"/>
                <a:gd name="connsiteY2" fmla="*/ 142909 h 142911"/>
                <a:gd name="connsiteX3" fmla="*/ 204168 w 218303"/>
                <a:gd name="connsiteY3" fmla="*/ 139784 h 142911"/>
                <a:gd name="connsiteX4" fmla="*/ 217987 w 218303"/>
                <a:gd name="connsiteY4" fmla="*/ 122410 h 142911"/>
                <a:gd name="connsiteX5" fmla="*/ 194608 w 218303"/>
                <a:gd name="connsiteY5" fmla="*/ 11429 h 142911"/>
                <a:gd name="connsiteX6" fmla="*/ 180514 w 218303"/>
                <a:gd name="connsiteY6" fmla="*/ 0 h 142911"/>
                <a:gd name="connsiteX7" fmla="*/ 13000 w 218303"/>
                <a:gd name="connsiteY7" fmla="*/ 0 h 142911"/>
                <a:gd name="connsiteX8" fmla="*/ 437 w 218303"/>
                <a:gd name="connsiteY8" fmla="*/ 16301 h 14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303" h="142911">
                  <a:moveTo>
                    <a:pt x="437" y="16301"/>
                  </a:moveTo>
                  <a:lnTo>
                    <a:pt x="31109" y="132185"/>
                  </a:lnTo>
                  <a:cubicBezTo>
                    <a:pt x="32794" y="138619"/>
                    <a:pt x="38677" y="143031"/>
                    <a:pt x="45326" y="142909"/>
                  </a:cubicBezTo>
                  <a:lnTo>
                    <a:pt x="204168" y="139784"/>
                  </a:lnTo>
                  <a:cubicBezTo>
                    <a:pt x="213207" y="139600"/>
                    <a:pt x="219856" y="131235"/>
                    <a:pt x="217987" y="122410"/>
                  </a:cubicBezTo>
                  <a:lnTo>
                    <a:pt x="194608" y="11429"/>
                  </a:lnTo>
                  <a:cubicBezTo>
                    <a:pt x="193199" y="4749"/>
                    <a:pt x="187316" y="0"/>
                    <a:pt x="180514" y="0"/>
                  </a:cubicBezTo>
                  <a:lnTo>
                    <a:pt x="13000" y="0"/>
                  </a:lnTo>
                  <a:cubicBezTo>
                    <a:pt x="4482" y="0"/>
                    <a:pt x="-1738" y="8059"/>
                    <a:pt x="437" y="1630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253F451-C221-4CF2-BDBE-7BE2DF505ED4}"/>
                </a:ext>
              </a:extLst>
            </p:cNvPr>
            <p:cNvSpPr/>
            <p:nvPr/>
          </p:nvSpPr>
          <p:spPr>
            <a:xfrm>
              <a:off x="6548392" y="4028014"/>
              <a:ext cx="17046" cy="15831"/>
            </a:xfrm>
            <a:custGeom>
              <a:avLst/>
              <a:gdLst>
                <a:gd name="connsiteX0" fmla="*/ 11940 w 17046"/>
                <a:gd name="connsiteY0" fmla="*/ 991 h 15831"/>
                <a:gd name="connsiteX1" fmla="*/ 16321 w 17046"/>
                <a:gd name="connsiteY1" fmla="*/ 11746 h 15831"/>
                <a:gd name="connsiteX2" fmla="*/ 5107 w 17046"/>
                <a:gd name="connsiteY2" fmla="*/ 14840 h 15831"/>
                <a:gd name="connsiteX3" fmla="*/ 725 w 17046"/>
                <a:gd name="connsiteY3" fmla="*/ 4086 h 15831"/>
                <a:gd name="connsiteX4" fmla="*/ 11940 w 17046"/>
                <a:gd name="connsiteY4" fmla="*/ 991 h 1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46" h="15831">
                  <a:moveTo>
                    <a:pt x="11940" y="991"/>
                  </a:moveTo>
                  <a:cubicBezTo>
                    <a:pt x="16260" y="3105"/>
                    <a:pt x="18221" y="7916"/>
                    <a:pt x="16321" y="11746"/>
                  </a:cubicBezTo>
                  <a:cubicBezTo>
                    <a:pt x="14452" y="15576"/>
                    <a:pt x="9427" y="16955"/>
                    <a:pt x="5107" y="14840"/>
                  </a:cubicBezTo>
                  <a:cubicBezTo>
                    <a:pt x="786" y="12726"/>
                    <a:pt x="-1174" y="7916"/>
                    <a:pt x="725" y="4086"/>
                  </a:cubicBezTo>
                  <a:cubicBezTo>
                    <a:pt x="2625" y="255"/>
                    <a:pt x="7650" y="-1123"/>
                    <a:pt x="11940" y="991"/>
                  </a:cubicBez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B0DFC85-FA4E-4167-A929-182ABABFEB0C}"/>
                </a:ext>
              </a:extLst>
            </p:cNvPr>
            <p:cNvSpPr/>
            <p:nvPr/>
          </p:nvSpPr>
          <p:spPr>
            <a:xfrm>
              <a:off x="6442774" y="4005455"/>
              <a:ext cx="53393" cy="67641"/>
            </a:xfrm>
            <a:custGeom>
              <a:avLst/>
              <a:gdLst>
                <a:gd name="connsiteX0" fmla="*/ 2226 w 53393"/>
                <a:gd name="connsiteY0" fmla="*/ 18524 h 67641"/>
                <a:gd name="connsiteX1" fmla="*/ 2165 w 53393"/>
                <a:gd name="connsiteY1" fmla="*/ 5747 h 67641"/>
                <a:gd name="connsiteX2" fmla="*/ 14268 w 53393"/>
                <a:gd name="connsiteY2" fmla="*/ 17 h 67641"/>
                <a:gd name="connsiteX3" fmla="*/ 27719 w 53393"/>
                <a:gd name="connsiteY3" fmla="*/ 2805 h 67641"/>
                <a:gd name="connsiteX4" fmla="*/ 42978 w 53393"/>
                <a:gd name="connsiteY4" fmla="*/ 10404 h 67641"/>
                <a:gd name="connsiteX5" fmla="*/ 50577 w 53393"/>
                <a:gd name="connsiteY5" fmla="*/ 19290 h 67641"/>
                <a:gd name="connsiteX6" fmla="*/ 43438 w 53393"/>
                <a:gd name="connsiteY6" fmla="*/ 25786 h 67641"/>
                <a:gd name="connsiteX7" fmla="*/ 53274 w 53393"/>
                <a:gd name="connsiteY7" fmla="*/ 37522 h 67641"/>
                <a:gd name="connsiteX8" fmla="*/ 46471 w 53393"/>
                <a:gd name="connsiteY8" fmla="*/ 46683 h 67641"/>
                <a:gd name="connsiteX9" fmla="*/ 50853 w 53393"/>
                <a:gd name="connsiteY9" fmla="*/ 56366 h 67641"/>
                <a:gd name="connsiteX10" fmla="*/ 39976 w 53393"/>
                <a:gd name="connsiteY10" fmla="*/ 59675 h 67641"/>
                <a:gd name="connsiteX11" fmla="*/ 30508 w 53393"/>
                <a:gd name="connsiteY11" fmla="*/ 51708 h 67641"/>
                <a:gd name="connsiteX12" fmla="*/ 33204 w 53393"/>
                <a:gd name="connsiteY12" fmla="*/ 67642 h 67641"/>
                <a:gd name="connsiteX13" fmla="*/ 12828 w 53393"/>
                <a:gd name="connsiteY13" fmla="*/ 42608 h 67641"/>
                <a:gd name="connsiteX14" fmla="*/ 8906 w 53393"/>
                <a:gd name="connsiteY14" fmla="*/ 24898 h 67641"/>
                <a:gd name="connsiteX15" fmla="*/ 20 w 53393"/>
                <a:gd name="connsiteY15" fmla="*/ 12427 h 6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3393" h="67641">
                  <a:moveTo>
                    <a:pt x="2226" y="18524"/>
                  </a:moveTo>
                  <a:cubicBezTo>
                    <a:pt x="-869" y="15123"/>
                    <a:pt x="-593" y="9455"/>
                    <a:pt x="2165" y="5747"/>
                  </a:cubicBezTo>
                  <a:cubicBezTo>
                    <a:pt x="4922" y="2039"/>
                    <a:pt x="9641" y="201"/>
                    <a:pt x="14268" y="17"/>
                  </a:cubicBezTo>
                  <a:cubicBezTo>
                    <a:pt x="18864" y="-167"/>
                    <a:pt x="23430" y="1151"/>
                    <a:pt x="27719" y="2805"/>
                  </a:cubicBezTo>
                  <a:cubicBezTo>
                    <a:pt x="33051" y="4828"/>
                    <a:pt x="38168" y="7402"/>
                    <a:pt x="42978" y="10404"/>
                  </a:cubicBezTo>
                  <a:cubicBezTo>
                    <a:pt x="46380" y="12549"/>
                    <a:pt x="49903" y="15338"/>
                    <a:pt x="50577" y="19290"/>
                  </a:cubicBezTo>
                  <a:cubicBezTo>
                    <a:pt x="51251" y="23243"/>
                    <a:pt x="46931" y="27778"/>
                    <a:pt x="43438" y="25786"/>
                  </a:cubicBezTo>
                  <a:cubicBezTo>
                    <a:pt x="47973" y="27686"/>
                    <a:pt x="52569" y="32496"/>
                    <a:pt x="53274" y="37522"/>
                  </a:cubicBezTo>
                  <a:cubicBezTo>
                    <a:pt x="54009" y="42547"/>
                    <a:pt x="51313" y="45243"/>
                    <a:pt x="46471" y="46683"/>
                  </a:cubicBezTo>
                  <a:cubicBezTo>
                    <a:pt x="50179" y="48123"/>
                    <a:pt x="52538" y="52781"/>
                    <a:pt x="50853" y="56366"/>
                  </a:cubicBezTo>
                  <a:cubicBezTo>
                    <a:pt x="49076" y="60134"/>
                    <a:pt x="43867" y="61176"/>
                    <a:pt x="39976" y="59675"/>
                  </a:cubicBezTo>
                  <a:cubicBezTo>
                    <a:pt x="36084" y="58174"/>
                    <a:pt x="33204" y="54895"/>
                    <a:pt x="30508" y="51708"/>
                  </a:cubicBezTo>
                  <a:cubicBezTo>
                    <a:pt x="33265" y="56458"/>
                    <a:pt x="34246" y="62249"/>
                    <a:pt x="33204" y="67642"/>
                  </a:cubicBezTo>
                  <a:cubicBezTo>
                    <a:pt x="22480" y="63965"/>
                    <a:pt x="14237" y="53853"/>
                    <a:pt x="12828" y="42608"/>
                  </a:cubicBezTo>
                  <a:cubicBezTo>
                    <a:pt x="7558" y="38655"/>
                    <a:pt x="5811" y="30689"/>
                    <a:pt x="8906" y="24898"/>
                  </a:cubicBezTo>
                  <a:cubicBezTo>
                    <a:pt x="4585" y="23549"/>
                    <a:pt x="-317" y="16931"/>
                    <a:pt x="20" y="12427"/>
                  </a:cubicBezTo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C85E586C-722E-4CBB-B516-E4E1F498E97E}"/>
                </a:ext>
              </a:extLst>
            </p:cNvPr>
            <p:cNvSpPr/>
            <p:nvPr/>
          </p:nvSpPr>
          <p:spPr>
            <a:xfrm>
              <a:off x="6455857" y="4040941"/>
              <a:ext cx="33300" cy="11326"/>
            </a:xfrm>
            <a:custGeom>
              <a:avLst/>
              <a:gdLst>
                <a:gd name="connsiteX0" fmla="*/ 33296 w 33300"/>
                <a:gd name="connsiteY0" fmla="*/ 11320 h 11326"/>
                <a:gd name="connsiteX1" fmla="*/ 28639 w 33300"/>
                <a:gd name="connsiteY1" fmla="*/ 7765 h 11326"/>
                <a:gd name="connsiteX2" fmla="*/ 16413 w 33300"/>
                <a:gd name="connsiteY2" fmla="*/ 1515 h 11326"/>
                <a:gd name="connsiteX3" fmla="*/ 8967 w 33300"/>
                <a:gd name="connsiteY3" fmla="*/ 1515 h 11326"/>
                <a:gd name="connsiteX4" fmla="*/ 3544 w 33300"/>
                <a:gd name="connsiteY4" fmla="*/ 4242 h 11326"/>
                <a:gd name="connsiteX5" fmla="*/ 20 w 33300"/>
                <a:gd name="connsiteY5" fmla="*/ 8715 h 11326"/>
                <a:gd name="connsiteX6" fmla="*/ 449 w 33300"/>
                <a:gd name="connsiteY6" fmla="*/ 7183 h 11326"/>
                <a:gd name="connsiteX7" fmla="*/ 3023 w 33300"/>
                <a:gd name="connsiteY7" fmla="*/ 3659 h 11326"/>
                <a:gd name="connsiteX8" fmla="*/ 8722 w 33300"/>
                <a:gd name="connsiteY8" fmla="*/ 534 h 11326"/>
                <a:gd name="connsiteX9" fmla="*/ 16689 w 33300"/>
                <a:gd name="connsiteY9" fmla="*/ 412 h 11326"/>
                <a:gd name="connsiteX10" fmla="*/ 29190 w 33300"/>
                <a:gd name="connsiteY10" fmla="*/ 7183 h 11326"/>
                <a:gd name="connsiteX11" fmla="*/ 33296 w 33300"/>
                <a:gd name="connsiteY11" fmla="*/ 11320 h 1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300" h="11326">
                  <a:moveTo>
                    <a:pt x="33296" y="11320"/>
                  </a:moveTo>
                  <a:cubicBezTo>
                    <a:pt x="33174" y="11442"/>
                    <a:pt x="31488" y="9972"/>
                    <a:pt x="28639" y="7765"/>
                  </a:cubicBezTo>
                  <a:cubicBezTo>
                    <a:pt x="25820" y="5621"/>
                    <a:pt x="21683" y="2648"/>
                    <a:pt x="16413" y="1515"/>
                  </a:cubicBezTo>
                  <a:cubicBezTo>
                    <a:pt x="13809" y="963"/>
                    <a:pt x="11204" y="963"/>
                    <a:pt x="8967" y="1515"/>
                  </a:cubicBezTo>
                  <a:cubicBezTo>
                    <a:pt x="6731" y="2066"/>
                    <a:pt x="4892" y="3108"/>
                    <a:pt x="3544" y="4242"/>
                  </a:cubicBezTo>
                  <a:cubicBezTo>
                    <a:pt x="817" y="6509"/>
                    <a:pt x="204" y="8807"/>
                    <a:pt x="20" y="8715"/>
                  </a:cubicBezTo>
                  <a:cubicBezTo>
                    <a:pt x="-41" y="8685"/>
                    <a:pt x="20" y="8133"/>
                    <a:pt x="449" y="7183"/>
                  </a:cubicBezTo>
                  <a:cubicBezTo>
                    <a:pt x="847" y="6233"/>
                    <a:pt x="1644" y="4916"/>
                    <a:pt x="3023" y="3659"/>
                  </a:cubicBezTo>
                  <a:cubicBezTo>
                    <a:pt x="4402" y="2403"/>
                    <a:pt x="6332" y="1178"/>
                    <a:pt x="8722" y="534"/>
                  </a:cubicBezTo>
                  <a:cubicBezTo>
                    <a:pt x="11112" y="-140"/>
                    <a:pt x="13900" y="-171"/>
                    <a:pt x="16689" y="412"/>
                  </a:cubicBezTo>
                  <a:cubicBezTo>
                    <a:pt x="22296" y="1637"/>
                    <a:pt x="26463" y="4855"/>
                    <a:pt x="29190" y="7183"/>
                  </a:cubicBezTo>
                  <a:cubicBezTo>
                    <a:pt x="31917" y="9543"/>
                    <a:pt x="33388" y="11197"/>
                    <a:pt x="33296" y="11320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0F8708C-81BA-47EC-B116-B822D518357A}"/>
                </a:ext>
              </a:extLst>
            </p:cNvPr>
            <p:cNvSpPr/>
            <p:nvPr/>
          </p:nvSpPr>
          <p:spPr>
            <a:xfrm>
              <a:off x="6451108" y="4023267"/>
              <a:ext cx="36851" cy="8543"/>
            </a:xfrm>
            <a:custGeom>
              <a:avLst/>
              <a:gdLst>
                <a:gd name="connsiteX0" fmla="*/ 36850 w 36851"/>
                <a:gd name="connsiteY0" fmla="*/ 8526 h 8543"/>
                <a:gd name="connsiteX1" fmla="*/ 31212 w 36851"/>
                <a:gd name="connsiteY1" fmla="*/ 6166 h 8543"/>
                <a:gd name="connsiteX2" fmla="*/ 25207 w 36851"/>
                <a:gd name="connsiteY2" fmla="*/ 3531 h 8543"/>
                <a:gd name="connsiteX3" fmla="*/ 17485 w 36851"/>
                <a:gd name="connsiteY3" fmla="*/ 1540 h 8543"/>
                <a:gd name="connsiteX4" fmla="*/ 9641 w 36851"/>
                <a:gd name="connsiteY4" fmla="*/ 1478 h 8543"/>
                <a:gd name="connsiteX5" fmla="*/ 3819 w 36851"/>
                <a:gd name="connsiteY5" fmla="*/ 3991 h 8543"/>
                <a:gd name="connsiteX6" fmla="*/ 20 w 36851"/>
                <a:gd name="connsiteY6" fmla="*/ 8526 h 8543"/>
                <a:gd name="connsiteX7" fmla="*/ 479 w 36851"/>
                <a:gd name="connsiteY7" fmla="*/ 6933 h 8543"/>
                <a:gd name="connsiteX8" fmla="*/ 3298 w 36851"/>
                <a:gd name="connsiteY8" fmla="*/ 3347 h 8543"/>
                <a:gd name="connsiteX9" fmla="*/ 9396 w 36851"/>
                <a:gd name="connsiteY9" fmla="*/ 406 h 8543"/>
                <a:gd name="connsiteX10" fmla="*/ 17638 w 36851"/>
                <a:gd name="connsiteY10" fmla="*/ 375 h 8543"/>
                <a:gd name="connsiteX11" fmla="*/ 25544 w 36851"/>
                <a:gd name="connsiteY11" fmla="*/ 2520 h 8543"/>
                <a:gd name="connsiteX12" fmla="*/ 31549 w 36851"/>
                <a:gd name="connsiteY12" fmla="*/ 5431 h 8543"/>
                <a:gd name="connsiteX13" fmla="*/ 36850 w 36851"/>
                <a:gd name="connsiteY13" fmla="*/ 8526 h 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851" h="8543">
                  <a:moveTo>
                    <a:pt x="36850" y="8526"/>
                  </a:moveTo>
                  <a:cubicBezTo>
                    <a:pt x="36789" y="8679"/>
                    <a:pt x="34583" y="7821"/>
                    <a:pt x="31212" y="6166"/>
                  </a:cubicBezTo>
                  <a:cubicBezTo>
                    <a:pt x="29527" y="5370"/>
                    <a:pt x="27505" y="4389"/>
                    <a:pt x="25207" y="3531"/>
                  </a:cubicBezTo>
                  <a:cubicBezTo>
                    <a:pt x="22909" y="2735"/>
                    <a:pt x="20243" y="2030"/>
                    <a:pt x="17485" y="1540"/>
                  </a:cubicBezTo>
                  <a:cubicBezTo>
                    <a:pt x="14697" y="1080"/>
                    <a:pt x="12000" y="988"/>
                    <a:pt x="9641" y="1478"/>
                  </a:cubicBezTo>
                  <a:cubicBezTo>
                    <a:pt x="7282" y="1938"/>
                    <a:pt x="5290" y="2919"/>
                    <a:pt x="3819" y="3991"/>
                  </a:cubicBezTo>
                  <a:cubicBezTo>
                    <a:pt x="847" y="6197"/>
                    <a:pt x="234" y="8618"/>
                    <a:pt x="20" y="8526"/>
                  </a:cubicBezTo>
                  <a:cubicBezTo>
                    <a:pt x="-41" y="8495"/>
                    <a:pt x="20" y="7913"/>
                    <a:pt x="479" y="6933"/>
                  </a:cubicBezTo>
                  <a:cubicBezTo>
                    <a:pt x="908" y="5952"/>
                    <a:pt x="1797" y="4604"/>
                    <a:pt x="3298" y="3347"/>
                  </a:cubicBezTo>
                  <a:cubicBezTo>
                    <a:pt x="4769" y="2091"/>
                    <a:pt x="6883" y="958"/>
                    <a:pt x="9396" y="406"/>
                  </a:cubicBezTo>
                  <a:cubicBezTo>
                    <a:pt x="11909" y="-146"/>
                    <a:pt x="14758" y="-115"/>
                    <a:pt x="17638" y="375"/>
                  </a:cubicBezTo>
                  <a:cubicBezTo>
                    <a:pt x="20519" y="896"/>
                    <a:pt x="23154" y="1632"/>
                    <a:pt x="25544" y="2520"/>
                  </a:cubicBezTo>
                  <a:cubicBezTo>
                    <a:pt x="27903" y="3439"/>
                    <a:pt x="29895" y="4512"/>
                    <a:pt x="31549" y="5431"/>
                  </a:cubicBezTo>
                  <a:cubicBezTo>
                    <a:pt x="34889" y="7300"/>
                    <a:pt x="36912" y="8373"/>
                    <a:pt x="36850" y="8526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E0C9156-27A0-414E-94D8-62EC2C2B4E99}"/>
                </a:ext>
              </a:extLst>
            </p:cNvPr>
            <p:cNvSpPr/>
            <p:nvPr/>
          </p:nvSpPr>
          <p:spPr>
            <a:xfrm>
              <a:off x="6211537" y="3721912"/>
              <a:ext cx="208981" cy="180464"/>
            </a:xfrm>
            <a:custGeom>
              <a:avLst/>
              <a:gdLst>
                <a:gd name="connsiteX0" fmla="*/ 208981 w 208981"/>
                <a:gd name="connsiteY0" fmla="*/ 49373 h 180464"/>
                <a:gd name="connsiteX1" fmla="*/ 170220 w 208981"/>
                <a:gd name="connsiteY1" fmla="*/ 48484 h 180464"/>
                <a:gd name="connsiteX2" fmla="*/ 136515 w 208981"/>
                <a:gd name="connsiteY2" fmla="*/ 12788 h 180464"/>
                <a:gd name="connsiteX3" fmla="*/ 12788 w 208981"/>
                <a:gd name="connsiteY3" fmla="*/ 43949 h 180464"/>
                <a:gd name="connsiteX4" fmla="*/ 43949 w 208981"/>
                <a:gd name="connsiteY4" fmla="*/ 167677 h 180464"/>
                <a:gd name="connsiteX5" fmla="*/ 167677 w 208981"/>
                <a:gd name="connsiteY5" fmla="*/ 136515 h 180464"/>
                <a:gd name="connsiteX6" fmla="*/ 179780 w 208981"/>
                <a:gd name="connsiteY6" fmla="*/ 79431 h 180464"/>
                <a:gd name="connsiteX7" fmla="*/ 179811 w 208981"/>
                <a:gd name="connsiteY7" fmla="*/ 79493 h 180464"/>
                <a:gd name="connsiteX8" fmla="*/ 208981 w 208981"/>
                <a:gd name="connsiteY8" fmla="*/ 49373 h 18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981" h="180464">
                  <a:moveTo>
                    <a:pt x="208981" y="49373"/>
                  </a:moveTo>
                  <a:lnTo>
                    <a:pt x="170220" y="48484"/>
                  </a:lnTo>
                  <a:cubicBezTo>
                    <a:pt x="162775" y="34175"/>
                    <a:pt x="151376" y="21673"/>
                    <a:pt x="136515" y="12788"/>
                  </a:cubicBezTo>
                  <a:cubicBezTo>
                    <a:pt x="93741" y="-12767"/>
                    <a:pt x="38342" y="1175"/>
                    <a:pt x="12788" y="43949"/>
                  </a:cubicBezTo>
                  <a:cubicBezTo>
                    <a:pt x="-12767" y="86724"/>
                    <a:pt x="1175" y="142123"/>
                    <a:pt x="43949" y="167677"/>
                  </a:cubicBezTo>
                  <a:cubicBezTo>
                    <a:pt x="86724" y="193231"/>
                    <a:pt x="142123" y="179290"/>
                    <a:pt x="167677" y="136515"/>
                  </a:cubicBezTo>
                  <a:cubicBezTo>
                    <a:pt x="178340" y="118652"/>
                    <a:pt x="182109" y="98582"/>
                    <a:pt x="179780" y="79431"/>
                  </a:cubicBezTo>
                  <a:lnTo>
                    <a:pt x="179811" y="79493"/>
                  </a:lnTo>
                  <a:lnTo>
                    <a:pt x="208981" y="49373"/>
                  </a:lnTo>
                  <a:close/>
                </a:path>
              </a:pathLst>
            </a:custGeom>
            <a:solidFill>
              <a:srgbClr val="FAFAFA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20ACF2E-37E5-4553-A814-858E07ACB785}"/>
                </a:ext>
              </a:extLst>
            </p:cNvPr>
            <p:cNvSpPr/>
            <p:nvPr/>
          </p:nvSpPr>
          <p:spPr>
            <a:xfrm>
              <a:off x="6211057" y="3721438"/>
              <a:ext cx="209461" cy="181377"/>
            </a:xfrm>
            <a:custGeom>
              <a:avLst/>
              <a:gdLst>
                <a:gd name="connsiteX0" fmla="*/ 209461 w 209461"/>
                <a:gd name="connsiteY0" fmla="*/ 49847 h 181377"/>
                <a:gd name="connsiteX1" fmla="*/ 180475 w 209461"/>
                <a:gd name="connsiteY1" fmla="*/ 80151 h 181377"/>
                <a:gd name="connsiteX2" fmla="*/ 180169 w 209461"/>
                <a:gd name="connsiteY2" fmla="*/ 80457 h 181377"/>
                <a:gd name="connsiteX3" fmla="*/ 180015 w 209461"/>
                <a:gd name="connsiteY3" fmla="*/ 80059 h 181377"/>
                <a:gd name="connsiteX4" fmla="*/ 179985 w 209461"/>
                <a:gd name="connsiteY4" fmla="*/ 79998 h 181377"/>
                <a:gd name="connsiteX5" fmla="*/ 180506 w 209461"/>
                <a:gd name="connsiteY5" fmla="*/ 79875 h 181377"/>
                <a:gd name="connsiteX6" fmla="*/ 180597 w 209461"/>
                <a:gd name="connsiteY6" fmla="*/ 101538 h 181377"/>
                <a:gd name="connsiteX7" fmla="*/ 173979 w 209461"/>
                <a:gd name="connsiteY7" fmla="*/ 126418 h 181377"/>
                <a:gd name="connsiteX8" fmla="*/ 167269 w 209461"/>
                <a:gd name="connsiteY8" fmla="*/ 139043 h 181377"/>
                <a:gd name="connsiteX9" fmla="*/ 163071 w 209461"/>
                <a:gd name="connsiteY9" fmla="*/ 145263 h 181377"/>
                <a:gd name="connsiteX10" fmla="*/ 158168 w 209461"/>
                <a:gd name="connsiteY10" fmla="*/ 151207 h 181377"/>
                <a:gd name="connsiteX11" fmla="*/ 132307 w 209461"/>
                <a:gd name="connsiteY11" fmla="*/ 171185 h 181377"/>
                <a:gd name="connsiteX12" fmla="*/ 98143 w 209461"/>
                <a:gd name="connsiteY12" fmla="*/ 181051 h 181377"/>
                <a:gd name="connsiteX13" fmla="*/ 60393 w 209461"/>
                <a:gd name="connsiteY13" fmla="*/ 176241 h 181377"/>
                <a:gd name="connsiteX14" fmla="*/ 26474 w 209461"/>
                <a:gd name="connsiteY14" fmla="*/ 154731 h 181377"/>
                <a:gd name="connsiteX15" fmla="*/ 4535 w 209461"/>
                <a:gd name="connsiteY15" fmla="*/ 119065 h 181377"/>
                <a:gd name="connsiteX16" fmla="*/ 2942 w 209461"/>
                <a:gd name="connsiteY16" fmla="*/ 113825 h 181377"/>
                <a:gd name="connsiteX17" fmla="*/ 1777 w 209461"/>
                <a:gd name="connsiteY17" fmla="*/ 108494 h 181377"/>
                <a:gd name="connsiteX18" fmla="*/ 827 w 209461"/>
                <a:gd name="connsiteY18" fmla="*/ 103162 h 181377"/>
                <a:gd name="connsiteX19" fmla="*/ 276 w 209461"/>
                <a:gd name="connsiteY19" fmla="*/ 97769 h 181377"/>
                <a:gd name="connsiteX20" fmla="*/ 31 w 209461"/>
                <a:gd name="connsiteY20" fmla="*/ 92407 h 181377"/>
                <a:gd name="connsiteX21" fmla="*/ 0 w 209461"/>
                <a:gd name="connsiteY21" fmla="*/ 87045 h 181377"/>
                <a:gd name="connsiteX22" fmla="*/ 460 w 209461"/>
                <a:gd name="connsiteY22" fmla="*/ 81744 h 181377"/>
                <a:gd name="connsiteX23" fmla="*/ 1103 w 209461"/>
                <a:gd name="connsiteY23" fmla="*/ 76474 h 181377"/>
                <a:gd name="connsiteX24" fmla="*/ 16515 w 209461"/>
                <a:gd name="connsiteY24" fmla="*/ 38541 h 181377"/>
                <a:gd name="connsiteX25" fmla="*/ 44981 w 209461"/>
                <a:gd name="connsiteY25" fmla="*/ 12281 h 181377"/>
                <a:gd name="connsiteX26" fmla="*/ 79207 w 209461"/>
                <a:gd name="connsiteY26" fmla="*/ 730 h 181377"/>
                <a:gd name="connsiteX27" fmla="*/ 112238 w 209461"/>
                <a:gd name="connsiteY27" fmla="*/ 2538 h 181377"/>
                <a:gd name="connsiteX28" fmla="*/ 139447 w 209461"/>
                <a:gd name="connsiteY28" fmla="*/ 14242 h 181377"/>
                <a:gd name="connsiteX29" fmla="*/ 158934 w 209461"/>
                <a:gd name="connsiteY29" fmla="*/ 31034 h 181377"/>
                <a:gd name="connsiteX30" fmla="*/ 170976 w 209461"/>
                <a:gd name="connsiteY30" fmla="*/ 48775 h 181377"/>
                <a:gd name="connsiteX31" fmla="*/ 170731 w 209461"/>
                <a:gd name="connsiteY31" fmla="*/ 48621 h 181377"/>
                <a:gd name="connsiteX32" fmla="*/ 209461 w 209461"/>
                <a:gd name="connsiteY32" fmla="*/ 49847 h 181377"/>
                <a:gd name="connsiteX33" fmla="*/ 170670 w 209461"/>
                <a:gd name="connsiteY33" fmla="*/ 49234 h 181377"/>
                <a:gd name="connsiteX34" fmla="*/ 170517 w 209461"/>
                <a:gd name="connsiteY34" fmla="*/ 49234 h 181377"/>
                <a:gd name="connsiteX35" fmla="*/ 170455 w 209461"/>
                <a:gd name="connsiteY35" fmla="*/ 49081 h 181377"/>
                <a:gd name="connsiteX36" fmla="*/ 158413 w 209461"/>
                <a:gd name="connsiteY36" fmla="*/ 31524 h 181377"/>
                <a:gd name="connsiteX37" fmla="*/ 139018 w 209461"/>
                <a:gd name="connsiteY37" fmla="*/ 14947 h 181377"/>
                <a:gd name="connsiteX38" fmla="*/ 112023 w 209461"/>
                <a:gd name="connsiteY38" fmla="*/ 3457 h 181377"/>
                <a:gd name="connsiteX39" fmla="*/ 79329 w 209461"/>
                <a:gd name="connsiteY39" fmla="*/ 1741 h 181377"/>
                <a:gd name="connsiteX40" fmla="*/ 45502 w 209461"/>
                <a:gd name="connsiteY40" fmla="*/ 13201 h 181377"/>
                <a:gd name="connsiteX41" fmla="*/ 17404 w 209461"/>
                <a:gd name="connsiteY41" fmla="*/ 39184 h 181377"/>
                <a:gd name="connsiteX42" fmla="*/ 2206 w 209461"/>
                <a:gd name="connsiteY42" fmla="*/ 76658 h 181377"/>
                <a:gd name="connsiteX43" fmla="*/ 1593 w 209461"/>
                <a:gd name="connsiteY43" fmla="*/ 81867 h 181377"/>
                <a:gd name="connsiteX44" fmla="*/ 1134 w 209461"/>
                <a:gd name="connsiteY44" fmla="*/ 87106 h 181377"/>
                <a:gd name="connsiteX45" fmla="*/ 1164 w 209461"/>
                <a:gd name="connsiteY45" fmla="*/ 92407 h 181377"/>
                <a:gd name="connsiteX46" fmla="*/ 1410 w 209461"/>
                <a:gd name="connsiteY46" fmla="*/ 97708 h 181377"/>
                <a:gd name="connsiteX47" fmla="*/ 1961 w 209461"/>
                <a:gd name="connsiteY47" fmla="*/ 103009 h 181377"/>
                <a:gd name="connsiteX48" fmla="*/ 2911 w 209461"/>
                <a:gd name="connsiteY48" fmla="*/ 108279 h 181377"/>
                <a:gd name="connsiteX49" fmla="*/ 4075 w 209461"/>
                <a:gd name="connsiteY49" fmla="*/ 113549 h 181377"/>
                <a:gd name="connsiteX50" fmla="*/ 5638 w 209461"/>
                <a:gd name="connsiteY50" fmla="*/ 118728 h 181377"/>
                <a:gd name="connsiteX51" fmla="*/ 27301 w 209461"/>
                <a:gd name="connsiteY51" fmla="*/ 153934 h 181377"/>
                <a:gd name="connsiteX52" fmla="*/ 60792 w 209461"/>
                <a:gd name="connsiteY52" fmla="*/ 175229 h 181377"/>
                <a:gd name="connsiteX53" fmla="*/ 98112 w 209461"/>
                <a:gd name="connsiteY53" fmla="*/ 180009 h 181377"/>
                <a:gd name="connsiteX54" fmla="*/ 131909 w 209461"/>
                <a:gd name="connsiteY54" fmla="*/ 170327 h 181377"/>
                <a:gd name="connsiteX55" fmla="*/ 157556 w 209461"/>
                <a:gd name="connsiteY55" fmla="*/ 150625 h 181377"/>
                <a:gd name="connsiteX56" fmla="*/ 162427 w 209461"/>
                <a:gd name="connsiteY56" fmla="*/ 144742 h 181377"/>
                <a:gd name="connsiteX57" fmla="*/ 166595 w 209461"/>
                <a:gd name="connsiteY57" fmla="*/ 138583 h 181377"/>
                <a:gd name="connsiteX58" fmla="*/ 173305 w 209461"/>
                <a:gd name="connsiteY58" fmla="*/ 126081 h 181377"/>
                <a:gd name="connsiteX59" fmla="*/ 179985 w 209461"/>
                <a:gd name="connsiteY59" fmla="*/ 101446 h 181377"/>
                <a:gd name="connsiteX60" fmla="*/ 180015 w 209461"/>
                <a:gd name="connsiteY60" fmla="*/ 79906 h 181377"/>
                <a:gd name="connsiteX61" fmla="*/ 179770 w 209461"/>
                <a:gd name="connsiteY61" fmla="*/ 77791 h 181377"/>
                <a:gd name="connsiteX62" fmla="*/ 180536 w 209461"/>
                <a:gd name="connsiteY62" fmla="*/ 79753 h 181377"/>
                <a:gd name="connsiteX63" fmla="*/ 180567 w 209461"/>
                <a:gd name="connsiteY63" fmla="*/ 79814 h 181377"/>
                <a:gd name="connsiteX64" fmla="*/ 180107 w 209461"/>
                <a:gd name="connsiteY64" fmla="*/ 79722 h 181377"/>
                <a:gd name="connsiteX65" fmla="*/ 209461 w 209461"/>
                <a:gd name="connsiteY65" fmla="*/ 49847 h 18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09461" h="181377">
                  <a:moveTo>
                    <a:pt x="209461" y="49847"/>
                  </a:moveTo>
                  <a:cubicBezTo>
                    <a:pt x="208082" y="51287"/>
                    <a:pt x="198921" y="60847"/>
                    <a:pt x="180475" y="80151"/>
                  </a:cubicBezTo>
                  <a:lnTo>
                    <a:pt x="180169" y="80457"/>
                  </a:lnTo>
                  <a:lnTo>
                    <a:pt x="180015" y="80059"/>
                  </a:lnTo>
                  <a:lnTo>
                    <a:pt x="179985" y="79998"/>
                  </a:lnTo>
                  <a:lnTo>
                    <a:pt x="180506" y="79875"/>
                  </a:lnTo>
                  <a:cubicBezTo>
                    <a:pt x="181302" y="86340"/>
                    <a:pt x="181486" y="93633"/>
                    <a:pt x="180597" y="101538"/>
                  </a:cubicBezTo>
                  <a:cubicBezTo>
                    <a:pt x="179648" y="109413"/>
                    <a:pt x="177625" y="117900"/>
                    <a:pt x="173979" y="126418"/>
                  </a:cubicBezTo>
                  <a:cubicBezTo>
                    <a:pt x="172141" y="130647"/>
                    <a:pt x="169996" y="134967"/>
                    <a:pt x="167269" y="139043"/>
                  </a:cubicBezTo>
                  <a:cubicBezTo>
                    <a:pt x="165890" y="141095"/>
                    <a:pt x="164542" y="143210"/>
                    <a:pt x="163071" y="145263"/>
                  </a:cubicBezTo>
                  <a:cubicBezTo>
                    <a:pt x="161447" y="147224"/>
                    <a:pt x="159823" y="149215"/>
                    <a:pt x="158168" y="151207"/>
                  </a:cubicBezTo>
                  <a:cubicBezTo>
                    <a:pt x="151182" y="158959"/>
                    <a:pt x="142511" y="165915"/>
                    <a:pt x="132307" y="171185"/>
                  </a:cubicBezTo>
                  <a:cubicBezTo>
                    <a:pt x="122135" y="176455"/>
                    <a:pt x="110491" y="180009"/>
                    <a:pt x="98143" y="181051"/>
                  </a:cubicBezTo>
                  <a:cubicBezTo>
                    <a:pt x="85825" y="182093"/>
                    <a:pt x="72803" y="180683"/>
                    <a:pt x="60393" y="176241"/>
                  </a:cubicBezTo>
                  <a:cubicBezTo>
                    <a:pt x="48014" y="171798"/>
                    <a:pt x="36248" y="164505"/>
                    <a:pt x="26474" y="154731"/>
                  </a:cubicBezTo>
                  <a:cubicBezTo>
                    <a:pt x="16761" y="144956"/>
                    <a:pt x="8855" y="132792"/>
                    <a:pt x="4535" y="119065"/>
                  </a:cubicBezTo>
                  <a:lnTo>
                    <a:pt x="2942" y="113825"/>
                  </a:lnTo>
                  <a:cubicBezTo>
                    <a:pt x="2390" y="112079"/>
                    <a:pt x="2176" y="110271"/>
                    <a:pt x="1777" y="108494"/>
                  </a:cubicBezTo>
                  <a:cubicBezTo>
                    <a:pt x="1471" y="106716"/>
                    <a:pt x="950" y="104970"/>
                    <a:pt x="827" y="103162"/>
                  </a:cubicBezTo>
                  <a:lnTo>
                    <a:pt x="276" y="97769"/>
                  </a:lnTo>
                  <a:cubicBezTo>
                    <a:pt x="31" y="95992"/>
                    <a:pt x="31" y="94184"/>
                    <a:pt x="31" y="92407"/>
                  </a:cubicBezTo>
                  <a:cubicBezTo>
                    <a:pt x="31" y="90630"/>
                    <a:pt x="0" y="88822"/>
                    <a:pt x="0" y="87045"/>
                  </a:cubicBezTo>
                  <a:cubicBezTo>
                    <a:pt x="153" y="85268"/>
                    <a:pt x="306" y="83491"/>
                    <a:pt x="460" y="81744"/>
                  </a:cubicBezTo>
                  <a:cubicBezTo>
                    <a:pt x="644" y="79998"/>
                    <a:pt x="674" y="78221"/>
                    <a:pt x="1103" y="76474"/>
                  </a:cubicBezTo>
                  <a:cubicBezTo>
                    <a:pt x="3371" y="62563"/>
                    <a:pt x="8825" y="49541"/>
                    <a:pt x="16515" y="38541"/>
                  </a:cubicBezTo>
                  <a:cubicBezTo>
                    <a:pt x="24206" y="27571"/>
                    <a:pt x="34042" y="18532"/>
                    <a:pt x="44981" y="12281"/>
                  </a:cubicBezTo>
                  <a:cubicBezTo>
                    <a:pt x="55889" y="5969"/>
                    <a:pt x="67686" y="2201"/>
                    <a:pt x="79207" y="730"/>
                  </a:cubicBezTo>
                  <a:cubicBezTo>
                    <a:pt x="90728" y="-741"/>
                    <a:pt x="102004" y="86"/>
                    <a:pt x="112238" y="2538"/>
                  </a:cubicBezTo>
                  <a:cubicBezTo>
                    <a:pt x="122502" y="5050"/>
                    <a:pt x="131511" y="9462"/>
                    <a:pt x="139447" y="14242"/>
                  </a:cubicBezTo>
                  <a:cubicBezTo>
                    <a:pt x="147291" y="19237"/>
                    <a:pt x="153756" y="25089"/>
                    <a:pt x="158934" y="31034"/>
                  </a:cubicBezTo>
                  <a:cubicBezTo>
                    <a:pt x="164113" y="37009"/>
                    <a:pt x="168004" y="43106"/>
                    <a:pt x="170976" y="48775"/>
                  </a:cubicBezTo>
                  <a:lnTo>
                    <a:pt x="170731" y="48621"/>
                  </a:lnTo>
                  <a:cubicBezTo>
                    <a:pt x="195458" y="49449"/>
                    <a:pt x="207561" y="49786"/>
                    <a:pt x="209461" y="49847"/>
                  </a:cubicBezTo>
                  <a:cubicBezTo>
                    <a:pt x="207561" y="49816"/>
                    <a:pt x="195458" y="49633"/>
                    <a:pt x="170670" y="49234"/>
                  </a:cubicBezTo>
                  <a:lnTo>
                    <a:pt x="170517" y="49234"/>
                  </a:lnTo>
                  <a:lnTo>
                    <a:pt x="170455" y="49081"/>
                  </a:lnTo>
                  <a:cubicBezTo>
                    <a:pt x="167483" y="43474"/>
                    <a:pt x="163592" y="37438"/>
                    <a:pt x="158413" y="31524"/>
                  </a:cubicBezTo>
                  <a:cubicBezTo>
                    <a:pt x="153235" y="25641"/>
                    <a:pt x="146801" y="19850"/>
                    <a:pt x="139018" y="14947"/>
                  </a:cubicBezTo>
                  <a:cubicBezTo>
                    <a:pt x="131143" y="10228"/>
                    <a:pt x="122165" y="5908"/>
                    <a:pt x="112023" y="3457"/>
                  </a:cubicBezTo>
                  <a:cubicBezTo>
                    <a:pt x="101881" y="1036"/>
                    <a:pt x="90758" y="270"/>
                    <a:pt x="79329" y="1741"/>
                  </a:cubicBezTo>
                  <a:cubicBezTo>
                    <a:pt x="67931" y="3212"/>
                    <a:pt x="56287" y="6950"/>
                    <a:pt x="45502" y="13201"/>
                  </a:cubicBezTo>
                  <a:cubicBezTo>
                    <a:pt x="34716" y="19390"/>
                    <a:pt x="24972" y="28307"/>
                    <a:pt x="17404" y="39184"/>
                  </a:cubicBezTo>
                  <a:cubicBezTo>
                    <a:pt x="9805" y="50031"/>
                    <a:pt x="4412" y="62900"/>
                    <a:pt x="2206" y="76658"/>
                  </a:cubicBezTo>
                  <a:cubicBezTo>
                    <a:pt x="1808" y="78343"/>
                    <a:pt x="1777" y="80120"/>
                    <a:pt x="1593" y="81867"/>
                  </a:cubicBezTo>
                  <a:cubicBezTo>
                    <a:pt x="1440" y="83613"/>
                    <a:pt x="1287" y="85360"/>
                    <a:pt x="1134" y="87106"/>
                  </a:cubicBezTo>
                  <a:cubicBezTo>
                    <a:pt x="1134" y="88853"/>
                    <a:pt x="1164" y="90630"/>
                    <a:pt x="1164" y="92407"/>
                  </a:cubicBezTo>
                  <a:cubicBezTo>
                    <a:pt x="1164" y="94184"/>
                    <a:pt x="1164" y="95961"/>
                    <a:pt x="1410" y="97708"/>
                  </a:cubicBezTo>
                  <a:lnTo>
                    <a:pt x="1961" y="103009"/>
                  </a:lnTo>
                  <a:cubicBezTo>
                    <a:pt x="2084" y="104786"/>
                    <a:pt x="2604" y="106533"/>
                    <a:pt x="2911" y="108279"/>
                  </a:cubicBezTo>
                  <a:cubicBezTo>
                    <a:pt x="3309" y="110026"/>
                    <a:pt x="3524" y="111833"/>
                    <a:pt x="4075" y="113549"/>
                  </a:cubicBezTo>
                  <a:lnTo>
                    <a:pt x="5638" y="118728"/>
                  </a:lnTo>
                  <a:cubicBezTo>
                    <a:pt x="9897" y="132271"/>
                    <a:pt x="17710" y="144282"/>
                    <a:pt x="27301" y="153934"/>
                  </a:cubicBezTo>
                  <a:cubicBezTo>
                    <a:pt x="36922" y="163617"/>
                    <a:pt x="48566" y="170817"/>
                    <a:pt x="60792" y="175229"/>
                  </a:cubicBezTo>
                  <a:cubicBezTo>
                    <a:pt x="73048" y="179611"/>
                    <a:pt x="85917" y="181021"/>
                    <a:pt x="98112" y="180009"/>
                  </a:cubicBezTo>
                  <a:cubicBezTo>
                    <a:pt x="110307" y="178998"/>
                    <a:pt x="121859" y="175505"/>
                    <a:pt x="131909" y="170327"/>
                  </a:cubicBezTo>
                  <a:cubicBezTo>
                    <a:pt x="141990" y="165149"/>
                    <a:pt x="150631" y="158254"/>
                    <a:pt x="157556" y="150625"/>
                  </a:cubicBezTo>
                  <a:cubicBezTo>
                    <a:pt x="159210" y="148633"/>
                    <a:pt x="160834" y="146672"/>
                    <a:pt x="162427" y="144742"/>
                  </a:cubicBezTo>
                  <a:cubicBezTo>
                    <a:pt x="163898" y="142719"/>
                    <a:pt x="165216" y="140605"/>
                    <a:pt x="166595" y="138583"/>
                  </a:cubicBezTo>
                  <a:cubicBezTo>
                    <a:pt x="169322" y="134538"/>
                    <a:pt x="171436" y="130279"/>
                    <a:pt x="173305" y="126081"/>
                  </a:cubicBezTo>
                  <a:cubicBezTo>
                    <a:pt x="176951" y="117655"/>
                    <a:pt x="179004" y="109260"/>
                    <a:pt x="179985" y="101446"/>
                  </a:cubicBezTo>
                  <a:cubicBezTo>
                    <a:pt x="180935" y="93602"/>
                    <a:pt x="180751" y="86340"/>
                    <a:pt x="180015" y="79906"/>
                  </a:cubicBezTo>
                  <a:lnTo>
                    <a:pt x="179770" y="77791"/>
                  </a:lnTo>
                  <a:lnTo>
                    <a:pt x="180536" y="79753"/>
                  </a:lnTo>
                  <a:lnTo>
                    <a:pt x="180567" y="79814"/>
                  </a:lnTo>
                  <a:lnTo>
                    <a:pt x="180107" y="79722"/>
                  </a:lnTo>
                  <a:cubicBezTo>
                    <a:pt x="198768" y="60725"/>
                    <a:pt x="208052" y="51287"/>
                    <a:pt x="209461" y="4984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0450042-D8E1-46FF-B5A4-53EEBDC2B2C6}"/>
                </a:ext>
              </a:extLst>
            </p:cNvPr>
            <p:cNvSpPr/>
            <p:nvPr/>
          </p:nvSpPr>
          <p:spPr>
            <a:xfrm>
              <a:off x="6256681" y="3800700"/>
              <a:ext cx="18323" cy="18323"/>
            </a:xfrm>
            <a:custGeom>
              <a:avLst/>
              <a:gdLst>
                <a:gd name="connsiteX0" fmla="*/ 18323 w 18323"/>
                <a:gd name="connsiteY0" fmla="*/ 9162 h 18323"/>
                <a:gd name="connsiteX1" fmla="*/ 9162 w 18323"/>
                <a:gd name="connsiteY1" fmla="*/ 18323 h 18323"/>
                <a:gd name="connsiteX2" fmla="*/ 0 w 18323"/>
                <a:gd name="connsiteY2" fmla="*/ 9162 h 18323"/>
                <a:gd name="connsiteX3" fmla="*/ 9162 w 18323"/>
                <a:gd name="connsiteY3" fmla="*/ 0 h 18323"/>
                <a:gd name="connsiteX4" fmla="*/ 18323 w 18323"/>
                <a:gd name="connsiteY4" fmla="*/ 9162 h 1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23" h="18323">
                  <a:moveTo>
                    <a:pt x="18323" y="9162"/>
                  </a:moveTo>
                  <a:cubicBezTo>
                    <a:pt x="18323" y="14217"/>
                    <a:pt x="14217" y="18323"/>
                    <a:pt x="9162" y="18323"/>
                  </a:cubicBezTo>
                  <a:cubicBezTo>
                    <a:pt x="4106" y="18323"/>
                    <a:pt x="0" y="14217"/>
                    <a:pt x="0" y="9162"/>
                  </a:cubicBezTo>
                  <a:cubicBezTo>
                    <a:pt x="0" y="4106"/>
                    <a:pt x="4106" y="0"/>
                    <a:pt x="9162" y="0"/>
                  </a:cubicBezTo>
                  <a:cubicBezTo>
                    <a:pt x="14217" y="0"/>
                    <a:pt x="18323" y="4106"/>
                    <a:pt x="18323" y="916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E4CEFE6-A373-4E3F-9AD1-EB9663D842CA}"/>
                </a:ext>
              </a:extLst>
            </p:cNvPr>
            <p:cNvSpPr/>
            <p:nvPr/>
          </p:nvSpPr>
          <p:spPr>
            <a:xfrm>
              <a:off x="6293358" y="3800700"/>
              <a:ext cx="18323" cy="18323"/>
            </a:xfrm>
            <a:custGeom>
              <a:avLst/>
              <a:gdLst>
                <a:gd name="connsiteX0" fmla="*/ 18323 w 18323"/>
                <a:gd name="connsiteY0" fmla="*/ 9162 h 18323"/>
                <a:gd name="connsiteX1" fmla="*/ 9162 w 18323"/>
                <a:gd name="connsiteY1" fmla="*/ 18323 h 18323"/>
                <a:gd name="connsiteX2" fmla="*/ 0 w 18323"/>
                <a:gd name="connsiteY2" fmla="*/ 9162 h 18323"/>
                <a:gd name="connsiteX3" fmla="*/ 9162 w 18323"/>
                <a:gd name="connsiteY3" fmla="*/ 0 h 18323"/>
                <a:gd name="connsiteX4" fmla="*/ 18323 w 18323"/>
                <a:gd name="connsiteY4" fmla="*/ 9162 h 1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23" h="18323">
                  <a:moveTo>
                    <a:pt x="18323" y="9162"/>
                  </a:moveTo>
                  <a:cubicBezTo>
                    <a:pt x="18323" y="14217"/>
                    <a:pt x="14217" y="18323"/>
                    <a:pt x="9162" y="18323"/>
                  </a:cubicBezTo>
                  <a:cubicBezTo>
                    <a:pt x="4106" y="18323"/>
                    <a:pt x="0" y="14217"/>
                    <a:pt x="0" y="9162"/>
                  </a:cubicBezTo>
                  <a:cubicBezTo>
                    <a:pt x="0" y="4106"/>
                    <a:pt x="4106" y="0"/>
                    <a:pt x="9162" y="0"/>
                  </a:cubicBezTo>
                  <a:cubicBezTo>
                    <a:pt x="14217" y="0"/>
                    <a:pt x="18323" y="4106"/>
                    <a:pt x="18323" y="916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F689DCB-F8E2-40E9-9E1B-F882EEED58FE}"/>
                </a:ext>
              </a:extLst>
            </p:cNvPr>
            <p:cNvSpPr/>
            <p:nvPr/>
          </p:nvSpPr>
          <p:spPr>
            <a:xfrm>
              <a:off x="6331126" y="3800687"/>
              <a:ext cx="18377" cy="18348"/>
            </a:xfrm>
            <a:custGeom>
              <a:avLst/>
              <a:gdLst>
                <a:gd name="connsiteX0" fmla="*/ 17141 w 18377"/>
                <a:gd name="connsiteY0" fmla="*/ 4578 h 18348"/>
                <a:gd name="connsiteX1" fmla="*/ 13770 w 18377"/>
                <a:gd name="connsiteY1" fmla="*/ 17110 h 18348"/>
                <a:gd name="connsiteX2" fmla="*/ 1238 w 18377"/>
                <a:gd name="connsiteY2" fmla="*/ 13770 h 18348"/>
                <a:gd name="connsiteX3" fmla="*/ 4578 w 18377"/>
                <a:gd name="connsiteY3" fmla="*/ 1238 h 18348"/>
                <a:gd name="connsiteX4" fmla="*/ 17141 w 18377"/>
                <a:gd name="connsiteY4" fmla="*/ 4578 h 1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77" h="18348">
                  <a:moveTo>
                    <a:pt x="17141" y="4578"/>
                  </a:moveTo>
                  <a:cubicBezTo>
                    <a:pt x="19684" y="8960"/>
                    <a:pt x="18183" y="14567"/>
                    <a:pt x="13770" y="17110"/>
                  </a:cubicBezTo>
                  <a:cubicBezTo>
                    <a:pt x="9389" y="19653"/>
                    <a:pt x="3781" y="18152"/>
                    <a:pt x="1238" y="13770"/>
                  </a:cubicBezTo>
                  <a:cubicBezTo>
                    <a:pt x="-1305" y="9389"/>
                    <a:pt x="196" y="3781"/>
                    <a:pt x="4578" y="1238"/>
                  </a:cubicBezTo>
                  <a:cubicBezTo>
                    <a:pt x="8990" y="-1305"/>
                    <a:pt x="14598" y="196"/>
                    <a:pt x="17141" y="457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824361C6-5A3B-40EA-B01B-2CE3305E5F8D}"/>
                </a:ext>
              </a:extLst>
            </p:cNvPr>
            <p:cNvSpPr/>
            <p:nvPr/>
          </p:nvSpPr>
          <p:spPr>
            <a:xfrm>
              <a:off x="6022830" y="3038019"/>
              <a:ext cx="697264" cy="509741"/>
            </a:xfrm>
            <a:custGeom>
              <a:avLst/>
              <a:gdLst>
                <a:gd name="connsiteX0" fmla="*/ 0 w 697264"/>
                <a:gd name="connsiteY0" fmla="*/ 0 h 509741"/>
                <a:gd name="connsiteX1" fmla="*/ 697264 w 697264"/>
                <a:gd name="connsiteY1" fmla="*/ 0 h 509741"/>
                <a:gd name="connsiteX2" fmla="*/ 697264 w 697264"/>
                <a:gd name="connsiteY2" fmla="*/ 509741 h 509741"/>
                <a:gd name="connsiteX3" fmla="*/ 0 w 697264"/>
                <a:gd name="connsiteY3" fmla="*/ 509741 h 50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264" h="509741">
                  <a:moveTo>
                    <a:pt x="0" y="0"/>
                  </a:moveTo>
                  <a:lnTo>
                    <a:pt x="697264" y="0"/>
                  </a:lnTo>
                  <a:lnTo>
                    <a:pt x="697264" y="509741"/>
                  </a:lnTo>
                  <a:lnTo>
                    <a:pt x="0" y="509741"/>
                  </a:ln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D1898E59-03D0-4954-8334-AE0F37916F32}"/>
                </a:ext>
              </a:extLst>
            </p:cNvPr>
            <p:cNvSpPr/>
            <p:nvPr/>
          </p:nvSpPr>
          <p:spPr>
            <a:xfrm>
              <a:off x="6022033" y="3037222"/>
              <a:ext cx="698704" cy="511273"/>
            </a:xfrm>
            <a:custGeom>
              <a:avLst/>
              <a:gdLst>
                <a:gd name="connsiteX0" fmla="*/ 698061 w 698704"/>
                <a:gd name="connsiteY0" fmla="*/ 510538 h 511273"/>
                <a:gd name="connsiteX1" fmla="*/ 697417 w 698704"/>
                <a:gd name="connsiteY1" fmla="*/ 797 h 511273"/>
                <a:gd name="connsiteX2" fmla="*/ 698061 w 698704"/>
                <a:gd name="connsiteY2" fmla="*/ 1440 h 511273"/>
                <a:gd name="connsiteX3" fmla="*/ 858 w 698704"/>
                <a:gd name="connsiteY3" fmla="*/ 1593 h 511273"/>
                <a:gd name="connsiteX4" fmla="*/ 797 w 698704"/>
                <a:gd name="connsiteY4" fmla="*/ 1593 h 511273"/>
                <a:gd name="connsiteX5" fmla="*/ 1593 w 698704"/>
                <a:gd name="connsiteY5" fmla="*/ 797 h 511273"/>
                <a:gd name="connsiteX6" fmla="*/ 1532 w 698704"/>
                <a:gd name="connsiteY6" fmla="*/ 510538 h 511273"/>
                <a:gd name="connsiteX7" fmla="*/ 797 w 698704"/>
                <a:gd name="connsiteY7" fmla="*/ 509802 h 511273"/>
                <a:gd name="connsiteX8" fmla="*/ 698061 w 698704"/>
                <a:gd name="connsiteY8" fmla="*/ 510538 h 511273"/>
                <a:gd name="connsiteX9" fmla="*/ 797 w 698704"/>
                <a:gd name="connsiteY9" fmla="*/ 511273 h 511273"/>
                <a:gd name="connsiteX10" fmla="*/ 61 w 698704"/>
                <a:gd name="connsiteY10" fmla="*/ 511273 h 511273"/>
                <a:gd name="connsiteX11" fmla="*/ 61 w 698704"/>
                <a:gd name="connsiteY11" fmla="*/ 510538 h 511273"/>
                <a:gd name="connsiteX12" fmla="*/ 0 w 698704"/>
                <a:gd name="connsiteY12" fmla="*/ 797 h 511273"/>
                <a:gd name="connsiteX13" fmla="*/ 0 w 698704"/>
                <a:gd name="connsiteY13" fmla="*/ 0 h 511273"/>
                <a:gd name="connsiteX14" fmla="*/ 797 w 698704"/>
                <a:gd name="connsiteY14" fmla="*/ 0 h 511273"/>
                <a:gd name="connsiteX15" fmla="*/ 858 w 698704"/>
                <a:gd name="connsiteY15" fmla="*/ 0 h 511273"/>
                <a:gd name="connsiteX16" fmla="*/ 698061 w 698704"/>
                <a:gd name="connsiteY16" fmla="*/ 153 h 511273"/>
                <a:gd name="connsiteX17" fmla="*/ 698704 w 698704"/>
                <a:gd name="connsiteY17" fmla="*/ 153 h 511273"/>
                <a:gd name="connsiteX18" fmla="*/ 698704 w 698704"/>
                <a:gd name="connsiteY18" fmla="*/ 797 h 511273"/>
                <a:gd name="connsiteX19" fmla="*/ 698061 w 698704"/>
                <a:gd name="connsiteY19" fmla="*/ 510538 h 51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98704" h="511273">
                  <a:moveTo>
                    <a:pt x="698061" y="510538"/>
                  </a:moveTo>
                  <a:cubicBezTo>
                    <a:pt x="698061" y="505176"/>
                    <a:pt x="697816" y="309687"/>
                    <a:pt x="697417" y="797"/>
                  </a:cubicBezTo>
                  <a:lnTo>
                    <a:pt x="698061" y="1440"/>
                  </a:lnTo>
                  <a:cubicBezTo>
                    <a:pt x="502388" y="1471"/>
                    <a:pt x="261244" y="1532"/>
                    <a:pt x="858" y="1593"/>
                  </a:cubicBezTo>
                  <a:lnTo>
                    <a:pt x="797" y="1593"/>
                  </a:lnTo>
                  <a:lnTo>
                    <a:pt x="1593" y="797"/>
                  </a:lnTo>
                  <a:cubicBezTo>
                    <a:pt x="1563" y="183692"/>
                    <a:pt x="1532" y="357058"/>
                    <a:pt x="1532" y="510538"/>
                  </a:cubicBezTo>
                  <a:lnTo>
                    <a:pt x="797" y="509802"/>
                  </a:lnTo>
                  <a:cubicBezTo>
                    <a:pt x="413315" y="510262"/>
                    <a:pt x="691657" y="510538"/>
                    <a:pt x="698061" y="510538"/>
                  </a:cubicBezTo>
                  <a:cubicBezTo>
                    <a:pt x="691657" y="510538"/>
                    <a:pt x="413315" y="510844"/>
                    <a:pt x="797" y="511273"/>
                  </a:cubicBezTo>
                  <a:lnTo>
                    <a:pt x="61" y="511273"/>
                  </a:lnTo>
                  <a:lnTo>
                    <a:pt x="61" y="510538"/>
                  </a:lnTo>
                  <a:cubicBezTo>
                    <a:pt x="31" y="357058"/>
                    <a:pt x="0" y="183692"/>
                    <a:pt x="0" y="797"/>
                  </a:cubicBezTo>
                  <a:lnTo>
                    <a:pt x="0" y="0"/>
                  </a:lnTo>
                  <a:lnTo>
                    <a:pt x="797" y="0"/>
                  </a:lnTo>
                  <a:lnTo>
                    <a:pt x="858" y="0"/>
                  </a:lnTo>
                  <a:cubicBezTo>
                    <a:pt x="261244" y="61"/>
                    <a:pt x="502388" y="92"/>
                    <a:pt x="698061" y="153"/>
                  </a:cubicBezTo>
                  <a:lnTo>
                    <a:pt x="698704" y="153"/>
                  </a:lnTo>
                  <a:lnTo>
                    <a:pt x="698704" y="797"/>
                  </a:lnTo>
                  <a:cubicBezTo>
                    <a:pt x="698306" y="309687"/>
                    <a:pt x="698061" y="505176"/>
                    <a:pt x="698061" y="51053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F331825-0A40-4933-B05F-13922D2D849F}"/>
                </a:ext>
              </a:extLst>
            </p:cNvPr>
            <p:cNvSpPr/>
            <p:nvPr/>
          </p:nvSpPr>
          <p:spPr>
            <a:xfrm>
              <a:off x="6026752" y="3111403"/>
              <a:ext cx="695701" cy="1593"/>
            </a:xfrm>
            <a:custGeom>
              <a:avLst/>
              <a:gdLst>
                <a:gd name="connsiteX0" fmla="*/ 695702 w 695701"/>
                <a:gd name="connsiteY0" fmla="*/ 797 h 1593"/>
                <a:gd name="connsiteX1" fmla="*/ 347866 w 695701"/>
                <a:gd name="connsiteY1" fmla="*/ 1593 h 1593"/>
                <a:gd name="connsiteX2" fmla="*/ 0 w 695701"/>
                <a:gd name="connsiteY2" fmla="*/ 797 h 1593"/>
                <a:gd name="connsiteX3" fmla="*/ 347866 w 695701"/>
                <a:gd name="connsiteY3" fmla="*/ 0 h 1593"/>
                <a:gd name="connsiteX4" fmla="*/ 695702 w 695701"/>
                <a:gd name="connsiteY4" fmla="*/ 797 h 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5701" h="1593">
                  <a:moveTo>
                    <a:pt x="695702" y="797"/>
                  </a:moveTo>
                  <a:cubicBezTo>
                    <a:pt x="695702" y="1226"/>
                    <a:pt x="539954" y="1593"/>
                    <a:pt x="347866" y="1593"/>
                  </a:cubicBezTo>
                  <a:cubicBezTo>
                    <a:pt x="155717" y="1593"/>
                    <a:pt x="0" y="1226"/>
                    <a:pt x="0" y="797"/>
                  </a:cubicBezTo>
                  <a:cubicBezTo>
                    <a:pt x="0" y="368"/>
                    <a:pt x="155717" y="0"/>
                    <a:pt x="347866" y="0"/>
                  </a:cubicBezTo>
                  <a:cubicBezTo>
                    <a:pt x="539954" y="0"/>
                    <a:pt x="695702" y="368"/>
                    <a:pt x="695702" y="797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638A396-191E-46E2-BFFC-26B9E71C3B2C}"/>
                </a:ext>
              </a:extLst>
            </p:cNvPr>
            <p:cNvSpPr/>
            <p:nvPr/>
          </p:nvSpPr>
          <p:spPr>
            <a:xfrm>
              <a:off x="6046546" y="3063022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01" y="0"/>
                    <a:pt x="21020" y="4719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9624625-F322-4097-A952-C5E5F6282A4B}"/>
                </a:ext>
              </a:extLst>
            </p:cNvPr>
            <p:cNvSpPr/>
            <p:nvPr/>
          </p:nvSpPr>
          <p:spPr>
            <a:xfrm>
              <a:off x="6078167" y="3063022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32" y="0"/>
                    <a:pt x="21020" y="4719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B5475C3-1E5E-4AFB-884B-6B16F71136F7}"/>
                </a:ext>
              </a:extLst>
            </p:cNvPr>
            <p:cNvSpPr/>
            <p:nvPr/>
          </p:nvSpPr>
          <p:spPr>
            <a:xfrm>
              <a:off x="6109819" y="3063022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01" y="0"/>
                    <a:pt x="21020" y="4719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9143DA8-5D5C-410B-A10B-96D777B8C763}"/>
                </a:ext>
              </a:extLst>
            </p:cNvPr>
            <p:cNvSpPr/>
            <p:nvPr/>
          </p:nvSpPr>
          <p:spPr>
            <a:xfrm>
              <a:off x="6045943" y="3234441"/>
              <a:ext cx="65898" cy="70268"/>
            </a:xfrm>
            <a:custGeom>
              <a:avLst/>
              <a:gdLst>
                <a:gd name="connsiteX0" fmla="*/ 22235 w 65898"/>
                <a:gd name="connsiteY0" fmla="*/ 5378 h 70268"/>
                <a:gd name="connsiteX1" fmla="*/ 26647 w 65898"/>
                <a:gd name="connsiteY1" fmla="*/ 2590 h 70268"/>
                <a:gd name="connsiteX2" fmla="*/ 50026 w 65898"/>
                <a:gd name="connsiteY2" fmla="*/ 8626 h 70268"/>
                <a:gd name="connsiteX3" fmla="*/ 65898 w 65898"/>
                <a:gd name="connsiteY3" fmla="*/ 39512 h 70268"/>
                <a:gd name="connsiteX4" fmla="*/ 47330 w 65898"/>
                <a:gd name="connsiteY4" fmla="*/ 68927 h 70268"/>
                <a:gd name="connsiteX5" fmla="*/ 41110 w 65898"/>
                <a:gd name="connsiteY5" fmla="*/ 69111 h 70268"/>
                <a:gd name="connsiteX6" fmla="*/ 7864 w 65898"/>
                <a:gd name="connsiteY6" fmla="*/ 58234 h 70268"/>
                <a:gd name="connsiteX7" fmla="*/ 2441 w 65898"/>
                <a:gd name="connsiteY7" fmla="*/ 45211 h 70268"/>
                <a:gd name="connsiteX8" fmla="*/ 4984 w 65898"/>
                <a:gd name="connsiteY8" fmla="*/ 32189 h 70268"/>
                <a:gd name="connsiteX9" fmla="*/ 7711 w 65898"/>
                <a:gd name="connsiteY9" fmla="*/ 18094 h 7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898" h="70268">
                  <a:moveTo>
                    <a:pt x="22235" y="5378"/>
                  </a:moveTo>
                  <a:lnTo>
                    <a:pt x="26647" y="2590"/>
                  </a:lnTo>
                  <a:cubicBezTo>
                    <a:pt x="34736" y="-2558"/>
                    <a:pt x="45430" y="231"/>
                    <a:pt x="50026" y="8626"/>
                  </a:cubicBezTo>
                  <a:cubicBezTo>
                    <a:pt x="57104" y="21526"/>
                    <a:pt x="65898" y="39512"/>
                    <a:pt x="65898" y="39512"/>
                  </a:cubicBezTo>
                  <a:lnTo>
                    <a:pt x="47330" y="68927"/>
                  </a:lnTo>
                  <a:lnTo>
                    <a:pt x="41110" y="69111"/>
                  </a:lnTo>
                  <a:cubicBezTo>
                    <a:pt x="34338" y="73432"/>
                    <a:pt x="18558" y="64730"/>
                    <a:pt x="7864" y="58234"/>
                  </a:cubicBezTo>
                  <a:cubicBezTo>
                    <a:pt x="-2829" y="51738"/>
                    <a:pt x="2441" y="45211"/>
                    <a:pt x="2441" y="45211"/>
                  </a:cubicBezTo>
                  <a:cubicBezTo>
                    <a:pt x="-4270" y="35989"/>
                    <a:pt x="4984" y="32189"/>
                    <a:pt x="4984" y="32189"/>
                  </a:cubicBezTo>
                  <a:cubicBezTo>
                    <a:pt x="-684" y="23793"/>
                    <a:pt x="7711" y="18094"/>
                    <a:pt x="7711" y="18094"/>
                  </a:cubicBezTo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A4D89A6-5DEC-4677-A681-9C71BA7CC683}"/>
                </a:ext>
              </a:extLst>
            </p:cNvPr>
            <p:cNvSpPr/>
            <p:nvPr/>
          </p:nvSpPr>
          <p:spPr>
            <a:xfrm rot="20949115">
              <a:off x="5941332" y="3157982"/>
              <a:ext cx="136776" cy="191530"/>
            </a:xfrm>
            <a:custGeom>
              <a:avLst/>
              <a:gdLst>
                <a:gd name="connsiteX0" fmla="*/ 0 w 136776"/>
                <a:gd name="connsiteY0" fmla="*/ 0 h 191530"/>
                <a:gd name="connsiteX1" fmla="*/ 136777 w 136776"/>
                <a:gd name="connsiteY1" fmla="*/ 0 h 191530"/>
                <a:gd name="connsiteX2" fmla="*/ 136777 w 136776"/>
                <a:gd name="connsiteY2" fmla="*/ 191530 h 191530"/>
                <a:gd name="connsiteX3" fmla="*/ 0 w 136776"/>
                <a:gd name="connsiteY3" fmla="*/ 191530 h 191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776" h="191530">
                  <a:moveTo>
                    <a:pt x="0" y="0"/>
                  </a:moveTo>
                  <a:lnTo>
                    <a:pt x="136777" y="0"/>
                  </a:lnTo>
                  <a:lnTo>
                    <a:pt x="136777" y="191530"/>
                  </a:lnTo>
                  <a:lnTo>
                    <a:pt x="0" y="191530"/>
                  </a:ln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9BC7056-93D5-44C8-AAAE-5F174913A230}"/>
                </a:ext>
              </a:extLst>
            </p:cNvPr>
            <p:cNvSpPr/>
            <p:nvPr/>
          </p:nvSpPr>
          <p:spPr>
            <a:xfrm>
              <a:off x="5923706" y="3145936"/>
              <a:ext cx="171987" cy="214733"/>
            </a:xfrm>
            <a:custGeom>
              <a:avLst/>
              <a:gdLst>
                <a:gd name="connsiteX0" fmla="*/ 36922 w 171987"/>
                <a:gd name="connsiteY0" fmla="*/ 214731 h 214733"/>
                <a:gd name="connsiteX1" fmla="*/ 36708 w 171987"/>
                <a:gd name="connsiteY1" fmla="*/ 213904 h 214733"/>
                <a:gd name="connsiteX2" fmla="*/ 36156 w 171987"/>
                <a:gd name="connsiteY2" fmla="*/ 211330 h 214733"/>
                <a:gd name="connsiteX3" fmla="*/ 34134 w 171987"/>
                <a:gd name="connsiteY3" fmla="*/ 201188 h 214733"/>
                <a:gd name="connsiteX4" fmla="*/ 26566 w 171987"/>
                <a:gd name="connsiteY4" fmla="*/ 162703 h 214733"/>
                <a:gd name="connsiteX5" fmla="*/ 153 w 171987"/>
                <a:gd name="connsiteY5" fmla="*/ 26780 h 214733"/>
                <a:gd name="connsiteX6" fmla="*/ 0 w 171987"/>
                <a:gd name="connsiteY6" fmla="*/ 26075 h 214733"/>
                <a:gd name="connsiteX7" fmla="*/ 705 w 171987"/>
                <a:gd name="connsiteY7" fmla="*/ 25953 h 214733"/>
                <a:gd name="connsiteX8" fmla="*/ 135004 w 171987"/>
                <a:gd name="connsiteY8" fmla="*/ 153 h 214733"/>
                <a:gd name="connsiteX9" fmla="*/ 135004 w 171987"/>
                <a:gd name="connsiteY9" fmla="*/ 153 h 214733"/>
                <a:gd name="connsiteX10" fmla="*/ 135800 w 171987"/>
                <a:gd name="connsiteY10" fmla="*/ 0 h 214733"/>
                <a:gd name="connsiteX11" fmla="*/ 135954 w 171987"/>
                <a:gd name="connsiteY11" fmla="*/ 797 h 214733"/>
                <a:gd name="connsiteX12" fmla="*/ 171865 w 171987"/>
                <a:gd name="connsiteY12" fmla="*/ 188931 h 214733"/>
                <a:gd name="connsiteX13" fmla="*/ 171987 w 171987"/>
                <a:gd name="connsiteY13" fmla="*/ 189575 h 214733"/>
                <a:gd name="connsiteX14" fmla="*/ 171344 w 171987"/>
                <a:gd name="connsiteY14" fmla="*/ 189697 h 214733"/>
                <a:gd name="connsiteX15" fmla="*/ 73324 w 171987"/>
                <a:gd name="connsiteY15" fmla="*/ 208143 h 214733"/>
                <a:gd name="connsiteX16" fmla="*/ 46298 w 171987"/>
                <a:gd name="connsiteY16" fmla="*/ 213138 h 214733"/>
                <a:gd name="connsiteX17" fmla="*/ 39251 w 171987"/>
                <a:gd name="connsiteY17" fmla="*/ 214425 h 214733"/>
                <a:gd name="connsiteX18" fmla="*/ 36922 w 171987"/>
                <a:gd name="connsiteY18" fmla="*/ 214731 h 214733"/>
                <a:gd name="connsiteX19" fmla="*/ 39404 w 171987"/>
                <a:gd name="connsiteY19" fmla="*/ 214180 h 214733"/>
                <a:gd name="connsiteX20" fmla="*/ 46543 w 171987"/>
                <a:gd name="connsiteY20" fmla="*/ 212739 h 214733"/>
                <a:gd name="connsiteX21" fmla="*/ 73630 w 171987"/>
                <a:gd name="connsiteY21" fmla="*/ 207377 h 214733"/>
                <a:gd name="connsiteX22" fmla="*/ 171129 w 171987"/>
                <a:gd name="connsiteY22" fmla="*/ 188349 h 214733"/>
                <a:gd name="connsiteX23" fmla="*/ 170609 w 171987"/>
                <a:gd name="connsiteY23" fmla="*/ 189115 h 214733"/>
                <a:gd name="connsiteX24" fmla="*/ 134422 w 171987"/>
                <a:gd name="connsiteY24" fmla="*/ 1042 h 214733"/>
                <a:gd name="connsiteX25" fmla="*/ 135341 w 171987"/>
                <a:gd name="connsiteY25" fmla="*/ 1685 h 214733"/>
                <a:gd name="connsiteX26" fmla="*/ 135310 w 171987"/>
                <a:gd name="connsiteY26" fmla="*/ 1685 h 214733"/>
                <a:gd name="connsiteX27" fmla="*/ 980 w 171987"/>
                <a:gd name="connsiteY27" fmla="*/ 27362 h 214733"/>
                <a:gd name="connsiteX28" fmla="*/ 1563 w 171987"/>
                <a:gd name="connsiteY28" fmla="*/ 26504 h 214733"/>
                <a:gd name="connsiteX29" fmla="*/ 27178 w 171987"/>
                <a:gd name="connsiteY29" fmla="*/ 162090 h 214733"/>
                <a:gd name="connsiteX30" fmla="*/ 34410 w 171987"/>
                <a:gd name="connsiteY30" fmla="*/ 200820 h 214733"/>
                <a:gd name="connsiteX31" fmla="*/ 36309 w 171987"/>
                <a:gd name="connsiteY31" fmla="*/ 211146 h 214733"/>
                <a:gd name="connsiteX32" fmla="*/ 36769 w 171987"/>
                <a:gd name="connsiteY32" fmla="*/ 213812 h 214733"/>
                <a:gd name="connsiteX33" fmla="*/ 36922 w 171987"/>
                <a:gd name="connsiteY33" fmla="*/ 214731 h 21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1987" h="214733">
                  <a:moveTo>
                    <a:pt x="36922" y="214731"/>
                  </a:moveTo>
                  <a:cubicBezTo>
                    <a:pt x="36922" y="214762"/>
                    <a:pt x="36830" y="214455"/>
                    <a:pt x="36708" y="213904"/>
                  </a:cubicBezTo>
                  <a:cubicBezTo>
                    <a:pt x="36585" y="213260"/>
                    <a:pt x="36401" y="212433"/>
                    <a:pt x="36156" y="211330"/>
                  </a:cubicBezTo>
                  <a:cubicBezTo>
                    <a:pt x="35697" y="208971"/>
                    <a:pt x="34992" y="205569"/>
                    <a:pt x="34134" y="201188"/>
                  </a:cubicBezTo>
                  <a:cubicBezTo>
                    <a:pt x="32357" y="192210"/>
                    <a:pt x="29814" y="179157"/>
                    <a:pt x="26566" y="162703"/>
                  </a:cubicBezTo>
                  <a:cubicBezTo>
                    <a:pt x="20100" y="129488"/>
                    <a:pt x="10969" y="82424"/>
                    <a:pt x="153" y="26780"/>
                  </a:cubicBezTo>
                  <a:lnTo>
                    <a:pt x="0" y="26075"/>
                  </a:lnTo>
                  <a:lnTo>
                    <a:pt x="705" y="25953"/>
                  </a:lnTo>
                  <a:cubicBezTo>
                    <a:pt x="41273" y="18139"/>
                    <a:pt x="86928" y="9376"/>
                    <a:pt x="135004" y="153"/>
                  </a:cubicBezTo>
                  <a:lnTo>
                    <a:pt x="135004" y="153"/>
                  </a:lnTo>
                  <a:lnTo>
                    <a:pt x="135800" y="0"/>
                  </a:lnTo>
                  <a:lnTo>
                    <a:pt x="135954" y="797"/>
                  </a:lnTo>
                  <a:cubicBezTo>
                    <a:pt x="149405" y="71240"/>
                    <a:pt x="161814" y="136382"/>
                    <a:pt x="171865" y="188931"/>
                  </a:cubicBezTo>
                  <a:lnTo>
                    <a:pt x="171987" y="189575"/>
                  </a:lnTo>
                  <a:lnTo>
                    <a:pt x="171344" y="189697"/>
                  </a:lnTo>
                  <a:cubicBezTo>
                    <a:pt x="130499" y="197388"/>
                    <a:pt x="96825" y="203700"/>
                    <a:pt x="73324" y="208143"/>
                  </a:cubicBezTo>
                  <a:cubicBezTo>
                    <a:pt x="61711" y="210288"/>
                    <a:pt x="52580" y="212004"/>
                    <a:pt x="46298" y="213138"/>
                  </a:cubicBezTo>
                  <a:cubicBezTo>
                    <a:pt x="43265" y="213689"/>
                    <a:pt x="40906" y="214118"/>
                    <a:pt x="39251" y="214425"/>
                  </a:cubicBezTo>
                  <a:cubicBezTo>
                    <a:pt x="37688" y="214639"/>
                    <a:pt x="36922" y="214731"/>
                    <a:pt x="36922" y="214731"/>
                  </a:cubicBezTo>
                  <a:cubicBezTo>
                    <a:pt x="36922" y="214731"/>
                    <a:pt x="37780" y="214517"/>
                    <a:pt x="39404" y="214180"/>
                  </a:cubicBezTo>
                  <a:cubicBezTo>
                    <a:pt x="41089" y="213842"/>
                    <a:pt x="43449" y="213352"/>
                    <a:pt x="46543" y="212739"/>
                  </a:cubicBezTo>
                  <a:cubicBezTo>
                    <a:pt x="52825" y="211483"/>
                    <a:pt x="61987" y="209675"/>
                    <a:pt x="73630" y="207377"/>
                  </a:cubicBezTo>
                  <a:cubicBezTo>
                    <a:pt x="97009" y="202812"/>
                    <a:pt x="130499" y="196285"/>
                    <a:pt x="171129" y="188349"/>
                  </a:cubicBezTo>
                  <a:lnTo>
                    <a:pt x="170609" y="189115"/>
                  </a:lnTo>
                  <a:cubicBezTo>
                    <a:pt x="160497" y="136566"/>
                    <a:pt x="147965" y="71454"/>
                    <a:pt x="134422" y="1042"/>
                  </a:cubicBezTo>
                  <a:lnTo>
                    <a:pt x="135341" y="1685"/>
                  </a:lnTo>
                  <a:lnTo>
                    <a:pt x="135310" y="1685"/>
                  </a:lnTo>
                  <a:cubicBezTo>
                    <a:pt x="87204" y="10877"/>
                    <a:pt x="41580" y="19610"/>
                    <a:pt x="980" y="27362"/>
                  </a:cubicBezTo>
                  <a:lnTo>
                    <a:pt x="1563" y="26504"/>
                  </a:lnTo>
                  <a:cubicBezTo>
                    <a:pt x="12042" y="81995"/>
                    <a:pt x="20928" y="128937"/>
                    <a:pt x="27178" y="162090"/>
                  </a:cubicBezTo>
                  <a:cubicBezTo>
                    <a:pt x="30273" y="178667"/>
                    <a:pt x="32724" y="191781"/>
                    <a:pt x="34410" y="200820"/>
                  </a:cubicBezTo>
                  <a:cubicBezTo>
                    <a:pt x="35237" y="205294"/>
                    <a:pt x="35850" y="208725"/>
                    <a:pt x="36309" y="211146"/>
                  </a:cubicBezTo>
                  <a:cubicBezTo>
                    <a:pt x="36524" y="212280"/>
                    <a:pt x="36677" y="213168"/>
                    <a:pt x="36769" y="213812"/>
                  </a:cubicBezTo>
                  <a:cubicBezTo>
                    <a:pt x="36861" y="214394"/>
                    <a:pt x="36922" y="214700"/>
                    <a:pt x="36922" y="21473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466AAE1-8814-460D-9C0E-5A99A7C57C09}"/>
                </a:ext>
              </a:extLst>
            </p:cNvPr>
            <p:cNvSpPr/>
            <p:nvPr/>
          </p:nvSpPr>
          <p:spPr>
            <a:xfrm>
              <a:off x="5946993" y="3196583"/>
              <a:ext cx="99338" cy="19096"/>
            </a:xfrm>
            <a:custGeom>
              <a:avLst/>
              <a:gdLst>
                <a:gd name="connsiteX0" fmla="*/ 0 w 99338"/>
                <a:gd name="connsiteY0" fmla="*/ 19060 h 19096"/>
                <a:gd name="connsiteX1" fmla="*/ 49516 w 99338"/>
                <a:gd name="connsiteY1" fmla="*/ 8765 h 19096"/>
                <a:gd name="connsiteX2" fmla="*/ 99338 w 99338"/>
                <a:gd name="connsiteY2" fmla="*/ 32 h 19096"/>
                <a:gd name="connsiteX3" fmla="*/ 49822 w 99338"/>
                <a:gd name="connsiteY3" fmla="*/ 10328 h 19096"/>
                <a:gd name="connsiteX4" fmla="*/ 0 w 99338"/>
                <a:gd name="connsiteY4" fmla="*/ 19060 h 19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6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98"/>
                    <a:pt x="92" y="19520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4B2B80D-3DE8-4298-A561-85C3E91BC0DA}"/>
                </a:ext>
              </a:extLst>
            </p:cNvPr>
            <p:cNvSpPr/>
            <p:nvPr/>
          </p:nvSpPr>
          <p:spPr>
            <a:xfrm>
              <a:off x="5949536" y="3209881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67"/>
                    <a:pt x="9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FF20470-F3DF-4142-A30A-FC36EBE42F14}"/>
                </a:ext>
              </a:extLst>
            </p:cNvPr>
            <p:cNvSpPr/>
            <p:nvPr/>
          </p:nvSpPr>
          <p:spPr>
            <a:xfrm>
              <a:off x="5952079" y="3223149"/>
              <a:ext cx="99338" cy="19096"/>
            </a:xfrm>
            <a:custGeom>
              <a:avLst/>
              <a:gdLst>
                <a:gd name="connsiteX0" fmla="*/ 0 w 99338"/>
                <a:gd name="connsiteY0" fmla="*/ 19060 h 19096"/>
                <a:gd name="connsiteX1" fmla="*/ 49516 w 99338"/>
                <a:gd name="connsiteY1" fmla="*/ 8765 h 19096"/>
                <a:gd name="connsiteX2" fmla="*/ 99338 w 99338"/>
                <a:gd name="connsiteY2" fmla="*/ 32 h 19096"/>
                <a:gd name="connsiteX3" fmla="*/ 49822 w 99338"/>
                <a:gd name="connsiteY3" fmla="*/ 10328 h 19096"/>
                <a:gd name="connsiteX4" fmla="*/ 0 w 99338"/>
                <a:gd name="connsiteY4" fmla="*/ 19060 h 19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6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98"/>
                    <a:pt x="92" y="19520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90487630-648C-405A-8172-CFEB5A0C6505}"/>
                </a:ext>
              </a:extLst>
            </p:cNvPr>
            <p:cNvSpPr/>
            <p:nvPr/>
          </p:nvSpPr>
          <p:spPr>
            <a:xfrm>
              <a:off x="5954623" y="3236447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67"/>
                    <a:pt x="9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9E7945C-8DFB-400E-A454-823DE9BFDA1D}"/>
                </a:ext>
              </a:extLst>
            </p:cNvPr>
            <p:cNvSpPr/>
            <p:nvPr/>
          </p:nvSpPr>
          <p:spPr>
            <a:xfrm>
              <a:off x="5957166" y="3249715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98"/>
                    <a:pt x="9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E1BB639-D5BC-413E-8BE9-FC4560BD6EB7}"/>
                </a:ext>
              </a:extLst>
            </p:cNvPr>
            <p:cNvSpPr/>
            <p:nvPr/>
          </p:nvSpPr>
          <p:spPr>
            <a:xfrm>
              <a:off x="5959709" y="3263013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67"/>
                    <a:pt x="9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C79C76F-E890-4E6D-8409-1E2A6347315E}"/>
                </a:ext>
              </a:extLst>
            </p:cNvPr>
            <p:cNvSpPr/>
            <p:nvPr/>
          </p:nvSpPr>
          <p:spPr>
            <a:xfrm>
              <a:off x="5962252" y="3276280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98"/>
                    <a:pt x="9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F49AA451-17B6-4F41-9B76-C3F5FE404590}"/>
                </a:ext>
              </a:extLst>
            </p:cNvPr>
            <p:cNvSpPr/>
            <p:nvPr/>
          </p:nvSpPr>
          <p:spPr>
            <a:xfrm>
              <a:off x="5964795" y="3289578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99" y="15567"/>
                    <a:pt x="9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230723A-1D43-4CBB-AFDF-A9723FD763D1}"/>
                </a:ext>
              </a:extLst>
            </p:cNvPr>
            <p:cNvSpPr/>
            <p:nvPr/>
          </p:nvSpPr>
          <p:spPr>
            <a:xfrm>
              <a:off x="5967369" y="3302846"/>
              <a:ext cx="99338" cy="19092"/>
            </a:xfrm>
            <a:custGeom>
              <a:avLst/>
              <a:gdLst>
                <a:gd name="connsiteX0" fmla="*/ 0 w 99338"/>
                <a:gd name="connsiteY0" fmla="*/ 19060 h 19092"/>
                <a:gd name="connsiteX1" fmla="*/ 49516 w 99338"/>
                <a:gd name="connsiteY1" fmla="*/ 8765 h 19092"/>
                <a:gd name="connsiteX2" fmla="*/ 99338 w 99338"/>
                <a:gd name="connsiteY2" fmla="*/ 32 h 19092"/>
                <a:gd name="connsiteX3" fmla="*/ 49822 w 99338"/>
                <a:gd name="connsiteY3" fmla="*/ 10328 h 19092"/>
                <a:gd name="connsiteX4" fmla="*/ 0 w 99338"/>
                <a:gd name="connsiteY4" fmla="*/ 19060 h 19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38" h="19092">
                  <a:moveTo>
                    <a:pt x="0" y="19060"/>
                  </a:moveTo>
                  <a:cubicBezTo>
                    <a:pt x="-92" y="18631"/>
                    <a:pt x="22092" y="14005"/>
                    <a:pt x="49516" y="8765"/>
                  </a:cubicBezTo>
                  <a:cubicBezTo>
                    <a:pt x="76970" y="3495"/>
                    <a:pt x="99277" y="-397"/>
                    <a:pt x="99338" y="32"/>
                  </a:cubicBezTo>
                  <a:cubicBezTo>
                    <a:pt x="99430" y="461"/>
                    <a:pt x="77246" y="5088"/>
                    <a:pt x="49822" y="10328"/>
                  </a:cubicBezTo>
                  <a:cubicBezTo>
                    <a:pt x="22368" y="15598"/>
                    <a:pt x="62" y="19489"/>
                    <a:pt x="0" y="1906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0CB4E54-1130-41B6-8CA2-A0E0712C0BF4}"/>
                </a:ext>
              </a:extLst>
            </p:cNvPr>
            <p:cNvSpPr/>
            <p:nvPr/>
          </p:nvSpPr>
          <p:spPr>
            <a:xfrm>
              <a:off x="6025100" y="3142932"/>
              <a:ext cx="19271" cy="38940"/>
            </a:xfrm>
            <a:custGeom>
              <a:avLst/>
              <a:gdLst>
                <a:gd name="connsiteX0" fmla="*/ 15318 w 19271"/>
                <a:gd name="connsiteY0" fmla="*/ 14372 h 38940"/>
                <a:gd name="connsiteX1" fmla="*/ 16268 w 19271"/>
                <a:gd name="connsiteY1" fmla="*/ 17711 h 38940"/>
                <a:gd name="connsiteX2" fmla="*/ 18290 w 19271"/>
                <a:gd name="connsiteY2" fmla="*/ 26934 h 38940"/>
                <a:gd name="connsiteX3" fmla="*/ 18933 w 19271"/>
                <a:gd name="connsiteY3" fmla="*/ 29998 h 38940"/>
                <a:gd name="connsiteX4" fmla="*/ 18750 w 19271"/>
                <a:gd name="connsiteY4" fmla="*/ 33675 h 38940"/>
                <a:gd name="connsiteX5" fmla="*/ 12836 w 19271"/>
                <a:gd name="connsiteY5" fmla="*/ 38823 h 38940"/>
                <a:gd name="connsiteX6" fmla="*/ 5022 w 19271"/>
                <a:gd name="connsiteY6" fmla="*/ 35146 h 38940"/>
                <a:gd name="connsiteX7" fmla="*/ 4164 w 19271"/>
                <a:gd name="connsiteY7" fmla="*/ 32879 h 38940"/>
                <a:gd name="connsiteX8" fmla="*/ 3735 w 19271"/>
                <a:gd name="connsiteY8" fmla="*/ 30703 h 38940"/>
                <a:gd name="connsiteX9" fmla="*/ 2877 w 19271"/>
                <a:gd name="connsiteY9" fmla="*/ 26260 h 38940"/>
                <a:gd name="connsiteX10" fmla="*/ 1223 w 19271"/>
                <a:gd name="connsiteY10" fmla="*/ 17528 h 38940"/>
                <a:gd name="connsiteX11" fmla="*/ 457 w 19271"/>
                <a:gd name="connsiteY11" fmla="*/ 13360 h 38940"/>
                <a:gd name="connsiteX12" fmla="*/ 28 w 19271"/>
                <a:gd name="connsiteY12" fmla="*/ 9163 h 38940"/>
                <a:gd name="connsiteX13" fmla="*/ 3674 w 19271"/>
                <a:gd name="connsiteY13" fmla="*/ 2207 h 38940"/>
                <a:gd name="connsiteX14" fmla="*/ 10139 w 19271"/>
                <a:gd name="connsiteY14" fmla="*/ 1 h 38940"/>
                <a:gd name="connsiteX15" fmla="*/ 18259 w 19271"/>
                <a:gd name="connsiteY15" fmla="*/ 4873 h 38940"/>
                <a:gd name="connsiteX16" fmla="*/ 19178 w 19271"/>
                <a:gd name="connsiteY16" fmla="*/ 7355 h 38940"/>
                <a:gd name="connsiteX17" fmla="*/ 19240 w 19271"/>
                <a:gd name="connsiteY17" fmla="*/ 8274 h 38940"/>
                <a:gd name="connsiteX18" fmla="*/ 17769 w 19271"/>
                <a:gd name="connsiteY18" fmla="*/ 5210 h 38940"/>
                <a:gd name="connsiteX19" fmla="*/ 10170 w 19271"/>
                <a:gd name="connsiteY19" fmla="*/ 1135 h 38940"/>
                <a:gd name="connsiteX20" fmla="*/ 4563 w 19271"/>
                <a:gd name="connsiteY20" fmla="*/ 3218 h 38940"/>
                <a:gd name="connsiteX21" fmla="*/ 1529 w 19271"/>
                <a:gd name="connsiteY21" fmla="*/ 9255 h 38940"/>
                <a:gd name="connsiteX22" fmla="*/ 1989 w 19271"/>
                <a:gd name="connsiteY22" fmla="*/ 13085 h 38940"/>
                <a:gd name="connsiteX23" fmla="*/ 2816 w 19271"/>
                <a:gd name="connsiteY23" fmla="*/ 17221 h 38940"/>
                <a:gd name="connsiteX24" fmla="*/ 4501 w 19271"/>
                <a:gd name="connsiteY24" fmla="*/ 25954 h 38940"/>
                <a:gd name="connsiteX25" fmla="*/ 5359 w 19271"/>
                <a:gd name="connsiteY25" fmla="*/ 30397 h 38940"/>
                <a:gd name="connsiteX26" fmla="*/ 5758 w 19271"/>
                <a:gd name="connsiteY26" fmla="*/ 32542 h 38940"/>
                <a:gd name="connsiteX27" fmla="*/ 6432 w 19271"/>
                <a:gd name="connsiteY27" fmla="*/ 34349 h 38940"/>
                <a:gd name="connsiteX28" fmla="*/ 12652 w 19271"/>
                <a:gd name="connsiteY28" fmla="*/ 37352 h 38940"/>
                <a:gd name="connsiteX29" fmla="*/ 17555 w 19271"/>
                <a:gd name="connsiteY29" fmla="*/ 33246 h 38940"/>
                <a:gd name="connsiteX30" fmla="*/ 17800 w 19271"/>
                <a:gd name="connsiteY30" fmla="*/ 30213 h 38940"/>
                <a:gd name="connsiteX31" fmla="*/ 17248 w 19271"/>
                <a:gd name="connsiteY31" fmla="*/ 27118 h 38940"/>
                <a:gd name="connsiteX32" fmla="*/ 15716 w 19271"/>
                <a:gd name="connsiteY32" fmla="*/ 17773 h 38940"/>
                <a:gd name="connsiteX33" fmla="*/ 15318 w 19271"/>
                <a:gd name="connsiteY33" fmla="*/ 14372 h 3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271" h="38940">
                  <a:moveTo>
                    <a:pt x="15318" y="14372"/>
                  </a:moveTo>
                  <a:cubicBezTo>
                    <a:pt x="15440" y="14341"/>
                    <a:pt x="15747" y="15536"/>
                    <a:pt x="16268" y="17711"/>
                  </a:cubicBezTo>
                  <a:cubicBezTo>
                    <a:pt x="16819" y="20224"/>
                    <a:pt x="17493" y="23319"/>
                    <a:pt x="18290" y="26934"/>
                  </a:cubicBezTo>
                  <a:cubicBezTo>
                    <a:pt x="18504" y="27915"/>
                    <a:pt x="18719" y="28957"/>
                    <a:pt x="18933" y="29998"/>
                  </a:cubicBezTo>
                  <a:cubicBezTo>
                    <a:pt x="19148" y="31163"/>
                    <a:pt x="19117" y="32450"/>
                    <a:pt x="18750" y="33675"/>
                  </a:cubicBezTo>
                  <a:cubicBezTo>
                    <a:pt x="18014" y="36127"/>
                    <a:pt x="15747" y="38363"/>
                    <a:pt x="12836" y="38823"/>
                  </a:cubicBezTo>
                  <a:cubicBezTo>
                    <a:pt x="9956" y="39375"/>
                    <a:pt x="6616" y="37965"/>
                    <a:pt x="5022" y="35146"/>
                  </a:cubicBezTo>
                  <a:cubicBezTo>
                    <a:pt x="4624" y="34441"/>
                    <a:pt x="4318" y="33706"/>
                    <a:pt x="4164" y="32879"/>
                  </a:cubicBezTo>
                  <a:cubicBezTo>
                    <a:pt x="4011" y="32174"/>
                    <a:pt x="3889" y="31439"/>
                    <a:pt x="3735" y="30703"/>
                  </a:cubicBezTo>
                  <a:cubicBezTo>
                    <a:pt x="3460" y="29232"/>
                    <a:pt x="3184" y="27762"/>
                    <a:pt x="2877" y="26260"/>
                  </a:cubicBezTo>
                  <a:cubicBezTo>
                    <a:pt x="2295" y="23257"/>
                    <a:pt x="1744" y="20347"/>
                    <a:pt x="1223" y="17528"/>
                  </a:cubicBezTo>
                  <a:cubicBezTo>
                    <a:pt x="947" y="16118"/>
                    <a:pt x="702" y="14739"/>
                    <a:pt x="457" y="13360"/>
                  </a:cubicBezTo>
                  <a:cubicBezTo>
                    <a:pt x="212" y="12043"/>
                    <a:pt x="-95" y="10572"/>
                    <a:pt x="28" y="9163"/>
                  </a:cubicBezTo>
                  <a:cubicBezTo>
                    <a:pt x="242" y="6313"/>
                    <a:pt x="1713" y="3800"/>
                    <a:pt x="3674" y="2207"/>
                  </a:cubicBezTo>
                  <a:cubicBezTo>
                    <a:pt x="5635" y="614"/>
                    <a:pt x="8025" y="-30"/>
                    <a:pt x="10139" y="1"/>
                  </a:cubicBezTo>
                  <a:cubicBezTo>
                    <a:pt x="14490" y="124"/>
                    <a:pt x="17218" y="2912"/>
                    <a:pt x="18259" y="4873"/>
                  </a:cubicBezTo>
                  <a:cubicBezTo>
                    <a:pt x="18811" y="5884"/>
                    <a:pt x="19056" y="6742"/>
                    <a:pt x="19178" y="7355"/>
                  </a:cubicBezTo>
                  <a:cubicBezTo>
                    <a:pt x="19270" y="7937"/>
                    <a:pt x="19301" y="8243"/>
                    <a:pt x="19240" y="8274"/>
                  </a:cubicBezTo>
                  <a:cubicBezTo>
                    <a:pt x="19087" y="8305"/>
                    <a:pt x="18933" y="7018"/>
                    <a:pt x="17769" y="5210"/>
                  </a:cubicBezTo>
                  <a:cubicBezTo>
                    <a:pt x="16635" y="3463"/>
                    <a:pt x="14031" y="1104"/>
                    <a:pt x="10170" y="1135"/>
                  </a:cubicBezTo>
                  <a:cubicBezTo>
                    <a:pt x="8301" y="1165"/>
                    <a:pt x="6248" y="1809"/>
                    <a:pt x="4563" y="3218"/>
                  </a:cubicBezTo>
                  <a:cubicBezTo>
                    <a:pt x="2908" y="4628"/>
                    <a:pt x="1683" y="6803"/>
                    <a:pt x="1529" y="9255"/>
                  </a:cubicBezTo>
                  <a:cubicBezTo>
                    <a:pt x="1437" y="10480"/>
                    <a:pt x="1713" y="11675"/>
                    <a:pt x="1989" y="13085"/>
                  </a:cubicBezTo>
                  <a:cubicBezTo>
                    <a:pt x="2265" y="14433"/>
                    <a:pt x="2540" y="15812"/>
                    <a:pt x="2816" y="17221"/>
                  </a:cubicBezTo>
                  <a:cubicBezTo>
                    <a:pt x="3368" y="20040"/>
                    <a:pt x="3919" y="22951"/>
                    <a:pt x="4501" y="25954"/>
                  </a:cubicBezTo>
                  <a:cubicBezTo>
                    <a:pt x="4777" y="27455"/>
                    <a:pt x="5053" y="28926"/>
                    <a:pt x="5359" y="30397"/>
                  </a:cubicBezTo>
                  <a:cubicBezTo>
                    <a:pt x="5513" y="31132"/>
                    <a:pt x="5635" y="31837"/>
                    <a:pt x="5758" y="32542"/>
                  </a:cubicBezTo>
                  <a:cubicBezTo>
                    <a:pt x="5880" y="33185"/>
                    <a:pt x="6125" y="33767"/>
                    <a:pt x="6432" y="34349"/>
                  </a:cubicBezTo>
                  <a:cubicBezTo>
                    <a:pt x="7688" y="36586"/>
                    <a:pt x="10323" y="37781"/>
                    <a:pt x="12652" y="37352"/>
                  </a:cubicBezTo>
                  <a:cubicBezTo>
                    <a:pt x="15011" y="37015"/>
                    <a:pt x="16880" y="35269"/>
                    <a:pt x="17555" y="33246"/>
                  </a:cubicBezTo>
                  <a:cubicBezTo>
                    <a:pt x="17892" y="32235"/>
                    <a:pt x="17953" y="31193"/>
                    <a:pt x="17800" y="30213"/>
                  </a:cubicBezTo>
                  <a:cubicBezTo>
                    <a:pt x="17616" y="29140"/>
                    <a:pt x="17432" y="28129"/>
                    <a:pt x="17248" y="27118"/>
                  </a:cubicBezTo>
                  <a:cubicBezTo>
                    <a:pt x="16635" y="23441"/>
                    <a:pt x="16145" y="20316"/>
                    <a:pt x="15716" y="17773"/>
                  </a:cubicBezTo>
                  <a:cubicBezTo>
                    <a:pt x="15318" y="15628"/>
                    <a:pt x="15195" y="14402"/>
                    <a:pt x="15318" y="1437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E90617E2-F262-4CDA-B17F-1DB11E604060}"/>
                </a:ext>
              </a:extLst>
            </p:cNvPr>
            <p:cNvSpPr/>
            <p:nvPr/>
          </p:nvSpPr>
          <p:spPr>
            <a:xfrm>
              <a:off x="6039436" y="3234457"/>
              <a:ext cx="53469" cy="37668"/>
            </a:xfrm>
            <a:custGeom>
              <a:avLst/>
              <a:gdLst>
                <a:gd name="connsiteX0" fmla="*/ 40937 w 53469"/>
                <a:gd name="connsiteY0" fmla="*/ 0 h 37668"/>
                <a:gd name="connsiteX1" fmla="*/ 123 w 53469"/>
                <a:gd name="connsiteY1" fmla="*/ 6281 h 37668"/>
                <a:gd name="connsiteX2" fmla="*/ 10940 w 53469"/>
                <a:gd name="connsiteY2" fmla="*/ 15290 h 37668"/>
                <a:gd name="connsiteX3" fmla="*/ 27853 w 53469"/>
                <a:gd name="connsiteY3" fmla="*/ 14677 h 37668"/>
                <a:gd name="connsiteX4" fmla="*/ 47372 w 53469"/>
                <a:gd name="connsiteY4" fmla="*/ 37504 h 37668"/>
                <a:gd name="connsiteX5" fmla="*/ 52305 w 53469"/>
                <a:gd name="connsiteY5" fmla="*/ 17772 h 37668"/>
                <a:gd name="connsiteX6" fmla="*/ 52305 w 53469"/>
                <a:gd name="connsiteY6" fmla="*/ 17772 h 37668"/>
                <a:gd name="connsiteX7" fmla="*/ 40937 w 53469"/>
                <a:gd name="connsiteY7" fmla="*/ 0 h 37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469" h="37668">
                  <a:moveTo>
                    <a:pt x="40937" y="0"/>
                  </a:moveTo>
                  <a:cubicBezTo>
                    <a:pt x="39926" y="92"/>
                    <a:pt x="123" y="6281"/>
                    <a:pt x="123" y="6281"/>
                  </a:cubicBezTo>
                  <a:cubicBezTo>
                    <a:pt x="-581" y="9958"/>
                    <a:pt x="1564" y="15137"/>
                    <a:pt x="10940" y="15290"/>
                  </a:cubicBezTo>
                  <a:cubicBezTo>
                    <a:pt x="19826" y="15443"/>
                    <a:pt x="27853" y="14677"/>
                    <a:pt x="27853" y="14677"/>
                  </a:cubicBezTo>
                  <a:cubicBezTo>
                    <a:pt x="27853" y="14677"/>
                    <a:pt x="37689" y="35206"/>
                    <a:pt x="47372" y="37504"/>
                  </a:cubicBezTo>
                  <a:cubicBezTo>
                    <a:pt x="57054" y="39772"/>
                    <a:pt x="52305" y="17772"/>
                    <a:pt x="52305" y="17772"/>
                  </a:cubicBezTo>
                  <a:lnTo>
                    <a:pt x="52305" y="17772"/>
                  </a:lnTo>
                  <a:lnTo>
                    <a:pt x="40937" y="0"/>
                  </a:ln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C05074A-2777-4038-BC38-2D2F1A0DC12F}"/>
                </a:ext>
              </a:extLst>
            </p:cNvPr>
            <p:cNvSpPr/>
            <p:nvPr/>
          </p:nvSpPr>
          <p:spPr>
            <a:xfrm>
              <a:off x="6307024" y="2989941"/>
              <a:ext cx="245310" cy="168894"/>
            </a:xfrm>
            <a:custGeom>
              <a:avLst/>
              <a:gdLst>
                <a:gd name="connsiteX0" fmla="*/ 229500 w 245310"/>
                <a:gd name="connsiteY0" fmla="*/ 114906 h 168894"/>
                <a:gd name="connsiteX1" fmla="*/ 236762 w 245310"/>
                <a:gd name="connsiteY1" fmla="*/ 89811 h 168894"/>
                <a:gd name="connsiteX2" fmla="*/ 225915 w 245310"/>
                <a:gd name="connsiteY2" fmla="*/ 67535 h 168894"/>
                <a:gd name="connsiteX3" fmla="*/ 202873 w 245310"/>
                <a:gd name="connsiteY3" fmla="*/ 62939 h 168894"/>
                <a:gd name="connsiteX4" fmla="*/ 183845 w 245310"/>
                <a:gd name="connsiteY4" fmla="*/ 41337 h 168894"/>
                <a:gd name="connsiteX5" fmla="*/ 178545 w 245310"/>
                <a:gd name="connsiteY5" fmla="*/ 21880 h 168894"/>
                <a:gd name="connsiteX6" fmla="*/ 151918 w 245310"/>
                <a:gd name="connsiteY6" fmla="*/ 16886 h 168894"/>
                <a:gd name="connsiteX7" fmla="*/ 106385 w 245310"/>
                <a:gd name="connsiteY7" fmla="*/ 64 h 168894"/>
                <a:gd name="connsiteX8" fmla="*/ 71332 w 245310"/>
                <a:gd name="connsiteY8" fmla="*/ 9532 h 168894"/>
                <a:gd name="connsiteX9" fmla="*/ 52181 w 245310"/>
                <a:gd name="connsiteY9" fmla="*/ 30092 h 168894"/>
                <a:gd name="connsiteX10" fmla="*/ 13298 w 245310"/>
                <a:gd name="connsiteY10" fmla="*/ 31593 h 168894"/>
                <a:gd name="connsiteX11" fmla="*/ 6373 w 245310"/>
                <a:gd name="connsiteY11" fmla="*/ 34841 h 168894"/>
                <a:gd name="connsiteX12" fmla="*/ 7446 w 245310"/>
                <a:gd name="connsiteY12" fmla="*/ 41490 h 168894"/>
                <a:gd name="connsiteX13" fmla="*/ 17649 w 245310"/>
                <a:gd name="connsiteY13" fmla="*/ 62755 h 168894"/>
                <a:gd name="connsiteX14" fmla="*/ 0 w 245310"/>
                <a:gd name="connsiteY14" fmla="*/ 62326 h 168894"/>
                <a:gd name="connsiteX15" fmla="*/ 15658 w 245310"/>
                <a:gd name="connsiteY15" fmla="*/ 100045 h 168894"/>
                <a:gd name="connsiteX16" fmla="*/ 8641 w 245310"/>
                <a:gd name="connsiteY16" fmla="*/ 102711 h 168894"/>
                <a:gd name="connsiteX17" fmla="*/ 8763 w 245310"/>
                <a:gd name="connsiteY17" fmla="*/ 111137 h 168894"/>
                <a:gd name="connsiteX18" fmla="*/ 41396 w 245310"/>
                <a:gd name="connsiteY18" fmla="*/ 150541 h 168894"/>
                <a:gd name="connsiteX19" fmla="*/ 92566 w 245310"/>
                <a:gd name="connsiteY19" fmla="*/ 151767 h 168894"/>
                <a:gd name="connsiteX20" fmla="*/ 165246 w 245310"/>
                <a:gd name="connsiteY20" fmla="*/ 157251 h 168894"/>
                <a:gd name="connsiteX21" fmla="*/ 177779 w 245310"/>
                <a:gd name="connsiteY21" fmla="*/ 168895 h 168894"/>
                <a:gd name="connsiteX22" fmla="*/ 187216 w 245310"/>
                <a:gd name="connsiteY22" fmla="*/ 159488 h 168894"/>
                <a:gd name="connsiteX23" fmla="*/ 192210 w 245310"/>
                <a:gd name="connsiteY23" fmla="*/ 163226 h 168894"/>
                <a:gd name="connsiteX24" fmla="*/ 216570 w 245310"/>
                <a:gd name="connsiteY24" fmla="*/ 152379 h 168894"/>
                <a:gd name="connsiteX25" fmla="*/ 221411 w 245310"/>
                <a:gd name="connsiteY25" fmla="*/ 141287 h 168894"/>
                <a:gd name="connsiteX26" fmla="*/ 232013 w 245310"/>
                <a:gd name="connsiteY26" fmla="*/ 135404 h 168894"/>
                <a:gd name="connsiteX27" fmla="*/ 245311 w 245310"/>
                <a:gd name="connsiteY27" fmla="*/ 121769 h 168894"/>
                <a:gd name="connsiteX28" fmla="*/ 229500 w 245310"/>
                <a:gd name="connsiteY28" fmla="*/ 114906 h 16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5310" h="168894">
                  <a:moveTo>
                    <a:pt x="229500" y="114906"/>
                  </a:moveTo>
                  <a:cubicBezTo>
                    <a:pt x="232932" y="106878"/>
                    <a:pt x="236456" y="98574"/>
                    <a:pt x="236762" y="89811"/>
                  </a:cubicBezTo>
                  <a:cubicBezTo>
                    <a:pt x="237099" y="81017"/>
                    <a:pt x="233484" y="71518"/>
                    <a:pt x="225915" y="67535"/>
                  </a:cubicBezTo>
                  <a:cubicBezTo>
                    <a:pt x="218899" y="63858"/>
                    <a:pt x="210288" y="65574"/>
                    <a:pt x="202873" y="62939"/>
                  </a:cubicBezTo>
                  <a:cubicBezTo>
                    <a:pt x="193712" y="59660"/>
                    <a:pt x="187921" y="50437"/>
                    <a:pt x="183845" y="41337"/>
                  </a:cubicBezTo>
                  <a:cubicBezTo>
                    <a:pt x="179770" y="32237"/>
                    <a:pt x="185439" y="28927"/>
                    <a:pt x="178545" y="21880"/>
                  </a:cubicBezTo>
                  <a:cubicBezTo>
                    <a:pt x="169414" y="12535"/>
                    <a:pt x="163469" y="11186"/>
                    <a:pt x="151918" y="16886"/>
                  </a:cubicBezTo>
                  <a:cubicBezTo>
                    <a:pt x="143614" y="11003"/>
                    <a:pt x="114720" y="340"/>
                    <a:pt x="106385" y="64"/>
                  </a:cubicBezTo>
                  <a:cubicBezTo>
                    <a:pt x="94037" y="-304"/>
                    <a:pt x="79973" y="677"/>
                    <a:pt x="71332" y="9532"/>
                  </a:cubicBezTo>
                  <a:cubicBezTo>
                    <a:pt x="64652" y="16395"/>
                    <a:pt x="60393" y="25128"/>
                    <a:pt x="52181" y="30092"/>
                  </a:cubicBezTo>
                  <a:cubicBezTo>
                    <a:pt x="40875" y="36894"/>
                    <a:pt x="26474" y="31103"/>
                    <a:pt x="13298" y="31593"/>
                  </a:cubicBezTo>
                  <a:cubicBezTo>
                    <a:pt x="10602" y="31685"/>
                    <a:pt x="7476" y="32390"/>
                    <a:pt x="6373" y="34841"/>
                  </a:cubicBezTo>
                  <a:cubicBezTo>
                    <a:pt x="5423" y="36955"/>
                    <a:pt x="6435" y="39407"/>
                    <a:pt x="7446" y="41490"/>
                  </a:cubicBezTo>
                  <a:cubicBezTo>
                    <a:pt x="10847" y="48568"/>
                    <a:pt x="14248" y="55677"/>
                    <a:pt x="17649" y="62755"/>
                  </a:cubicBezTo>
                  <a:cubicBezTo>
                    <a:pt x="12134" y="65329"/>
                    <a:pt x="5393" y="65145"/>
                    <a:pt x="0" y="62326"/>
                  </a:cubicBezTo>
                  <a:cubicBezTo>
                    <a:pt x="582" y="76206"/>
                    <a:pt x="6251" y="89841"/>
                    <a:pt x="15658" y="100045"/>
                  </a:cubicBezTo>
                  <a:cubicBezTo>
                    <a:pt x="13329" y="98390"/>
                    <a:pt x="9805" y="100106"/>
                    <a:pt x="8641" y="102711"/>
                  </a:cubicBezTo>
                  <a:cubicBezTo>
                    <a:pt x="7476" y="105315"/>
                    <a:pt x="7997" y="108379"/>
                    <a:pt x="8763" y="111137"/>
                  </a:cubicBezTo>
                  <a:cubicBezTo>
                    <a:pt x="13359" y="128112"/>
                    <a:pt x="25585" y="142881"/>
                    <a:pt x="41396" y="150541"/>
                  </a:cubicBezTo>
                  <a:cubicBezTo>
                    <a:pt x="57237" y="158201"/>
                    <a:pt x="76388" y="158661"/>
                    <a:pt x="92566" y="151767"/>
                  </a:cubicBezTo>
                  <a:lnTo>
                    <a:pt x="165246" y="157251"/>
                  </a:lnTo>
                  <a:cubicBezTo>
                    <a:pt x="167269" y="162920"/>
                    <a:pt x="172110" y="167424"/>
                    <a:pt x="177779" y="168895"/>
                  </a:cubicBezTo>
                  <a:cubicBezTo>
                    <a:pt x="185929" y="162859"/>
                    <a:pt x="187216" y="159488"/>
                    <a:pt x="187216" y="159488"/>
                  </a:cubicBezTo>
                  <a:cubicBezTo>
                    <a:pt x="192210" y="163226"/>
                    <a:pt x="188288" y="161326"/>
                    <a:pt x="192210" y="163226"/>
                  </a:cubicBezTo>
                  <a:cubicBezTo>
                    <a:pt x="201219" y="167516"/>
                    <a:pt x="214548" y="162430"/>
                    <a:pt x="216570" y="152379"/>
                  </a:cubicBezTo>
                  <a:cubicBezTo>
                    <a:pt x="217428" y="148182"/>
                    <a:pt x="218592" y="144168"/>
                    <a:pt x="221411" y="141287"/>
                  </a:cubicBezTo>
                  <a:cubicBezTo>
                    <a:pt x="224291" y="138377"/>
                    <a:pt x="228397" y="137243"/>
                    <a:pt x="232013" y="135404"/>
                  </a:cubicBezTo>
                  <a:cubicBezTo>
                    <a:pt x="237743" y="132524"/>
                    <a:pt x="242492" y="127652"/>
                    <a:pt x="245311" y="121769"/>
                  </a:cubicBezTo>
                  <a:cubicBezTo>
                    <a:pt x="239428" y="121861"/>
                    <a:pt x="233545" y="119318"/>
                    <a:pt x="229500" y="114906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18B3E598-3D0E-4D52-861B-8B997EF01BBA}"/>
                </a:ext>
              </a:extLst>
            </p:cNvPr>
            <p:cNvSpPr/>
            <p:nvPr/>
          </p:nvSpPr>
          <p:spPr>
            <a:xfrm>
              <a:off x="6354345" y="3001519"/>
              <a:ext cx="132615" cy="283929"/>
            </a:xfrm>
            <a:custGeom>
              <a:avLst/>
              <a:gdLst>
                <a:gd name="connsiteX0" fmla="*/ 130733 w 132615"/>
                <a:gd name="connsiteY0" fmla="*/ 72166 h 283929"/>
                <a:gd name="connsiteX1" fmla="*/ 132602 w 132615"/>
                <a:gd name="connsiteY1" fmla="*/ 222184 h 283929"/>
                <a:gd name="connsiteX2" fmla="*/ 87805 w 132615"/>
                <a:gd name="connsiteY2" fmla="*/ 283894 h 283929"/>
                <a:gd name="connsiteX3" fmla="*/ 87805 w 132615"/>
                <a:gd name="connsiteY3" fmla="*/ 283894 h 283929"/>
                <a:gd name="connsiteX4" fmla="*/ 43345 w 132615"/>
                <a:gd name="connsiteY4" fmla="*/ 223225 h 283929"/>
                <a:gd name="connsiteX5" fmla="*/ 43008 w 132615"/>
                <a:gd name="connsiteY5" fmla="*/ 201348 h 283929"/>
                <a:gd name="connsiteX6" fmla="*/ 1551 w 132615"/>
                <a:gd name="connsiteY6" fmla="*/ 160473 h 283929"/>
                <a:gd name="connsiteX7" fmla="*/ 111 w 132615"/>
                <a:gd name="connsiteY7" fmla="*/ 70113 h 283929"/>
                <a:gd name="connsiteX8" fmla="*/ 65591 w 132615"/>
                <a:gd name="connsiteY8" fmla="*/ 283 h 283929"/>
                <a:gd name="connsiteX9" fmla="*/ 69237 w 132615"/>
                <a:gd name="connsiteY9" fmla="*/ 7 h 283929"/>
                <a:gd name="connsiteX10" fmla="*/ 130733 w 132615"/>
                <a:gd name="connsiteY10" fmla="*/ 72166 h 283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615" h="283929">
                  <a:moveTo>
                    <a:pt x="130733" y="72166"/>
                  </a:moveTo>
                  <a:lnTo>
                    <a:pt x="132602" y="222184"/>
                  </a:lnTo>
                  <a:cubicBezTo>
                    <a:pt x="132909" y="247707"/>
                    <a:pt x="128159" y="285242"/>
                    <a:pt x="87805" y="283894"/>
                  </a:cubicBezTo>
                  <a:lnTo>
                    <a:pt x="87805" y="283894"/>
                  </a:lnTo>
                  <a:cubicBezTo>
                    <a:pt x="52875" y="280095"/>
                    <a:pt x="43621" y="247033"/>
                    <a:pt x="43345" y="223225"/>
                  </a:cubicBezTo>
                  <a:cubicBezTo>
                    <a:pt x="43223" y="211919"/>
                    <a:pt x="43100" y="202512"/>
                    <a:pt x="43008" y="201348"/>
                  </a:cubicBezTo>
                  <a:cubicBezTo>
                    <a:pt x="43008" y="201348"/>
                    <a:pt x="4768" y="198222"/>
                    <a:pt x="1551" y="160473"/>
                  </a:cubicBezTo>
                  <a:cubicBezTo>
                    <a:pt x="-12" y="142211"/>
                    <a:pt x="-165" y="104369"/>
                    <a:pt x="111" y="70113"/>
                  </a:cubicBezTo>
                  <a:cubicBezTo>
                    <a:pt x="387" y="33344"/>
                    <a:pt x="28913" y="2948"/>
                    <a:pt x="65591" y="283"/>
                  </a:cubicBezTo>
                  <a:lnTo>
                    <a:pt x="69237" y="7"/>
                  </a:lnTo>
                  <a:cubicBezTo>
                    <a:pt x="108702" y="-545"/>
                    <a:pt x="131254" y="32670"/>
                    <a:pt x="130733" y="72166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D479088-2080-4CA0-A6B0-14E4B5279404}"/>
                </a:ext>
              </a:extLst>
            </p:cNvPr>
            <p:cNvSpPr/>
            <p:nvPr/>
          </p:nvSpPr>
          <p:spPr>
            <a:xfrm>
              <a:off x="6397353" y="3184758"/>
              <a:ext cx="48167" cy="27833"/>
            </a:xfrm>
            <a:custGeom>
              <a:avLst/>
              <a:gdLst>
                <a:gd name="connsiteX0" fmla="*/ 0 w 48167"/>
                <a:gd name="connsiteY0" fmla="*/ 18139 h 27833"/>
                <a:gd name="connsiteX1" fmla="*/ 48167 w 48167"/>
                <a:gd name="connsiteY1" fmla="*/ 0 h 27833"/>
                <a:gd name="connsiteX2" fmla="*/ 215 w 48167"/>
                <a:gd name="connsiteY2" fmla="*/ 27822 h 27833"/>
                <a:gd name="connsiteX3" fmla="*/ 0 w 48167"/>
                <a:gd name="connsiteY3" fmla="*/ 18139 h 27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167" h="27833">
                  <a:moveTo>
                    <a:pt x="0" y="18139"/>
                  </a:moveTo>
                  <a:cubicBezTo>
                    <a:pt x="0" y="18139"/>
                    <a:pt x="23931" y="17802"/>
                    <a:pt x="48167" y="0"/>
                  </a:cubicBezTo>
                  <a:cubicBezTo>
                    <a:pt x="48167" y="0"/>
                    <a:pt x="38179" y="28496"/>
                    <a:pt x="215" y="27822"/>
                  </a:cubicBezTo>
                  <a:lnTo>
                    <a:pt x="0" y="18139"/>
                  </a:ln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243D2D4-F8CD-44BB-8D89-2A005217E782}"/>
                </a:ext>
              </a:extLst>
            </p:cNvPr>
            <p:cNvSpPr/>
            <p:nvPr/>
          </p:nvSpPr>
          <p:spPr>
            <a:xfrm>
              <a:off x="6418884" y="3080448"/>
              <a:ext cx="23310" cy="6796"/>
            </a:xfrm>
            <a:custGeom>
              <a:avLst/>
              <a:gdLst>
                <a:gd name="connsiteX0" fmla="*/ 101 w 23310"/>
                <a:gd name="connsiteY0" fmla="*/ 6687 h 6796"/>
                <a:gd name="connsiteX1" fmla="*/ 11531 w 23310"/>
                <a:gd name="connsiteY1" fmla="*/ 3777 h 6796"/>
                <a:gd name="connsiteX2" fmla="*/ 23235 w 23310"/>
                <a:gd name="connsiteY2" fmla="*/ 5891 h 6796"/>
                <a:gd name="connsiteX3" fmla="*/ 20723 w 23310"/>
                <a:gd name="connsiteY3" fmla="*/ 2674 h 6796"/>
                <a:gd name="connsiteX4" fmla="*/ 11316 w 23310"/>
                <a:gd name="connsiteY4" fmla="*/ 8 h 6796"/>
                <a:gd name="connsiteX5" fmla="*/ 2246 w 23310"/>
                <a:gd name="connsiteY5" fmla="*/ 3317 h 6796"/>
                <a:gd name="connsiteX6" fmla="*/ 101 w 23310"/>
                <a:gd name="connsiteY6" fmla="*/ 6687 h 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10" h="6796">
                  <a:moveTo>
                    <a:pt x="101" y="6687"/>
                  </a:moveTo>
                  <a:cubicBezTo>
                    <a:pt x="837" y="7453"/>
                    <a:pt x="5218" y="3930"/>
                    <a:pt x="11531" y="3777"/>
                  </a:cubicBezTo>
                  <a:cubicBezTo>
                    <a:pt x="17843" y="3501"/>
                    <a:pt x="22592" y="6718"/>
                    <a:pt x="23235" y="5891"/>
                  </a:cubicBezTo>
                  <a:cubicBezTo>
                    <a:pt x="23572" y="5523"/>
                    <a:pt x="22776" y="4144"/>
                    <a:pt x="20723" y="2674"/>
                  </a:cubicBezTo>
                  <a:cubicBezTo>
                    <a:pt x="18701" y="1233"/>
                    <a:pt x="15269" y="-115"/>
                    <a:pt x="11316" y="8"/>
                  </a:cubicBezTo>
                  <a:cubicBezTo>
                    <a:pt x="7363" y="161"/>
                    <a:pt x="4115" y="1724"/>
                    <a:pt x="2246" y="3317"/>
                  </a:cubicBezTo>
                  <a:cubicBezTo>
                    <a:pt x="347" y="4910"/>
                    <a:pt x="-266" y="6350"/>
                    <a:pt x="101" y="668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EE89336C-56FF-461D-B465-F8B1780B8C38}"/>
                </a:ext>
              </a:extLst>
            </p:cNvPr>
            <p:cNvSpPr/>
            <p:nvPr/>
          </p:nvSpPr>
          <p:spPr>
            <a:xfrm>
              <a:off x="6417849" y="3096175"/>
              <a:ext cx="10239" cy="9806"/>
            </a:xfrm>
            <a:custGeom>
              <a:avLst/>
              <a:gdLst>
                <a:gd name="connsiteX0" fmla="*/ 3 w 10239"/>
                <a:gd name="connsiteY0" fmla="*/ 5025 h 9806"/>
                <a:gd name="connsiteX1" fmla="*/ 5304 w 10239"/>
                <a:gd name="connsiteY1" fmla="*/ 9805 h 9806"/>
                <a:gd name="connsiteX2" fmla="*/ 10237 w 10239"/>
                <a:gd name="connsiteY2" fmla="*/ 4811 h 9806"/>
                <a:gd name="connsiteX3" fmla="*/ 4936 w 10239"/>
                <a:gd name="connsiteY3" fmla="*/ 0 h 9806"/>
                <a:gd name="connsiteX4" fmla="*/ 3 w 10239"/>
                <a:gd name="connsiteY4" fmla="*/ 5025 h 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39" h="9806">
                  <a:moveTo>
                    <a:pt x="3" y="5025"/>
                  </a:moveTo>
                  <a:cubicBezTo>
                    <a:pt x="95" y="7722"/>
                    <a:pt x="2485" y="9867"/>
                    <a:pt x="5304" y="9805"/>
                  </a:cubicBezTo>
                  <a:cubicBezTo>
                    <a:pt x="8123" y="9744"/>
                    <a:pt x="10329" y="7507"/>
                    <a:pt x="10237" y="4811"/>
                  </a:cubicBezTo>
                  <a:cubicBezTo>
                    <a:pt x="10145" y="2115"/>
                    <a:pt x="7755" y="-30"/>
                    <a:pt x="4936" y="0"/>
                  </a:cubicBezTo>
                  <a:cubicBezTo>
                    <a:pt x="2117" y="92"/>
                    <a:pt x="-89" y="2329"/>
                    <a:pt x="3" y="5025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13F8967-3D7A-4F73-825C-942C8BEFB508}"/>
                </a:ext>
              </a:extLst>
            </p:cNvPr>
            <p:cNvSpPr/>
            <p:nvPr/>
          </p:nvSpPr>
          <p:spPr>
            <a:xfrm>
              <a:off x="6388020" y="3082538"/>
              <a:ext cx="15124" cy="49294"/>
            </a:xfrm>
            <a:custGeom>
              <a:avLst/>
              <a:gdLst>
                <a:gd name="connsiteX0" fmla="*/ 15124 w 15124"/>
                <a:gd name="connsiteY0" fmla="*/ 48598 h 49294"/>
                <a:gd name="connsiteX1" fmla="*/ 5564 w 15124"/>
                <a:gd name="connsiteY1" fmla="*/ 47587 h 49294"/>
                <a:gd name="connsiteX2" fmla="*/ 2316 w 15124"/>
                <a:gd name="connsiteY2" fmla="*/ 46361 h 49294"/>
                <a:gd name="connsiteX3" fmla="*/ 2990 w 15124"/>
                <a:gd name="connsiteY3" fmla="*/ 41888 h 49294"/>
                <a:gd name="connsiteX4" fmla="*/ 6545 w 15124"/>
                <a:gd name="connsiteY4" fmla="*/ 30275 h 49294"/>
                <a:gd name="connsiteX5" fmla="*/ 14236 w 15124"/>
                <a:gd name="connsiteY5" fmla="*/ 2 h 49294"/>
                <a:gd name="connsiteX6" fmla="*/ 4124 w 15124"/>
                <a:gd name="connsiteY6" fmla="*/ 29570 h 49294"/>
                <a:gd name="connsiteX7" fmla="*/ 754 w 15124"/>
                <a:gd name="connsiteY7" fmla="*/ 41244 h 49294"/>
                <a:gd name="connsiteX8" fmla="*/ 417 w 15124"/>
                <a:gd name="connsiteY8" fmla="*/ 47128 h 49294"/>
                <a:gd name="connsiteX9" fmla="*/ 3021 w 15124"/>
                <a:gd name="connsiteY9" fmla="*/ 49119 h 49294"/>
                <a:gd name="connsiteX10" fmla="*/ 5564 w 15124"/>
                <a:gd name="connsiteY10" fmla="*/ 49272 h 49294"/>
                <a:gd name="connsiteX11" fmla="*/ 15124 w 15124"/>
                <a:gd name="connsiteY11" fmla="*/ 48598 h 4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24" h="49294">
                  <a:moveTo>
                    <a:pt x="15124" y="48598"/>
                  </a:moveTo>
                  <a:cubicBezTo>
                    <a:pt x="15124" y="48261"/>
                    <a:pt x="11478" y="47894"/>
                    <a:pt x="5564" y="47587"/>
                  </a:cubicBezTo>
                  <a:cubicBezTo>
                    <a:pt x="4063" y="47556"/>
                    <a:pt x="2653" y="47342"/>
                    <a:pt x="2316" y="46361"/>
                  </a:cubicBezTo>
                  <a:cubicBezTo>
                    <a:pt x="1887" y="45320"/>
                    <a:pt x="2377" y="43665"/>
                    <a:pt x="2990" y="41888"/>
                  </a:cubicBezTo>
                  <a:cubicBezTo>
                    <a:pt x="4124" y="38211"/>
                    <a:pt x="5319" y="34320"/>
                    <a:pt x="6545" y="30275"/>
                  </a:cubicBezTo>
                  <a:cubicBezTo>
                    <a:pt x="11447" y="13760"/>
                    <a:pt x="14910" y="216"/>
                    <a:pt x="14236" y="2"/>
                  </a:cubicBezTo>
                  <a:cubicBezTo>
                    <a:pt x="13561" y="-182"/>
                    <a:pt x="9027" y="13055"/>
                    <a:pt x="4124" y="29570"/>
                  </a:cubicBezTo>
                  <a:cubicBezTo>
                    <a:pt x="2960" y="33646"/>
                    <a:pt x="1826" y="37537"/>
                    <a:pt x="754" y="41244"/>
                  </a:cubicBezTo>
                  <a:cubicBezTo>
                    <a:pt x="325" y="42960"/>
                    <a:pt x="-503" y="44952"/>
                    <a:pt x="417" y="47128"/>
                  </a:cubicBezTo>
                  <a:cubicBezTo>
                    <a:pt x="907" y="48200"/>
                    <a:pt x="2040" y="48935"/>
                    <a:pt x="3021" y="49119"/>
                  </a:cubicBezTo>
                  <a:cubicBezTo>
                    <a:pt x="4001" y="49334"/>
                    <a:pt x="4829" y="49303"/>
                    <a:pt x="5564" y="49272"/>
                  </a:cubicBezTo>
                  <a:cubicBezTo>
                    <a:pt x="11478" y="49180"/>
                    <a:pt x="15124" y="48935"/>
                    <a:pt x="15124" y="4859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1371D7C-85A5-41B8-A97E-5B0E256BB5D9}"/>
                </a:ext>
              </a:extLst>
            </p:cNvPr>
            <p:cNvSpPr/>
            <p:nvPr/>
          </p:nvSpPr>
          <p:spPr>
            <a:xfrm>
              <a:off x="6421639" y="3058591"/>
              <a:ext cx="23601" cy="6280"/>
            </a:xfrm>
            <a:custGeom>
              <a:avLst/>
              <a:gdLst>
                <a:gd name="connsiteX0" fmla="*/ 44 w 23601"/>
                <a:gd name="connsiteY0" fmla="*/ 4767 h 6280"/>
                <a:gd name="connsiteX1" fmla="*/ 11779 w 23601"/>
                <a:gd name="connsiteY1" fmla="*/ 5411 h 6280"/>
                <a:gd name="connsiteX2" fmla="*/ 23545 w 23601"/>
                <a:gd name="connsiteY2" fmla="*/ 5717 h 6280"/>
                <a:gd name="connsiteX3" fmla="*/ 20849 w 23601"/>
                <a:gd name="connsiteY3" fmla="*/ 2530 h 6280"/>
                <a:gd name="connsiteX4" fmla="*/ 11963 w 23601"/>
                <a:gd name="connsiteY4" fmla="*/ 18 h 6280"/>
                <a:gd name="connsiteX5" fmla="*/ 2954 w 23601"/>
                <a:gd name="connsiteY5" fmla="*/ 1795 h 6280"/>
                <a:gd name="connsiteX6" fmla="*/ 44 w 23601"/>
                <a:gd name="connsiteY6" fmla="*/ 4767 h 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601" h="6280">
                  <a:moveTo>
                    <a:pt x="44" y="4767"/>
                  </a:moveTo>
                  <a:cubicBezTo>
                    <a:pt x="656" y="6177"/>
                    <a:pt x="5712" y="5104"/>
                    <a:pt x="11779" y="5411"/>
                  </a:cubicBezTo>
                  <a:cubicBezTo>
                    <a:pt x="17846" y="5594"/>
                    <a:pt x="22840" y="7065"/>
                    <a:pt x="23545" y="5717"/>
                  </a:cubicBezTo>
                  <a:cubicBezTo>
                    <a:pt x="23851" y="5074"/>
                    <a:pt x="22902" y="3787"/>
                    <a:pt x="20849" y="2530"/>
                  </a:cubicBezTo>
                  <a:cubicBezTo>
                    <a:pt x="18796" y="1274"/>
                    <a:pt x="15609" y="171"/>
                    <a:pt x="11963" y="18"/>
                  </a:cubicBezTo>
                  <a:cubicBezTo>
                    <a:pt x="8317" y="-135"/>
                    <a:pt x="5069" y="723"/>
                    <a:pt x="2954" y="1795"/>
                  </a:cubicBezTo>
                  <a:cubicBezTo>
                    <a:pt x="810" y="2867"/>
                    <a:pt x="-232" y="4093"/>
                    <a:pt x="44" y="476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2222DFC1-3D8E-4701-9CE6-0E075FECBE79}"/>
                </a:ext>
              </a:extLst>
            </p:cNvPr>
            <p:cNvSpPr/>
            <p:nvPr/>
          </p:nvSpPr>
          <p:spPr>
            <a:xfrm>
              <a:off x="6361540" y="3070146"/>
              <a:ext cx="23265" cy="5385"/>
            </a:xfrm>
            <a:custGeom>
              <a:avLst/>
              <a:gdLst>
                <a:gd name="connsiteX0" fmla="*/ 55 w 23265"/>
                <a:gd name="connsiteY0" fmla="*/ 4917 h 5385"/>
                <a:gd name="connsiteX1" fmla="*/ 11637 w 23265"/>
                <a:gd name="connsiteY1" fmla="*/ 4611 h 5385"/>
                <a:gd name="connsiteX2" fmla="*/ 23220 w 23265"/>
                <a:gd name="connsiteY2" fmla="*/ 3998 h 5385"/>
                <a:gd name="connsiteX3" fmla="*/ 20431 w 23265"/>
                <a:gd name="connsiteY3" fmla="*/ 1485 h 5385"/>
                <a:gd name="connsiteX4" fmla="*/ 11576 w 23265"/>
                <a:gd name="connsiteY4" fmla="*/ 14 h 5385"/>
                <a:gd name="connsiteX5" fmla="*/ 2782 w 23265"/>
                <a:gd name="connsiteY5" fmla="*/ 2190 h 5385"/>
                <a:gd name="connsiteX6" fmla="*/ 55 w 23265"/>
                <a:gd name="connsiteY6" fmla="*/ 4917 h 5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65" h="5385">
                  <a:moveTo>
                    <a:pt x="55" y="4917"/>
                  </a:moveTo>
                  <a:cubicBezTo>
                    <a:pt x="729" y="6051"/>
                    <a:pt x="5662" y="4794"/>
                    <a:pt x="11637" y="4611"/>
                  </a:cubicBezTo>
                  <a:cubicBezTo>
                    <a:pt x="17612" y="4304"/>
                    <a:pt x="22576" y="5193"/>
                    <a:pt x="23220" y="3998"/>
                  </a:cubicBezTo>
                  <a:cubicBezTo>
                    <a:pt x="23495" y="3416"/>
                    <a:pt x="22515" y="2404"/>
                    <a:pt x="20431" y="1485"/>
                  </a:cubicBezTo>
                  <a:cubicBezTo>
                    <a:pt x="18378" y="566"/>
                    <a:pt x="15161" y="-108"/>
                    <a:pt x="11576" y="14"/>
                  </a:cubicBezTo>
                  <a:cubicBezTo>
                    <a:pt x="7991" y="168"/>
                    <a:pt x="4804" y="1117"/>
                    <a:pt x="2782" y="2190"/>
                  </a:cubicBezTo>
                  <a:cubicBezTo>
                    <a:pt x="729" y="3262"/>
                    <a:pt x="-251" y="4365"/>
                    <a:pt x="55" y="491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158451B-B097-4E48-9019-596DA1326703}"/>
                </a:ext>
              </a:extLst>
            </p:cNvPr>
            <p:cNvSpPr/>
            <p:nvPr/>
          </p:nvSpPr>
          <p:spPr>
            <a:xfrm>
              <a:off x="6484036" y="3100028"/>
              <a:ext cx="26505" cy="39813"/>
            </a:xfrm>
            <a:custGeom>
              <a:avLst/>
              <a:gdLst>
                <a:gd name="connsiteX0" fmla="*/ 0 w 26505"/>
                <a:gd name="connsiteY0" fmla="*/ 1877 h 39813"/>
                <a:gd name="connsiteX1" fmla="*/ 26474 w 26505"/>
                <a:gd name="connsiteY1" fmla="*/ 18208 h 39813"/>
                <a:gd name="connsiteX2" fmla="*/ 1226 w 26505"/>
                <a:gd name="connsiteY2" fmla="*/ 39105 h 39813"/>
                <a:gd name="connsiteX3" fmla="*/ 0 w 26505"/>
                <a:gd name="connsiteY3" fmla="*/ 1877 h 3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05" h="39813">
                  <a:moveTo>
                    <a:pt x="0" y="1877"/>
                  </a:moveTo>
                  <a:cubicBezTo>
                    <a:pt x="613" y="1540"/>
                    <a:pt x="25401" y="-7714"/>
                    <a:pt x="26474" y="18208"/>
                  </a:cubicBezTo>
                  <a:cubicBezTo>
                    <a:pt x="27546" y="44100"/>
                    <a:pt x="1318" y="39841"/>
                    <a:pt x="1226" y="39105"/>
                  </a:cubicBezTo>
                  <a:cubicBezTo>
                    <a:pt x="1164" y="38339"/>
                    <a:pt x="0" y="1877"/>
                    <a:pt x="0" y="1877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5355D67B-7622-4427-925B-2D6B69748E59}"/>
                </a:ext>
              </a:extLst>
            </p:cNvPr>
            <p:cNvSpPr/>
            <p:nvPr/>
          </p:nvSpPr>
          <p:spPr>
            <a:xfrm>
              <a:off x="6492776" y="3108301"/>
              <a:ext cx="11239" cy="22708"/>
            </a:xfrm>
            <a:custGeom>
              <a:avLst/>
              <a:gdLst>
                <a:gd name="connsiteX0" fmla="*/ 23 w 11239"/>
                <a:gd name="connsiteY0" fmla="*/ 20690 h 22708"/>
                <a:gd name="connsiteX1" fmla="*/ 1280 w 11239"/>
                <a:gd name="connsiteY1" fmla="*/ 21303 h 22708"/>
                <a:gd name="connsiteX2" fmla="*/ 4650 w 11239"/>
                <a:gd name="connsiteY2" fmla="*/ 21242 h 22708"/>
                <a:gd name="connsiteX3" fmla="*/ 9400 w 11239"/>
                <a:gd name="connsiteY3" fmla="*/ 11008 h 22708"/>
                <a:gd name="connsiteX4" fmla="*/ 7867 w 11239"/>
                <a:gd name="connsiteY4" fmla="*/ 4604 h 22708"/>
                <a:gd name="connsiteX5" fmla="*/ 4344 w 11239"/>
                <a:gd name="connsiteY5" fmla="*/ 1295 h 22708"/>
                <a:gd name="connsiteX6" fmla="*/ 1739 w 11239"/>
                <a:gd name="connsiteY6" fmla="*/ 2643 h 22708"/>
                <a:gd name="connsiteX7" fmla="*/ 1464 w 11239"/>
                <a:gd name="connsiteY7" fmla="*/ 3930 h 22708"/>
                <a:gd name="connsiteX8" fmla="*/ 1065 w 11239"/>
                <a:gd name="connsiteY8" fmla="*/ 2428 h 22708"/>
                <a:gd name="connsiteX9" fmla="*/ 2015 w 11239"/>
                <a:gd name="connsiteY9" fmla="*/ 774 h 22708"/>
                <a:gd name="connsiteX10" fmla="*/ 4497 w 11239"/>
                <a:gd name="connsiteY10" fmla="*/ 8 h 22708"/>
                <a:gd name="connsiteX11" fmla="*/ 9369 w 11239"/>
                <a:gd name="connsiteY11" fmla="*/ 3838 h 22708"/>
                <a:gd name="connsiteX12" fmla="*/ 11238 w 11239"/>
                <a:gd name="connsiteY12" fmla="*/ 11008 h 22708"/>
                <a:gd name="connsiteX13" fmla="*/ 5110 w 11239"/>
                <a:gd name="connsiteY13" fmla="*/ 22467 h 22708"/>
                <a:gd name="connsiteX14" fmla="*/ 943 w 11239"/>
                <a:gd name="connsiteY14" fmla="*/ 21947 h 22708"/>
                <a:gd name="connsiteX15" fmla="*/ 23 w 11239"/>
                <a:gd name="connsiteY15" fmla="*/ 20690 h 2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39" h="22708">
                  <a:moveTo>
                    <a:pt x="23" y="20690"/>
                  </a:moveTo>
                  <a:cubicBezTo>
                    <a:pt x="146" y="20598"/>
                    <a:pt x="483" y="20997"/>
                    <a:pt x="1280" y="21303"/>
                  </a:cubicBezTo>
                  <a:cubicBezTo>
                    <a:pt x="2046" y="21610"/>
                    <a:pt x="3333" y="21793"/>
                    <a:pt x="4650" y="21242"/>
                  </a:cubicBezTo>
                  <a:cubicBezTo>
                    <a:pt x="7347" y="20139"/>
                    <a:pt x="9461" y="15696"/>
                    <a:pt x="9400" y="11008"/>
                  </a:cubicBezTo>
                  <a:cubicBezTo>
                    <a:pt x="9369" y="8648"/>
                    <a:pt x="8787" y="6412"/>
                    <a:pt x="7867" y="4604"/>
                  </a:cubicBezTo>
                  <a:cubicBezTo>
                    <a:pt x="7010" y="2735"/>
                    <a:pt x="5723" y="1479"/>
                    <a:pt x="4344" y="1295"/>
                  </a:cubicBezTo>
                  <a:cubicBezTo>
                    <a:pt x="2965" y="1019"/>
                    <a:pt x="2015" y="1907"/>
                    <a:pt x="1739" y="2643"/>
                  </a:cubicBezTo>
                  <a:cubicBezTo>
                    <a:pt x="1433" y="3378"/>
                    <a:pt x="1617" y="3899"/>
                    <a:pt x="1464" y="3930"/>
                  </a:cubicBezTo>
                  <a:cubicBezTo>
                    <a:pt x="1402" y="3991"/>
                    <a:pt x="881" y="3531"/>
                    <a:pt x="1065" y="2428"/>
                  </a:cubicBezTo>
                  <a:cubicBezTo>
                    <a:pt x="1157" y="1907"/>
                    <a:pt x="1433" y="1295"/>
                    <a:pt x="2015" y="774"/>
                  </a:cubicBezTo>
                  <a:cubicBezTo>
                    <a:pt x="2628" y="253"/>
                    <a:pt x="3517" y="-54"/>
                    <a:pt x="4497" y="8"/>
                  </a:cubicBezTo>
                  <a:cubicBezTo>
                    <a:pt x="6489" y="69"/>
                    <a:pt x="8388" y="1816"/>
                    <a:pt x="9369" y="3838"/>
                  </a:cubicBezTo>
                  <a:cubicBezTo>
                    <a:pt x="10472" y="5860"/>
                    <a:pt x="11207" y="8342"/>
                    <a:pt x="11238" y="11008"/>
                  </a:cubicBezTo>
                  <a:cubicBezTo>
                    <a:pt x="11299" y="16247"/>
                    <a:pt x="8817" y="21242"/>
                    <a:pt x="5110" y="22467"/>
                  </a:cubicBezTo>
                  <a:cubicBezTo>
                    <a:pt x="3302" y="23019"/>
                    <a:pt x="1770" y="22529"/>
                    <a:pt x="943" y="21947"/>
                  </a:cubicBezTo>
                  <a:cubicBezTo>
                    <a:pt x="85" y="21303"/>
                    <a:pt x="-68" y="20721"/>
                    <a:pt x="23" y="20690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B96A303-C1F9-454E-A6D4-409BAA9A4CC4}"/>
                </a:ext>
              </a:extLst>
            </p:cNvPr>
            <p:cNvSpPr/>
            <p:nvPr/>
          </p:nvSpPr>
          <p:spPr>
            <a:xfrm>
              <a:off x="6409231" y="3132418"/>
              <a:ext cx="13712" cy="16779"/>
            </a:xfrm>
            <a:custGeom>
              <a:avLst/>
              <a:gdLst>
                <a:gd name="connsiteX0" fmla="*/ 11 w 13712"/>
                <a:gd name="connsiteY0" fmla="*/ 16674 h 16779"/>
                <a:gd name="connsiteX1" fmla="*/ 8376 w 13712"/>
                <a:gd name="connsiteY1" fmla="*/ 9749 h 16779"/>
                <a:gd name="connsiteX2" fmla="*/ 11961 w 13712"/>
                <a:gd name="connsiteY2" fmla="*/ 2977 h 16779"/>
                <a:gd name="connsiteX3" fmla="*/ 13554 w 13712"/>
                <a:gd name="connsiteY3" fmla="*/ 5 h 16779"/>
                <a:gd name="connsiteX4" fmla="*/ 13340 w 13712"/>
                <a:gd name="connsiteY4" fmla="*/ 3406 h 16779"/>
                <a:gd name="connsiteX5" fmla="*/ 10000 w 13712"/>
                <a:gd name="connsiteY5" fmla="*/ 10974 h 16779"/>
                <a:gd name="connsiteX6" fmla="*/ 3381 w 13712"/>
                <a:gd name="connsiteY6" fmla="*/ 16030 h 16779"/>
                <a:gd name="connsiteX7" fmla="*/ 11 w 13712"/>
                <a:gd name="connsiteY7" fmla="*/ 16674 h 1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12" h="16779">
                  <a:moveTo>
                    <a:pt x="11" y="16674"/>
                  </a:moveTo>
                  <a:cubicBezTo>
                    <a:pt x="-265" y="16030"/>
                    <a:pt x="4791" y="14498"/>
                    <a:pt x="8376" y="9749"/>
                  </a:cubicBezTo>
                  <a:cubicBezTo>
                    <a:pt x="10153" y="7420"/>
                    <a:pt x="11195" y="4846"/>
                    <a:pt x="11961" y="2977"/>
                  </a:cubicBezTo>
                  <a:cubicBezTo>
                    <a:pt x="12727" y="1108"/>
                    <a:pt x="13278" y="-87"/>
                    <a:pt x="13554" y="5"/>
                  </a:cubicBezTo>
                  <a:cubicBezTo>
                    <a:pt x="13830" y="97"/>
                    <a:pt x="13738" y="1353"/>
                    <a:pt x="13340" y="3406"/>
                  </a:cubicBezTo>
                  <a:cubicBezTo>
                    <a:pt x="12911" y="5428"/>
                    <a:pt x="12022" y="8309"/>
                    <a:pt x="10000" y="10974"/>
                  </a:cubicBezTo>
                  <a:cubicBezTo>
                    <a:pt x="8008" y="13671"/>
                    <a:pt x="5342" y="15264"/>
                    <a:pt x="3381" y="16030"/>
                  </a:cubicBezTo>
                  <a:cubicBezTo>
                    <a:pt x="1420" y="16827"/>
                    <a:pt x="103" y="16888"/>
                    <a:pt x="11" y="16674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7AA491A-7EA4-4229-AB11-4D14DBBDD99D}"/>
                </a:ext>
              </a:extLst>
            </p:cNvPr>
            <p:cNvSpPr/>
            <p:nvPr/>
          </p:nvSpPr>
          <p:spPr>
            <a:xfrm>
              <a:off x="6329272" y="2978796"/>
              <a:ext cx="191019" cy="141615"/>
            </a:xfrm>
            <a:custGeom>
              <a:avLst/>
              <a:gdLst>
                <a:gd name="connsiteX0" fmla="*/ 189205 w 191019"/>
                <a:gd name="connsiteY0" fmla="*/ 81192 h 141615"/>
                <a:gd name="connsiteX1" fmla="*/ 179614 w 191019"/>
                <a:gd name="connsiteY1" fmla="*/ 50949 h 141615"/>
                <a:gd name="connsiteX2" fmla="*/ 160985 w 191019"/>
                <a:gd name="connsiteY2" fmla="*/ 26621 h 141615"/>
                <a:gd name="connsiteX3" fmla="*/ 160770 w 191019"/>
                <a:gd name="connsiteY3" fmla="*/ 26712 h 141615"/>
                <a:gd name="connsiteX4" fmla="*/ 133347 w 191019"/>
                <a:gd name="connsiteY4" fmla="*/ 29286 h 141615"/>
                <a:gd name="connsiteX5" fmla="*/ 106566 w 191019"/>
                <a:gd name="connsiteY5" fmla="*/ 1709 h 141615"/>
                <a:gd name="connsiteX6" fmla="*/ 59747 w 191019"/>
                <a:gd name="connsiteY6" fmla="*/ 5386 h 141615"/>
                <a:gd name="connsiteX7" fmla="*/ 29137 w 191019"/>
                <a:gd name="connsiteY7" fmla="*/ 29133 h 141615"/>
                <a:gd name="connsiteX8" fmla="*/ 15931 w 191019"/>
                <a:gd name="connsiteY8" fmla="*/ 45158 h 141615"/>
                <a:gd name="connsiteX9" fmla="*/ 4502 w 191019"/>
                <a:gd name="connsiteY9" fmla="*/ 80456 h 141615"/>
                <a:gd name="connsiteX10" fmla="*/ 1284 w 191019"/>
                <a:gd name="connsiteY10" fmla="*/ 83674 h 141615"/>
                <a:gd name="connsiteX11" fmla="*/ 10998 w 191019"/>
                <a:gd name="connsiteY11" fmla="*/ 92560 h 141615"/>
                <a:gd name="connsiteX12" fmla="*/ 11089 w 191019"/>
                <a:gd name="connsiteY12" fmla="*/ 92468 h 141615"/>
                <a:gd name="connsiteX13" fmla="*/ 14092 w 191019"/>
                <a:gd name="connsiteY13" fmla="*/ 98504 h 141615"/>
                <a:gd name="connsiteX14" fmla="*/ 14092 w 191019"/>
                <a:gd name="connsiteY14" fmla="*/ 98565 h 141615"/>
                <a:gd name="connsiteX15" fmla="*/ 14307 w 191019"/>
                <a:gd name="connsiteY15" fmla="*/ 98933 h 141615"/>
                <a:gd name="connsiteX16" fmla="*/ 16237 w 191019"/>
                <a:gd name="connsiteY16" fmla="*/ 102702 h 141615"/>
                <a:gd name="connsiteX17" fmla="*/ 16237 w 191019"/>
                <a:gd name="connsiteY17" fmla="*/ 102610 h 141615"/>
                <a:gd name="connsiteX18" fmla="*/ 25062 w 191019"/>
                <a:gd name="connsiteY18" fmla="*/ 141616 h 141615"/>
                <a:gd name="connsiteX19" fmla="*/ 25399 w 191019"/>
                <a:gd name="connsiteY19" fmla="*/ 83367 h 141615"/>
                <a:gd name="connsiteX20" fmla="*/ 67653 w 191019"/>
                <a:gd name="connsiteY20" fmla="*/ 63849 h 141615"/>
                <a:gd name="connsiteX21" fmla="*/ 85792 w 191019"/>
                <a:gd name="connsiteY21" fmla="*/ 45526 h 141615"/>
                <a:gd name="connsiteX22" fmla="*/ 118302 w 191019"/>
                <a:gd name="connsiteY22" fmla="*/ 47855 h 141615"/>
                <a:gd name="connsiteX23" fmla="*/ 117842 w 191019"/>
                <a:gd name="connsiteY23" fmla="*/ 47456 h 141615"/>
                <a:gd name="connsiteX24" fmla="*/ 132458 w 191019"/>
                <a:gd name="connsiteY24" fmla="*/ 58027 h 141615"/>
                <a:gd name="connsiteX25" fmla="*/ 138831 w 191019"/>
                <a:gd name="connsiteY25" fmla="*/ 120412 h 141615"/>
                <a:gd name="connsiteX26" fmla="*/ 145480 w 191019"/>
                <a:gd name="connsiteY26" fmla="*/ 130799 h 141615"/>
                <a:gd name="connsiteX27" fmla="*/ 156358 w 191019"/>
                <a:gd name="connsiteY27" fmla="*/ 123966 h 141615"/>
                <a:gd name="connsiteX28" fmla="*/ 166929 w 191019"/>
                <a:gd name="connsiteY28" fmla="*/ 121362 h 141615"/>
                <a:gd name="connsiteX29" fmla="*/ 174038 w 191019"/>
                <a:gd name="connsiteY29" fmla="*/ 94490 h 141615"/>
                <a:gd name="connsiteX30" fmla="*/ 184915 w 191019"/>
                <a:gd name="connsiteY30" fmla="*/ 95225 h 141615"/>
                <a:gd name="connsiteX31" fmla="*/ 181575 w 191019"/>
                <a:gd name="connsiteY31" fmla="*/ 87228 h 141615"/>
                <a:gd name="connsiteX32" fmla="*/ 186233 w 191019"/>
                <a:gd name="connsiteY32" fmla="*/ 89342 h 141615"/>
                <a:gd name="connsiteX33" fmla="*/ 190645 w 191019"/>
                <a:gd name="connsiteY33" fmla="*/ 87412 h 141615"/>
                <a:gd name="connsiteX34" fmla="*/ 189205 w 191019"/>
                <a:gd name="connsiteY34" fmla="*/ 81192 h 141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1019" h="141615">
                  <a:moveTo>
                    <a:pt x="189205" y="81192"/>
                  </a:moveTo>
                  <a:cubicBezTo>
                    <a:pt x="183812" y="72061"/>
                    <a:pt x="182556" y="61153"/>
                    <a:pt x="179614" y="50949"/>
                  </a:cubicBezTo>
                  <a:cubicBezTo>
                    <a:pt x="176673" y="40746"/>
                    <a:pt x="170974" y="30205"/>
                    <a:pt x="160985" y="26621"/>
                  </a:cubicBezTo>
                  <a:lnTo>
                    <a:pt x="160770" y="26712"/>
                  </a:lnTo>
                  <a:cubicBezTo>
                    <a:pt x="151792" y="23097"/>
                    <a:pt x="140731" y="23066"/>
                    <a:pt x="133347" y="29286"/>
                  </a:cubicBezTo>
                  <a:cubicBezTo>
                    <a:pt x="131508" y="15835"/>
                    <a:pt x="119711" y="5172"/>
                    <a:pt x="106566" y="1709"/>
                  </a:cubicBezTo>
                  <a:cubicBezTo>
                    <a:pt x="93422" y="-1753"/>
                    <a:pt x="72341" y="331"/>
                    <a:pt x="59747" y="5386"/>
                  </a:cubicBezTo>
                  <a:cubicBezTo>
                    <a:pt x="50003" y="9308"/>
                    <a:pt x="40597" y="17336"/>
                    <a:pt x="29137" y="29133"/>
                  </a:cubicBezTo>
                  <a:cubicBezTo>
                    <a:pt x="24326" y="34097"/>
                    <a:pt x="19883" y="39459"/>
                    <a:pt x="15931" y="45158"/>
                  </a:cubicBezTo>
                  <a:lnTo>
                    <a:pt x="4502" y="80456"/>
                  </a:lnTo>
                  <a:cubicBezTo>
                    <a:pt x="3276" y="81345"/>
                    <a:pt x="2204" y="82448"/>
                    <a:pt x="1284" y="83674"/>
                  </a:cubicBezTo>
                  <a:cubicBezTo>
                    <a:pt x="-3250" y="89863"/>
                    <a:pt x="5237" y="97646"/>
                    <a:pt x="10998" y="92560"/>
                  </a:cubicBezTo>
                  <a:cubicBezTo>
                    <a:pt x="11028" y="92529"/>
                    <a:pt x="11059" y="92498"/>
                    <a:pt x="11089" y="92468"/>
                  </a:cubicBezTo>
                  <a:cubicBezTo>
                    <a:pt x="12254" y="94459"/>
                    <a:pt x="13142" y="96482"/>
                    <a:pt x="14092" y="98504"/>
                  </a:cubicBezTo>
                  <a:lnTo>
                    <a:pt x="14092" y="98565"/>
                  </a:lnTo>
                  <a:lnTo>
                    <a:pt x="14307" y="98933"/>
                  </a:lnTo>
                  <a:cubicBezTo>
                    <a:pt x="14889" y="100189"/>
                    <a:pt x="15502" y="101445"/>
                    <a:pt x="16237" y="102702"/>
                  </a:cubicBezTo>
                  <a:lnTo>
                    <a:pt x="16237" y="102610"/>
                  </a:lnTo>
                  <a:lnTo>
                    <a:pt x="25062" y="141616"/>
                  </a:lnTo>
                  <a:cubicBezTo>
                    <a:pt x="25613" y="130983"/>
                    <a:pt x="24847" y="94000"/>
                    <a:pt x="25399" y="83367"/>
                  </a:cubicBezTo>
                  <a:cubicBezTo>
                    <a:pt x="41822" y="82663"/>
                    <a:pt x="56652" y="76044"/>
                    <a:pt x="67653" y="63849"/>
                  </a:cubicBezTo>
                  <a:cubicBezTo>
                    <a:pt x="73474" y="57415"/>
                    <a:pt x="78040" y="49356"/>
                    <a:pt x="85792" y="45526"/>
                  </a:cubicBezTo>
                  <a:cubicBezTo>
                    <a:pt x="95812" y="40562"/>
                    <a:pt x="107731" y="44178"/>
                    <a:pt x="118302" y="47855"/>
                  </a:cubicBezTo>
                  <a:lnTo>
                    <a:pt x="117842" y="47456"/>
                  </a:lnTo>
                  <a:cubicBezTo>
                    <a:pt x="123327" y="49999"/>
                    <a:pt x="128322" y="53615"/>
                    <a:pt x="132458" y="58027"/>
                  </a:cubicBezTo>
                  <a:cubicBezTo>
                    <a:pt x="130068" y="78955"/>
                    <a:pt x="132274" y="100404"/>
                    <a:pt x="138831" y="120412"/>
                  </a:cubicBezTo>
                  <a:cubicBezTo>
                    <a:pt x="139812" y="123415"/>
                    <a:pt x="142539" y="129635"/>
                    <a:pt x="145480" y="130799"/>
                  </a:cubicBezTo>
                  <a:cubicBezTo>
                    <a:pt x="151302" y="133036"/>
                    <a:pt x="152865" y="127122"/>
                    <a:pt x="156358" y="123966"/>
                  </a:cubicBezTo>
                  <a:cubicBezTo>
                    <a:pt x="158932" y="121638"/>
                    <a:pt x="162762" y="121362"/>
                    <a:pt x="166929" y="121362"/>
                  </a:cubicBezTo>
                  <a:cubicBezTo>
                    <a:pt x="169380" y="114897"/>
                    <a:pt x="171923" y="104019"/>
                    <a:pt x="174038" y="94490"/>
                  </a:cubicBezTo>
                  <a:cubicBezTo>
                    <a:pt x="177561" y="95562"/>
                    <a:pt x="181300" y="95838"/>
                    <a:pt x="184915" y="95225"/>
                  </a:cubicBezTo>
                  <a:cubicBezTo>
                    <a:pt x="183812" y="92560"/>
                    <a:pt x="182678" y="89894"/>
                    <a:pt x="181575" y="87228"/>
                  </a:cubicBezTo>
                  <a:cubicBezTo>
                    <a:pt x="183015" y="88147"/>
                    <a:pt x="184517" y="89097"/>
                    <a:pt x="186233" y="89342"/>
                  </a:cubicBezTo>
                  <a:cubicBezTo>
                    <a:pt x="187918" y="89587"/>
                    <a:pt x="189879" y="88944"/>
                    <a:pt x="190645" y="87412"/>
                  </a:cubicBezTo>
                  <a:cubicBezTo>
                    <a:pt x="191687" y="85390"/>
                    <a:pt x="190339" y="83092"/>
                    <a:pt x="189205" y="8119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CBCF274-6234-4D99-8E26-F0A2D6577945}"/>
                </a:ext>
              </a:extLst>
            </p:cNvPr>
            <p:cNvSpPr/>
            <p:nvPr/>
          </p:nvSpPr>
          <p:spPr>
            <a:xfrm>
              <a:off x="6450728" y="3012434"/>
              <a:ext cx="55461" cy="63862"/>
            </a:xfrm>
            <a:custGeom>
              <a:avLst/>
              <a:gdLst>
                <a:gd name="connsiteX0" fmla="*/ 2 w 55461"/>
                <a:gd name="connsiteY0" fmla="*/ 0 h 63862"/>
                <a:gd name="connsiteX1" fmla="*/ 3801 w 55461"/>
                <a:gd name="connsiteY1" fmla="*/ 3462 h 63862"/>
                <a:gd name="connsiteX2" fmla="*/ 9592 w 55461"/>
                <a:gd name="connsiteY2" fmla="*/ 15995 h 63862"/>
                <a:gd name="connsiteX3" fmla="*/ 10573 w 55461"/>
                <a:gd name="connsiteY3" fmla="*/ 25585 h 63862"/>
                <a:gd name="connsiteX4" fmla="*/ 10052 w 55461"/>
                <a:gd name="connsiteY4" fmla="*/ 36708 h 63862"/>
                <a:gd name="connsiteX5" fmla="*/ 9776 w 55461"/>
                <a:gd name="connsiteY5" fmla="*/ 49087 h 63862"/>
                <a:gd name="connsiteX6" fmla="*/ 10634 w 55461"/>
                <a:gd name="connsiteY6" fmla="*/ 55613 h 63862"/>
                <a:gd name="connsiteX7" fmla="*/ 13300 w 55461"/>
                <a:gd name="connsiteY7" fmla="*/ 61956 h 63862"/>
                <a:gd name="connsiteX8" fmla="*/ 18631 w 55461"/>
                <a:gd name="connsiteY8" fmla="*/ 63764 h 63862"/>
                <a:gd name="connsiteX9" fmla="*/ 23442 w 55461"/>
                <a:gd name="connsiteY9" fmla="*/ 61067 h 63862"/>
                <a:gd name="connsiteX10" fmla="*/ 27088 w 55461"/>
                <a:gd name="connsiteY10" fmla="*/ 51446 h 63862"/>
                <a:gd name="connsiteX11" fmla="*/ 26292 w 55461"/>
                <a:gd name="connsiteY11" fmla="*/ 51538 h 63862"/>
                <a:gd name="connsiteX12" fmla="*/ 30888 w 55461"/>
                <a:gd name="connsiteY12" fmla="*/ 59443 h 63862"/>
                <a:gd name="connsiteX13" fmla="*/ 38242 w 55461"/>
                <a:gd name="connsiteY13" fmla="*/ 63457 h 63862"/>
                <a:gd name="connsiteX14" fmla="*/ 42133 w 55461"/>
                <a:gd name="connsiteY14" fmla="*/ 62783 h 63862"/>
                <a:gd name="connsiteX15" fmla="*/ 44768 w 55461"/>
                <a:gd name="connsiteY15" fmla="*/ 60179 h 63862"/>
                <a:gd name="connsiteX16" fmla="*/ 45565 w 55461"/>
                <a:gd name="connsiteY16" fmla="*/ 56839 h 63862"/>
                <a:gd name="connsiteX17" fmla="*/ 44339 w 55461"/>
                <a:gd name="connsiteY17" fmla="*/ 53897 h 63862"/>
                <a:gd name="connsiteX18" fmla="*/ 43941 w 55461"/>
                <a:gd name="connsiteY18" fmla="*/ 54265 h 63862"/>
                <a:gd name="connsiteX19" fmla="*/ 52061 w 55461"/>
                <a:gd name="connsiteY19" fmla="*/ 60362 h 63862"/>
                <a:gd name="connsiteX20" fmla="*/ 54573 w 55461"/>
                <a:gd name="connsiteY20" fmla="*/ 61343 h 63862"/>
                <a:gd name="connsiteX21" fmla="*/ 55462 w 55461"/>
                <a:gd name="connsiteY21" fmla="*/ 61557 h 63862"/>
                <a:gd name="connsiteX22" fmla="*/ 54604 w 55461"/>
                <a:gd name="connsiteY22" fmla="*/ 61190 h 63862"/>
                <a:gd name="connsiteX23" fmla="*/ 52153 w 55461"/>
                <a:gd name="connsiteY23" fmla="*/ 60087 h 63862"/>
                <a:gd name="connsiteX24" fmla="*/ 44308 w 55461"/>
                <a:gd name="connsiteY24" fmla="*/ 53897 h 63862"/>
                <a:gd name="connsiteX25" fmla="*/ 43910 w 55461"/>
                <a:gd name="connsiteY25" fmla="*/ 54265 h 63862"/>
                <a:gd name="connsiteX26" fmla="*/ 44155 w 55461"/>
                <a:gd name="connsiteY26" fmla="*/ 59872 h 63862"/>
                <a:gd name="connsiteX27" fmla="*/ 41765 w 55461"/>
                <a:gd name="connsiteY27" fmla="*/ 62170 h 63862"/>
                <a:gd name="connsiteX28" fmla="*/ 38242 w 55461"/>
                <a:gd name="connsiteY28" fmla="*/ 62752 h 63862"/>
                <a:gd name="connsiteX29" fmla="*/ 31409 w 55461"/>
                <a:gd name="connsiteY29" fmla="*/ 58953 h 63862"/>
                <a:gd name="connsiteX30" fmla="*/ 26996 w 55461"/>
                <a:gd name="connsiteY30" fmla="*/ 51201 h 63862"/>
                <a:gd name="connsiteX31" fmla="*/ 26445 w 55461"/>
                <a:gd name="connsiteY31" fmla="*/ 49975 h 63862"/>
                <a:gd name="connsiteX32" fmla="*/ 26200 w 55461"/>
                <a:gd name="connsiteY32" fmla="*/ 51293 h 63862"/>
                <a:gd name="connsiteX33" fmla="*/ 22737 w 55461"/>
                <a:gd name="connsiteY33" fmla="*/ 60485 h 63862"/>
                <a:gd name="connsiteX34" fmla="*/ 18448 w 55461"/>
                <a:gd name="connsiteY34" fmla="*/ 62906 h 63862"/>
                <a:gd name="connsiteX35" fmla="*/ 13913 w 55461"/>
                <a:gd name="connsiteY35" fmla="*/ 61374 h 63862"/>
                <a:gd name="connsiteX36" fmla="*/ 11461 w 55461"/>
                <a:gd name="connsiteY36" fmla="*/ 55429 h 63862"/>
                <a:gd name="connsiteX37" fmla="*/ 10603 w 55461"/>
                <a:gd name="connsiteY37" fmla="*/ 49025 h 63862"/>
                <a:gd name="connsiteX38" fmla="*/ 10849 w 55461"/>
                <a:gd name="connsiteY38" fmla="*/ 36738 h 63862"/>
                <a:gd name="connsiteX39" fmla="*/ 11308 w 55461"/>
                <a:gd name="connsiteY39" fmla="*/ 25554 h 63862"/>
                <a:gd name="connsiteX40" fmla="*/ 10236 w 55461"/>
                <a:gd name="connsiteY40" fmla="*/ 15841 h 63862"/>
                <a:gd name="connsiteX41" fmla="*/ 4077 w 55461"/>
                <a:gd name="connsiteY41" fmla="*/ 3187 h 63862"/>
                <a:gd name="connsiteX42" fmla="*/ 2 w 55461"/>
                <a:gd name="connsiteY42" fmla="*/ 0 h 6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5461" h="63862">
                  <a:moveTo>
                    <a:pt x="2" y="0"/>
                  </a:moveTo>
                  <a:cubicBezTo>
                    <a:pt x="-60" y="92"/>
                    <a:pt x="1595" y="1011"/>
                    <a:pt x="3801" y="3462"/>
                  </a:cubicBezTo>
                  <a:cubicBezTo>
                    <a:pt x="5977" y="5914"/>
                    <a:pt x="8428" y="10203"/>
                    <a:pt x="9592" y="15995"/>
                  </a:cubicBezTo>
                  <a:cubicBezTo>
                    <a:pt x="10174" y="18875"/>
                    <a:pt x="10573" y="22123"/>
                    <a:pt x="10573" y="25585"/>
                  </a:cubicBezTo>
                  <a:cubicBezTo>
                    <a:pt x="10573" y="29078"/>
                    <a:pt x="10297" y="32786"/>
                    <a:pt x="10052" y="36708"/>
                  </a:cubicBezTo>
                  <a:cubicBezTo>
                    <a:pt x="9807" y="40630"/>
                    <a:pt x="9531" y="44797"/>
                    <a:pt x="9776" y="49087"/>
                  </a:cubicBezTo>
                  <a:cubicBezTo>
                    <a:pt x="9899" y="51231"/>
                    <a:pt x="10174" y="53438"/>
                    <a:pt x="10634" y="55613"/>
                  </a:cubicBezTo>
                  <a:cubicBezTo>
                    <a:pt x="11124" y="57758"/>
                    <a:pt x="11676" y="60087"/>
                    <a:pt x="13300" y="61956"/>
                  </a:cubicBezTo>
                  <a:cubicBezTo>
                    <a:pt x="14587" y="63457"/>
                    <a:pt x="16762" y="64131"/>
                    <a:pt x="18631" y="63764"/>
                  </a:cubicBezTo>
                  <a:cubicBezTo>
                    <a:pt x="20531" y="63427"/>
                    <a:pt x="22186" y="62415"/>
                    <a:pt x="23442" y="61067"/>
                  </a:cubicBezTo>
                  <a:cubicBezTo>
                    <a:pt x="25863" y="58218"/>
                    <a:pt x="26475" y="54633"/>
                    <a:pt x="27088" y="51446"/>
                  </a:cubicBezTo>
                  <a:lnTo>
                    <a:pt x="26292" y="51538"/>
                  </a:lnTo>
                  <a:cubicBezTo>
                    <a:pt x="27578" y="54387"/>
                    <a:pt x="28927" y="57206"/>
                    <a:pt x="30888" y="59443"/>
                  </a:cubicBezTo>
                  <a:cubicBezTo>
                    <a:pt x="32818" y="61711"/>
                    <a:pt x="35514" y="63212"/>
                    <a:pt x="38242" y="63457"/>
                  </a:cubicBezTo>
                  <a:cubicBezTo>
                    <a:pt x="39590" y="63580"/>
                    <a:pt x="40969" y="63365"/>
                    <a:pt x="42133" y="62783"/>
                  </a:cubicBezTo>
                  <a:cubicBezTo>
                    <a:pt x="43328" y="62201"/>
                    <a:pt x="44186" y="61220"/>
                    <a:pt x="44768" y="60179"/>
                  </a:cubicBezTo>
                  <a:cubicBezTo>
                    <a:pt x="45320" y="59106"/>
                    <a:pt x="45626" y="57942"/>
                    <a:pt x="45565" y="56839"/>
                  </a:cubicBezTo>
                  <a:cubicBezTo>
                    <a:pt x="45503" y="55705"/>
                    <a:pt x="45074" y="54663"/>
                    <a:pt x="44339" y="53897"/>
                  </a:cubicBezTo>
                  <a:lnTo>
                    <a:pt x="43941" y="54265"/>
                  </a:lnTo>
                  <a:cubicBezTo>
                    <a:pt x="46852" y="57574"/>
                    <a:pt x="49916" y="59351"/>
                    <a:pt x="52061" y="60362"/>
                  </a:cubicBezTo>
                  <a:cubicBezTo>
                    <a:pt x="53133" y="60853"/>
                    <a:pt x="53991" y="61159"/>
                    <a:pt x="54573" y="61343"/>
                  </a:cubicBezTo>
                  <a:cubicBezTo>
                    <a:pt x="55155" y="61527"/>
                    <a:pt x="55462" y="61588"/>
                    <a:pt x="55462" y="61557"/>
                  </a:cubicBezTo>
                  <a:cubicBezTo>
                    <a:pt x="55462" y="61527"/>
                    <a:pt x="55186" y="61404"/>
                    <a:pt x="54604" y="61190"/>
                  </a:cubicBezTo>
                  <a:cubicBezTo>
                    <a:pt x="54052" y="60945"/>
                    <a:pt x="53194" y="60608"/>
                    <a:pt x="52153" y="60087"/>
                  </a:cubicBezTo>
                  <a:cubicBezTo>
                    <a:pt x="50100" y="59045"/>
                    <a:pt x="47097" y="57206"/>
                    <a:pt x="44308" y="53897"/>
                  </a:cubicBezTo>
                  <a:lnTo>
                    <a:pt x="43910" y="54265"/>
                  </a:lnTo>
                  <a:cubicBezTo>
                    <a:pt x="45166" y="55613"/>
                    <a:pt x="45258" y="57972"/>
                    <a:pt x="44155" y="59872"/>
                  </a:cubicBezTo>
                  <a:cubicBezTo>
                    <a:pt x="43604" y="60822"/>
                    <a:pt x="42807" y="61680"/>
                    <a:pt x="41765" y="62170"/>
                  </a:cubicBezTo>
                  <a:cubicBezTo>
                    <a:pt x="40723" y="62691"/>
                    <a:pt x="39467" y="62875"/>
                    <a:pt x="38242" y="62752"/>
                  </a:cubicBezTo>
                  <a:cubicBezTo>
                    <a:pt x="35729" y="62507"/>
                    <a:pt x="33247" y="61098"/>
                    <a:pt x="31409" y="58953"/>
                  </a:cubicBezTo>
                  <a:cubicBezTo>
                    <a:pt x="29540" y="56808"/>
                    <a:pt x="28253" y="54050"/>
                    <a:pt x="26996" y="51201"/>
                  </a:cubicBezTo>
                  <a:lnTo>
                    <a:pt x="26445" y="49975"/>
                  </a:lnTo>
                  <a:lnTo>
                    <a:pt x="26200" y="51293"/>
                  </a:lnTo>
                  <a:cubicBezTo>
                    <a:pt x="25587" y="54449"/>
                    <a:pt x="24943" y="57911"/>
                    <a:pt x="22737" y="60485"/>
                  </a:cubicBezTo>
                  <a:cubicBezTo>
                    <a:pt x="21634" y="61711"/>
                    <a:pt x="20102" y="62630"/>
                    <a:pt x="18448" y="62906"/>
                  </a:cubicBezTo>
                  <a:cubicBezTo>
                    <a:pt x="16793" y="63212"/>
                    <a:pt x="15046" y="62691"/>
                    <a:pt x="13913" y="61374"/>
                  </a:cubicBezTo>
                  <a:cubicBezTo>
                    <a:pt x="12503" y="59780"/>
                    <a:pt x="11921" y="57574"/>
                    <a:pt x="11461" y="55429"/>
                  </a:cubicBezTo>
                  <a:cubicBezTo>
                    <a:pt x="11002" y="53284"/>
                    <a:pt x="10757" y="51140"/>
                    <a:pt x="10603" y="49025"/>
                  </a:cubicBezTo>
                  <a:cubicBezTo>
                    <a:pt x="10358" y="44797"/>
                    <a:pt x="10603" y="40660"/>
                    <a:pt x="10849" y="36738"/>
                  </a:cubicBezTo>
                  <a:cubicBezTo>
                    <a:pt x="11094" y="32816"/>
                    <a:pt x="11339" y="29078"/>
                    <a:pt x="11308" y="25554"/>
                  </a:cubicBezTo>
                  <a:cubicBezTo>
                    <a:pt x="11278" y="22031"/>
                    <a:pt x="10879" y="18752"/>
                    <a:pt x="10236" y="15841"/>
                  </a:cubicBezTo>
                  <a:cubicBezTo>
                    <a:pt x="8979" y="9958"/>
                    <a:pt x="6375" y="5638"/>
                    <a:pt x="4077" y="3187"/>
                  </a:cubicBezTo>
                  <a:cubicBezTo>
                    <a:pt x="1718" y="797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B1FECC9-5D7A-4304-85EA-054260B6DBF7}"/>
                </a:ext>
              </a:extLst>
            </p:cNvPr>
            <p:cNvSpPr/>
            <p:nvPr/>
          </p:nvSpPr>
          <p:spPr>
            <a:xfrm>
              <a:off x="6333865" y="2991155"/>
              <a:ext cx="115577" cy="64144"/>
            </a:xfrm>
            <a:custGeom>
              <a:avLst/>
              <a:gdLst>
                <a:gd name="connsiteX0" fmla="*/ 0 w 115577"/>
                <a:gd name="connsiteY0" fmla="*/ 58048 h 64144"/>
                <a:gd name="connsiteX1" fmla="*/ 306 w 115577"/>
                <a:gd name="connsiteY1" fmla="*/ 58293 h 64144"/>
                <a:gd name="connsiteX2" fmla="*/ 1256 w 115577"/>
                <a:gd name="connsiteY2" fmla="*/ 58967 h 64144"/>
                <a:gd name="connsiteX3" fmla="*/ 2850 w 115577"/>
                <a:gd name="connsiteY3" fmla="*/ 59978 h 64144"/>
                <a:gd name="connsiteX4" fmla="*/ 5148 w 115577"/>
                <a:gd name="connsiteY4" fmla="*/ 61173 h 64144"/>
                <a:gd name="connsiteX5" fmla="*/ 21326 w 115577"/>
                <a:gd name="connsiteY5" fmla="*/ 64084 h 64144"/>
                <a:gd name="connsiteX6" fmla="*/ 44123 w 115577"/>
                <a:gd name="connsiteY6" fmla="*/ 55658 h 64144"/>
                <a:gd name="connsiteX7" fmla="*/ 63702 w 115577"/>
                <a:gd name="connsiteY7" fmla="*/ 33076 h 64144"/>
                <a:gd name="connsiteX8" fmla="*/ 71148 w 115577"/>
                <a:gd name="connsiteY8" fmla="*/ 19471 h 64144"/>
                <a:gd name="connsiteX9" fmla="*/ 79605 w 115577"/>
                <a:gd name="connsiteY9" fmla="*/ 7981 h 64144"/>
                <a:gd name="connsiteX10" fmla="*/ 90483 w 115577"/>
                <a:gd name="connsiteY10" fmla="*/ 1362 h 64144"/>
                <a:gd name="connsiteX11" fmla="*/ 96212 w 115577"/>
                <a:gd name="connsiteY11" fmla="*/ 688 h 64144"/>
                <a:gd name="connsiteX12" fmla="*/ 101483 w 115577"/>
                <a:gd name="connsiteY12" fmla="*/ 1699 h 64144"/>
                <a:gd name="connsiteX13" fmla="*/ 109357 w 115577"/>
                <a:gd name="connsiteY13" fmla="*/ 6449 h 64144"/>
                <a:gd name="connsiteX14" fmla="*/ 113616 w 115577"/>
                <a:gd name="connsiteY14" fmla="*/ 11964 h 64144"/>
                <a:gd name="connsiteX15" fmla="*/ 115577 w 115577"/>
                <a:gd name="connsiteY15" fmla="*/ 17633 h 64144"/>
                <a:gd name="connsiteX16" fmla="*/ 115547 w 115577"/>
                <a:gd name="connsiteY16" fmla="*/ 17234 h 64144"/>
                <a:gd name="connsiteX17" fmla="*/ 115363 w 115577"/>
                <a:gd name="connsiteY17" fmla="*/ 16070 h 64144"/>
                <a:gd name="connsiteX18" fmla="*/ 113923 w 115577"/>
                <a:gd name="connsiteY18" fmla="*/ 11811 h 64144"/>
                <a:gd name="connsiteX19" fmla="*/ 109694 w 115577"/>
                <a:gd name="connsiteY19" fmla="*/ 6081 h 64144"/>
                <a:gd name="connsiteX20" fmla="*/ 101666 w 115577"/>
                <a:gd name="connsiteY20" fmla="*/ 1117 h 64144"/>
                <a:gd name="connsiteX21" fmla="*/ 96243 w 115577"/>
                <a:gd name="connsiteY21" fmla="*/ 14 h 64144"/>
                <a:gd name="connsiteX22" fmla="*/ 90268 w 115577"/>
                <a:gd name="connsiteY22" fmla="*/ 658 h 64144"/>
                <a:gd name="connsiteX23" fmla="*/ 79023 w 115577"/>
                <a:gd name="connsiteY23" fmla="*/ 7399 h 64144"/>
                <a:gd name="connsiteX24" fmla="*/ 70382 w 115577"/>
                <a:gd name="connsiteY24" fmla="*/ 19042 h 64144"/>
                <a:gd name="connsiteX25" fmla="*/ 62906 w 115577"/>
                <a:gd name="connsiteY25" fmla="*/ 32616 h 64144"/>
                <a:gd name="connsiteX26" fmla="*/ 43602 w 115577"/>
                <a:gd name="connsiteY26" fmla="*/ 54984 h 64144"/>
                <a:gd name="connsiteX27" fmla="*/ 21234 w 115577"/>
                <a:gd name="connsiteY27" fmla="*/ 63441 h 64144"/>
                <a:gd name="connsiteX28" fmla="*/ 5240 w 115577"/>
                <a:gd name="connsiteY28" fmla="*/ 60836 h 64144"/>
                <a:gd name="connsiteX29" fmla="*/ 0 w 115577"/>
                <a:gd name="connsiteY29" fmla="*/ 58048 h 64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5577" h="64144">
                  <a:moveTo>
                    <a:pt x="0" y="58048"/>
                  </a:moveTo>
                  <a:cubicBezTo>
                    <a:pt x="0" y="58048"/>
                    <a:pt x="92" y="58140"/>
                    <a:pt x="306" y="58293"/>
                  </a:cubicBezTo>
                  <a:cubicBezTo>
                    <a:pt x="552" y="58477"/>
                    <a:pt x="858" y="58691"/>
                    <a:pt x="1256" y="58967"/>
                  </a:cubicBezTo>
                  <a:cubicBezTo>
                    <a:pt x="1655" y="59274"/>
                    <a:pt x="2206" y="59641"/>
                    <a:pt x="2850" y="59978"/>
                  </a:cubicBezTo>
                  <a:cubicBezTo>
                    <a:pt x="3493" y="60346"/>
                    <a:pt x="4259" y="60806"/>
                    <a:pt x="5148" y="61173"/>
                  </a:cubicBezTo>
                  <a:cubicBezTo>
                    <a:pt x="8671" y="62828"/>
                    <a:pt x="14279" y="64483"/>
                    <a:pt x="21326" y="64084"/>
                  </a:cubicBezTo>
                  <a:cubicBezTo>
                    <a:pt x="28281" y="63686"/>
                    <a:pt x="36646" y="61235"/>
                    <a:pt x="44123" y="55658"/>
                  </a:cubicBezTo>
                  <a:cubicBezTo>
                    <a:pt x="51660" y="50235"/>
                    <a:pt x="58279" y="42237"/>
                    <a:pt x="63702" y="33076"/>
                  </a:cubicBezTo>
                  <a:cubicBezTo>
                    <a:pt x="66460" y="28510"/>
                    <a:pt x="68697" y="23822"/>
                    <a:pt x="71148" y="19471"/>
                  </a:cubicBezTo>
                  <a:cubicBezTo>
                    <a:pt x="73599" y="15151"/>
                    <a:pt x="76296" y="11137"/>
                    <a:pt x="79605" y="7981"/>
                  </a:cubicBezTo>
                  <a:cubicBezTo>
                    <a:pt x="82853" y="4794"/>
                    <a:pt x="86622" y="2466"/>
                    <a:pt x="90483" y="1362"/>
                  </a:cubicBezTo>
                  <a:cubicBezTo>
                    <a:pt x="92413" y="780"/>
                    <a:pt x="94374" y="658"/>
                    <a:pt x="96212" y="688"/>
                  </a:cubicBezTo>
                  <a:cubicBezTo>
                    <a:pt x="98082" y="780"/>
                    <a:pt x="99828" y="1179"/>
                    <a:pt x="101483" y="1699"/>
                  </a:cubicBezTo>
                  <a:cubicBezTo>
                    <a:pt x="104731" y="2803"/>
                    <a:pt x="107366" y="4580"/>
                    <a:pt x="109357" y="6449"/>
                  </a:cubicBezTo>
                  <a:cubicBezTo>
                    <a:pt x="111349" y="8318"/>
                    <a:pt x="112697" y="10279"/>
                    <a:pt x="113616" y="11964"/>
                  </a:cubicBezTo>
                  <a:cubicBezTo>
                    <a:pt x="115332" y="15427"/>
                    <a:pt x="115424" y="17663"/>
                    <a:pt x="115577" y="17633"/>
                  </a:cubicBezTo>
                  <a:cubicBezTo>
                    <a:pt x="115577" y="17633"/>
                    <a:pt x="115577" y="17510"/>
                    <a:pt x="115547" y="17234"/>
                  </a:cubicBezTo>
                  <a:cubicBezTo>
                    <a:pt x="115486" y="16928"/>
                    <a:pt x="115424" y="16530"/>
                    <a:pt x="115363" y="16070"/>
                  </a:cubicBezTo>
                  <a:cubicBezTo>
                    <a:pt x="115179" y="15059"/>
                    <a:pt x="114750" y="13588"/>
                    <a:pt x="113923" y="11811"/>
                  </a:cubicBezTo>
                  <a:cubicBezTo>
                    <a:pt x="113034" y="10064"/>
                    <a:pt x="111717" y="8011"/>
                    <a:pt x="109694" y="6081"/>
                  </a:cubicBezTo>
                  <a:cubicBezTo>
                    <a:pt x="107703" y="4151"/>
                    <a:pt x="105037" y="2282"/>
                    <a:pt x="101666" y="1117"/>
                  </a:cubicBezTo>
                  <a:cubicBezTo>
                    <a:pt x="99981" y="535"/>
                    <a:pt x="98173" y="137"/>
                    <a:pt x="96243" y="14"/>
                  </a:cubicBezTo>
                  <a:cubicBezTo>
                    <a:pt x="94313" y="-47"/>
                    <a:pt x="92260" y="76"/>
                    <a:pt x="90268" y="658"/>
                  </a:cubicBezTo>
                  <a:cubicBezTo>
                    <a:pt x="86223" y="1730"/>
                    <a:pt x="82332" y="4151"/>
                    <a:pt x="79023" y="7399"/>
                  </a:cubicBezTo>
                  <a:cubicBezTo>
                    <a:pt x="75652" y="10616"/>
                    <a:pt x="72864" y="14691"/>
                    <a:pt x="70382" y="19042"/>
                  </a:cubicBezTo>
                  <a:cubicBezTo>
                    <a:pt x="67870" y="23393"/>
                    <a:pt x="65633" y="28081"/>
                    <a:pt x="62906" y="32616"/>
                  </a:cubicBezTo>
                  <a:cubicBezTo>
                    <a:pt x="57544" y="41716"/>
                    <a:pt x="51017" y="49622"/>
                    <a:pt x="43602" y="54984"/>
                  </a:cubicBezTo>
                  <a:cubicBezTo>
                    <a:pt x="36279" y="60499"/>
                    <a:pt x="28098" y="62981"/>
                    <a:pt x="21234" y="63441"/>
                  </a:cubicBezTo>
                  <a:cubicBezTo>
                    <a:pt x="14309" y="63931"/>
                    <a:pt x="8763" y="62399"/>
                    <a:pt x="5240" y="60836"/>
                  </a:cubicBezTo>
                  <a:cubicBezTo>
                    <a:pt x="1747" y="59335"/>
                    <a:pt x="61" y="57925"/>
                    <a:pt x="0" y="58048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9FA67F75-78C9-4C38-9E07-1E6D69C3A60F}"/>
                </a:ext>
              </a:extLst>
            </p:cNvPr>
            <p:cNvSpPr/>
            <p:nvPr/>
          </p:nvSpPr>
          <p:spPr>
            <a:xfrm>
              <a:off x="6330432" y="3032582"/>
              <a:ext cx="40019" cy="6191"/>
            </a:xfrm>
            <a:custGeom>
              <a:avLst/>
              <a:gdLst>
                <a:gd name="connsiteX0" fmla="*/ 1 w 40019"/>
                <a:gd name="connsiteY0" fmla="*/ 13 h 6191"/>
                <a:gd name="connsiteX1" fmla="*/ 1350 w 40019"/>
                <a:gd name="connsiteY1" fmla="*/ 963 h 6191"/>
                <a:gd name="connsiteX2" fmla="*/ 5364 w 40019"/>
                <a:gd name="connsiteY2" fmla="*/ 3016 h 6191"/>
                <a:gd name="connsiteX3" fmla="*/ 11706 w 40019"/>
                <a:gd name="connsiteY3" fmla="*/ 5099 h 6191"/>
                <a:gd name="connsiteX4" fmla="*/ 19826 w 40019"/>
                <a:gd name="connsiteY4" fmla="*/ 6172 h 6191"/>
                <a:gd name="connsiteX5" fmla="*/ 28007 w 40019"/>
                <a:gd name="connsiteY5" fmla="*/ 5620 h 6191"/>
                <a:gd name="connsiteX6" fmla="*/ 34472 w 40019"/>
                <a:gd name="connsiteY6" fmla="*/ 3935 h 6191"/>
                <a:gd name="connsiteX7" fmla="*/ 38609 w 40019"/>
                <a:gd name="connsiteY7" fmla="*/ 2158 h 6191"/>
                <a:gd name="connsiteX8" fmla="*/ 40018 w 40019"/>
                <a:gd name="connsiteY8" fmla="*/ 1300 h 6191"/>
                <a:gd name="connsiteX9" fmla="*/ 34289 w 40019"/>
                <a:gd name="connsiteY9" fmla="*/ 3353 h 6191"/>
                <a:gd name="connsiteX10" fmla="*/ 27884 w 40019"/>
                <a:gd name="connsiteY10" fmla="*/ 4824 h 6191"/>
                <a:gd name="connsiteX11" fmla="*/ 19857 w 40019"/>
                <a:gd name="connsiteY11" fmla="*/ 5314 h 6191"/>
                <a:gd name="connsiteX12" fmla="*/ 11890 w 40019"/>
                <a:gd name="connsiteY12" fmla="*/ 4333 h 6191"/>
                <a:gd name="connsiteX13" fmla="*/ 5578 w 40019"/>
                <a:gd name="connsiteY13" fmla="*/ 2464 h 6191"/>
                <a:gd name="connsiteX14" fmla="*/ 1 w 40019"/>
                <a:gd name="connsiteY14" fmla="*/ 13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019" h="6191">
                  <a:moveTo>
                    <a:pt x="1" y="13"/>
                  </a:moveTo>
                  <a:cubicBezTo>
                    <a:pt x="-29" y="74"/>
                    <a:pt x="461" y="411"/>
                    <a:pt x="1350" y="963"/>
                  </a:cubicBezTo>
                  <a:cubicBezTo>
                    <a:pt x="2238" y="1545"/>
                    <a:pt x="3617" y="2250"/>
                    <a:pt x="5364" y="3016"/>
                  </a:cubicBezTo>
                  <a:cubicBezTo>
                    <a:pt x="7110" y="3782"/>
                    <a:pt x="9255" y="4517"/>
                    <a:pt x="11706" y="5099"/>
                  </a:cubicBezTo>
                  <a:cubicBezTo>
                    <a:pt x="14157" y="5651"/>
                    <a:pt x="16915" y="6080"/>
                    <a:pt x="19826" y="6172"/>
                  </a:cubicBezTo>
                  <a:cubicBezTo>
                    <a:pt x="22737" y="6264"/>
                    <a:pt x="25525" y="6019"/>
                    <a:pt x="28007" y="5620"/>
                  </a:cubicBezTo>
                  <a:cubicBezTo>
                    <a:pt x="30489" y="5191"/>
                    <a:pt x="32695" y="4609"/>
                    <a:pt x="34472" y="3935"/>
                  </a:cubicBezTo>
                  <a:cubicBezTo>
                    <a:pt x="36249" y="3292"/>
                    <a:pt x="37690" y="2679"/>
                    <a:pt x="38609" y="2158"/>
                  </a:cubicBezTo>
                  <a:cubicBezTo>
                    <a:pt x="39559" y="1668"/>
                    <a:pt x="40049" y="1361"/>
                    <a:pt x="40018" y="1300"/>
                  </a:cubicBezTo>
                  <a:cubicBezTo>
                    <a:pt x="39957" y="1147"/>
                    <a:pt x="37843" y="2219"/>
                    <a:pt x="34289" y="3353"/>
                  </a:cubicBezTo>
                  <a:cubicBezTo>
                    <a:pt x="32511" y="3935"/>
                    <a:pt x="30336" y="4425"/>
                    <a:pt x="27884" y="4824"/>
                  </a:cubicBezTo>
                  <a:cubicBezTo>
                    <a:pt x="25433" y="5161"/>
                    <a:pt x="22706" y="5375"/>
                    <a:pt x="19857" y="5314"/>
                  </a:cubicBezTo>
                  <a:cubicBezTo>
                    <a:pt x="17007" y="5191"/>
                    <a:pt x="14311" y="4824"/>
                    <a:pt x="11890" y="4333"/>
                  </a:cubicBezTo>
                  <a:cubicBezTo>
                    <a:pt x="9469" y="3782"/>
                    <a:pt x="7324" y="3138"/>
                    <a:pt x="5578" y="2464"/>
                  </a:cubicBezTo>
                  <a:cubicBezTo>
                    <a:pt x="2085" y="1085"/>
                    <a:pt x="63" y="-140"/>
                    <a:pt x="1" y="13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9D8F1A4-580C-4036-984F-7FA032D3DE88}"/>
                </a:ext>
              </a:extLst>
            </p:cNvPr>
            <p:cNvSpPr/>
            <p:nvPr/>
          </p:nvSpPr>
          <p:spPr>
            <a:xfrm>
              <a:off x="6361218" y="3082838"/>
              <a:ext cx="23310" cy="6796"/>
            </a:xfrm>
            <a:custGeom>
              <a:avLst/>
              <a:gdLst>
                <a:gd name="connsiteX0" fmla="*/ 101 w 23310"/>
                <a:gd name="connsiteY0" fmla="*/ 6687 h 6796"/>
                <a:gd name="connsiteX1" fmla="*/ 11531 w 23310"/>
                <a:gd name="connsiteY1" fmla="*/ 3777 h 6796"/>
                <a:gd name="connsiteX2" fmla="*/ 23235 w 23310"/>
                <a:gd name="connsiteY2" fmla="*/ 5891 h 6796"/>
                <a:gd name="connsiteX3" fmla="*/ 20723 w 23310"/>
                <a:gd name="connsiteY3" fmla="*/ 2674 h 6796"/>
                <a:gd name="connsiteX4" fmla="*/ 11316 w 23310"/>
                <a:gd name="connsiteY4" fmla="*/ 8 h 6796"/>
                <a:gd name="connsiteX5" fmla="*/ 2246 w 23310"/>
                <a:gd name="connsiteY5" fmla="*/ 3317 h 6796"/>
                <a:gd name="connsiteX6" fmla="*/ 101 w 23310"/>
                <a:gd name="connsiteY6" fmla="*/ 6687 h 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10" h="6796">
                  <a:moveTo>
                    <a:pt x="101" y="6687"/>
                  </a:moveTo>
                  <a:cubicBezTo>
                    <a:pt x="867" y="7453"/>
                    <a:pt x="5219" y="3930"/>
                    <a:pt x="11531" y="3777"/>
                  </a:cubicBezTo>
                  <a:cubicBezTo>
                    <a:pt x="17843" y="3501"/>
                    <a:pt x="22592" y="6718"/>
                    <a:pt x="23235" y="5891"/>
                  </a:cubicBezTo>
                  <a:cubicBezTo>
                    <a:pt x="23572" y="5523"/>
                    <a:pt x="22776" y="4144"/>
                    <a:pt x="20723" y="2674"/>
                  </a:cubicBezTo>
                  <a:cubicBezTo>
                    <a:pt x="18701" y="1233"/>
                    <a:pt x="15269" y="-115"/>
                    <a:pt x="11316" y="8"/>
                  </a:cubicBezTo>
                  <a:cubicBezTo>
                    <a:pt x="7363" y="161"/>
                    <a:pt x="4115" y="1724"/>
                    <a:pt x="2246" y="3317"/>
                  </a:cubicBezTo>
                  <a:cubicBezTo>
                    <a:pt x="347" y="4910"/>
                    <a:pt x="-266" y="6350"/>
                    <a:pt x="101" y="668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A57F37-0BDA-4C8A-8CEC-3C03F64695DB}"/>
                </a:ext>
              </a:extLst>
            </p:cNvPr>
            <p:cNvSpPr/>
            <p:nvPr/>
          </p:nvSpPr>
          <p:spPr>
            <a:xfrm>
              <a:off x="6364871" y="3097033"/>
              <a:ext cx="10239" cy="9806"/>
            </a:xfrm>
            <a:custGeom>
              <a:avLst/>
              <a:gdLst>
                <a:gd name="connsiteX0" fmla="*/ 3 w 10239"/>
                <a:gd name="connsiteY0" fmla="*/ 5025 h 9806"/>
                <a:gd name="connsiteX1" fmla="*/ 5304 w 10239"/>
                <a:gd name="connsiteY1" fmla="*/ 9805 h 9806"/>
                <a:gd name="connsiteX2" fmla="*/ 10237 w 10239"/>
                <a:gd name="connsiteY2" fmla="*/ 4811 h 9806"/>
                <a:gd name="connsiteX3" fmla="*/ 4936 w 10239"/>
                <a:gd name="connsiteY3" fmla="*/ 0 h 9806"/>
                <a:gd name="connsiteX4" fmla="*/ 3 w 10239"/>
                <a:gd name="connsiteY4" fmla="*/ 5025 h 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39" h="9806">
                  <a:moveTo>
                    <a:pt x="3" y="5025"/>
                  </a:moveTo>
                  <a:cubicBezTo>
                    <a:pt x="95" y="7722"/>
                    <a:pt x="2485" y="9867"/>
                    <a:pt x="5304" y="9805"/>
                  </a:cubicBezTo>
                  <a:cubicBezTo>
                    <a:pt x="8123" y="9744"/>
                    <a:pt x="10329" y="7507"/>
                    <a:pt x="10237" y="4811"/>
                  </a:cubicBezTo>
                  <a:cubicBezTo>
                    <a:pt x="10145" y="2115"/>
                    <a:pt x="7755" y="-30"/>
                    <a:pt x="4936" y="0"/>
                  </a:cubicBezTo>
                  <a:cubicBezTo>
                    <a:pt x="2117" y="92"/>
                    <a:pt x="-89" y="2329"/>
                    <a:pt x="3" y="5025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ECC3B34-1185-43B4-B230-8BF4526A5555}"/>
                </a:ext>
              </a:extLst>
            </p:cNvPr>
            <p:cNvSpPr/>
            <p:nvPr/>
          </p:nvSpPr>
          <p:spPr>
            <a:xfrm>
              <a:off x="6090331" y="3237307"/>
              <a:ext cx="260968" cy="173425"/>
            </a:xfrm>
            <a:custGeom>
              <a:avLst/>
              <a:gdLst>
                <a:gd name="connsiteX0" fmla="*/ 245863 w 260968"/>
                <a:gd name="connsiteY0" fmla="*/ 5056 h 173425"/>
                <a:gd name="connsiteX1" fmla="*/ 109204 w 260968"/>
                <a:gd name="connsiteY1" fmla="*/ 94496 h 173425"/>
                <a:gd name="connsiteX2" fmla="*/ 25953 w 260968"/>
                <a:gd name="connsiteY2" fmla="*/ 29568 h 173425"/>
                <a:gd name="connsiteX3" fmla="*/ 0 w 260968"/>
                <a:gd name="connsiteY3" fmla="*/ 70658 h 173425"/>
                <a:gd name="connsiteX4" fmla="*/ 66460 w 260968"/>
                <a:gd name="connsiteY4" fmla="*/ 145820 h 173425"/>
                <a:gd name="connsiteX5" fmla="*/ 110552 w 260968"/>
                <a:gd name="connsiteY5" fmla="*/ 173213 h 173425"/>
                <a:gd name="connsiteX6" fmla="*/ 243044 w 260968"/>
                <a:gd name="connsiteY6" fmla="*/ 125444 h 173425"/>
                <a:gd name="connsiteX7" fmla="*/ 260969 w 260968"/>
                <a:gd name="connsiteY7" fmla="*/ 0 h 173425"/>
                <a:gd name="connsiteX8" fmla="*/ 253461 w 260968"/>
                <a:gd name="connsiteY8" fmla="*/ 1808 h 173425"/>
                <a:gd name="connsiteX9" fmla="*/ 245863 w 260968"/>
                <a:gd name="connsiteY9" fmla="*/ 5056 h 17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0968" h="173425">
                  <a:moveTo>
                    <a:pt x="245863" y="5056"/>
                  </a:moveTo>
                  <a:lnTo>
                    <a:pt x="109204" y="94496"/>
                  </a:lnTo>
                  <a:lnTo>
                    <a:pt x="25953" y="29568"/>
                  </a:lnTo>
                  <a:lnTo>
                    <a:pt x="0" y="70658"/>
                  </a:lnTo>
                  <a:cubicBezTo>
                    <a:pt x="0" y="70658"/>
                    <a:pt x="48474" y="126761"/>
                    <a:pt x="66460" y="145820"/>
                  </a:cubicBezTo>
                  <a:cubicBezTo>
                    <a:pt x="84416" y="164878"/>
                    <a:pt x="96396" y="175051"/>
                    <a:pt x="110552" y="173213"/>
                  </a:cubicBezTo>
                  <a:cubicBezTo>
                    <a:pt x="124708" y="171405"/>
                    <a:pt x="243044" y="125444"/>
                    <a:pt x="243044" y="125444"/>
                  </a:cubicBezTo>
                  <a:lnTo>
                    <a:pt x="260969" y="0"/>
                  </a:lnTo>
                  <a:lnTo>
                    <a:pt x="253461" y="1808"/>
                  </a:lnTo>
                  <a:cubicBezTo>
                    <a:pt x="250765" y="2421"/>
                    <a:pt x="248191" y="3554"/>
                    <a:pt x="245863" y="5056"/>
                  </a:cubicBezTo>
                  <a:close/>
                </a:path>
              </a:pathLst>
            </a:custGeom>
            <a:solidFill>
              <a:srgbClr val="094A4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1905014A-FDF5-4DB8-AA55-7B9590C57AF6}"/>
                </a:ext>
              </a:extLst>
            </p:cNvPr>
            <p:cNvSpPr/>
            <p:nvPr/>
          </p:nvSpPr>
          <p:spPr>
            <a:xfrm>
              <a:off x="6303041" y="3211813"/>
              <a:ext cx="270620" cy="336712"/>
            </a:xfrm>
            <a:custGeom>
              <a:avLst/>
              <a:gdLst>
                <a:gd name="connsiteX0" fmla="*/ 185684 w 270620"/>
                <a:gd name="connsiteY0" fmla="*/ 0 h 336712"/>
                <a:gd name="connsiteX1" fmla="*/ 93087 w 270620"/>
                <a:gd name="connsiteY1" fmla="*/ 14003 h 336712"/>
                <a:gd name="connsiteX2" fmla="*/ 46176 w 270620"/>
                <a:gd name="connsiteY2" fmla="*/ 25983 h 336712"/>
                <a:gd name="connsiteX3" fmla="*/ 23379 w 270620"/>
                <a:gd name="connsiteY3" fmla="*/ 65633 h 336712"/>
                <a:gd name="connsiteX4" fmla="*/ 18691 w 270620"/>
                <a:gd name="connsiteY4" fmla="*/ 86193 h 336712"/>
                <a:gd name="connsiteX5" fmla="*/ 27638 w 270620"/>
                <a:gd name="connsiteY5" fmla="*/ 237957 h 336712"/>
                <a:gd name="connsiteX6" fmla="*/ 0 w 270620"/>
                <a:gd name="connsiteY6" fmla="*/ 334353 h 336712"/>
                <a:gd name="connsiteX7" fmla="*/ 270620 w 270620"/>
                <a:gd name="connsiteY7" fmla="*/ 336712 h 336712"/>
                <a:gd name="connsiteX8" fmla="*/ 257292 w 270620"/>
                <a:gd name="connsiteY8" fmla="*/ 265105 h 336712"/>
                <a:gd name="connsiteX9" fmla="*/ 223740 w 270620"/>
                <a:gd name="connsiteY9" fmla="*/ 7783 h 336712"/>
                <a:gd name="connsiteX10" fmla="*/ 185684 w 270620"/>
                <a:gd name="connsiteY10" fmla="*/ 0 h 33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0620" h="336712">
                  <a:moveTo>
                    <a:pt x="185684" y="0"/>
                  </a:moveTo>
                  <a:cubicBezTo>
                    <a:pt x="155104" y="19212"/>
                    <a:pt x="124310" y="26443"/>
                    <a:pt x="93087" y="14003"/>
                  </a:cubicBezTo>
                  <a:lnTo>
                    <a:pt x="46176" y="25983"/>
                  </a:lnTo>
                  <a:lnTo>
                    <a:pt x="23379" y="65633"/>
                  </a:lnTo>
                  <a:cubicBezTo>
                    <a:pt x="19794" y="71853"/>
                    <a:pt x="18170" y="79023"/>
                    <a:pt x="18691" y="86193"/>
                  </a:cubicBezTo>
                  <a:lnTo>
                    <a:pt x="27638" y="237957"/>
                  </a:lnTo>
                  <a:lnTo>
                    <a:pt x="0" y="334353"/>
                  </a:lnTo>
                  <a:lnTo>
                    <a:pt x="270620" y="336712"/>
                  </a:lnTo>
                  <a:lnTo>
                    <a:pt x="257292" y="265105"/>
                  </a:lnTo>
                  <a:lnTo>
                    <a:pt x="223740" y="7783"/>
                  </a:lnTo>
                  <a:lnTo>
                    <a:pt x="185684" y="0"/>
                  </a:lnTo>
                  <a:close/>
                </a:path>
              </a:pathLst>
            </a:custGeom>
            <a:solidFill>
              <a:srgbClr val="094A4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D97D284-9EDD-4AE6-85F5-F3176BDAE7C5}"/>
                </a:ext>
              </a:extLst>
            </p:cNvPr>
            <p:cNvSpPr/>
            <p:nvPr/>
          </p:nvSpPr>
          <p:spPr>
            <a:xfrm>
              <a:off x="6521633" y="3218861"/>
              <a:ext cx="165044" cy="323340"/>
            </a:xfrm>
            <a:custGeom>
              <a:avLst/>
              <a:gdLst>
                <a:gd name="connsiteX0" fmla="*/ 8457 w 165044"/>
                <a:gd name="connsiteY0" fmla="*/ 116190 h 323340"/>
                <a:gd name="connsiteX1" fmla="*/ 0 w 165044"/>
                <a:gd name="connsiteY1" fmla="*/ 0 h 323340"/>
                <a:gd name="connsiteX2" fmla="*/ 84783 w 165044"/>
                <a:gd name="connsiteY2" fmla="*/ 50833 h 323340"/>
                <a:gd name="connsiteX3" fmla="*/ 161110 w 165044"/>
                <a:gd name="connsiteY3" fmla="*/ 214363 h 323340"/>
                <a:gd name="connsiteX4" fmla="*/ 48995 w 165044"/>
                <a:gd name="connsiteY4" fmla="*/ 323200 h 323340"/>
                <a:gd name="connsiteX5" fmla="*/ 37688 w 165044"/>
                <a:gd name="connsiteY5" fmla="*/ 261029 h 323340"/>
                <a:gd name="connsiteX6" fmla="*/ 8457 w 165044"/>
                <a:gd name="connsiteY6" fmla="*/ 116190 h 32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044" h="323340">
                  <a:moveTo>
                    <a:pt x="8457" y="116190"/>
                  </a:moveTo>
                  <a:lnTo>
                    <a:pt x="0" y="0"/>
                  </a:lnTo>
                  <a:cubicBezTo>
                    <a:pt x="0" y="0"/>
                    <a:pt x="63702" y="5914"/>
                    <a:pt x="84783" y="50833"/>
                  </a:cubicBezTo>
                  <a:cubicBezTo>
                    <a:pt x="102555" y="88705"/>
                    <a:pt x="155840" y="198798"/>
                    <a:pt x="161110" y="214363"/>
                  </a:cubicBezTo>
                  <a:cubicBezTo>
                    <a:pt x="176522" y="260110"/>
                    <a:pt x="148179" y="326815"/>
                    <a:pt x="48995" y="323200"/>
                  </a:cubicBezTo>
                  <a:lnTo>
                    <a:pt x="37688" y="261029"/>
                  </a:lnTo>
                  <a:lnTo>
                    <a:pt x="8457" y="116190"/>
                  </a:lnTo>
                  <a:close/>
                </a:path>
              </a:pathLst>
            </a:custGeom>
            <a:solidFill>
              <a:srgbClr val="094A4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A20CE0E-4C0A-4C26-B5E9-C6266621E473}"/>
                </a:ext>
              </a:extLst>
            </p:cNvPr>
            <p:cNvSpPr/>
            <p:nvPr/>
          </p:nvSpPr>
          <p:spPr>
            <a:xfrm>
              <a:off x="6580944" y="3431784"/>
              <a:ext cx="13041" cy="30275"/>
            </a:xfrm>
            <a:custGeom>
              <a:avLst/>
              <a:gdLst>
                <a:gd name="connsiteX0" fmla="*/ 9 w 13041"/>
                <a:gd name="connsiteY0" fmla="*/ 0 h 30275"/>
                <a:gd name="connsiteX1" fmla="*/ 1603 w 13041"/>
                <a:gd name="connsiteY1" fmla="*/ 4566 h 30275"/>
                <a:gd name="connsiteX2" fmla="*/ 6168 w 13041"/>
                <a:gd name="connsiteY2" fmla="*/ 15290 h 30275"/>
                <a:gd name="connsiteX3" fmla="*/ 10948 w 13041"/>
                <a:gd name="connsiteY3" fmla="*/ 25923 h 30275"/>
                <a:gd name="connsiteX4" fmla="*/ 13032 w 13041"/>
                <a:gd name="connsiteY4" fmla="*/ 30274 h 30275"/>
                <a:gd name="connsiteX5" fmla="*/ 11439 w 13041"/>
                <a:gd name="connsiteY5" fmla="*/ 25708 h 30275"/>
                <a:gd name="connsiteX6" fmla="*/ 6842 w 13041"/>
                <a:gd name="connsiteY6" fmla="*/ 14984 h 30275"/>
                <a:gd name="connsiteX7" fmla="*/ 2062 w 13041"/>
                <a:gd name="connsiteY7" fmla="*/ 4351 h 30275"/>
                <a:gd name="connsiteX8" fmla="*/ 9 w 13041"/>
                <a:gd name="connsiteY8" fmla="*/ 0 h 3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41" h="30275">
                  <a:moveTo>
                    <a:pt x="9" y="0"/>
                  </a:moveTo>
                  <a:cubicBezTo>
                    <a:pt x="-82" y="31"/>
                    <a:pt x="500" y="1778"/>
                    <a:pt x="1603" y="4566"/>
                  </a:cubicBezTo>
                  <a:cubicBezTo>
                    <a:pt x="2706" y="7354"/>
                    <a:pt x="4330" y="11154"/>
                    <a:pt x="6168" y="15290"/>
                  </a:cubicBezTo>
                  <a:cubicBezTo>
                    <a:pt x="7976" y="19335"/>
                    <a:pt x="9631" y="22981"/>
                    <a:pt x="10948" y="25923"/>
                  </a:cubicBezTo>
                  <a:cubicBezTo>
                    <a:pt x="12174" y="28650"/>
                    <a:pt x="12940" y="30335"/>
                    <a:pt x="13032" y="30274"/>
                  </a:cubicBezTo>
                  <a:cubicBezTo>
                    <a:pt x="13124" y="30243"/>
                    <a:pt x="12542" y="28496"/>
                    <a:pt x="11439" y="25708"/>
                  </a:cubicBezTo>
                  <a:cubicBezTo>
                    <a:pt x="10336" y="22920"/>
                    <a:pt x="8711" y="19120"/>
                    <a:pt x="6842" y="14984"/>
                  </a:cubicBezTo>
                  <a:cubicBezTo>
                    <a:pt x="5035" y="10939"/>
                    <a:pt x="3380" y="7293"/>
                    <a:pt x="2062" y="4351"/>
                  </a:cubicBezTo>
                  <a:cubicBezTo>
                    <a:pt x="867" y="1655"/>
                    <a:pt x="101" y="-30"/>
                    <a:pt x="9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0A1C7C17-2D89-48A9-BC32-DAF44E654947}"/>
                </a:ext>
              </a:extLst>
            </p:cNvPr>
            <p:cNvSpPr/>
            <p:nvPr/>
          </p:nvSpPr>
          <p:spPr>
            <a:xfrm>
              <a:off x="6545345" y="3307444"/>
              <a:ext cx="738" cy="32908"/>
            </a:xfrm>
            <a:custGeom>
              <a:avLst/>
              <a:gdLst>
                <a:gd name="connsiteX0" fmla="*/ 371 w 738"/>
                <a:gd name="connsiteY0" fmla="*/ 32908 h 32908"/>
                <a:gd name="connsiteX1" fmla="*/ 739 w 738"/>
                <a:gd name="connsiteY1" fmla="*/ 16454 h 32908"/>
                <a:gd name="connsiteX2" fmla="*/ 371 w 738"/>
                <a:gd name="connsiteY2" fmla="*/ 0 h 32908"/>
                <a:gd name="connsiteX3" fmla="*/ 3 w 738"/>
                <a:gd name="connsiteY3" fmla="*/ 16454 h 32908"/>
                <a:gd name="connsiteX4" fmla="*/ 371 w 738"/>
                <a:gd name="connsiteY4" fmla="*/ 32908 h 3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" h="32908">
                  <a:moveTo>
                    <a:pt x="371" y="32908"/>
                  </a:moveTo>
                  <a:cubicBezTo>
                    <a:pt x="586" y="32908"/>
                    <a:pt x="739" y="25554"/>
                    <a:pt x="739" y="16454"/>
                  </a:cubicBezTo>
                  <a:cubicBezTo>
                    <a:pt x="739" y="7354"/>
                    <a:pt x="555" y="0"/>
                    <a:pt x="371" y="0"/>
                  </a:cubicBezTo>
                  <a:cubicBezTo>
                    <a:pt x="157" y="0"/>
                    <a:pt x="3" y="7354"/>
                    <a:pt x="3" y="16454"/>
                  </a:cubicBezTo>
                  <a:cubicBezTo>
                    <a:pt x="-27" y="25524"/>
                    <a:pt x="157" y="32908"/>
                    <a:pt x="371" y="3290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25BF0B11-5ABA-4655-8ABD-2D2608BB8FC2}"/>
                </a:ext>
              </a:extLst>
            </p:cNvPr>
            <p:cNvSpPr/>
            <p:nvPr/>
          </p:nvSpPr>
          <p:spPr>
            <a:xfrm>
              <a:off x="6555074" y="3249469"/>
              <a:ext cx="24348" cy="41397"/>
            </a:xfrm>
            <a:custGeom>
              <a:avLst/>
              <a:gdLst>
                <a:gd name="connsiteX0" fmla="*/ 19 w 24348"/>
                <a:gd name="connsiteY0" fmla="*/ 41397 h 41397"/>
                <a:gd name="connsiteX1" fmla="*/ 601 w 24348"/>
                <a:gd name="connsiteY1" fmla="*/ 39559 h 41397"/>
                <a:gd name="connsiteX2" fmla="*/ 2102 w 24348"/>
                <a:gd name="connsiteY2" fmla="*/ 34565 h 41397"/>
                <a:gd name="connsiteX3" fmla="*/ 9180 w 24348"/>
                <a:gd name="connsiteY3" fmla="*/ 18938 h 41397"/>
                <a:gd name="connsiteX4" fmla="*/ 19414 w 24348"/>
                <a:gd name="connsiteY4" fmla="*/ 5149 h 41397"/>
                <a:gd name="connsiteX5" fmla="*/ 23030 w 24348"/>
                <a:gd name="connsiteY5" fmla="*/ 1411 h 41397"/>
                <a:gd name="connsiteX6" fmla="*/ 24347 w 24348"/>
                <a:gd name="connsiteY6" fmla="*/ 2 h 41397"/>
                <a:gd name="connsiteX7" fmla="*/ 22815 w 24348"/>
                <a:gd name="connsiteY7" fmla="*/ 1197 h 41397"/>
                <a:gd name="connsiteX8" fmla="*/ 18985 w 24348"/>
                <a:gd name="connsiteY8" fmla="*/ 4782 h 41397"/>
                <a:gd name="connsiteX9" fmla="*/ 8476 w 24348"/>
                <a:gd name="connsiteY9" fmla="*/ 18539 h 41397"/>
                <a:gd name="connsiteX10" fmla="*/ 1551 w 24348"/>
                <a:gd name="connsiteY10" fmla="*/ 34411 h 41397"/>
                <a:gd name="connsiteX11" fmla="*/ 264 w 24348"/>
                <a:gd name="connsiteY11" fmla="*/ 39498 h 41397"/>
                <a:gd name="connsiteX12" fmla="*/ 19 w 24348"/>
                <a:gd name="connsiteY12" fmla="*/ 41397 h 4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348" h="41397">
                  <a:moveTo>
                    <a:pt x="19" y="41397"/>
                  </a:moveTo>
                  <a:cubicBezTo>
                    <a:pt x="80" y="41397"/>
                    <a:pt x="264" y="40754"/>
                    <a:pt x="601" y="39559"/>
                  </a:cubicBezTo>
                  <a:cubicBezTo>
                    <a:pt x="907" y="38364"/>
                    <a:pt x="1428" y="36648"/>
                    <a:pt x="2102" y="34565"/>
                  </a:cubicBezTo>
                  <a:cubicBezTo>
                    <a:pt x="3481" y="30397"/>
                    <a:pt x="5779" y="24729"/>
                    <a:pt x="9180" y="18938"/>
                  </a:cubicBezTo>
                  <a:cubicBezTo>
                    <a:pt x="12581" y="13147"/>
                    <a:pt x="16412" y="8397"/>
                    <a:pt x="19414" y="5149"/>
                  </a:cubicBezTo>
                  <a:cubicBezTo>
                    <a:pt x="20916" y="3525"/>
                    <a:pt x="22141" y="2238"/>
                    <a:pt x="23030" y="1411"/>
                  </a:cubicBezTo>
                  <a:cubicBezTo>
                    <a:pt x="23919" y="553"/>
                    <a:pt x="24378" y="63"/>
                    <a:pt x="24347" y="2"/>
                  </a:cubicBezTo>
                  <a:cubicBezTo>
                    <a:pt x="24317" y="-29"/>
                    <a:pt x="23765" y="369"/>
                    <a:pt x="22815" y="1197"/>
                  </a:cubicBezTo>
                  <a:cubicBezTo>
                    <a:pt x="21866" y="1993"/>
                    <a:pt x="20548" y="3219"/>
                    <a:pt x="18985" y="4782"/>
                  </a:cubicBezTo>
                  <a:cubicBezTo>
                    <a:pt x="15891" y="7938"/>
                    <a:pt x="11938" y="12718"/>
                    <a:pt x="8476" y="18539"/>
                  </a:cubicBezTo>
                  <a:cubicBezTo>
                    <a:pt x="5044" y="24392"/>
                    <a:pt x="2776" y="30152"/>
                    <a:pt x="1551" y="34411"/>
                  </a:cubicBezTo>
                  <a:cubicBezTo>
                    <a:pt x="907" y="36526"/>
                    <a:pt x="478" y="38272"/>
                    <a:pt x="264" y="39498"/>
                  </a:cubicBezTo>
                  <a:cubicBezTo>
                    <a:pt x="49" y="40693"/>
                    <a:pt x="-43" y="41367"/>
                    <a:pt x="19" y="4139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0D09DA1-8220-4395-99F2-F652F42F6952}"/>
                </a:ext>
              </a:extLst>
            </p:cNvPr>
            <p:cNvSpPr/>
            <p:nvPr/>
          </p:nvSpPr>
          <p:spPr>
            <a:xfrm>
              <a:off x="6326087" y="3283666"/>
              <a:ext cx="4805" cy="96518"/>
            </a:xfrm>
            <a:custGeom>
              <a:avLst/>
              <a:gdLst>
                <a:gd name="connsiteX0" fmla="*/ 4285 w 4805"/>
                <a:gd name="connsiteY0" fmla="*/ 0 h 96518"/>
                <a:gd name="connsiteX1" fmla="*/ 4653 w 4805"/>
                <a:gd name="connsiteY1" fmla="*/ 3799 h 96518"/>
                <a:gd name="connsiteX2" fmla="*/ 4776 w 4805"/>
                <a:gd name="connsiteY2" fmla="*/ 14187 h 96518"/>
                <a:gd name="connsiteX3" fmla="*/ 2692 w 4805"/>
                <a:gd name="connsiteY3" fmla="*/ 48321 h 96518"/>
                <a:gd name="connsiteX4" fmla="*/ 1344 w 4805"/>
                <a:gd name="connsiteY4" fmla="*/ 82393 h 96518"/>
                <a:gd name="connsiteX5" fmla="*/ 1803 w 4805"/>
                <a:gd name="connsiteY5" fmla="*/ 92719 h 96518"/>
                <a:gd name="connsiteX6" fmla="*/ 1895 w 4805"/>
                <a:gd name="connsiteY6" fmla="*/ 96519 h 96518"/>
                <a:gd name="connsiteX7" fmla="*/ 1191 w 4805"/>
                <a:gd name="connsiteY7" fmla="*/ 92780 h 96518"/>
                <a:gd name="connsiteX8" fmla="*/ 241 w 4805"/>
                <a:gd name="connsiteY8" fmla="*/ 82455 h 96518"/>
                <a:gd name="connsiteX9" fmla="*/ 1129 w 4805"/>
                <a:gd name="connsiteY9" fmla="*/ 48229 h 96518"/>
                <a:gd name="connsiteX10" fmla="*/ 3673 w 4805"/>
                <a:gd name="connsiteY10" fmla="*/ 14187 h 96518"/>
                <a:gd name="connsiteX11" fmla="*/ 4071 w 4805"/>
                <a:gd name="connsiteY11" fmla="*/ 3861 h 96518"/>
                <a:gd name="connsiteX12" fmla="*/ 4285 w 4805"/>
                <a:gd name="connsiteY12" fmla="*/ 0 h 96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5" h="96518">
                  <a:moveTo>
                    <a:pt x="4285" y="0"/>
                  </a:moveTo>
                  <a:cubicBezTo>
                    <a:pt x="4408" y="0"/>
                    <a:pt x="4530" y="1348"/>
                    <a:pt x="4653" y="3799"/>
                  </a:cubicBezTo>
                  <a:cubicBezTo>
                    <a:pt x="4806" y="6251"/>
                    <a:pt x="4837" y="9805"/>
                    <a:pt x="4776" y="14187"/>
                  </a:cubicBezTo>
                  <a:cubicBezTo>
                    <a:pt x="4653" y="22950"/>
                    <a:pt x="3764" y="35022"/>
                    <a:pt x="2692" y="48321"/>
                  </a:cubicBezTo>
                  <a:cubicBezTo>
                    <a:pt x="1620" y="61619"/>
                    <a:pt x="1099" y="73661"/>
                    <a:pt x="1344" y="82393"/>
                  </a:cubicBezTo>
                  <a:cubicBezTo>
                    <a:pt x="1436" y="86744"/>
                    <a:pt x="1589" y="90268"/>
                    <a:pt x="1803" y="92719"/>
                  </a:cubicBezTo>
                  <a:cubicBezTo>
                    <a:pt x="1957" y="95140"/>
                    <a:pt x="2018" y="96519"/>
                    <a:pt x="1895" y="96519"/>
                  </a:cubicBezTo>
                  <a:cubicBezTo>
                    <a:pt x="1773" y="96519"/>
                    <a:pt x="1528" y="95201"/>
                    <a:pt x="1191" y="92780"/>
                  </a:cubicBezTo>
                  <a:cubicBezTo>
                    <a:pt x="792" y="90360"/>
                    <a:pt x="486" y="86806"/>
                    <a:pt x="241" y="82455"/>
                  </a:cubicBezTo>
                  <a:cubicBezTo>
                    <a:pt x="-280" y="73691"/>
                    <a:pt x="57" y="61557"/>
                    <a:pt x="1129" y="48229"/>
                  </a:cubicBezTo>
                  <a:cubicBezTo>
                    <a:pt x="2202" y="34931"/>
                    <a:pt x="3274" y="22889"/>
                    <a:pt x="3673" y="14187"/>
                  </a:cubicBezTo>
                  <a:cubicBezTo>
                    <a:pt x="3887" y="9836"/>
                    <a:pt x="4010" y="6281"/>
                    <a:pt x="4071" y="3861"/>
                  </a:cubicBezTo>
                  <a:cubicBezTo>
                    <a:pt x="4071" y="1379"/>
                    <a:pt x="4163" y="0"/>
                    <a:pt x="4285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4411ECD0-647E-449A-A408-096462D5F6E2}"/>
                </a:ext>
              </a:extLst>
            </p:cNvPr>
            <p:cNvSpPr/>
            <p:nvPr/>
          </p:nvSpPr>
          <p:spPr>
            <a:xfrm>
              <a:off x="6560363" y="3453128"/>
              <a:ext cx="61191" cy="88933"/>
            </a:xfrm>
            <a:custGeom>
              <a:avLst/>
              <a:gdLst>
                <a:gd name="connsiteX0" fmla="*/ 61190 w 61191"/>
                <a:gd name="connsiteY0" fmla="*/ 13 h 88933"/>
                <a:gd name="connsiteX1" fmla="*/ 56839 w 61191"/>
                <a:gd name="connsiteY1" fmla="*/ 2465 h 88933"/>
                <a:gd name="connsiteX2" fmla="*/ 45011 w 61191"/>
                <a:gd name="connsiteY2" fmla="*/ 9175 h 88933"/>
                <a:gd name="connsiteX3" fmla="*/ 27485 w 61191"/>
                <a:gd name="connsiteY3" fmla="*/ 19256 h 88933"/>
                <a:gd name="connsiteX4" fmla="*/ 16669 w 61191"/>
                <a:gd name="connsiteY4" fmla="*/ 24403 h 88933"/>
                <a:gd name="connsiteX5" fmla="*/ 4811 w 61191"/>
                <a:gd name="connsiteY5" fmla="*/ 29306 h 88933"/>
                <a:gd name="connsiteX6" fmla="*/ 1164 w 61191"/>
                <a:gd name="connsiteY6" fmla="*/ 30807 h 88933"/>
                <a:gd name="connsiteX7" fmla="*/ 1655 w 61191"/>
                <a:gd name="connsiteY7" fmla="*/ 29949 h 88933"/>
                <a:gd name="connsiteX8" fmla="*/ 8059 w 61191"/>
                <a:gd name="connsiteY8" fmla="*/ 71743 h 88933"/>
                <a:gd name="connsiteX9" fmla="*/ 9805 w 61191"/>
                <a:gd name="connsiteY9" fmla="*/ 84306 h 88933"/>
                <a:gd name="connsiteX10" fmla="*/ 10234 w 61191"/>
                <a:gd name="connsiteY10" fmla="*/ 88933 h 88933"/>
                <a:gd name="connsiteX11" fmla="*/ 9223 w 61191"/>
                <a:gd name="connsiteY11" fmla="*/ 84398 h 88933"/>
                <a:gd name="connsiteX12" fmla="*/ 6986 w 61191"/>
                <a:gd name="connsiteY12" fmla="*/ 71897 h 88933"/>
                <a:gd name="connsiteX13" fmla="*/ 92 w 61191"/>
                <a:gd name="connsiteY13" fmla="*/ 30164 h 88933"/>
                <a:gd name="connsiteX14" fmla="*/ 0 w 61191"/>
                <a:gd name="connsiteY14" fmla="*/ 29551 h 88933"/>
                <a:gd name="connsiteX15" fmla="*/ 582 w 61191"/>
                <a:gd name="connsiteY15" fmla="*/ 29306 h 88933"/>
                <a:gd name="connsiteX16" fmla="*/ 4228 w 61191"/>
                <a:gd name="connsiteY16" fmla="*/ 27804 h 88933"/>
                <a:gd name="connsiteX17" fmla="*/ 16056 w 61191"/>
                <a:gd name="connsiteY17" fmla="*/ 22963 h 88933"/>
                <a:gd name="connsiteX18" fmla="*/ 26811 w 61191"/>
                <a:gd name="connsiteY18" fmla="*/ 17938 h 88933"/>
                <a:gd name="connsiteX19" fmla="*/ 44460 w 61191"/>
                <a:gd name="connsiteY19" fmla="*/ 8194 h 88933"/>
                <a:gd name="connsiteX20" fmla="*/ 56563 w 61191"/>
                <a:gd name="connsiteY20" fmla="*/ 1913 h 88933"/>
                <a:gd name="connsiteX21" fmla="*/ 59964 w 61191"/>
                <a:gd name="connsiteY21" fmla="*/ 442 h 88933"/>
                <a:gd name="connsiteX22" fmla="*/ 61190 w 61191"/>
                <a:gd name="connsiteY22" fmla="*/ 13 h 88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1191" h="88933">
                  <a:moveTo>
                    <a:pt x="61190" y="13"/>
                  </a:moveTo>
                  <a:cubicBezTo>
                    <a:pt x="61251" y="136"/>
                    <a:pt x="59658" y="963"/>
                    <a:pt x="56839" y="2465"/>
                  </a:cubicBezTo>
                  <a:cubicBezTo>
                    <a:pt x="53989" y="3966"/>
                    <a:pt x="49945" y="6233"/>
                    <a:pt x="45011" y="9175"/>
                  </a:cubicBezTo>
                  <a:cubicBezTo>
                    <a:pt x="40078" y="12116"/>
                    <a:pt x="34257" y="15763"/>
                    <a:pt x="27485" y="19256"/>
                  </a:cubicBezTo>
                  <a:cubicBezTo>
                    <a:pt x="24084" y="21002"/>
                    <a:pt x="20499" y="22749"/>
                    <a:pt x="16669" y="24403"/>
                  </a:cubicBezTo>
                  <a:cubicBezTo>
                    <a:pt x="12839" y="25997"/>
                    <a:pt x="8886" y="27621"/>
                    <a:pt x="4811" y="29306"/>
                  </a:cubicBezTo>
                  <a:cubicBezTo>
                    <a:pt x="3554" y="29827"/>
                    <a:pt x="2329" y="30317"/>
                    <a:pt x="1164" y="30807"/>
                  </a:cubicBezTo>
                  <a:lnTo>
                    <a:pt x="1655" y="29949"/>
                  </a:lnTo>
                  <a:cubicBezTo>
                    <a:pt x="4259" y="46403"/>
                    <a:pt x="6496" y="61142"/>
                    <a:pt x="8059" y="71743"/>
                  </a:cubicBezTo>
                  <a:cubicBezTo>
                    <a:pt x="8763" y="76860"/>
                    <a:pt x="9346" y="81089"/>
                    <a:pt x="9805" y="84306"/>
                  </a:cubicBezTo>
                  <a:cubicBezTo>
                    <a:pt x="10173" y="87278"/>
                    <a:pt x="10326" y="88902"/>
                    <a:pt x="10234" y="88933"/>
                  </a:cubicBezTo>
                  <a:cubicBezTo>
                    <a:pt x="10142" y="88964"/>
                    <a:pt x="9774" y="87340"/>
                    <a:pt x="9223" y="84398"/>
                  </a:cubicBezTo>
                  <a:cubicBezTo>
                    <a:pt x="8641" y="81181"/>
                    <a:pt x="7905" y="76983"/>
                    <a:pt x="6986" y="71897"/>
                  </a:cubicBezTo>
                  <a:cubicBezTo>
                    <a:pt x="5148" y="61326"/>
                    <a:pt x="2727" y="46618"/>
                    <a:pt x="92" y="30164"/>
                  </a:cubicBezTo>
                  <a:lnTo>
                    <a:pt x="0" y="29551"/>
                  </a:lnTo>
                  <a:lnTo>
                    <a:pt x="582" y="29306"/>
                  </a:lnTo>
                  <a:cubicBezTo>
                    <a:pt x="1747" y="28846"/>
                    <a:pt x="2972" y="28325"/>
                    <a:pt x="4228" y="27804"/>
                  </a:cubicBezTo>
                  <a:cubicBezTo>
                    <a:pt x="8273" y="26150"/>
                    <a:pt x="12226" y="24526"/>
                    <a:pt x="16056" y="22963"/>
                  </a:cubicBezTo>
                  <a:cubicBezTo>
                    <a:pt x="19855" y="21339"/>
                    <a:pt x="23440" y="19654"/>
                    <a:pt x="26811" y="17938"/>
                  </a:cubicBezTo>
                  <a:cubicBezTo>
                    <a:pt x="33582" y="14537"/>
                    <a:pt x="39435" y="11013"/>
                    <a:pt x="44460" y="8194"/>
                  </a:cubicBezTo>
                  <a:cubicBezTo>
                    <a:pt x="49485" y="5375"/>
                    <a:pt x="53652" y="3261"/>
                    <a:pt x="56563" y="1913"/>
                  </a:cubicBezTo>
                  <a:cubicBezTo>
                    <a:pt x="58034" y="1239"/>
                    <a:pt x="59168" y="749"/>
                    <a:pt x="59964" y="442"/>
                  </a:cubicBezTo>
                  <a:cubicBezTo>
                    <a:pt x="60730" y="105"/>
                    <a:pt x="61159" y="-48"/>
                    <a:pt x="61190" y="1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AEA47E1-2EEC-44D5-88F2-D0E7C8AC6F56}"/>
                </a:ext>
              </a:extLst>
            </p:cNvPr>
            <p:cNvSpPr/>
            <p:nvPr/>
          </p:nvSpPr>
          <p:spPr>
            <a:xfrm>
              <a:off x="6592270" y="3433182"/>
              <a:ext cx="43684" cy="36047"/>
            </a:xfrm>
            <a:custGeom>
              <a:avLst/>
              <a:gdLst>
                <a:gd name="connsiteX0" fmla="*/ 43684 w 43684"/>
                <a:gd name="connsiteY0" fmla="*/ 42 h 36047"/>
                <a:gd name="connsiteX1" fmla="*/ 35503 w 43684"/>
                <a:gd name="connsiteY1" fmla="*/ 2769 h 36047"/>
                <a:gd name="connsiteX2" fmla="*/ 17731 w 43684"/>
                <a:gd name="connsiteY2" fmla="*/ 13034 h 36047"/>
                <a:gd name="connsiteX3" fmla="*/ 4280 w 43684"/>
                <a:gd name="connsiteY3" fmla="*/ 28538 h 36047"/>
                <a:gd name="connsiteX4" fmla="*/ 21 w 43684"/>
                <a:gd name="connsiteY4" fmla="*/ 36045 h 36047"/>
                <a:gd name="connsiteX5" fmla="*/ 634 w 43684"/>
                <a:gd name="connsiteY5" fmla="*/ 33778 h 36047"/>
                <a:gd name="connsiteX6" fmla="*/ 3269 w 43684"/>
                <a:gd name="connsiteY6" fmla="*/ 27987 h 36047"/>
                <a:gd name="connsiteX7" fmla="*/ 16689 w 43684"/>
                <a:gd name="connsiteY7" fmla="*/ 11808 h 36047"/>
                <a:gd name="connsiteX8" fmla="*/ 35105 w 43684"/>
                <a:gd name="connsiteY8" fmla="*/ 1697 h 36047"/>
                <a:gd name="connsiteX9" fmla="*/ 41294 w 43684"/>
                <a:gd name="connsiteY9" fmla="*/ 195 h 36047"/>
                <a:gd name="connsiteX10" fmla="*/ 43684 w 43684"/>
                <a:gd name="connsiteY10" fmla="*/ 42 h 3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684" h="36047">
                  <a:moveTo>
                    <a:pt x="43684" y="42"/>
                  </a:moveTo>
                  <a:cubicBezTo>
                    <a:pt x="43745" y="318"/>
                    <a:pt x="40467" y="931"/>
                    <a:pt x="35503" y="2769"/>
                  </a:cubicBezTo>
                  <a:cubicBezTo>
                    <a:pt x="30539" y="4608"/>
                    <a:pt x="23951" y="7917"/>
                    <a:pt x="17731" y="13034"/>
                  </a:cubicBezTo>
                  <a:cubicBezTo>
                    <a:pt x="11511" y="18182"/>
                    <a:pt x="7007" y="24034"/>
                    <a:pt x="4280" y="28538"/>
                  </a:cubicBezTo>
                  <a:cubicBezTo>
                    <a:pt x="1522" y="33073"/>
                    <a:pt x="297" y="36137"/>
                    <a:pt x="21" y="36045"/>
                  </a:cubicBezTo>
                  <a:cubicBezTo>
                    <a:pt x="-71" y="36015"/>
                    <a:pt x="143" y="35218"/>
                    <a:pt x="634" y="33778"/>
                  </a:cubicBezTo>
                  <a:cubicBezTo>
                    <a:pt x="1093" y="32338"/>
                    <a:pt x="2012" y="30346"/>
                    <a:pt x="3269" y="27987"/>
                  </a:cubicBezTo>
                  <a:cubicBezTo>
                    <a:pt x="5812" y="23237"/>
                    <a:pt x="10316" y="17109"/>
                    <a:pt x="16689" y="11808"/>
                  </a:cubicBezTo>
                  <a:cubicBezTo>
                    <a:pt x="23093" y="6538"/>
                    <a:pt x="29957" y="3290"/>
                    <a:pt x="35105" y="1697"/>
                  </a:cubicBezTo>
                  <a:cubicBezTo>
                    <a:pt x="37678" y="900"/>
                    <a:pt x="39823" y="410"/>
                    <a:pt x="41294" y="195"/>
                  </a:cubicBezTo>
                  <a:cubicBezTo>
                    <a:pt x="42857" y="12"/>
                    <a:pt x="43684" y="-50"/>
                    <a:pt x="43684" y="4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0BDC38F-CDE3-45AC-ACB8-91763A793CE5}"/>
                </a:ext>
              </a:extLst>
            </p:cNvPr>
            <p:cNvSpPr/>
            <p:nvPr/>
          </p:nvSpPr>
          <p:spPr>
            <a:xfrm>
              <a:off x="6293634" y="3352271"/>
              <a:ext cx="306779" cy="195028"/>
            </a:xfrm>
            <a:custGeom>
              <a:avLst/>
              <a:gdLst>
                <a:gd name="connsiteX0" fmla="*/ 239244 w 306779"/>
                <a:gd name="connsiteY0" fmla="*/ 194998 h 195028"/>
                <a:gd name="connsiteX1" fmla="*/ 305735 w 306779"/>
                <a:gd name="connsiteY1" fmla="*/ 34563 h 195028"/>
                <a:gd name="connsiteX2" fmla="*/ 297247 w 306779"/>
                <a:gd name="connsiteY2" fmla="*/ 21295 h 195028"/>
                <a:gd name="connsiteX3" fmla="*/ 283857 w 306779"/>
                <a:gd name="connsiteY3" fmla="*/ 21295 h 195028"/>
                <a:gd name="connsiteX4" fmla="*/ 274328 w 306779"/>
                <a:gd name="connsiteY4" fmla="*/ 13605 h 195028"/>
                <a:gd name="connsiteX5" fmla="*/ 273899 w 306779"/>
                <a:gd name="connsiteY5" fmla="*/ 7691 h 195028"/>
                <a:gd name="connsiteX6" fmla="*/ 264339 w 306779"/>
                <a:gd name="connsiteY6" fmla="*/ 0 h 195028"/>
                <a:gd name="connsiteX7" fmla="*/ 200759 w 306779"/>
                <a:gd name="connsiteY7" fmla="*/ 0 h 195028"/>
                <a:gd name="connsiteX8" fmla="*/ 186052 w 306779"/>
                <a:gd name="connsiteY8" fmla="*/ 6527 h 195028"/>
                <a:gd name="connsiteX9" fmla="*/ 180904 w 306779"/>
                <a:gd name="connsiteY9" fmla="*/ 11521 h 195028"/>
                <a:gd name="connsiteX10" fmla="*/ 166196 w 306779"/>
                <a:gd name="connsiteY10" fmla="*/ 18047 h 195028"/>
                <a:gd name="connsiteX11" fmla="*/ 85243 w 306779"/>
                <a:gd name="connsiteY11" fmla="*/ 18047 h 195028"/>
                <a:gd name="connsiteX12" fmla="*/ 65909 w 306779"/>
                <a:gd name="connsiteY12" fmla="*/ 31315 h 195028"/>
                <a:gd name="connsiteX13" fmla="*/ 0 w 306779"/>
                <a:gd name="connsiteY13" fmla="*/ 195029 h 195028"/>
                <a:gd name="connsiteX14" fmla="*/ 239244 w 306779"/>
                <a:gd name="connsiteY14" fmla="*/ 195029 h 19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6779" h="195028">
                  <a:moveTo>
                    <a:pt x="239244" y="194998"/>
                  </a:moveTo>
                  <a:lnTo>
                    <a:pt x="305735" y="34563"/>
                  </a:lnTo>
                  <a:cubicBezTo>
                    <a:pt x="308768" y="27240"/>
                    <a:pt x="304969" y="21295"/>
                    <a:pt x="297247" y="21295"/>
                  </a:cubicBezTo>
                  <a:lnTo>
                    <a:pt x="283857" y="21295"/>
                  </a:lnTo>
                  <a:cubicBezTo>
                    <a:pt x="278403" y="21295"/>
                    <a:pt x="274665" y="18293"/>
                    <a:pt x="274328" y="13605"/>
                  </a:cubicBezTo>
                  <a:lnTo>
                    <a:pt x="273899" y="7691"/>
                  </a:lnTo>
                  <a:cubicBezTo>
                    <a:pt x="273531" y="3003"/>
                    <a:pt x="269824" y="0"/>
                    <a:pt x="264339" y="0"/>
                  </a:cubicBezTo>
                  <a:lnTo>
                    <a:pt x="200759" y="0"/>
                  </a:lnTo>
                  <a:cubicBezTo>
                    <a:pt x="195795" y="0"/>
                    <a:pt x="190219" y="2482"/>
                    <a:pt x="186052" y="6527"/>
                  </a:cubicBezTo>
                  <a:lnTo>
                    <a:pt x="180904" y="11521"/>
                  </a:lnTo>
                  <a:cubicBezTo>
                    <a:pt x="176737" y="15566"/>
                    <a:pt x="171160" y="18047"/>
                    <a:pt x="166196" y="18047"/>
                  </a:cubicBezTo>
                  <a:lnTo>
                    <a:pt x="85243" y="18047"/>
                  </a:lnTo>
                  <a:cubicBezTo>
                    <a:pt x="77521" y="18047"/>
                    <a:pt x="68850" y="23992"/>
                    <a:pt x="65909" y="31315"/>
                  </a:cubicBezTo>
                  <a:lnTo>
                    <a:pt x="0" y="195029"/>
                  </a:lnTo>
                  <a:lnTo>
                    <a:pt x="239244" y="195029"/>
                  </a:lnTo>
                  <a:close/>
                </a:path>
              </a:pathLst>
            </a:custGeom>
            <a:solidFill>
              <a:srgbClr val="FF725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9DE24455-DBAD-4CA1-B01D-66F7137DB242}"/>
                </a:ext>
              </a:extLst>
            </p:cNvPr>
            <p:cNvSpPr/>
            <p:nvPr/>
          </p:nvSpPr>
          <p:spPr>
            <a:xfrm>
              <a:off x="6293634" y="3352271"/>
              <a:ext cx="306779" cy="195028"/>
            </a:xfrm>
            <a:custGeom>
              <a:avLst/>
              <a:gdLst>
                <a:gd name="connsiteX0" fmla="*/ 239244 w 306779"/>
                <a:gd name="connsiteY0" fmla="*/ 194998 h 195028"/>
                <a:gd name="connsiteX1" fmla="*/ 305735 w 306779"/>
                <a:gd name="connsiteY1" fmla="*/ 34563 h 195028"/>
                <a:gd name="connsiteX2" fmla="*/ 297247 w 306779"/>
                <a:gd name="connsiteY2" fmla="*/ 21295 h 195028"/>
                <a:gd name="connsiteX3" fmla="*/ 283857 w 306779"/>
                <a:gd name="connsiteY3" fmla="*/ 21295 h 195028"/>
                <a:gd name="connsiteX4" fmla="*/ 274328 w 306779"/>
                <a:gd name="connsiteY4" fmla="*/ 13605 h 195028"/>
                <a:gd name="connsiteX5" fmla="*/ 273899 w 306779"/>
                <a:gd name="connsiteY5" fmla="*/ 7691 h 195028"/>
                <a:gd name="connsiteX6" fmla="*/ 264339 w 306779"/>
                <a:gd name="connsiteY6" fmla="*/ 0 h 195028"/>
                <a:gd name="connsiteX7" fmla="*/ 200759 w 306779"/>
                <a:gd name="connsiteY7" fmla="*/ 0 h 195028"/>
                <a:gd name="connsiteX8" fmla="*/ 186052 w 306779"/>
                <a:gd name="connsiteY8" fmla="*/ 6527 h 195028"/>
                <a:gd name="connsiteX9" fmla="*/ 180904 w 306779"/>
                <a:gd name="connsiteY9" fmla="*/ 11521 h 195028"/>
                <a:gd name="connsiteX10" fmla="*/ 166196 w 306779"/>
                <a:gd name="connsiteY10" fmla="*/ 18047 h 195028"/>
                <a:gd name="connsiteX11" fmla="*/ 85243 w 306779"/>
                <a:gd name="connsiteY11" fmla="*/ 18047 h 195028"/>
                <a:gd name="connsiteX12" fmla="*/ 65909 w 306779"/>
                <a:gd name="connsiteY12" fmla="*/ 31315 h 195028"/>
                <a:gd name="connsiteX13" fmla="*/ 0 w 306779"/>
                <a:gd name="connsiteY13" fmla="*/ 195029 h 195028"/>
                <a:gd name="connsiteX14" fmla="*/ 239244 w 306779"/>
                <a:gd name="connsiteY14" fmla="*/ 195029 h 19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6779" h="195028">
                  <a:moveTo>
                    <a:pt x="239244" y="194998"/>
                  </a:moveTo>
                  <a:lnTo>
                    <a:pt x="305735" y="34563"/>
                  </a:lnTo>
                  <a:cubicBezTo>
                    <a:pt x="308768" y="27240"/>
                    <a:pt x="304969" y="21295"/>
                    <a:pt x="297247" y="21295"/>
                  </a:cubicBezTo>
                  <a:lnTo>
                    <a:pt x="283857" y="21295"/>
                  </a:lnTo>
                  <a:cubicBezTo>
                    <a:pt x="278403" y="21295"/>
                    <a:pt x="274665" y="18293"/>
                    <a:pt x="274328" y="13605"/>
                  </a:cubicBezTo>
                  <a:lnTo>
                    <a:pt x="273899" y="7691"/>
                  </a:lnTo>
                  <a:cubicBezTo>
                    <a:pt x="273531" y="3003"/>
                    <a:pt x="269824" y="0"/>
                    <a:pt x="264339" y="0"/>
                  </a:cubicBezTo>
                  <a:lnTo>
                    <a:pt x="200759" y="0"/>
                  </a:lnTo>
                  <a:cubicBezTo>
                    <a:pt x="195795" y="0"/>
                    <a:pt x="190219" y="2482"/>
                    <a:pt x="186052" y="6527"/>
                  </a:cubicBezTo>
                  <a:lnTo>
                    <a:pt x="180904" y="11521"/>
                  </a:lnTo>
                  <a:cubicBezTo>
                    <a:pt x="176737" y="15566"/>
                    <a:pt x="171160" y="18047"/>
                    <a:pt x="166196" y="18047"/>
                  </a:cubicBezTo>
                  <a:lnTo>
                    <a:pt x="85243" y="18047"/>
                  </a:lnTo>
                  <a:cubicBezTo>
                    <a:pt x="77521" y="18047"/>
                    <a:pt x="68850" y="23992"/>
                    <a:pt x="65909" y="31315"/>
                  </a:cubicBezTo>
                  <a:lnTo>
                    <a:pt x="0" y="195029"/>
                  </a:lnTo>
                  <a:lnTo>
                    <a:pt x="239244" y="195029"/>
                  </a:lnTo>
                  <a:close/>
                </a:path>
              </a:pathLst>
            </a:custGeom>
            <a:solidFill>
              <a:srgbClr val="00000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BFBE9185-44B8-4074-BBC8-B2FFA42797A9}"/>
                </a:ext>
              </a:extLst>
            </p:cNvPr>
            <p:cNvSpPr/>
            <p:nvPr/>
          </p:nvSpPr>
          <p:spPr>
            <a:xfrm>
              <a:off x="6318722" y="3383065"/>
              <a:ext cx="250584" cy="163407"/>
            </a:xfrm>
            <a:custGeom>
              <a:avLst/>
              <a:gdLst>
                <a:gd name="connsiteX0" fmla="*/ 225156 w 250584"/>
                <a:gd name="connsiteY0" fmla="*/ 109725 h 163407"/>
                <a:gd name="connsiteX1" fmla="*/ 250221 w 250584"/>
                <a:gd name="connsiteY1" fmla="*/ 12777 h 163407"/>
                <a:gd name="connsiteX2" fmla="*/ 241886 w 250584"/>
                <a:gd name="connsiteY2" fmla="*/ 0 h 163407"/>
                <a:gd name="connsiteX3" fmla="*/ 45325 w 250584"/>
                <a:gd name="connsiteY3" fmla="*/ 0 h 163407"/>
                <a:gd name="connsiteX4" fmla="*/ 36960 w 250584"/>
                <a:gd name="connsiteY4" fmla="*/ 7231 h 163407"/>
                <a:gd name="connsiteX5" fmla="*/ 467 w 250584"/>
                <a:gd name="connsiteY5" fmla="*/ 153174 h 163407"/>
                <a:gd name="connsiteX6" fmla="*/ 7238 w 250584"/>
                <a:gd name="connsiteY6" fmla="*/ 163346 h 163407"/>
                <a:gd name="connsiteX7" fmla="*/ 205025 w 250584"/>
                <a:gd name="connsiteY7" fmla="*/ 163408 h 163407"/>
                <a:gd name="connsiteX8" fmla="*/ 213298 w 250584"/>
                <a:gd name="connsiteY8" fmla="*/ 156238 h 163407"/>
                <a:gd name="connsiteX9" fmla="*/ 225156 w 250584"/>
                <a:gd name="connsiteY9" fmla="*/ 109725 h 16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0584" h="163407">
                  <a:moveTo>
                    <a:pt x="225156" y="109725"/>
                  </a:moveTo>
                  <a:lnTo>
                    <a:pt x="250221" y="12777"/>
                  </a:lnTo>
                  <a:cubicBezTo>
                    <a:pt x="251875" y="6404"/>
                    <a:pt x="247677" y="0"/>
                    <a:pt x="241886" y="0"/>
                  </a:cubicBezTo>
                  <a:lnTo>
                    <a:pt x="45325" y="0"/>
                  </a:lnTo>
                  <a:cubicBezTo>
                    <a:pt x="41433" y="0"/>
                    <a:pt x="38032" y="2942"/>
                    <a:pt x="36960" y="7231"/>
                  </a:cubicBezTo>
                  <a:lnTo>
                    <a:pt x="467" y="153174"/>
                  </a:lnTo>
                  <a:cubicBezTo>
                    <a:pt x="-1127" y="159578"/>
                    <a:pt x="1416" y="163438"/>
                    <a:pt x="7238" y="163346"/>
                  </a:cubicBezTo>
                  <a:lnTo>
                    <a:pt x="205025" y="163408"/>
                  </a:lnTo>
                  <a:cubicBezTo>
                    <a:pt x="208855" y="163346"/>
                    <a:pt x="212195" y="160466"/>
                    <a:pt x="213298" y="156238"/>
                  </a:cubicBezTo>
                  <a:lnTo>
                    <a:pt x="225156" y="109725"/>
                  </a:ln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35FD63B-F2B7-4763-B7F9-130ED2B68002}"/>
                </a:ext>
              </a:extLst>
            </p:cNvPr>
            <p:cNvSpPr/>
            <p:nvPr/>
          </p:nvSpPr>
          <p:spPr>
            <a:xfrm>
              <a:off x="6327952" y="3380185"/>
              <a:ext cx="213037" cy="162702"/>
            </a:xfrm>
            <a:custGeom>
              <a:avLst/>
              <a:gdLst>
                <a:gd name="connsiteX0" fmla="*/ 202322 w 213037"/>
                <a:gd name="connsiteY0" fmla="*/ 162703 h 162702"/>
                <a:gd name="connsiteX1" fmla="*/ 213015 w 213037"/>
                <a:gd name="connsiteY1" fmla="*/ 10020 h 162702"/>
                <a:gd name="connsiteX2" fmla="*/ 203670 w 213037"/>
                <a:gd name="connsiteY2" fmla="*/ 0 h 162702"/>
                <a:gd name="connsiteX3" fmla="*/ 0 w 213037"/>
                <a:gd name="connsiteY3" fmla="*/ 0 h 162702"/>
                <a:gd name="connsiteX4" fmla="*/ 0 w 213037"/>
                <a:gd name="connsiteY4" fmla="*/ 162703 h 162702"/>
                <a:gd name="connsiteX5" fmla="*/ 202322 w 213037"/>
                <a:gd name="connsiteY5" fmla="*/ 162703 h 16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037" h="162702">
                  <a:moveTo>
                    <a:pt x="202322" y="162703"/>
                  </a:moveTo>
                  <a:lnTo>
                    <a:pt x="213015" y="10020"/>
                  </a:lnTo>
                  <a:cubicBezTo>
                    <a:pt x="213383" y="4596"/>
                    <a:pt x="209093" y="0"/>
                    <a:pt x="203670" y="0"/>
                  </a:cubicBezTo>
                  <a:lnTo>
                    <a:pt x="0" y="0"/>
                  </a:lnTo>
                  <a:lnTo>
                    <a:pt x="0" y="162703"/>
                  </a:lnTo>
                  <a:lnTo>
                    <a:pt x="202322" y="162703"/>
                  </a:lnTo>
                  <a:close/>
                </a:path>
              </a:pathLst>
            </a:custGeom>
            <a:solidFill>
              <a:srgbClr val="EBEBE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DCC154B1-D1FA-4218-8F2C-83D70A4F2467}"/>
                </a:ext>
              </a:extLst>
            </p:cNvPr>
            <p:cNvSpPr/>
            <p:nvPr/>
          </p:nvSpPr>
          <p:spPr>
            <a:xfrm>
              <a:off x="6279907" y="3380185"/>
              <a:ext cx="252664" cy="166195"/>
            </a:xfrm>
            <a:custGeom>
              <a:avLst/>
              <a:gdLst>
                <a:gd name="connsiteX0" fmla="*/ 252664 w 252664"/>
                <a:gd name="connsiteY0" fmla="*/ 166196 h 166195"/>
                <a:gd name="connsiteX1" fmla="*/ 228427 w 252664"/>
                <a:gd name="connsiteY1" fmla="*/ 8794 h 166195"/>
                <a:gd name="connsiteX2" fmla="*/ 217366 w 252664"/>
                <a:gd name="connsiteY2" fmla="*/ 0 h 166195"/>
                <a:gd name="connsiteX3" fmla="*/ 11337 w 252664"/>
                <a:gd name="connsiteY3" fmla="*/ 0 h 166195"/>
                <a:gd name="connsiteX4" fmla="*/ 949 w 252664"/>
                <a:gd name="connsiteY4" fmla="*/ 15504 h 166195"/>
                <a:gd name="connsiteX5" fmla="*/ 45440 w 252664"/>
                <a:gd name="connsiteY5" fmla="*/ 159547 h 166195"/>
                <a:gd name="connsiteX6" fmla="*/ 252664 w 252664"/>
                <a:gd name="connsiteY6" fmla="*/ 166196 h 16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664" h="166195">
                  <a:moveTo>
                    <a:pt x="252664" y="166196"/>
                  </a:moveTo>
                  <a:lnTo>
                    <a:pt x="228427" y="8794"/>
                  </a:lnTo>
                  <a:cubicBezTo>
                    <a:pt x="227324" y="3677"/>
                    <a:pt x="222698" y="0"/>
                    <a:pt x="217366" y="0"/>
                  </a:cubicBezTo>
                  <a:lnTo>
                    <a:pt x="11337" y="0"/>
                  </a:lnTo>
                  <a:cubicBezTo>
                    <a:pt x="3186" y="0"/>
                    <a:pt x="-2299" y="8181"/>
                    <a:pt x="949" y="15504"/>
                  </a:cubicBezTo>
                  <a:lnTo>
                    <a:pt x="45440" y="159547"/>
                  </a:lnTo>
                  <a:lnTo>
                    <a:pt x="252664" y="166196"/>
                  </a:lnTo>
                  <a:close/>
                </a:path>
              </a:pathLst>
            </a:custGeom>
            <a:solidFill>
              <a:srgbClr val="FAFAFA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A1BC06B3-58A0-41E3-BC56-367221FC829C}"/>
                </a:ext>
              </a:extLst>
            </p:cNvPr>
            <p:cNvSpPr/>
            <p:nvPr/>
          </p:nvSpPr>
          <p:spPr>
            <a:xfrm>
              <a:off x="6246564" y="3389530"/>
              <a:ext cx="286313" cy="157739"/>
            </a:xfrm>
            <a:custGeom>
              <a:avLst/>
              <a:gdLst>
                <a:gd name="connsiteX0" fmla="*/ 286314 w 286313"/>
                <a:gd name="connsiteY0" fmla="*/ 157647 h 157739"/>
                <a:gd name="connsiteX1" fmla="*/ 236339 w 286313"/>
                <a:gd name="connsiteY1" fmla="*/ 10234 h 157739"/>
                <a:gd name="connsiteX2" fmla="*/ 222428 w 286313"/>
                <a:gd name="connsiteY2" fmla="*/ 0 h 157739"/>
                <a:gd name="connsiteX3" fmla="*/ 10025 w 286313"/>
                <a:gd name="connsiteY3" fmla="*/ 0 h 157739"/>
                <a:gd name="connsiteX4" fmla="*/ 526 w 286313"/>
                <a:gd name="connsiteY4" fmla="*/ 13758 h 157739"/>
                <a:gd name="connsiteX5" fmla="*/ 47009 w 286313"/>
                <a:gd name="connsiteY5" fmla="*/ 157739 h 157739"/>
                <a:gd name="connsiteX6" fmla="*/ 286314 w 286313"/>
                <a:gd name="connsiteY6" fmla="*/ 157647 h 15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6313" h="157739">
                  <a:moveTo>
                    <a:pt x="286314" y="157647"/>
                  </a:moveTo>
                  <a:lnTo>
                    <a:pt x="236339" y="10234"/>
                  </a:lnTo>
                  <a:cubicBezTo>
                    <a:pt x="234255" y="4106"/>
                    <a:pt x="228678" y="0"/>
                    <a:pt x="222428" y="0"/>
                  </a:cubicBezTo>
                  <a:lnTo>
                    <a:pt x="10025" y="0"/>
                  </a:lnTo>
                  <a:cubicBezTo>
                    <a:pt x="3192" y="0"/>
                    <a:pt x="-1649" y="7017"/>
                    <a:pt x="526" y="13758"/>
                  </a:cubicBezTo>
                  <a:lnTo>
                    <a:pt x="47009" y="157739"/>
                  </a:lnTo>
                  <a:lnTo>
                    <a:pt x="286314" y="157647"/>
                  </a:lnTo>
                  <a:close/>
                </a:path>
              </a:pathLst>
            </a:custGeom>
            <a:solidFill>
              <a:srgbClr val="F7AB9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109660D7-7D84-4279-844C-594B89CE7CF7}"/>
                </a:ext>
              </a:extLst>
            </p:cNvPr>
            <p:cNvSpPr/>
            <p:nvPr/>
          </p:nvSpPr>
          <p:spPr>
            <a:xfrm>
              <a:off x="6426809" y="3459146"/>
              <a:ext cx="101691" cy="88061"/>
            </a:xfrm>
            <a:custGeom>
              <a:avLst/>
              <a:gdLst>
                <a:gd name="connsiteX0" fmla="*/ 3360 w 101691"/>
                <a:gd name="connsiteY0" fmla="*/ 63365 h 88061"/>
                <a:gd name="connsiteX1" fmla="*/ 15065 w 101691"/>
                <a:gd name="connsiteY1" fmla="*/ 63978 h 88061"/>
                <a:gd name="connsiteX2" fmla="*/ 66665 w 101691"/>
                <a:gd name="connsiteY2" fmla="*/ 54816 h 88061"/>
                <a:gd name="connsiteX3" fmla="*/ 78461 w 101691"/>
                <a:gd name="connsiteY3" fmla="*/ 44184 h 88061"/>
                <a:gd name="connsiteX4" fmla="*/ 71690 w 101691"/>
                <a:gd name="connsiteY4" fmla="*/ 28159 h 88061"/>
                <a:gd name="connsiteX5" fmla="*/ 57350 w 101691"/>
                <a:gd name="connsiteY5" fmla="*/ 16730 h 88061"/>
                <a:gd name="connsiteX6" fmla="*/ 55389 w 101691"/>
                <a:gd name="connsiteY6" fmla="*/ 0 h 88061"/>
                <a:gd name="connsiteX7" fmla="*/ 56492 w 101691"/>
                <a:gd name="connsiteY7" fmla="*/ 797 h 88061"/>
                <a:gd name="connsiteX8" fmla="*/ 73988 w 101691"/>
                <a:gd name="connsiteY8" fmla="*/ 15749 h 88061"/>
                <a:gd name="connsiteX9" fmla="*/ 99910 w 101691"/>
                <a:gd name="connsiteY9" fmla="*/ 49638 h 88061"/>
                <a:gd name="connsiteX10" fmla="*/ 98225 w 101691"/>
                <a:gd name="connsiteY10" fmla="*/ 72680 h 88061"/>
                <a:gd name="connsiteX11" fmla="*/ 84252 w 101691"/>
                <a:gd name="connsiteY11" fmla="*/ 81872 h 88061"/>
                <a:gd name="connsiteX12" fmla="*/ 33879 w 101691"/>
                <a:gd name="connsiteY12" fmla="*/ 88062 h 88061"/>
                <a:gd name="connsiteX13" fmla="*/ 11848 w 101691"/>
                <a:gd name="connsiteY13" fmla="*/ 87847 h 88061"/>
                <a:gd name="connsiteX14" fmla="*/ 1767 w 101691"/>
                <a:gd name="connsiteY14" fmla="*/ 79299 h 88061"/>
                <a:gd name="connsiteX15" fmla="*/ 3360 w 101691"/>
                <a:gd name="connsiteY15" fmla="*/ 63365 h 8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1691" h="88061">
                  <a:moveTo>
                    <a:pt x="3360" y="63365"/>
                  </a:moveTo>
                  <a:cubicBezTo>
                    <a:pt x="3360" y="63365"/>
                    <a:pt x="11388" y="63733"/>
                    <a:pt x="15065" y="63978"/>
                  </a:cubicBezTo>
                  <a:cubicBezTo>
                    <a:pt x="32684" y="65173"/>
                    <a:pt x="50547" y="62017"/>
                    <a:pt x="66665" y="54816"/>
                  </a:cubicBezTo>
                  <a:cubicBezTo>
                    <a:pt x="71659" y="52580"/>
                    <a:pt x="76960" y="49454"/>
                    <a:pt x="78461" y="44184"/>
                  </a:cubicBezTo>
                  <a:cubicBezTo>
                    <a:pt x="80146" y="38301"/>
                    <a:pt x="76347" y="32173"/>
                    <a:pt x="71690" y="28159"/>
                  </a:cubicBezTo>
                  <a:cubicBezTo>
                    <a:pt x="67032" y="24176"/>
                    <a:pt x="61394" y="21326"/>
                    <a:pt x="57350" y="16730"/>
                  </a:cubicBezTo>
                  <a:cubicBezTo>
                    <a:pt x="53305" y="12134"/>
                    <a:pt x="51405" y="4657"/>
                    <a:pt x="55389" y="0"/>
                  </a:cubicBezTo>
                  <a:lnTo>
                    <a:pt x="56492" y="797"/>
                  </a:lnTo>
                  <a:cubicBezTo>
                    <a:pt x="59372" y="8089"/>
                    <a:pt x="67369" y="11582"/>
                    <a:pt x="73988" y="15749"/>
                  </a:cubicBezTo>
                  <a:cubicBezTo>
                    <a:pt x="86305" y="23471"/>
                    <a:pt x="95681" y="35758"/>
                    <a:pt x="99910" y="49638"/>
                  </a:cubicBezTo>
                  <a:cubicBezTo>
                    <a:pt x="102239" y="57268"/>
                    <a:pt x="102851" y="66184"/>
                    <a:pt x="98225" y="72680"/>
                  </a:cubicBezTo>
                  <a:cubicBezTo>
                    <a:pt x="94946" y="77307"/>
                    <a:pt x="89553" y="79911"/>
                    <a:pt x="84252" y="81872"/>
                  </a:cubicBezTo>
                  <a:cubicBezTo>
                    <a:pt x="68197" y="87817"/>
                    <a:pt x="51007" y="88062"/>
                    <a:pt x="33879" y="88062"/>
                  </a:cubicBezTo>
                  <a:cubicBezTo>
                    <a:pt x="28455" y="88062"/>
                    <a:pt x="11848" y="87847"/>
                    <a:pt x="11848" y="87847"/>
                  </a:cubicBezTo>
                  <a:cubicBezTo>
                    <a:pt x="6608" y="86438"/>
                    <a:pt x="4892" y="83711"/>
                    <a:pt x="1767" y="79299"/>
                  </a:cubicBezTo>
                  <a:cubicBezTo>
                    <a:pt x="-1083" y="75285"/>
                    <a:pt x="-439" y="66521"/>
                    <a:pt x="3360" y="63365"/>
                  </a:cubicBezTo>
                  <a:close/>
                </a:path>
              </a:pathLst>
            </a:custGeom>
            <a:solidFill>
              <a:srgbClr val="00000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4B5F3CB-3B68-4859-9E30-3FCDD5FAC69A}"/>
                </a:ext>
              </a:extLst>
            </p:cNvPr>
            <p:cNvSpPr/>
            <p:nvPr/>
          </p:nvSpPr>
          <p:spPr>
            <a:xfrm>
              <a:off x="6430168" y="3455653"/>
              <a:ext cx="139111" cy="94639"/>
            </a:xfrm>
            <a:custGeom>
              <a:avLst/>
              <a:gdLst>
                <a:gd name="connsiteX0" fmla="*/ 2 w 139111"/>
                <a:gd name="connsiteY0" fmla="*/ 66858 h 94639"/>
                <a:gd name="connsiteX1" fmla="*/ 55400 w 139111"/>
                <a:gd name="connsiteY1" fmla="*/ 58524 h 94639"/>
                <a:gd name="connsiteX2" fmla="*/ 76910 w 139111"/>
                <a:gd name="connsiteY2" fmla="*/ 46145 h 94639"/>
                <a:gd name="connsiteX3" fmla="*/ 81843 w 139111"/>
                <a:gd name="connsiteY3" fmla="*/ 38332 h 94639"/>
                <a:gd name="connsiteX4" fmla="*/ 81843 w 139111"/>
                <a:gd name="connsiteY4" fmla="*/ 38148 h 94639"/>
                <a:gd name="connsiteX5" fmla="*/ 75746 w 139111"/>
                <a:gd name="connsiteY5" fmla="*/ 28772 h 94639"/>
                <a:gd name="connsiteX6" fmla="*/ 53501 w 139111"/>
                <a:gd name="connsiteY6" fmla="*/ 14003 h 94639"/>
                <a:gd name="connsiteX7" fmla="*/ 53501 w 139111"/>
                <a:gd name="connsiteY7" fmla="*/ 0 h 94639"/>
                <a:gd name="connsiteX8" fmla="*/ 99768 w 139111"/>
                <a:gd name="connsiteY8" fmla="*/ 18507 h 94639"/>
                <a:gd name="connsiteX9" fmla="*/ 132523 w 139111"/>
                <a:gd name="connsiteY9" fmla="*/ 40783 h 94639"/>
                <a:gd name="connsiteX10" fmla="*/ 139111 w 139111"/>
                <a:gd name="connsiteY10" fmla="*/ 77950 h 94639"/>
                <a:gd name="connsiteX11" fmla="*/ 93426 w 139111"/>
                <a:gd name="connsiteY11" fmla="*/ 92872 h 94639"/>
                <a:gd name="connsiteX12" fmla="*/ 28467 w 139111"/>
                <a:gd name="connsiteY12" fmla="*/ 94159 h 94639"/>
                <a:gd name="connsiteX13" fmla="*/ 14403 w 139111"/>
                <a:gd name="connsiteY13" fmla="*/ 86039 h 94639"/>
                <a:gd name="connsiteX14" fmla="*/ 6528 w 139111"/>
                <a:gd name="connsiteY14" fmla="*/ 76265 h 94639"/>
                <a:gd name="connsiteX15" fmla="*/ 2 w 139111"/>
                <a:gd name="connsiteY15" fmla="*/ 66858 h 94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9111" h="94639">
                  <a:moveTo>
                    <a:pt x="2" y="66858"/>
                  </a:moveTo>
                  <a:lnTo>
                    <a:pt x="55400" y="58524"/>
                  </a:lnTo>
                  <a:lnTo>
                    <a:pt x="76910" y="46145"/>
                  </a:lnTo>
                  <a:cubicBezTo>
                    <a:pt x="79760" y="44521"/>
                    <a:pt x="81690" y="41610"/>
                    <a:pt x="81843" y="38332"/>
                  </a:cubicBezTo>
                  <a:cubicBezTo>
                    <a:pt x="81843" y="38270"/>
                    <a:pt x="81843" y="38209"/>
                    <a:pt x="81843" y="38148"/>
                  </a:cubicBezTo>
                  <a:cubicBezTo>
                    <a:pt x="81997" y="34073"/>
                    <a:pt x="79515" y="30365"/>
                    <a:pt x="75746" y="28772"/>
                  </a:cubicBezTo>
                  <a:cubicBezTo>
                    <a:pt x="68913" y="25892"/>
                    <a:pt x="58127" y="22061"/>
                    <a:pt x="53501" y="14003"/>
                  </a:cubicBezTo>
                  <a:cubicBezTo>
                    <a:pt x="46882" y="2390"/>
                    <a:pt x="53501" y="0"/>
                    <a:pt x="53501" y="0"/>
                  </a:cubicBezTo>
                  <a:lnTo>
                    <a:pt x="99768" y="18507"/>
                  </a:lnTo>
                  <a:lnTo>
                    <a:pt x="132523" y="40783"/>
                  </a:lnTo>
                  <a:lnTo>
                    <a:pt x="139111" y="77950"/>
                  </a:lnTo>
                  <a:lnTo>
                    <a:pt x="93426" y="92872"/>
                  </a:lnTo>
                  <a:cubicBezTo>
                    <a:pt x="93426" y="92872"/>
                    <a:pt x="42500" y="95753"/>
                    <a:pt x="28467" y="94159"/>
                  </a:cubicBezTo>
                  <a:cubicBezTo>
                    <a:pt x="14403" y="92597"/>
                    <a:pt x="14403" y="86039"/>
                    <a:pt x="14403" y="86039"/>
                  </a:cubicBezTo>
                  <a:cubicBezTo>
                    <a:pt x="11798" y="85212"/>
                    <a:pt x="6528" y="80585"/>
                    <a:pt x="6528" y="76265"/>
                  </a:cubicBezTo>
                  <a:cubicBezTo>
                    <a:pt x="-274" y="69861"/>
                    <a:pt x="2" y="66858"/>
                    <a:pt x="2" y="66858"/>
                  </a:cubicBezTo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B986AD3-097A-41C5-8FAA-440B1E4B5B8B}"/>
                </a:ext>
              </a:extLst>
            </p:cNvPr>
            <p:cNvSpPr/>
            <p:nvPr/>
          </p:nvSpPr>
          <p:spPr>
            <a:xfrm>
              <a:off x="6442702" y="3538493"/>
              <a:ext cx="58341" cy="5269"/>
            </a:xfrm>
            <a:custGeom>
              <a:avLst/>
              <a:gdLst>
                <a:gd name="connsiteX0" fmla="*/ 58340 w 58341"/>
                <a:gd name="connsiteY0" fmla="*/ 13 h 5269"/>
                <a:gd name="connsiteX1" fmla="*/ 56073 w 58341"/>
                <a:gd name="connsiteY1" fmla="*/ 442 h 5269"/>
                <a:gd name="connsiteX2" fmla="*/ 49914 w 58341"/>
                <a:gd name="connsiteY2" fmla="*/ 1790 h 5269"/>
                <a:gd name="connsiteX3" fmla="*/ 29293 w 58341"/>
                <a:gd name="connsiteY3" fmla="*/ 4242 h 5269"/>
                <a:gd name="connsiteX4" fmla="*/ 8549 w 58341"/>
                <a:gd name="connsiteY4" fmla="*/ 3384 h 5269"/>
                <a:gd name="connsiteX5" fmla="*/ 2298 w 58341"/>
                <a:gd name="connsiteY5" fmla="*/ 2526 h 5269"/>
                <a:gd name="connsiteX6" fmla="*/ 0 w 58341"/>
                <a:gd name="connsiteY6" fmla="*/ 2281 h 5269"/>
                <a:gd name="connsiteX7" fmla="*/ 2237 w 58341"/>
                <a:gd name="connsiteY7" fmla="*/ 2893 h 5269"/>
                <a:gd name="connsiteX8" fmla="*/ 8457 w 58341"/>
                <a:gd name="connsiteY8" fmla="*/ 4058 h 5269"/>
                <a:gd name="connsiteX9" fmla="*/ 29323 w 58341"/>
                <a:gd name="connsiteY9" fmla="*/ 5192 h 5269"/>
                <a:gd name="connsiteX10" fmla="*/ 50037 w 58341"/>
                <a:gd name="connsiteY10" fmla="*/ 2434 h 5269"/>
                <a:gd name="connsiteX11" fmla="*/ 56165 w 58341"/>
                <a:gd name="connsiteY11" fmla="*/ 810 h 5269"/>
                <a:gd name="connsiteX12" fmla="*/ 58340 w 58341"/>
                <a:gd name="connsiteY12" fmla="*/ 13 h 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341" h="5269">
                  <a:moveTo>
                    <a:pt x="58340" y="13"/>
                  </a:moveTo>
                  <a:cubicBezTo>
                    <a:pt x="58310" y="-48"/>
                    <a:pt x="57513" y="105"/>
                    <a:pt x="56073" y="442"/>
                  </a:cubicBezTo>
                  <a:cubicBezTo>
                    <a:pt x="54633" y="779"/>
                    <a:pt x="52519" y="1270"/>
                    <a:pt x="49914" y="1790"/>
                  </a:cubicBezTo>
                  <a:cubicBezTo>
                    <a:pt x="44705" y="2832"/>
                    <a:pt x="37413" y="3935"/>
                    <a:pt x="29293" y="4242"/>
                  </a:cubicBezTo>
                  <a:cubicBezTo>
                    <a:pt x="21173" y="4548"/>
                    <a:pt x="13850" y="4027"/>
                    <a:pt x="8549" y="3384"/>
                  </a:cubicBezTo>
                  <a:cubicBezTo>
                    <a:pt x="5914" y="3077"/>
                    <a:pt x="3769" y="2771"/>
                    <a:pt x="2298" y="2526"/>
                  </a:cubicBezTo>
                  <a:cubicBezTo>
                    <a:pt x="827" y="2311"/>
                    <a:pt x="0" y="2219"/>
                    <a:pt x="0" y="2281"/>
                  </a:cubicBezTo>
                  <a:cubicBezTo>
                    <a:pt x="0" y="2342"/>
                    <a:pt x="797" y="2556"/>
                    <a:pt x="2237" y="2893"/>
                  </a:cubicBezTo>
                  <a:cubicBezTo>
                    <a:pt x="3677" y="3231"/>
                    <a:pt x="5822" y="3659"/>
                    <a:pt x="8457" y="4058"/>
                  </a:cubicBezTo>
                  <a:cubicBezTo>
                    <a:pt x="13758" y="4854"/>
                    <a:pt x="21142" y="5498"/>
                    <a:pt x="29323" y="5192"/>
                  </a:cubicBezTo>
                  <a:cubicBezTo>
                    <a:pt x="37505" y="4854"/>
                    <a:pt x="44828" y="3659"/>
                    <a:pt x="50037" y="2434"/>
                  </a:cubicBezTo>
                  <a:cubicBezTo>
                    <a:pt x="52641" y="1821"/>
                    <a:pt x="54725" y="1270"/>
                    <a:pt x="56165" y="810"/>
                  </a:cubicBezTo>
                  <a:cubicBezTo>
                    <a:pt x="57574" y="350"/>
                    <a:pt x="58371" y="74"/>
                    <a:pt x="58340" y="13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1B25FE97-E379-4E95-91EC-CCA59D8ED64D}"/>
                </a:ext>
              </a:extLst>
            </p:cNvPr>
            <p:cNvSpPr/>
            <p:nvPr/>
          </p:nvSpPr>
          <p:spPr>
            <a:xfrm>
              <a:off x="6436757" y="3529913"/>
              <a:ext cx="59228" cy="5028"/>
            </a:xfrm>
            <a:custGeom>
              <a:avLst/>
              <a:gdLst>
                <a:gd name="connsiteX0" fmla="*/ 59229 w 59228"/>
                <a:gd name="connsiteY0" fmla="*/ 13 h 5028"/>
                <a:gd name="connsiteX1" fmla="*/ 56900 w 59228"/>
                <a:gd name="connsiteY1" fmla="*/ 442 h 5028"/>
                <a:gd name="connsiteX2" fmla="*/ 50649 w 59228"/>
                <a:gd name="connsiteY2" fmla="*/ 1760 h 5028"/>
                <a:gd name="connsiteX3" fmla="*/ 29722 w 59228"/>
                <a:gd name="connsiteY3" fmla="*/ 4088 h 5028"/>
                <a:gd name="connsiteX4" fmla="*/ 8671 w 59228"/>
                <a:gd name="connsiteY4" fmla="*/ 3108 h 5028"/>
                <a:gd name="connsiteX5" fmla="*/ 2329 w 59228"/>
                <a:gd name="connsiteY5" fmla="*/ 2219 h 5028"/>
                <a:gd name="connsiteX6" fmla="*/ 0 w 59228"/>
                <a:gd name="connsiteY6" fmla="*/ 1944 h 5028"/>
                <a:gd name="connsiteX7" fmla="*/ 2267 w 59228"/>
                <a:gd name="connsiteY7" fmla="*/ 2556 h 5028"/>
                <a:gd name="connsiteX8" fmla="*/ 8580 w 59228"/>
                <a:gd name="connsiteY8" fmla="*/ 3721 h 5028"/>
                <a:gd name="connsiteX9" fmla="*/ 29752 w 59228"/>
                <a:gd name="connsiteY9" fmla="*/ 4977 h 5028"/>
                <a:gd name="connsiteX10" fmla="*/ 50803 w 59228"/>
                <a:gd name="connsiteY10" fmla="*/ 2373 h 5028"/>
                <a:gd name="connsiteX11" fmla="*/ 57023 w 59228"/>
                <a:gd name="connsiteY11" fmla="*/ 749 h 5028"/>
                <a:gd name="connsiteX12" fmla="*/ 59229 w 59228"/>
                <a:gd name="connsiteY12" fmla="*/ 13 h 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228" h="5028">
                  <a:moveTo>
                    <a:pt x="59229" y="13"/>
                  </a:moveTo>
                  <a:cubicBezTo>
                    <a:pt x="59198" y="-48"/>
                    <a:pt x="58371" y="105"/>
                    <a:pt x="56900" y="442"/>
                  </a:cubicBezTo>
                  <a:cubicBezTo>
                    <a:pt x="55429" y="810"/>
                    <a:pt x="53285" y="1270"/>
                    <a:pt x="50649" y="1760"/>
                  </a:cubicBezTo>
                  <a:cubicBezTo>
                    <a:pt x="45349" y="2802"/>
                    <a:pt x="37933" y="3813"/>
                    <a:pt x="29722" y="4088"/>
                  </a:cubicBezTo>
                  <a:cubicBezTo>
                    <a:pt x="21479" y="4334"/>
                    <a:pt x="14034" y="3782"/>
                    <a:pt x="8671" y="3108"/>
                  </a:cubicBezTo>
                  <a:cubicBezTo>
                    <a:pt x="5975" y="2771"/>
                    <a:pt x="3830" y="2465"/>
                    <a:pt x="2329" y="2219"/>
                  </a:cubicBezTo>
                  <a:cubicBezTo>
                    <a:pt x="827" y="1974"/>
                    <a:pt x="0" y="1882"/>
                    <a:pt x="0" y="1944"/>
                  </a:cubicBezTo>
                  <a:cubicBezTo>
                    <a:pt x="0" y="2005"/>
                    <a:pt x="797" y="2219"/>
                    <a:pt x="2267" y="2556"/>
                  </a:cubicBezTo>
                  <a:cubicBezTo>
                    <a:pt x="3738" y="2924"/>
                    <a:pt x="5914" y="3322"/>
                    <a:pt x="8580" y="3721"/>
                  </a:cubicBezTo>
                  <a:cubicBezTo>
                    <a:pt x="13942" y="4548"/>
                    <a:pt x="21449" y="5222"/>
                    <a:pt x="29752" y="4977"/>
                  </a:cubicBezTo>
                  <a:cubicBezTo>
                    <a:pt x="38056" y="4701"/>
                    <a:pt x="45502" y="3568"/>
                    <a:pt x="50803" y="2373"/>
                  </a:cubicBezTo>
                  <a:cubicBezTo>
                    <a:pt x="53438" y="1790"/>
                    <a:pt x="55583" y="1208"/>
                    <a:pt x="57023" y="749"/>
                  </a:cubicBezTo>
                  <a:cubicBezTo>
                    <a:pt x="58463" y="381"/>
                    <a:pt x="59229" y="75"/>
                    <a:pt x="59229" y="13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4161425F-F253-4004-AC78-0E1BFD88B8D0}"/>
                </a:ext>
              </a:extLst>
            </p:cNvPr>
            <p:cNvSpPr/>
            <p:nvPr/>
          </p:nvSpPr>
          <p:spPr>
            <a:xfrm>
              <a:off x="5449201" y="3799750"/>
              <a:ext cx="697264" cy="517830"/>
            </a:xfrm>
            <a:custGeom>
              <a:avLst/>
              <a:gdLst>
                <a:gd name="connsiteX0" fmla="*/ 0 w 697264"/>
                <a:gd name="connsiteY0" fmla="*/ 0 h 517830"/>
                <a:gd name="connsiteX1" fmla="*/ 697264 w 697264"/>
                <a:gd name="connsiteY1" fmla="*/ 0 h 517830"/>
                <a:gd name="connsiteX2" fmla="*/ 697264 w 697264"/>
                <a:gd name="connsiteY2" fmla="*/ 517830 h 517830"/>
                <a:gd name="connsiteX3" fmla="*/ 0 w 697264"/>
                <a:gd name="connsiteY3" fmla="*/ 517830 h 517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264" h="517830">
                  <a:moveTo>
                    <a:pt x="0" y="0"/>
                  </a:moveTo>
                  <a:lnTo>
                    <a:pt x="697264" y="0"/>
                  </a:lnTo>
                  <a:lnTo>
                    <a:pt x="697264" y="517830"/>
                  </a:lnTo>
                  <a:lnTo>
                    <a:pt x="0" y="517830"/>
                  </a:ln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AEE318F-0286-4A3A-BB7F-BCAB4C97110F}"/>
                </a:ext>
              </a:extLst>
            </p:cNvPr>
            <p:cNvSpPr/>
            <p:nvPr/>
          </p:nvSpPr>
          <p:spPr>
            <a:xfrm>
              <a:off x="5448405" y="3798953"/>
              <a:ext cx="698704" cy="519362"/>
            </a:xfrm>
            <a:custGeom>
              <a:avLst/>
              <a:gdLst>
                <a:gd name="connsiteX0" fmla="*/ 698061 w 698704"/>
                <a:gd name="connsiteY0" fmla="*/ 518627 h 519362"/>
                <a:gd name="connsiteX1" fmla="*/ 697417 w 698704"/>
                <a:gd name="connsiteY1" fmla="*/ 797 h 519362"/>
                <a:gd name="connsiteX2" fmla="*/ 698061 w 698704"/>
                <a:gd name="connsiteY2" fmla="*/ 1440 h 519362"/>
                <a:gd name="connsiteX3" fmla="*/ 858 w 698704"/>
                <a:gd name="connsiteY3" fmla="*/ 1593 h 519362"/>
                <a:gd name="connsiteX4" fmla="*/ 797 w 698704"/>
                <a:gd name="connsiteY4" fmla="*/ 1593 h 519362"/>
                <a:gd name="connsiteX5" fmla="*/ 1593 w 698704"/>
                <a:gd name="connsiteY5" fmla="*/ 797 h 519362"/>
                <a:gd name="connsiteX6" fmla="*/ 1532 w 698704"/>
                <a:gd name="connsiteY6" fmla="*/ 518627 h 519362"/>
                <a:gd name="connsiteX7" fmla="*/ 797 w 698704"/>
                <a:gd name="connsiteY7" fmla="*/ 517891 h 519362"/>
                <a:gd name="connsiteX8" fmla="*/ 698061 w 698704"/>
                <a:gd name="connsiteY8" fmla="*/ 518627 h 519362"/>
                <a:gd name="connsiteX9" fmla="*/ 797 w 698704"/>
                <a:gd name="connsiteY9" fmla="*/ 519362 h 519362"/>
                <a:gd name="connsiteX10" fmla="*/ 61 w 698704"/>
                <a:gd name="connsiteY10" fmla="*/ 519362 h 519362"/>
                <a:gd name="connsiteX11" fmla="*/ 61 w 698704"/>
                <a:gd name="connsiteY11" fmla="*/ 518627 h 519362"/>
                <a:gd name="connsiteX12" fmla="*/ 0 w 698704"/>
                <a:gd name="connsiteY12" fmla="*/ 797 h 519362"/>
                <a:gd name="connsiteX13" fmla="*/ 0 w 698704"/>
                <a:gd name="connsiteY13" fmla="*/ 0 h 519362"/>
                <a:gd name="connsiteX14" fmla="*/ 797 w 698704"/>
                <a:gd name="connsiteY14" fmla="*/ 0 h 519362"/>
                <a:gd name="connsiteX15" fmla="*/ 858 w 698704"/>
                <a:gd name="connsiteY15" fmla="*/ 0 h 519362"/>
                <a:gd name="connsiteX16" fmla="*/ 698061 w 698704"/>
                <a:gd name="connsiteY16" fmla="*/ 153 h 519362"/>
                <a:gd name="connsiteX17" fmla="*/ 698704 w 698704"/>
                <a:gd name="connsiteY17" fmla="*/ 153 h 519362"/>
                <a:gd name="connsiteX18" fmla="*/ 698704 w 698704"/>
                <a:gd name="connsiteY18" fmla="*/ 797 h 519362"/>
                <a:gd name="connsiteX19" fmla="*/ 698061 w 698704"/>
                <a:gd name="connsiteY19" fmla="*/ 518627 h 519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98704" h="519362">
                  <a:moveTo>
                    <a:pt x="698061" y="518627"/>
                  </a:moveTo>
                  <a:cubicBezTo>
                    <a:pt x="698061" y="513234"/>
                    <a:pt x="697816" y="314252"/>
                    <a:pt x="697417" y="797"/>
                  </a:cubicBezTo>
                  <a:lnTo>
                    <a:pt x="698061" y="1440"/>
                  </a:lnTo>
                  <a:cubicBezTo>
                    <a:pt x="501714" y="1471"/>
                    <a:pt x="260815" y="1532"/>
                    <a:pt x="858" y="1593"/>
                  </a:cubicBezTo>
                  <a:lnTo>
                    <a:pt x="797" y="1593"/>
                  </a:lnTo>
                  <a:lnTo>
                    <a:pt x="1593" y="797"/>
                  </a:lnTo>
                  <a:cubicBezTo>
                    <a:pt x="1563" y="186817"/>
                    <a:pt x="1532" y="363063"/>
                    <a:pt x="1532" y="518627"/>
                  </a:cubicBezTo>
                  <a:lnTo>
                    <a:pt x="797" y="517891"/>
                  </a:lnTo>
                  <a:cubicBezTo>
                    <a:pt x="413652" y="518351"/>
                    <a:pt x="691688" y="518627"/>
                    <a:pt x="698061" y="518627"/>
                  </a:cubicBezTo>
                  <a:cubicBezTo>
                    <a:pt x="691688" y="518627"/>
                    <a:pt x="413652" y="518933"/>
                    <a:pt x="797" y="519362"/>
                  </a:cubicBezTo>
                  <a:lnTo>
                    <a:pt x="61" y="519362"/>
                  </a:lnTo>
                  <a:lnTo>
                    <a:pt x="61" y="518627"/>
                  </a:lnTo>
                  <a:cubicBezTo>
                    <a:pt x="31" y="363033"/>
                    <a:pt x="0" y="186817"/>
                    <a:pt x="0" y="797"/>
                  </a:cubicBezTo>
                  <a:lnTo>
                    <a:pt x="0" y="0"/>
                  </a:lnTo>
                  <a:lnTo>
                    <a:pt x="797" y="0"/>
                  </a:lnTo>
                  <a:lnTo>
                    <a:pt x="858" y="0"/>
                  </a:lnTo>
                  <a:cubicBezTo>
                    <a:pt x="260815" y="61"/>
                    <a:pt x="501714" y="92"/>
                    <a:pt x="698061" y="153"/>
                  </a:cubicBezTo>
                  <a:lnTo>
                    <a:pt x="698704" y="153"/>
                  </a:lnTo>
                  <a:lnTo>
                    <a:pt x="698704" y="797"/>
                  </a:lnTo>
                  <a:cubicBezTo>
                    <a:pt x="698306" y="314252"/>
                    <a:pt x="698061" y="513234"/>
                    <a:pt x="698061" y="51862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A98D9339-E99E-486A-BEFB-EB27E3F71225}"/>
                </a:ext>
              </a:extLst>
            </p:cNvPr>
            <p:cNvSpPr/>
            <p:nvPr/>
          </p:nvSpPr>
          <p:spPr>
            <a:xfrm>
              <a:off x="5449110" y="3867773"/>
              <a:ext cx="697356" cy="1593"/>
            </a:xfrm>
            <a:custGeom>
              <a:avLst/>
              <a:gdLst>
                <a:gd name="connsiteX0" fmla="*/ 697356 w 697356"/>
                <a:gd name="connsiteY0" fmla="*/ 797 h 1593"/>
                <a:gd name="connsiteX1" fmla="*/ 348693 w 697356"/>
                <a:gd name="connsiteY1" fmla="*/ 1593 h 1593"/>
                <a:gd name="connsiteX2" fmla="*/ 0 w 697356"/>
                <a:gd name="connsiteY2" fmla="*/ 797 h 1593"/>
                <a:gd name="connsiteX3" fmla="*/ 348693 w 697356"/>
                <a:gd name="connsiteY3" fmla="*/ 0 h 1593"/>
                <a:gd name="connsiteX4" fmla="*/ 697356 w 697356"/>
                <a:gd name="connsiteY4" fmla="*/ 797 h 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356" h="1593">
                  <a:moveTo>
                    <a:pt x="697356" y="797"/>
                  </a:moveTo>
                  <a:cubicBezTo>
                    <a:pt x="697356" y="1226"/>
                    <a:pt x="541241" y="1593"/>
                    <a:pt x="348693" y="1593"/>
                  </a:cubicBezTo>
                  <a:cubicBezTo>
                    <a:pt x="156085" y="1593"/>
                    <a:pt x="0" y="1226"/>
                    <a:pt x="0" y="797"/>
                  </a:cubicBezTo>
                  <a:cubicBezTo>
                    <a:pt x="0" y="368"/>
                    <a:pt x="156085" y="0"/>
                    <a:pt x="348693" y="0"/>
                  </a:cubicBezTo>
                  <a:cubicBezTo>
                    <a:pt x="541241" y="0"/>
                    <a:pt x="697356" y="337"/>
                    <a:pt x="697356" y="797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F55EDF3-3C4D-47C6-B912-0561DB7A0247}"/>
                </a:ext>
              </a:extLst>
            </p:cNvPr>
            <p:cNvSpPr/>
            <p:nvPr/>
          </p:nvSpPr>
          <p:spPr>
            <a:xfrm>
              <a:off x="5468475" y="3820494"/>
              <a:ext cx="20529" cy="20529"/>
            </a:xfrm>
            <a:custGeom>
              <a:avLst/>
              <a:gdLst>
                <a:gd name="connsiteX0" fmla="*/ 20529 w 20529"/>
                <a:gd name="connsiteY0" fmla="*/ 10265 h 20529"/>
                <a:gd name="connsiteX1" fmla="*/ 10265 w 20529"/>
                <a:gd name="connsiteY1" fmla="*/ 20529 h 20529"/>
                <a:gd name="connsiteX2" fmla="*/ 0 w 20529"/>
                <a:gd name="connsiteY2" fmla="*/ 10265 h 20529"/>
                <a:gd name="connsiteX3" fmla="*/ 10265 w 20529"/>
                <a:gd name="connsiteY3" fmla="*/ 0 h 20529"/>
                <a:gd name="connsiteX4" fmla="*/ 20529 w 20529"/>
                <a:gd name="connsiteY4" fmla="*/ 10265 h 2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29" h="20529">
                  <a:moveTo>
                    <a:pt x="20529" y="10265"/>
                  </a:moveTo>
                  <a:cubicBezTo>
                    <a:pt x="20529" y="15934"/>
                    <a:pt x="15934" y="20529"/>
                    <a:pt x="10265" y="20529"/>
                  </a:cubicBezTo>
                  <a:cubicBezTo>
                    <a:pt x="4596" y="20529"/>
                    <a:pt x="0" y="15934"/>
                    <a:pt x="0" y="10265"/>
                  </a:cubicBezTo>
                  <a:cubicBezTo>
                    <a:pt x="0" y="4596"/>
                    <a:pt x="4596" y="0"/>
                    <a:pt x="10265" y="0"/>
                  </a:cubicBezTo>
                  <a:cubicBezTo>
                    <a:pt x="15934" y="0"/>
                    <a:pt x="20529" y="4596"/>
                    <a:pt x="20529" y="10265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4C9C8987-9E8B-4708-B251-C704A6EB2BBD}"/>
                </a:ext>
              </a:extLst>
            </p:cNvPr>
            <p:cNvSpPr/>
            <p:nvPr/>
          </p:nvSpPr>
          <p:spPr>
            <a:xfrm>
              <a:off x="5499361" y="3820494"/>
              <a:ext cx="20529" cy="20529"/>
            </a:xfrm>
            <a:custGeom>
              <a:avLst/>
              <a:gdLst>
                <a:gd name="connsiteX0" fmla="*/ 20529 w 20529"/>
                <a:gd name="connsiteY0" fmla="*/ 10265 h 20529"/>
                <a:gd name="connsiteX1" fmla="*/ 10265 w 20529"/>
                <a:gd name="connsiteY1" fmla="*/ 20529 h 20529"/>
                <a:gd name="connsiteX2" fmla="*/ 0 w 20529"/>
                <a:gd name="connsiteY2" fmla="*/ 10265 h 20529"/>
                <a:gd name="connsiteX3" fmla="*/ 10265 w 20529"/>
                <a:gd name="connsiteY3" fmla="*/ 0 h 20529"/>
                <a:gd name="connsiteX4" fmla="*/ 20529 w 20529"/>
                <a:gd name="connsiteY4" fmla="*/ 10265 h 2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29" h="20529">
                  <a:moveTo>
                    <a:pt x="20529" y="10265"/>
                  </a:moveTo>
                  <a:cubicBezTo>
                    <a:pt x="20529" y="15934"/>
                    <a:pt x="15934" y="20529"/>
                    <a:pt x="10265" y="20529"/>
                  </a:cubicBezTo>
                  <a:cubicBezTo>
                    <a:pt x="4596" y="20529"/>
                    <a:pt x="0" y="15934"/>
                    <a:pt x="0" y="10265"/>
                  </a:cubicBezTo>
                  <a:cubicBezTo>
                    <a:pt x="0" y="4596"/>
                    <a:pt x="4596" y="0"/>
                    <a:pt x="10265" y="0"/>
                  </a:cubicBezTo>
                  <a:cubicBezTo>
                    <a:pt x="15934" y="0"/>
                    <a:pt x="20529" y="4596"/>
                    <a:pt x="20529" y="10265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39676165-B584-4739-83BF-CFC7A6A092C2}"/>
                </a:ext>
              </a:extLst>
            </p:cNvPr>
            <p:cNvSpPr/>
            <p:nvPr/>
          </p:nvSpPr>
          <p:spPr>
            <a:xfrm>
              <a:off x="5530277" y="3820494"/>
              <a:ext cx="20529" cy="20529"/>
            </a:xfrm>
            <a:custGeom>
              <a:avLst/>
              <a:gdLst>
                <a:gd name="connsiteX0" fmla="*/ 20529 w 20529"/>
                <a:gd name="connsiteY0" fmla="*/ 10265 h 20529"/>
                <a:gd name="connsiteX1" fmla="*/ 10265 w 20529"/>
                <a:gd name="connsiteY1" fmla="*/ 20529 h 20529"/>
                <a:gd name="connsiteX2" fmla="*/ 0 w 20529"/>
                <a:gd name="connsiteY2" fmla="*/ 10265 h 20529"/>
                <a:gd name="connsiteX3" fmla="*/ 10265 w 20529"/>
                <a:gd name="connsiteY3" fmla="*/ 0 h 20529"/>
                <a:gd name="connsiteX4" fmla="*/ 20529 w 20529"/>
                <a:gd name="connsiteY4" fmla="*/ 10265 h 2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29" h="20529">
                  <a:moveTo>
                    <a:pt x="20529" y="10265"/>
                  </a:moveTo>
                  <a:cubicBezTo>
                    <a:pt x="20529" y="15934"/>
                    <a:pt x="15934" y="20529"/>
                    <a:pt x="10265" y="20529"/>
                  </a:cubicBezTo>
                  <a:cubicBezTo>
                    <a:pt x="4596" y="20529"/>
                    <a:pt x="0" y="15934"/>
                    <a:pt x="0" y="10265"/>
                  </a:cubicBezTo>
                  <a:cubicBezTo>
                    <a:pt x="0" y="4596"/>
                    <a:pt x="4596" y="0"/>
                    <a:pt x="10265" y="0"/>
                  </a:cubicBezTo>
                  <a:cubicBezTo>
                    <a:pt x="15934" y="0"/>
                    <a:pt x="20529" y="4596"/>
                    <a:pt x="20529" y="10265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5285E23B-8CA9-41A6-B915-57D20EBCA1A4}"/>
                </a:ext>
              </a:extLst>
            </p:cNvPr>
            <p:cNvSpPr/>
            <p:nvPr/>
          </p:nvSpPr>
          <p:spPr>
            <a:xfrm>
              <a:off x="6069679" y="4172649"/>
              <a:ext cx="142986" cy="62721"/>
            </a:xfrm>
            <a:custGeom>
              <a:avLst/>
              <a:gdLst>
                <a:gd name="connsiteX0" fmla="*/ 0 w 142986"/>
                <a:gd name="connsiteY0" fmla="*/ 40722 h 62721"/>
                <a:gd name="connsiteX1" fmla="*/ 25003 w 142986"/>
                <a:gd name="connsiteY1" fmla="*/ 17588 h 62721"/>
                <a:gd name="connsiteX2" fmla="*/ 90115 w 142986"/>
                <a:gd name="connsiteY2" fmla="*/ 17588 h 62721"/>
                <a:gd name="connsiteX3" fmla="*/ 136750 w 142986"/>
                <a:gd name="connsiteY3" fmla="*/ 0 h 62721"/>
                <a:gd name="connsiteX4" fmla="*/ 142909 w 142986"/>
                <a:gd name="connsiteY4" fmla="*/ 8671 h 62721"/>
                <a:gd name="connsiteX5" fmla="*/ 92750 w 142986"/>
                <a:gd name="connsiteY5" fmla="*/ 39588 h 62721"/>
                <a:gd name="connsiteX6" fmla="*/ 45226 w 142986"/>
                <a:gd name="connsiteY6" fmla="*/ 43571 h 62721"/>
                <a:gd name="connsiteX7" fmla="*/ 34624 w 142986"/>
                <a:gd name="connsiteY7" fmla="*/ 62722 h 62721"/>
                <a:gd name="connsiteX8" fmla="*/ 0 w 142986"/>
                <a:gd name="connsiteY8" fmla="*/ 40722 h 62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86" h="62721">
                  <a:moveTo>
                    <a:pt x="0" y="40722"/>
                  </a:moveTo>
                  <a:cubicBezTo>
                    <a:pt x="0" y="40722"/>
                    <a:pt x="17006" y="18476"/>
                    <a:pt x="25003" y="17588"/>
                  </a:cubicBezTo>
                  <a:cubicBezTo>
                    <a:pt x="33000" y="16699"/>
                    <a:pt x="83067" y="18476"/>
                    <a:pt x="90115" y="17588"/>
                  </a:cubicBezTo>
                  <a:cubicBezTo>
                    <a:pt x="97162" y="16699"/>
                    <a:pt x="136750" y="0"/>
                    <a:pt x="136750" y="0"/>
                  </a:cubicBezTo>
                  <a:cubicBezTo>
                    <a:pt x="136750" y="0"/>
                    <a:pt x="143798" y="2359"/>
                    <a:pt x="142909" y="8671"/>
                  </a:cubicBezTo>
                  <a:cubicBezTo>
                    <a:pt x="142021" y="14953"/>
                    <a:pt x="98020" y="38730"/>
                    <a:pt x="92750" y="39588"/>
                  </a:cubicBezTo>
                  <a:cubicBezTo>
                    <a:pt x="87480" y="40477"/>
                    <a:pt x="45226" y="43571"/>
                    <a:pt x="45226" y="43571"/>
                  </a:cubicBezTo>
                  <a:lnTo>
                    <a:pt x="34624" y="62722"/>
                  </a:lnTo>
                  <a:lnTo>
                    <a:pt x="0" y="40722"/>
                  </a:lnTo>
                  <a:close/>
                </a:path>
              </a:pathLst>
            </a:custGeom>
            <a:solidFill>
              <a:srgbClr val="A5695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2AC9A371-3E59-4EB0-9622-DFAE5805D872}"/>
                </a:ext>
              </a:extLst>
            </p:cNvPr>
            <p:cNvSpPr/>
            <p:nvPr/>
          </p:nvSpPr>
          <p:spPr>
            <a:xfrm>
              <a:off x="5883076" y="3876321"/>
              <a:ext cx="56605" cy="119529"/>
            </a:xfrm>
            <a:custGeom>
              <a:avLst/>
              <a:gdLst>
                <a:gd name="connsiteX0" fmla="*/ 40844 w 56605"/>
                <a:gd name="connsiteY0" fmla="*/ 56624 h 119529"/>
                <a:gd name="connsiteX1" fmla="*/ 56502 w 56605"/>
                <a:gd name="connsiteY1" fmla="*/ 34747 h 119529"/>
                <a:gd name="connsiteX2" fmla="*/ 45103 w 56605"/>
                <a:gd name="connsiteY2" fmla="*/ 10387 h 119529"/>
                <a:gd name="connsiteX3" fmla="*/ 14217 w 56605"/>
                <a:gd name="connsiteY3" fmla="*/ 0 h 119529"/>
                <a:gd name="connsiteX4" fmla="*/ 0 w 56605"/>
                <a:gd name="connsiteY4" fmla="*/ 119530 h 119529"/>
                <a:gd name="connsiteX5" fmla="*/ 23716 w 56605"/>
                <a:gd name="connsiteY5" fmla="*/ 112973 h 119529"/>
                <a:gd name="connsiteX6" fmla="*/ 32510 w 56605"/>
                <a:gd name="connsiteY6" fmla="*/ 91432 h 119529"/>
                <a:gd name="connsiteX7" fmla="*/ 46298 w 56605"/>
                <a:gd name="connsiteY7" fmla="*/ 76357 h 119529"/>
                <a:gd name="connsiteX8" fmla="*/ 40844 w 56605"/>
                <a:gd name="connsiteY8" fmla="*/ 56624 h 11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" h="119529">
                  <a:moveTo>
                    <a:pt x="40844" y="56624"/>
                  </a:moveTo>
                  <a:cubicBezTo>
                    <a:pt x="49424" y="52794"/>
                    <a:pt x="55644" y="44092"/>
                    <a:pt x="56502" y="34747"/>
                  </a:cubicBezTo>
                  <a:cubicBezTo>
                    <a:pt x="57360" y="25371"/>
                    <a:pt x="52856" y="15719"/>
                    <a:pt x="45103" y="10387"/>
                  </a:cubicBezTo>
                  <a:lnTo>
                    <a:pt x="14217" y="0"/>
                  </a:lnTo>
                  <a:cubicBezTo>
                    <a:pt x="9744" y="39864"/>
                    <a:pt x="5025" y="79697"/>
                    <a:pt x="0" y="119530"/>
                  </a:cubicBezTo>
                  <a:cubicBezTo>
                    <a:pt x="8304" y="119101"/>
                    <a:pt x="16883" y="117722"/>
                    <a:pt x="23716" y="112973"/>
                  </a:cubicBezTo>
                  <a:cubicBezTo>
                    <a:pt x="30549" y="108223"/>
                    <a:pt x="35053" y="99338"/>
                    <a:pt x="32510" y="91432"/>
                  </a:cubicBezTo>
                  <a:cubicBezTo>
                    <a:pt x="39251" y="89165"/>
                    <a:pt x="44644" y="83251"/>
                    <a:pt x="46298" y="76357"/>
                  </a:cubicBezTo>
                  <a:cubicBezTo>
                    <a:pt x="47922" y="69401"/>
                    <a:pt x="45808" y="61711"/>
                    <a:pt x="40844" y="56624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5B97B56D-5405-4969-9BE0-7D2E2D275FD2}"/>
                </a:ext>
              </a:extLst>
            </p:cNvPr>
            <p:cNvSpPr/>
            <p:nvPr/>
          </p:nvSpPr>
          <p:spPr>
            <a:xfrm>
              <a:off x="5761847" y="3887873"/>
              <a:ext cx="149725" cy="258306"/>
            </a:xfrm>
            <a:custGeom>
              <a:avLst/>
              <a:gdLst>
                <a:gd name="connsiteX0" fmla="*/ 10616 w 149725"/>
                <a:gd name="connsiteY0" fmla="*/ 21694 h 258306"/>
                <a:gd name="connsiteX1" fmla="*/ 11780 w 149725"/>
                <a:gd name="connsiteY1" fmla="*/ 7507 h 258306"/>
                <a:gd name="connsiteX2" fmla="*/ 98524 w 149725"/>
                <a:gd name="connsiteY2" fmla="*/ 0 h 258306"/>
                <a:gd name="connsiteX3" fmla="*/ 149695 w 149725"/>
                <a:gd name="connsiteY3" fmla="*/ 55583 h 258306"/>
                <a:gd name="connsiteX4" fmla="*/ 140288 w 149725"/>
                <a:gd name="connsiteY4" fmla="*/ 142388 h 258306"/>
                <a:gd name="connsiteX5" fmla="*/ 94633 w 149725"/>
                <a:gd name="connsiteY5" fmla="*/ 187706 h 258306"/>
                <a:gd name="connsiteX6" fmla="*/ 91569 w 149725"/>
                <a:gd name="connsiteY6" fmla="*/ 231216 h 258306"/>
                <a:gd name="connsiteX7" fmla="*/ 42023 w 149725"/>
                <a:gd name="connsiteY7" fmla="*/ 257720 h 258306"/>
                <a:gd name="connsiteX8" fmla="*/ 42023 w 149725"/>
                <a:gd name="connsiteY8" fmla="*/ 257720 h 258306"/>
                <a:gd name="connsiteX9" fmla="*/ 75 w 149725"/>
                <a:gd name="connsiteY9" fmla="*/ 209155 h 258306"/>
                <a:gd name="connsiteX10" fmla="*/ 10616 w 149725"/>
                <a:gd name="connsiteY10" fmla="*/ 21694 h 25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9725" h="258306">
                  <a:moveTo>
                    <a:pt x="10616" y="21694"/>
                  </a:moveTo>
                  <a:lnTo>
                    <a:pt x="11780" y="7507"/>
                  </a:lnTo>
                  <a:lnTo>
                    <a:pt x="98524" y="0"/>
                  </a:lnTo>
                  <a:cubicBezTo>
                    <a:pt x="125029" y="-92"/>
                    <a:pt x="150736" y="29078"/>
                    <a:pt x="149695" y="55583"/>
                  </a:cubicBezTo>
                  <a:cubicBezTo>
                    <a:pt x="148561" y="85029"/>
                    <a:pt x="145987" y="120909"/>
                    <a:pt x="140288" y="142388"/>
                  </a:cubicBezTo>
                  <a:cubicBezTo>
                    <a:pt x="128828" y="185561"/>
                    <a:pt x="94633" y="187706"/>
                    <a:pt x="94633" y="187706"/>
                  </a:cubicBezTo>
                  <a:lnTo>
                    <a:pt x="91569" y="231216"/>
                  </a:lnTo>
                  <a:cubicBezTo>
                    <a:pt x="89271" y="256587"/>
                    <a:pt x="67363" y="259988"/>
                    <a:pt x="42023" y="257720"/>
                  </a:cubicBezTo>
                  <a:lnTo>
                    <a:pt x="42023" y="257720"/>
                  </a:lnTo>
                  <a:cubicBezTo>
                    <a:pt x="17234" y="255514"/>
                    <a:pt x="-1334" y="234035"/>
                    <a:pt x="75" y="209155"/>
                  </a:cubicBezTo>
                  <a:lnTo>
                    <a:pt x="10616" y="21694"/>
                  </a:lnTo>
                  <a:close/>
                </a:path>
              </a:pathLst>
            </a:custGeom>
            <a:solidFill>
              <a:srgbClr val="A5695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65DC9962-824D-4E61-8A4C-ED5F844F0864}"/>
                </a:ext>
              </a:extLst>
            </p:cNvPr>
            <p:cNvSpPr/>
            <p:nvPr/>
          </p:nvSpPr>
          <p:spPr>
            <a:xfrm>
              <a:off x="5886495" y="3969003"/>
              <a:ext cx="11299" cy="10800"/>
            </a:xfrm>
            <a:custGeom>
              <a:avLst/>
              <a:gdLst>
                <a:gd name="connsiteX0" fmla="*/ 11289 w 11299"/>
                <a:gd name="connsiteY0" fmla="*/ 5676 h 10800"/>
                <a:gd name="connsiteX1" fmla="*/ 5284 w 11299"/>
                <a:gd name="connsiteY1" fmla="*/ 10793 h 10800"/>
                <a:gd name="connsiteX2" fmla="*/ 14 w 11299"/>
                <a:gd name="connsiteY2" fmla="*/ 5124 h 10800"/>
                <a:gd name="connsiteX3" fmla="*/ 6019 w 11299"/>
                <a:gd name="connsiteY3" fmla="*/ 7 h 10800"/>
                <a:gd name="connsiteX4" fmla="*/ 11289 w 11299"/>
                <a:gd name="connsiteY4" fmla="*/ 5676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99" h="10800">
                  <a:moveTo>
                    <a:pt x="11289" y="5676"/>
                  </a:moveTo>
                  <a:cubicBezTo>
                    <a:pt x="11106" y="8648"/>
                    <a:pt x="8409" y="10946"/>
                    <a:pt x="5284" y="10793"/>
                  </a:cubicBezTo>
                  <a:cubicBezTo>
                    <a:pt x="2158" y="10640"/>
                    <a:pt x="-201" y="8096"/>
                    <a:pt x="14" y="5124"/>
                  </a:cubicBezTo>
                  <a:cubicBezTo>
                    <a:pt x="197" y="2152"/>
                    <a:pt x="2894" y="-146"/>
                    <a:pt x="6019" y="7"/>
                  </a:cubicBezTo>
                  <a:cubicBezTo>
                    <a:pt x="9114" y="160"/>
                    <a:pt x="11473" y="2704"/>
                    <a:pt x="11289" y="5676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E013D6D1-969B-4261-986A-FECA7BB1C81E}"/>
                </a:ext>
              </a:extLst>
            </p:cNvPr>
            <p:cNvSpPr/>
            <p:nvPr/>
          </p:nvSpPr>
          <p:spPr>
            <a:xfrm>
              <a:off x="5878123" y="3954063"/>
              <a:ext cx="22350" cy="7186"/>
            </a:xfrm>
            <a:custGeom>
              <a:avLst/>
              <a:gdLst>
                <a:gd name="connsiteX0" fmla="*/ 22235 w 22350"/>
                <a:gd name="connsiteY0" fmla="*/ 7103 h 7186"/>
                <a:gd name="connsiteX1" fmla="*/ 11450 w 22350"/>
                <a:gd name="connsiteY1" fmla="*/ 3580 h 7186"/>
                <a:gd name="connsiteX2" fmla="*/ 51 w 22350"/>
                <a:gd name="connsiteY2" fmla="*/ 4744 h 7186"/>
                <a:gd name="connsiteX3" fmla="*/ 2687 w 22350"/>
                <a:gd name="connsiteY3" fmla="*/ 1925 h 7186"/>
                <a:gd name="connsiteX4" fmla="*/ 11909 w 22350"/>
                <a:gd name="connsiteY4" fmla="*/ 86 h 7186"/>
                <a:gd name="connsiteX5" fmla="*/ 20397 w 22350"/>
                <a:gd name="connsiteY5" fmla="*/ 3825 h 7186"/>
                <a:gd name="connsiteX6" fmla="*/ 22235 w 22350"/>
                <a:gd name="connsiteY6" fmla="*/ 7103 h 7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50" h="7186">
                  <a:moveTo>
                    <a:pt x="22235" y="7103"/>
                  </a:moveTo>
                  <a:cubicBezTo>
                    <a:pt x="21469" y="7777"/>
                    <a:pt x="17517" y="4162"/>
                    <a:pt x="11450" y="3580"/>
                  </a:cubicBezTo>
                  <a:cubicBezTo>
                    <a:pt x="5414" y="2905"/>
                    <a:pt x="634" y="5540"/>
                    <a:pt x="51" y="4744"/>
                  </a:cubicBezTo>
                  <a:cubicBezTo>
                    <a:pt x="-224" y="4376"/>
                    <a:pt x="603" y="3120"/>
                    <a:pt x="2687" y="1925"/>
                  </a:cubicBezTo>
                  <a:cubicBezTo>
                    <a:pt x="4739" y="730"/>
                    <a:pt x="8110" y="-312"/>
                    <a:pt x="11909" y="86"/>
                  </a:cubicBezTo>
                  <a:cubicBezTo>
                    <a:pt x="15678" y="485"/>
                    <a:pt x="18712" y="2201"/>
                    <a:pt x="20397" y="3825"/>
                  </a:cubicBezTo>
                  <a:cubicBezTo>
                    <a:pt x="22113" y="5418"/>
                    <a:pt x="22603" y="6797"/>
                    <a:pt x="22235" y="710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5DEED67F-FF83-4422-A572-ABE70CFEB639}"/>
                </a:ext>
              </a:extLst>
            </p:cNvPr>
            <p:cNvSpPr/>
            <p:nvPr/>
          </p:nvSpPr>
          <p:spPr>
            <a:xfrm>
              <a:off x="5829901" y="3965448"/>
              <a:ext cx="11302" cy="10800"/>
            </a:xfrm>
            <a:custGeom>
              <a:avLst/>
              <a:gdLst>
                <a:gd name="connsiteX0" fmla="*/ 11289 w 11302"/>
                <a:gd name="connsiteY0" fmla="*/ 5676 h 10800"/>
                <a:gd name="connsiteX1" fmla="*/ 5284 w 11302"/>
                <a:gd name="connsiteY1" fmla="*/ 10793 h 10800"/>
                <a:gd name="connsiteX2" fmla="*/ 14 w 11302"/>
                <a:gd name="connsiteY2" fmla="*/ 5124 h 10800"/>
                <a:gd name="connsiteX3" fmla="*/ 6019 w 11302"/>
                <a:gd name="connsiteY3" fmla="*/ 7 h 10800"/>
                <a:gd name="connsiteX4" fmla="*/ 11289 w 11302"/>
                <a:gd name="connsiteY4" fmla="*/ 5676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02" h="10800">
                  <a:moveTo>
                    <a:pt x="11289" y="5676"/>
                  </a:moveTo>
                  <a:cubicBezTo>
                    <a:pt x="11106" y="8648"/>
                    <a:pt x="8409" y="10946"/>
                    <a:pt x="5284" y="10793"/>
                  </a:cubicBezTo>
                  <a:cubicBezTo>
                    <a:pt x="2158" y="10640"/>
                    <a:pt x="-201" y="8096"/>
                    <a:pt x="14" y="5124"/>
                  </a:cubicBezTo>
                  <a:cubicBezTo>
                    <a:pt x="197" y="2152"/>
                    <a:pt x="2894" y="-146"/>
                    <a:pt x="6019" y="7"/>
                  </a:cubicBezTo>
                  <a:cubicBezTo>
                    <a:pt x="9114" y="160"/>
                    <a:pt x="11504" y="2704"/>
                    <a:pt x="11289" y="5676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32668FA1-95D9-4CB7-895F-CE2DD338904E}"/>
                </a:ext>
              </a:extLst>
            </p:cNvPr>
            <p:cNvSpPr/>
            <p:nvPr/>
          </p:nvSpPr>
          <p:spPr>
            <a:xfrm>
              <a:off x="5818465" y="3949099"/>
              <a:ext cx="22350" cy="7186"/>
            </a:xfrm>
            <a:custGeom>
              <a:avLst/>
              <a:gdLst>
                <a:gd name="connsiteX0" fmla="*/ 22235 w 22350"/>
                <a:gd name="connsiteY0" fmla="*/ 7103 h 7186"/>
                <a:gd name="connsiteX1" fmla="*/ 11450 w 22350"/>
                <a:gd name="connsiteY1" fmla="*/ 3579 h 7186"/>
                <a:gd name="connsiteX2" fmla="*/ 51 w 22350"/>
                <a:gd name="connsiteY2" fmla="*/ 4744 h 7186"/>
                <a:gd name="connsiteX3" fmla="*/ 2687 w 22350"/>
                <a:gd name="connsiteY3" fmla="*/ 1925 h 7186"/>
                <a:gd name="connsiteX4" fmla="*/ 11909 w 22350"/>
                <a:gd name="connsiteY4" fmla="*/ 86 h 7186"/>
                <a:gd name="connsiteX5" fmla="*/ 20397 w 22350"/>
                <a:gd name="connsiteY5" fmla="*/ 3825 h 7186"/>
                <a:gd name="connsiteX6" fmla="*/ 22235 w 22350"/>
                <a:gd name="connsiteY6" fmla="*/ 7103 h 7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50" h="7186">
                  <a:moveTo>
                    <a:pt x="22235" y="7103"/>
                  </a:moveTo>
                  <a:cubicBezTo>
                    <a:pt x="21469" y="7777"/>
                    <a:pt x="17517" y="4162"/>
                    <a:pt x="11450" y="3579"/>
                  </a:cubicBezTo>
                  <a:cubicBezTo>
                    <a:pt x="5414" y="2905"/>
                    <a:pt x="634" y="5540"/>
                    <a:pt x="51" y="4744"/>
                  </a:cubicBezTo>
                  <a:cubicBezTo>
                    <a:pt x="-224" y="4376"/>
                    <a:pt x="603" y="3120"/>
                    <a:pt x="2687" y="1925"/>
                  </a:cubicBezTo>
                  <a:cubicBezTo>
                    <a:pt x="4739" y="730"/>
                    <a:pt x="8110" y="-312"/>
                    <a:pt x="11909" y="86"/>
                  </a:cubicBezTo>
                  <a:cubicBezTo>
                    <a:pt x="15678" y="485"/>
                    <a:pt x="18712" y="2201"/>
                    <a:pt x="20397" y="3825"/>
                  </a:cubicBezTo>
                  <a:cubicBezTo>
                    <a:pt x="22113" y="5418"/>
                    <a:pt x="22603" y="6827"/>
                    <a:pt x="22235" y="710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394A1AC9-EEC7-4B55-A8AE-9151430E97A2}"/>
                </a:ext>
              </a:extLst>
            </p:cNvPr>
            <p:cNvSpPr/>
            <p:nvPr/>
          </p:nvSpPr>
          <p:spPr>
            <a:xfrm>
              <a:off x="5858104" y="3952615"/>
              <a:ext cx="15935" cy="51769"/>
            </a:xfrm>
            <a:custGeom>
              <a:avLst/>
              <a:gdLst>
                <a:gd name="connsiteX0" fmla="*/ 0 w 15935"/>
                <a:gd name="connsiteY0" fmla="*/ 50774 h 51769"/>
                <a:gd name="connsiteX1" fmla="*/ 10020 w 15935"/>
                <a:gd name="connsiteY1" fmla="*/ 50008 h 51769"/>
                <a:gd name="connsiteX2" fmla="*/ 13452 w 15935"/>
                <a:gd name="connsiteY2" fmla="*/ 48813 h 51769"/>
                <a:gd name="connsiteX3" fmla="*/ 12900 w 15935"/>
                <a:gd name="connsiteY3" fmla="*/ 44125 h 51769"/>
                <a:gd name="connsiteX4" fmla="*/ 9530 w 15935"/>
                <a:gd name="connsiteY4" fmla="*/ 31868 h 51769"/>
                <a:gd name="connsiteX5" fmla="*/ 2390 w 15935"/>
                <a:gd name="connsiteY5" fmla="*/ 2 h 51769"/>
                <a:gd name="connsiteX6" fmla="*/ 12073 w 15935"/>
                <a:gd name="connsiteY6" fmla="*/ 31194 h 51769"/>
                <a:gd name="connsiteX7" fmla="*/ 15259 w 15935"/>
                <a:gd name="connsiteY7" fmla="*/ 43481 h 51769"/>
                <a:gd name="connsiteX8" fmla="*/ 15443 w 15935"/>
                <a:gd name="connsiteY8" fmla="*/ 49640 h 51769"/>
                <a:gd name="connsiteX9" fmla="*/ 12655 w 15935"/>
                <a:gd name="connsiteY9" fmla="*/ 51632 h 51769"/>
                <a:gd name="connsiteX10" fmla="*/ 9989 w 15935"/>
                <a:gd name="connsiteY10" fmla="*/ 51724 h 51769"/>
                <a:gd name="connsiteX11" fmla="*/ 0 w 15935"/>
                <a:gd name="connsiteY11" fmla="*/ 50774 h 51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35" h="51769">
                  <a:moveTo>
                    <a:pt x="0" y="50774"/>
                  </a:moveTo>
                  <a:cubicBezTo>
                    <a:pt x="0" y="50437"/>
                    <a:pt x="3830" y="50161"/>
                    <a:pt x="10020" y="50008"/>
                  </a:cubicBezTo>
                  <a:cubicBezTo>
                    <a:pt x="11582" y="50008"/>
                    <a:pt x="13084" y="49854"/>
                    <a:pt x="13452" y="48813"/>
                  </a:cubicBezTo>
                  <a:cubicBezTo>
                    <a:pt x="13942" y="47740"/>
                    <a:pt x="13452" y="45994"/>
                    <a:pt x="12900" y="44125"/>
                  </a:cubicBezTo>
                  <a:cubicBezTo>
                    <a:pt x="11828" y="40233"/>
                    <a:pt x="10694" y="36158"/>
                    <a:pt x="9530" y="31868"/>
                  </a:cubicBezTo>
                  <a:cubicBezTo>
                    <a:pt x="4903" y="14464"/>
                    <a:pt x="1685" y="186"/>
                    <a:pt x="2390" y="2"/>
                  </a:cubicBezTo>
                  <a:cubicBezTo>
                    <a:pt x="3095" y="-182"/>
                    <a:pt x="7415" y="13790"/>
                    <a:pt x="12073" y="31194"/>
                  </a:cubicBezTo>
                  <a:cubicBezTo>
                    <a:pt x="13176" y="35484"/>
                    <a:pt x="14248" y="39590"/>
                    <a:pt x="15259" y="43481"/>
                  </a:cubicBezTo>
                  <a:cubicBezTo>
                    <a:pt x="15658" y="45289"/>
                    <a:pt x="16454" y="47403"/>
                    <a:pt x="15443" y="49640"/>
                  </a:cubicBezTo>
                  <a:cubicBezTo>
                    <a:pt x="14922" y="50743"/>
                    <a:pt x="13697" y="51478"/>
                    <a:pt x="12655" y="51632"/>
                  </a:cubicBezTo>
                  <a:cubicBezTo>
                    <a:pt x="11644" y="51846"/>
                    <a:pt x="10755" y="51754"/>
                    <a:pt x="9989" y="51724"/>
                  </a:cubicBezTo>
                  <a:cubicBezTo>
                    <a:pt x="3800" y="51478"/>
                    <a:pt x="-30" y="51111"/>
                    <a:pt x="0" y="50774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C386829-AE0E-44E0-915F-D4D946BE1D82}"/>
                </a:ext>
              </a:extLst>
            </p:cNvPr>
            <p:cNvSpPr/>
            <p:nvPr/>
          </p:nvSpPr>
          <p:spPr>
            <a:xfrm>
              <a:off x="5797772" y="4053824"/>
              <a:ext cx="58677" cy="32846"/>
            </a:xfrm>
            <a:custGeom>
              <a:avLst/>
              <a:gdLst>
                <a:gd name="connsiteX0" fmla="*/ 58677 w 58677"/>
                <a:gd name="connsiteY0" fmla="*/ 21908 h 32846"/>
                <a:gd name="connsiteX1" fmla="*/ 0 w 58677"/>
                <a:gd name="connsiteY1" fmla="*/ 0 h 32846"/>
                <a:gd name="connsiteX2" fmla="*/ 57513 w 58677"/>
                <a:gd name="connsiteY2" fmla="*/ 32847 h 32846"/>
                <a:gd name="connsiteX3" fmla="*/ 58677 w 58677"/>
                <a:gd name="connsiteY3" fmla="*/ 21908 h 32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677" h="32846">
                  <a:moveTo>
                    <a:pt x="58677" y="21908"/>
                  </a:moveTo>
                  <a:cubicBezTo>
                    <a:pt x="58677" y="21908"/>
                    <a:pt x="27454" y="20560"/>
                    <a:pt x="0" y="0"/>
                  </a:cubicBezTo>
                  <a:cubicBezTo>
                    <a:pt x="0" y="0"/>
                    <a:pt x="11674" y="32234"/>
                    <a:pt x="57513" y="32847"/>
                  </a:cubicBezTo>
                  <a:lnTo>
                    <a:pt x="58677" y="21908"/>
                  </a:lnTo>
                  <a:close/>
                </a:path>
              </a:pathLst>
            </a:custGeom>
            <a:solidFill>
              <a:srgbClr val="83534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846F7398-E648-4492-B051-A7F2DF278B10}"/>
                </a:ext>
              </a:extLst>
            </p:cNvPr>
            <p:cNvSpPr/>
            <p:nvPr/>
          </p:nvSpPr>
          <p:spPr>
            <a:xfrm>
              <a:off x="5815853" y="3933374"/>
              <a:ext cx="27998" cy="6817"/>
            </a:xfrm>
            <a:custGeom>
              <a:avLst/>
              <a:gdLst>
                <a:gd name="connsiteX0" fmla="*/ 27941 w 27998"/>
                <a:gd name="connsiteY0" fmla="*/ 5884 h 6817"/>
                <a:gd name="connsiteX1" fmla="*/ 14000 w 27998"/>
                <a:gd name="connsiteY1" fmla="*/ 6190 h 6817"/>
                <a:gd name="connsiteX2" fmla="*/ 58 w 27998"/>
                <a:gd name="connsiteY2" fmla="*/ 6098 h 6817"/>
                <a:gd name="connsiteX3" fmla="*/ 3337 w 27998"/>
                <a:gd name="connsiteY3" fmla="*/ 2544 h 6817"/>
                <a:gd name="connsiteX4" fmla="*/ 13938 w 27998"/>
                <a:gd name="connsiteY4" fmla="*/ 1 h 6817"/>
                <a:gd name="connsiteX5" fmla="*/ 24571 w 27998"/>
                <a:gd name="connsiteY5" fmla="*/ 2360 h 6817"/>
                <a:gd name="connsiteX6" fmla="*/ 27941 w 27998"/>
                <a:gd name="connsiteY6" fmla="*/ 5884 h 6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998" h="6817">
                  <a:moveTo>
                    <a:pt x="27941" y="5884"/>
                  </a:moveTo>
                  <a:cubicBezTo>
                    <a:pt x="27175" y="7477"/>
                    <a:pt x="21200" y="6068"/>
                    <a:pt x="14000" y="6190"/>
                  </a:cubicBezTo>
                  <a:cubicBezTo>
                    <a:pt x="6799" y="6190"/>
                    <a:pt x="855" y="7661"/>
                    <a:pt x="58" y="6098"/>
                  </a:cubicBezTo>
                  <a:cubicBezTo>
                    <a:pt x="-279" y="5363"/>
                    <a:pt x="855" y="3892"/>
                    <a:pt x="3337" y="2544"/>
                  </a:cubicBezTo>
                  <a:cubicBezTo>
                    <a:pt x="5788" y="1196"/>
                    <a:pt x="9618" y="62"/>
                    <a:pt x="13938" y="1"/>
                  </a:cubicBezTo>
                  <a:cubicBezTo>
                    <a:pt x="18259" y="-30"/>
                    <a:pt x="22089" y="1042"/>
                    <a:pt x="24571" y="2360"/>
                  </a:cubicBezTo>
                  <a:cubicBezTo>
                    <a:pt x="27114" y="3678"/>
                    <a:pt x="28278" y="5118"/>
                    <a:pt x="27941" y="5884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260A77A1-D052-4133-BAF1-F5DC044B6BFB}"/>
                </a:ext>
              </a:extLst>
            </p:cNvPr>
            <p:cNvSpPr/>
            <p:nvPr/>
          </p:nvSpPr>
          <p:spPr>
            <a:xfrm>
              <a:off x="5881766" y="3932932"/>
              <a:ext cx="20745" cy="7858"/>
            </a:xfrm>
            <a:custGeom>
              <a:avLst/>
              <a:gdLst>
                <a:gd name="connsiteX0" fmla="*/ 20522 w 20745"/>
                <a:gd name="connsiteY0" fmla="*/ 7428 h 7858"/>
                <a:gd name="connsiteX1" fmla="*/ 10288 w 20745"/>
                <a:gd name="connsiteY1" fmla="*/ 6264 h 7858"/>
                <a:gd name="connsiteX2" fmla="*/ 85 w 20745"/>
                <a:gd name="connsiteY2" fmla="*/ 4701 h 7858"/>
                <a:gd name="connsiteX3" fmla="*/ 2536 w 20745"/>
                <a:gd name="connsiteY3" fmla="*/ 1545 h 7858"/>
                <a:gd name="connsiteX4" fmla="*/ 11116 w 20745"/>
                <a:gd name="connsiteY4" fmla="*/ 136 h 7858"/>
                <a:gd name="connsiteX5" fmla="*/ 19021 w 20745"/>
                <a:gd name="connsiteY5" fmla="*/ 3721 h 7858"/>
                <a:gd name="connsiteX6" fmla="*/ 20522 w 20745"/>
                <a:gd name="connsiteY6" fmla="*/ 7428 h 7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45" h="7858">
                  <a:moveTo>
                    <a:pt x="20522" y="7428"/>
                  </a:moveTo>
                  <a:cubicBezTo>
                    <a:pt x="19327" y="8685"/>
                    <a:pt x="15283" y="6846"/>
                    <a:pt x="10288" y="6264"/>
                  </a:cubicBezTo>
                  <a:cubicBezTo>
                    <a:pt x="5294" y="5498"/>
                    <a:pt x="943" y="6233"/>
                    <a:pt x="85" y="4701"/>
                  </a:cubicBezTo>
                  <a:cubicBezTo>
                    <a:pt x="-283" y="3966"/>
                    <a:pt x="545" y="2648"/>
                    <a:pt x="2536" y="1545"/>
                  </a:cubicBezTo>
                  <a:cubicBezTo>
                    <a:pt x="4497" y="442"/>
                    <a:pt x="7653" y="-324"/>
                    <a:pt x="11116" y="136"/>
                  </a:cubicBezTo>
                  <a:cubicBezTo>
                    <a:pt x="14547" y="595"/>
                    <a:pt x="17397" y="2158"/>
                    <a:pt x="19021" y="3721"/>
                  </a:cubicBezTo>
                  <a:cubicBezTo>
                    <a:pt x="20614" y="5345"/>
                    <a:pt x="21074" y="6815"/>
                    <a:pt x="20522" y="742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4E05DAFA-4DC4-4E5A-B571-D6B60BC93B44}"/>
                </a:ext>
              </a:extLst>
            </p:cNvPr>
            <p:cNvSpPr/>
            <p:nvPr/>
          </p:nvSpPr>
          <p:spPr>
            <a:xfrm>
              <a:off x="5743322" y="3820510"/>
              <a:ext cx="201302" cy="164004"/>
            </a:xfrm>
            <a:custGeom>
              <a:avLst/>
              <a:gdLst>
                <a:gd name="connsiteX0" fmla="*/ 187616 w 201302"/>
                <a:gd name="connsiteY0" fmla="*/ 85227 h 164004"/>
                <a:gd name="connsiteX1" fmla="*/ 201098 w 201302"/>
                <a:gd name="connsiteY1" fmla="*/ 58171 h 164004"/>
                <a:gd name="connsiteX2" fmla="*/ 182192 w 201302"/>
                <a:gd name="connsiteY2" fmla="*/ 33996 h 164004"/>
                <a:gd name="connsiteX3" fmla="*/ 175942 w 201302"/>
                <a:gd name="connsiteY3" fmla="*/ 32157 h 164004"/>
                <a:gd name="connsiteX4" fmla="*/ 162705 w 201302"/>
                <a:gd name="connsiteY4" fmla="*/ 26856 h 164004"/>
                <a:gd name="connsiteX5" fmla="*/ 152654 w 201302"/>
                <a:gd name="connsiteY5" fmla="*/ 14202 h 164004"/>
                <a:gd name="connsiteX6" fmla="*/ 135710 w 201302"/>
                <a:gd name="connsiteY6" fmla="*/ 13129 h 164004"/>
                <a:gd name="connsiteX7" fmla="*/ 113220 w 201302"/>
                <a:gd name="connsiteY7" fmla="*/ 45 h 164004"/>
                <a:gd name="connsiteX8" fmla="*/ 89381 w 201302"/>
                <a:gd name="connsiteY8" fmla="*/ 10433 h 164004"/>
                <a:gd name="connsiteX9" fmla="*/ 68576 w 201302"/>
                <a:gd name="connsiteY9" fmla="*/ 6817 h 164004"/>
                <a:gd name="connsiteX10" fmla="*/ 53225 w 201302"/>
                <a:gd name="connsiteY10" fmla="*/ 21341 h 164004"/>
                <a:gd name="connsiteX11" fmla="*/ 35667 w 201302"/>
                <a:gd name="connsiteY11" fmla="*/ 27500 h 164004"/>
                <a:gd name="connsiteX12" fmla="*/ 31255 w 201302"/>
                <a:gd name="connsiteY12" fmla="*/ 33138 h 164004"/>
                <a:gd name="connsiteX13" fmla="*/ 26199 w 201302"/>
                <a:gd name="connsiteY13" fmla="*/ 41380 h 164004"/>
                <a:gd name="connsiteX14" fmla="*/ 1472 w 201302"/>
                <a:gd name="connsiteY14" fmla="*/ 58907 h 164004"/>
                <a:gd name="connsiteX15" fmla="*/ 9378 w 201302"/>
                <a:gd name="connsiteY15" fmla="*/ 88199 h 164004"/>
                <a:gd name="connsiteX16" fmla="*/ 308 w 201302"/>
                <a:gd name="connsiteY16" fmla="*/ 107932 h 164004"/>
                <a:gd name="connsiteX17" fmla="*/ 10726 w 201302"/>
                <a:gd name="connsiteY17" fmla="*/ 126991 h 164004"/>
                <a:gd name="connsiteX18" fmla="*/ 10634 w 201302"/>
                <a:gd name="connsiteY18" fmla="*/ 151381 h 164004"/>
                <a:gd name="connsiteX19" fmla="*/ 17620 w 201302"/>
                <a:gd name="connsiteY19" fmla="*/ 159347 h 164004"/>
                <a:gd name="connsiteX20" fmla="*/ 18141 w 201302"/>
                <a:gd name="connsiteY20" fmla="*/ 161063 h 164004"/>
                <a:gd name="connsiteX21" fmla="*/ 31102 w 201302"/>
                <a:gd name="connsiteY21" fmla="*/ 161676 h 164004"/>
                <a:gd name="connsiteX22" fmla="*/ 51111 w 201302"/>
                <a:gd name="connsiteY22" fmla="*/ 132904 h 164004"/>
                <a:gd name="connsiteX23" fmla="*/ 60487 w 201302"/>
                <a:gd name="connsiteY23" fmla="*/ 98433 h 164004"/>
                <a:gd name="connsiteX24" fmla="*/ 60762 w 201302"/>
                <a:gd name="connsiteY24" fmla="*/ 97637 h 164004"/>
                <a:gd name="connsiteX25" fmla="*/ 68392 w 201302"/>
                <a:gd name="connsiteY25" fmla="*/ 85135 h 164004"/>
                <a:gd name="connsiteX26" fmla="*/ 78228 w 201302"/>
                <a:gd name="connsiteY26" fmla="*/ 92949 h 164004"/>
                <a:gd name="connsiteX27" fmla="*/ 119715 w 201302"/>
                <a:gd name="connsiteY27" fmla="*/ 89027 h 164004"/>
                <a:gd name="connsiteX28" fmla="*/ 151092 w 201302"/>
                <a:gd name="connsiteY28" fmla="*/ 104255 h 164004"/>
                <a:gd name="connsiteX29" fmla="*/ 184644 w 201302"/>
                <a:gd name="connsiteY29" fmla="*/ 97820 h 164004"/>
                <a:gd name="connsiteX30" fmla="*/ 190527 w 201302"/>
                <a:gd name="connsiteY30" fmla="*/ 90957 h 164004"/>
                <a:gd name="connsiteX31" fmla="*/ 187616 w 201302"/>
                <a:gd name="connsiteY31" fmla="*/ 85227 h 1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1302" h="164004">
                  <a:moveTo>
                    <a:pt x="187616" y="85227"/>
                  </a:moveTo>
                  <a:cubicBezTo>
                    <a:pt x="197053" y="80141"/>
                    <a:pt x="202446" y="68804"/>
                    <a:pt x="201098" y="58171"/>
                  </a:cubicBezTo>
                  <a:cubicBezTo>
                    <a:pt x="199749" y="47539"/>
                    <a:pt x="192089" y="38132"/>
                    <a:pt x="182192" y="33996"/>
                  </a:cubicBezTo>
                  <a:cubicBezTo>
                    <a:pt x="180170" y="33168"/>
                    <a:pt x="178086" y="32586"/>
                    <a:pt x="175942" y="32157"/>
                  </a:cubicBezTo>
                  <a:cubicBezTo>
                    <a:pt x="172050" y="29308"/>
                    <a:pt x="167485" y="27438"/>
                    <a:pt x="162705" y="26856"/>
                  </a:cubicBezTo>
                  <a:cubicBezTo>
                    <a:pt x="162613" y="21126"/>
                    <a:pt x="158017" y="16224"/>
                    <a:pt x="152654" y="14202"/>
                  </a:cubicBezTo>
                  <a:cubicBezTo>
                    <a:pt x="147323" y="12149"/>
                    <a:pt x="141379" y="12424"/>
                    <a:pt x="135710" y="13129"/>
                  </a:cubicBezTo>
                  <a:cubicBezTo>
                    <a:pt x="130807" y="5591"/>
                    <a:pt x="122197" y="566"/>
                    <a:pt x="113220" y="45"/>
                  </a:cubicBezTo>
                  <a:cubicBezTo>
                    <a:pt x="104242" y="-475"/>
                    <a:pt x="95111" y="3508"/>
                    <a:pt x="89381" y="10433"/>
                  </a:cubicBezTo>
                  <a:cubicBezTo>
                    <a:pt x="83529" y="6082"/>
                    <a:pt x="75562" y="4703"/>
                    <a:pt x="68576" y="6817"/>
                  </a:cubicBezTo>
                  <a:cubicBezTo>
                    <a:pt x="61590" y="8931"/>
                    <a:pt x="55707" y="14477"/>
                    <a:pt x="53225" y="21341"/>
                  </a:cubicBezTo>
                  <a:cubicBezTo>
                    <a:pt x="46851" y="20851"/>
                    <a:pt x="40356" y="23149"/>
                    <a:pt x="35667" y="27500"/>
                  </a:cubicBezTo>
                  <a:cubicBezTo>
                    <a:pt x="33921" y="29124"/>
                    <a:pt x="32420" y="31054"/>
                    <a:pt x="31255" y="33138"/>
                  </a:cubicBezTo>
                  <a:cubicBezTo>
                    <a:pt x="29018" y="35497"/>
                    <a:pt x="27241" y="38285"/>
                    <a:pt x="26199" y="41380"/>
                  </a:cubicBezTo>
                  <a:cubicBezTo>
                    <a:pt x="15445" y="41472"/>
                    <a:pt x="5088" y="48795"/>
                    <a:pt x="1472" y="58907"/>
                  </a:cubicBezTo>
                  <a:cubicBezTo>
                    <a:pt x="-2174" y="69049"/>
                    <a:pt x="1135" y="81274"/>
                    <a:pt x="9378" y="88199"/>
                  </a:cubicBezTo>
                  <a:cubicBezTo>
                    <a:pt x="3525" y="92887"/>
                    <a:pt x="63" y="100425"/>
                    <a:pt x="308" y="107932"/>
                  </a:cubicBezTo>
                  <a:cubicBezTo>
                    <a:pt x="584" y="115439"/>
                    <a:pt x="4536" y="122731"/>
                    <a:pt x="10726" y="126991"/>
                  </a:cubicBezTo>
                  <a:cubicBezTo>
                    <a:pt x="7355" y="134651"/>
                    <a:pt x="7325" y="143690"/>
                    <a:pt x="10634" y="151381"/>
                  </a:cubicBezTo>
                  <a:cubicBezTo>
                    <a:pt x="12074" y="154690"/>
                    <a:pt x="14433" y="157938"/>
                    <a:pt x="17620" y="159347"/>
                  </a:cubicBezTo>
                  <a:cubicBezTo>
                    <a:pt x="17712" y="159929"/>
                    <a:pt x="17865" y="160512"/>
                    <a:pt x="18141" y="161063"/>
                  </a:cubicBezTo>
                  <a:cubicBezTo>
                    <a:pt x="20347" y="165445"/>
                    <a:pt x="26996" y="164311"/>
                    <a:pt x="31102" y="161676"/>
                  </a:cubicBezTo>
                  <a:cubicBezTo>
                    <a:pt x="41122" y="155241"/>
                    <a:pt x="47280" y="144180"/>
                    <a:pt x="51111" y="132904"/>
                  </a:cubicBezTo>
                  <a:cubicBezTo>
                    <a:pt x="54910" y="121628"/>
                    <a:pt x="56779" y="109770"/>
                    <a:pt x="60487" y="98433"/>
                  </a:cubicBezTo>
                  <a:cubicBezTo>
                    <a:pt x="60579" y="98188"/>
                    <a:pt x="60670" y="97912"/>
                    <a:pt x="60762" y="97637"/>
                  </a:cubicBezTo>
                  <a:cubicBezTo>
                    <a:pt x="62325" y="92887"/>
                    <a:pt x="64960" y="88659"/>
                    <a:pt x="68392" y="85135"/>
                  </a:cubicBezTo>
                  <a:cubicBezTo>
                    <a:pt x="71579" y="87862"/>
                    <a:pt x="74673" y="90712"/>
                    <a:pt x="78228" y="92949"/>
                  </a:cubicBezTo>
                  <a:cubicBezTo>
                    <a:pt x="90852" y="100915"/>
                    <a:pt x="108777" y="99230"/>
                    <a:pt x="119715" y="89027"/>
                  </a:cubicBezTo>
                  <a:cubicBezTo>
                    <a:pt x="127989" y="97545"/>
                    <a:pt x="139295" y="103029"/>
                    <a:pt x="151092" y="104255"/>
                  </a:cubicBezTo>
                  <a:cubicBezTo>
                    <a:pt x="162888" y="105481"/>
                    <a:pt x="174808" y="104470"/>
                    <a:pt x="184644" y="97820"/>
                  </a:cubicBezTo>
                  <a:cubicBezTo>
                    <a:pt x="186513" y="96564"/>
                    <a:pt x="189117" y="94266"/>
                    <a:pt x="190527" y="90957"/>
                  </a:cubicBezTo>
                  <a:cubicBezTo>
                    <a:pt x="191476" y="88965"/>
                    <a:pt x="189699" y="86116"/>
                    <a:pt x="187616" y="85227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F81510-26ED-41D0-AF62-BA5D0269A811}"/>
                </a:ext>
              </a:extLst>
            </p:cNvPr>
            <p:cNvSpPr/>
            <p:nvPr/>
          </p:nvSpPr>
          <p:spPr>
            <a:xfrm>
              <a:off x="5747014" y="3965467"/>
              <a:ext cx="26583" cy="37560"/>
            </a:xfrm>
            <a:custGeom>
              <a:avLst/>
              <a:gdLst>
                <a:gd name="connsiteX0" fmla="*/ 26583 w 26583"/>
                <a:gd name="connsiteY0" fmla="*/ 2869 h 37560"/>
                <a:gd name="connsiteX1" fmla="*/ 354 w 26583"/>
                <a:gd name="connsiteY1" fmla="*/ 15371 h 37560"/>
                <a:gd name="connsiteX2" fmla="*/ 21711 w 26583"/>
                <a:gd name="connsiteY2" fmla="*/ 37279 h 37560"/>
                <a:gd name="connsiteX3" fmla="*/ 26583 w 26583"/>
                <a:gd name="connsiteY3" fmla="*/ 2869 h 3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83" h="37560">
                  <a:moveTo>
                    <a:pt x="26583" y="2869"/>
                  </a:moveTo>
                  <a:cubicBezTo>
                    <a:pt x="26032" y="2502"/>
                    <a:pt x="3939" y="-8560"/>
                    <a:pt x="354" y="15371"/>
                  </a:cubicBezTo>
                  <a:cubicBezTo>
                    <a:pt x="-3231" y="39332"/>
                    <a:pt x="21558" y="37953"/>
                    <a:pt x="21711" y="37279"/>
                  </a:cubicBezTo>
                  <a:cubicBezTo>
                    <a:pt x="21864" y="36605"/>
                    <a:pt x="26583" y="2869"/>
                    <a:pt x="26583" y="2869"/>
                  </a:cubicBezTo>
                  <a:close/>
                </a:path>
              </a:pathLst>
            </a:custGeom>
            <a:solidFill>
              <a:srgbClr val="A5695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ACE10D8B-6CE2-45D0-B0F9-11D59152D2C5}"/>
                </a:ext>
              </a:extLst>
            </p:cNvPr>
            <p:cNvSpPr/>
            <p:nvPr/>
          </p:nvSpPr>
          <p:spPr>
            <a:xfrm>
              <a:off x="5753274" y="3972890"/>
              <a:ext cx="10369" cy="21201"/>
            </a:xfrm>
            <a:custGeom>
              <a:avLst/>
              <a:gdLst>
                <a:gd name="connsiteX0" fmla="*/ 9506 w 10369"/>
                <a:gd name="connsiteY0" fmla="*/ 19682 h 21201"/>
                <a:gd name="connsiteX1" fmla="*/ 8280 w 10369"/>
                <a:gd name="connsiteY1" fmla="*/ 20142 h 21201"/>
                <a:gd name="connsiteX2" fmla="*/ 5155 w 10369"/>
                <a:gd name="connsiteY2" fmla="*/ 19744 h 21201"/>
                <a:gd name="connsiteX3" fmla="*/ 1754 w 10369"/>
                <a:gd name="connsiteY3" fmla="*/ 9755 h 21201"/>
                <a:gd name="connsiteX4" fmla="*/ 3807 w 10369"/>
                <a:gd name="connsiteY4" fmla="*/ 3964 h 21201"/>
                <a:gd name="connsiteX5" fmla="*/ 7423 w 10369"/>
                <a:gd name="connsiteY5" fmla="*/ 1237 h 21201"/>
                <a:gd name="connsiteX6" fmla="*/ 9721 w 10369"/>
                <a:gd name="connsiteY6" fmla="*/ 2738 h 21201"/>
                <a:gd name="connsiteX7" fmla="*/ 9843 w 10369"/>
                <a:gd name="connsiteY7" fmla="*/ 3964 h 21201"/>
                <a:gd name="connsiteX8" fmla="*/ 10364 w 10369"/>
                <a:gd name="connsiteY8" fmla="*/ 2615 h 21201"/>
                <a:gd name="connsiteX9" fmla="*/ 9659 w 10369"/>
                <a:gd name="connsiteY9" fmla="*/ 961 h 21201"/>
                <a:gd name="connsiteX10" fmla="*/ 7453 w 10369"/>
                <a:gd name="connsiteY10" fmla="*/ 11 h 21201"/>
                <a:gd name="connsiteX11" fmla="*/ 2551 w 10369"/>
                <a:gd name="connsiteY11" fmla="*/ 3075 h 21201"/>
                <a:gd name="connsiteX12" fmla="*/ 99 w 10369"/>
                <a:gd name="connsiteY12" fmla="*/ 9540 h 21201"/>
                <a:gd name="connsiteX13" fmla="*/ 4634 w 10369"/>
                <a:gd name="connsiteY13" fmla="*/ 20785 h 21201"/>
                <a:gd name="connsiteX14" fmla="*/ 8556 w 10369"/>
                <a:gd name="connsiteY14" fmla="*/ 20724 h 21201"/>
                <a:gd name="connsiteX15" fmla="*/ 9506 w 10369"/>
                <a:gd name="connsiteY15" fmla="*/ 19682 h 2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69" h="21201">
                  <a:moveTo>
                    <a:pt x="9506" y="19682"/>
                  </a:moveTo>
                  <a:cubicBezTo>
                    <a:pt x="9414" y="19591"/>
                    <a:pt x="9047" y="19897"/>
                    <a:pt x="8280" y="20142"/>
                  </a:cubicBezTo>
                  <a:cubicBezTo>
                    <a:pt x="7545" y="20357"/>
                    <a:pt x="6319" y="20387"/>
                    <a:pt x="5155" y="19744"/>
                  </a:cubicBezTo>
                  <a:cubicBezTo>
                    <a:pt x="2765" y="18426"/>
                    <a:pt x="1233" y="14106"/>
                    <a:pt x="1754" y="9755"/>
                  </a:cubicBezTo>
                  <a:cubicBezTo>
                    <a:pt x="2030" y="7579"/>
                    <a:pt x="2796" y="5557"/>
                    <a:pt x="3807" y="3964"/>
                  </a:cubicBezTo>
                  <a:cubicBezTo>
                    <a:pt x="4787" y="2309"/>
                    <a:pt x="6105" y="1267"/>
                    <a:pt x="7423" y="1237"/>
                  </a:cubicBezTo>
                  <a:cubicBezTo>
                    <a:pt x="8740" y="1145"/>
                    <a:pt x="9537" y="2033"/>
                    <a:pt x="9721" y="2738"/>
                  </a:cubicBezTo>
                  <a:cubicBezTo>
                    <a:pt x="9935" y="3443"/>
                    <a:pt x="9721" y="3902"/>
                    <a:pt x="9843" y="3964"/>
                  </a:cubicBezTo>
                  <a:cubicBezTo>
                    <a:pt x="9904" y="4025"/>
                    <a:pt x="10425" y="3627"/>
                    <a:pt x="10364" y="2615"/>
                  </a:cubicBezTo>
                  <a:cubicBezTo>
                    <a:pt x="10333" y="2125"/>
                    <a:pt x="10150" y="1512"/>
                    <a:pt x="9659" y="961"/>
                  </a:cubicBezTo>
                  <a:cubicBezTo>
                    <a:pt x="9138" y="409"/>
                    <a:pt x="8342" y="42"/>
                    <a:pt x="7453" y="11"/>
                  </a:cubicBezTo>
                  <a:cubicBezTo>
                    <a:pt x="5584" y="-142"/>
                    <a:pt x="3684" y="1329"/>
                    <a:pt x="2551" y="3075"/>
                  </a:cubicBezTo>
                  <a:cubicBezTo>
                    <a:pt x="1325" y="4822"/>
                    <a:pt x="406" y="7089"/>
                    <a:pt x="99" y="9540"/>
                  </a:cubicBezTo>
                  <a:cubicBezTo>
                    <a:pt x="-452" y="14382"/>
                    <a:pt x="1325" y="19284"/>
                    <a:pt x="4634" y="20785"/>
                  </a:cubicBezTo>
                  <a:cubicBezTo>
                    <a:pt x="6258" y="21490"/>
                    <a:pt x="7729" y="21184"/>
                    <a:pt x="8556" y="20724"/>
                  </a:cubicBezTo>
                  <a:cubicBezTo>
                    <a:pt x="9353" y="20265"/>
                    <a:pt x="9567" y="19744"/>
                    <a:pt x="9506" y="19682"/>
                  </a:cubicBezTo>
                  <a:close/>
                </a:path>
              </a:pathLst>
            </a:custGeom>
            <a:solidFill>
              <a:srgbClr val="83534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C3363C46-D3A3-4620-A1C4-8A9F61B0394B}"/>
                </a:ext>
              </a:extLst>
            </p:cNvPr>
            <p:cNvSpPr/>
            <p:nvPr/>
          </p:nvSpPr>
          <p:spPr>
            <a:xfrm>
              <a:off x="5811619" y="3874575"/>
              <a:ext cx="132402" cy="48992"/>
            </a:xfrm>
            <a:custGeom>
              <a:avLst/>
              <a:gdLst>
                <a:gd name="connsiteX0" fmla="*/ 132004 w 132402"/>
                <a:gd name="connsiteY0" fmla="*/ 0 h 48992"/>
                <a:gd name="connsiteX1" fmla="*/ 132157 w 132402"/>
                <a:gd name="connsiteY1" fmla="*/ 582 h 48992"/>
                <a:gd name="connsiteX2" fmla="*/ 132372 w 132402"/>
                <a:gd name="connsiteY2" fmla="*/ 2359 h 48992"/>
                <a:gd name="connsiteX3" fmla="*/ 131452 w 132402"/>
                <a:gd name="connsiteY3" fmla="*/ 9131 h 48992"/>
                <a:gd name="connsiteX4" fmla="*/ 125293 w 132402"/>
                <a:gd name="connsiteY4" fmla="*/ 17864 h 48992"/>
                <a:gd name="connsiteX5" fmla="*/ 111842 w 132402"/>
                <a:gd name="connsiteY5" fmla="*/ 21694 h 48992"/>
                <a:gd name="connsiteX6" fmla="*/ 112302 w 132402"/>
                <a:gd name="connsiteY6" fmla="*/ 21357 h 48992"/>
                <a:gd name="connsiteX7" fmla="*/ 99892 w 132402"/>
                <a:gd name="connsiteY7" fmla="*/ 41089 h 48992"/>
                <a:gd name="connsiteX8" fmla="*/ 88371 w 132402"/>
                <a:gd name="connsiteY8" fmla="*/ 47830 h 48992"/>
                <a:gd name="connsiteX9" fmla="*/ 74307 w 132402"/>
                <a:gd name="connsiteY9" fmla="*/ 48259 h 48992"/>
                <a:gd name="connsiteX10" fmla="*/ 61346 w 132402"/>
                <a:gd name="connsiteY10" fmla="*/ 43326 h 48992"/>
                <a:gd name="connsiteX11" fmla="*/ 51051 w 132402"/>
                <a:gd name="connsiteY11" fmla="*/ 35329 h 48992"/>
                <a:gd name="connsiteX12" fmla="*/ 51786 w 132402"/>
                <a:gd name="connsiteY12" fmla="*/ 35421 h 48992"/>
                <a:gd name="connsiteX13" fmla="*/ 30337 w 132402"/>
                <a:gd name="connsiteY13" fmla="*/ 44245 h 48992"/>
                <a:gd name="connsiteX14" fmla="*/ 12443 w 132402"/>
                <a:gd name="connsiteY14" fmla="*/ 40599 h 48992"/>
                <a:gd name="connsiteX15" fmla="*/ 2761 w 132402"/>
                <a:gd name="connsiteY15" fmla="*/ 33521 h 48992"/>
                <a:gd name="connsiteX16" fmla="*/ 646 w 132402"/>
                <a:gd name="connsiteY16" fmla="*/ 31131 h 48992"/>
                <a:gd name="connsiteX17" fmla="*/ 3 w 132402"/>
                <a:gd name="connsiteY17" fmla="*/ 30242 h 48992"/>
                <a:gd name="connsiteX18" fmla="*/ 3006 w 132402"/>
                <a:gd name="connsiteY18" fmla="*/ 33307 h 48992"/>
                <a:gd name="connsiteX19" fmla="*/ 12749 w 132402"/>
                <a:gd name="connsiteY19" fmla="*/ 40048 h 48992"/>
                <a:gd name="connsiteX20" fmla="*/ 30276 w 132402"/>
                <a:gd name="connsiteY20" fmla="*/ 43387 h 48992"/>
                <a:gd name="connsiteX21" fmla="*/ 51173 w 132402"/>
                <a:gd name="connsiteY21" fmla="*/ 34624 h 48992"/>
                <a:gd name="connsiteX22" fmla="*/ 51572 w 132402"/>
                <a:gd name="connsiteY22" fmla="*/ 34318 h 48992"/>
                <a:gd name="connsiteX23" fmla="*/ 51909 w 132402"/>
                <a:gd name="connsiteY23" fmla="*/ 34716 h 48992"/>
                <a:gd name="connsiteX24" fmla="*/ 61928 w 132402"/>
                <a:gd name="connsiteY24" fmla="*/ 42407 h 48992"/>
                <a:gd name="connsiteX25" fmla="*/ 74583 w 132402"/>
                <a:gd name="connsiteY25" fmla="*/ 47218 h 48992"/>
                <a:gd name="connsiteX26" fmla="*/ 88095 w 132402"/>
                <a:gd name="connsiteY26" fmla="*/ 46850 h 48992"/>
                <a:gd name="connsiteX27" fmla="*/ 99249 w 132402"/>
                <a:gd name="connsiteY27" fmla="*/ 40385 h 48992"/>
                <a:gd name="connsiteX28" fmla="*/ 111505 w 132402"/>
                <a:gd name="connsiteY28" fmla="*/ 21204 h 48992"/>
                <a:gd name="connsiteX29" fmla="*/ 111597 w 132402"/>
                <a:gd name="connsiteY29" fmla="*/ 20836 h 48992"/>
                <a:gd name="connsiteX30" fmla="*/ 111965 w 132402"/>
                <a:gd name="connsiteY30" fmla="*/ 20866 h 48992"/>
                <a:gd name="connsiteX31" fmla="*/ 124895 w 132402"/>
                <a:gd name="connsiteY31" fmla="*/ 17343 h 48992"/>
                <a:gd name="connsiteX32" fmla="*/ 131023 w 132402"/>
                <a:gd name="connsiteY32" fmla="*/ 9008 h 48992"/>
                <a:gd name="connsiteX33" fmla="*/ 132157 w 132402"/>
                <a:gd name="connsiteY33" fmla="*/ 2390 h 48992"/>
                <a:gd name="connsiteX34" fmla="*/ 132004 w 132402"/>
                <a:gd name="connsiteY34" fmla="*/ 0 h 4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32402" h="48992">
                  <a:moveTo>
                    <a:pt x="132004" y="0"/>
                  </a:moveTo>
                  <a:cubicBezTo>
                    <a:pt x="132034" y="0"/>
                    <a:pt x="132065" y="184"/>
                    <a:pt x="132157" y="582"/>
                  </a:cubicBezTo>
                  <a:cubicBezTo>
                    <a:pt x="132249" y="981"/>
                    <a:pt x="132310" y="1563"/>
                    <a:pt x="132372" y="2359"/>
                  </a:cubicBezTo>
                  <a:cubicBezTo>
                    <a:pt x="132463" y="3922"/>
                    <a:pt x="132402" y="6281"/>
                    <a:pt x="131452" y="9131"/>
                  </a:cubicBezTo>
                  <a:cubicBezTo>
                    <a:pt x="130533" y="11950"/>
                    <a:pt x="128664" y="15290"/>
                    <a:pt x="125293" y="17864"/>
                  </a:cubicBezTo>
                  <a:cubicBezTo>
                    <a:pt x="121984" y="20437"/>
                    <a:pt x="117143" y="22215"/>
                    <a:pt x="111842" y="21694"/>
                  </a:cubicBezTo>
                  <a:lnTo>
                    <a:pt x="112302" y="21357"/>
                  </a:lnTo>
                  <a:cubicBezTo>
                    <a:pt x="110433" y="28128"/>
                    <a:pt x="106327" y="35329"/>
                    <a:pt x="99892" y="41089"/>
                  </a:cubicBezTo>
                  <a:cubicBezTo>
                    <a:pt x="96675" y="43939"/>
                    <a:pt x="92814" y="46421"/>
                    <a:pt x="88371" y="47830"/>
                  </a:cubicBezTo>
                  <a:cubicBezTo>
                    <a:pt x="83959" y="49332"/>
                    <a:pt x="78995" y="49271"/>
                    <a:pt x="74307" y="48259"/>
                  </a:cubicBezTo>
                  <a:cubicBezTo>
                    <a:pt x="69650" y="47279"/>
                    <a:pt x="65299" y="45502"/>
                    <a:pt x="61346" y="43326"/>
                  </a:cubicBezTo>
                  <a:cubicBezTo>
                    <a:pt x="57424" y="41120"/>
                    <a:pt x="53778" y="38607"/>
                    <a:pt x="51051" y="35329"/>
                  </a:cubicBezTo>
                  <a:lnTo>
                    <a:pt x="51786" y="35421"/>
                  </a:lnTo>
                  <a:cubicBezTo>
                    <a:pt x="44953" y="40446"/>
                    <a:pt x="37415" y="43602"/>
                    <a:pt x="30337" y="44245"/>
                  </a:cubicBezTo>
                  <a:cubicBezTo>
                    <a:pt x="23198" y="44766"/>
                    <a:pt x="17039" y="42867"/>
                    <a:pt x="12443" y="40599"/>
                  </a:cubicBezTo>
                  <a:cubicBezTo>
                    <a:pt x="7816" y="38270"/>
                    <a:pt x="4691" y="35513"/>
                    <a:pt x="2761" y="33521"/>
                  </a:cubicBezTo>
                  <a:cubicBezTo>
                    <a:pt x="1780" y="32510"/>
                    <a:pt x="1075" y="31683"/>
                    <a:pt x="646" y="31131"/>
                  </a:cubicBezTo>
                  <a:cubicBezTo>
                    <a:pt x="187" y="30549"/>
                    <a:pt x="-28" y="30242"/>
                    <a:pt x="3" y="30242"/>
                  </a:cubicBezTo>
                  <a:cubicBezTo>
                    <a:pt x="64" y="30181"/>
                    <a:pt x="1014" y="31376"/>
                    <a:pt x="3006" y="33307"/>
                  </a:cubicBezTo>
                  <a:cubicBezTo>
                    <a:pt x="4997" y="35206"/>
                    <a:pt x="8153" y="37841"/>
                    <a:pt x="12749" y="40048"/>
                  </a:cubicBezTo>
                  <a:cubicBezTo>
                    <a:pt x="17284" y="42223"/>
                    <a:pt x="23382" y="44000"/>
                    <a:pt x="30276" y="43387"/>
                  </a:cubicBezTo>
                  <a:cubicBezTo>
                    <a:pt x="37140" y="42713"/>
                    <a:pt x="44524" y="39557"/>
                    <a:pt x="51173" y="34624"/>
                  </a:cubicBezTo>
                  <a:lnTo>
                    <a:pt x="51572" y="34318"/>
                  </a:lnTo>
                  <a:lnTo>
                    <a:pt x="51909" y="34716"/>
                  </a:lnTo>
                  <a:cubicBezTo>
                    <a:pt x="54513" y="37780"/>
                    <a:pt x="58098" y="40293"/>
                    <a:pt x="61928" y="42407"/>
                  </a:cubicBezTo>
                  <a:cubicBezTo>
                    <a:pt x="65789" y="44521"/>
                    <a:pt x="70048" y="46268"/>
                    <a:pt x="74583" y="47218"/>
                  </a:cubicBezTo>
                  <a:cubicBezTo>
                    <a:pt x="79148" y="48198"/>
                    <a:pt x="83867" y="48259"/>
                    <a:pt x="88095" y="46850"/>
                  </a:cubicBezTo>
                  <a:cubicBezTo>
                    <a:pt x="92355" y="45532"/>
                    <a:pt x="96093" y="43112"/>
                    <a:pt x="99249" y="40385"/>
                  </a:cubicBezTo>
                  <a:cubicBezTo>
                    <a:pt x="105561" y="34808"/>
                    <a:pt x="109636" y="27791"/>
                    <a:pt x="111505" y="21204"/>
                  </a:cubicBezTo>
                  <a:lnTo>
                    <a:pt x="111597" y="20836"/>
                  </a:lnTo>
                  <a:lnTo>
                    <a:pt x="111965" y="20866"/>
                  </a:lnTo>
                  <a:cubicBezTo>
                    <a:pt x="116990" y="21418"/>
                    <a:pt x="121647" y="19763"/>
                    <a:pt x="124895" y="17343"/>
                  </a:cubicBezTo>
                  <a:cubicBezTo>
                    <a:pt x="128174" y="14922"/>
                    <a:pt x="130043" y="11705"/>
                    <a:pt x="131023" y="9008"/>
                  </a:cubicBezTo>
                  <a:cubicBezTo>
                    <a:pt x="132004" y="6251"/>
                    <a:pt x="132157" y="3953"/>
                    <a:pt x="132157" y="2390"/>
                  </a:cubicBezTo>
                  <a:cubicBezTo>
                    <a:pt x="132096" y="827"/>
                    <a:pt x="131943" y="0"/>
                    <a:pt x="132004" y="0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E0821D1-FAC4-4CCE-9C85-D80916FD00AB}"/>
                </a:ext>
              </a:extLst>
            </p:cNvPr>
            <p:cNvSpPr/>
            <p:nvPr/>
          </p:nvSpPr>
          <p:spPr>
            <a:xfrm>
              <a:off x="5760193" y="3860967"/>
              <a:ext cx="13170" cy="102959"/>
            </a:xfrm>
            <a:custGeom>
              <a:avLst/>
              <a:gdLst>
                <a:gd name="connsiteX0" fmla="*/ 12975 w 13170"/>
                <a:gd name="connsiteY0" fmla="*/ 3 h 102959"/>
                <a:gd name="connsiteX1" fmla="*/ 9819 w 13170"/>
                <a:gd name="connsiteY1" fmla="*/ 7970 h 102959"/>
                <a:gd name="connsiteX2" fmla="*/ 10983 w 13170"/>
                <a:gd name="connsiteY2" fmla="*/ 29817 h 102959"/>
                <a:gd name="connsiteX3" fmla="*/ 11136 w 13170"/>
                <a:gd name="connsiteY3" fmla="*/ 30185 h 102959"/>
                <a:gd name="connsiteX4" fmla="*/ 10799 w 13170"/>
                <a:gd name="connsiteY4" fmla="*/ 30399 h 102959"/>
                <a:gd name="connsiteX5" fmla="*/ 3170 w 13170"/>
                <a:gd name="connsiteY5" fmla="*/ 39346 h 102959"/>
                <a:gd name="connsiteX6" fmla="*/ 1392 w 13170"/>
                <a:gd name="connsiteY6" fmla="*/ 52093 h 102959"/>
                <a:gd name="connsiteX7" fmla="*/ 10003 w 13170"/>
                <a:gd name="connsiteY7" fmla="*/ 66157 h 102959"/>
                <a:gd name="connsiteX8" fmla="*/ 10401 w 13170"/>
                <a:gd name="connsiteY8" fmla="*/ 66463 h 102959"/>
                <a:gd name="connsiteX9" fmla="*/ 10125 w 13170"/>
                <a:gd name="connsiteY9" fmla="*/ 66892 h 102959"/>
                <a:gd name="connsiteX10" fmla="*/ 5437 w 13170"/>
                <a:gd name="connsiteY10" fmla="*/ 81508 h 102959"/>
                <a:gd name="connsiteX11" fmla="*/ 7429 w 13170"/>
                <a:gd name="connsiteY11" fmla="*/ 93580 h 102959"/>
                <a:gd name="connsiteX12" fmla="*/ 13159 w 13170"/>
                <a:gd name="connsiteY12" fmla="*/ 102957 h 102959"/>
                <a:gd name="connsiteX13" fmla="*/ 12576 w 13170"/>
                <a:gd name="connsiteY13" fmla="*/ 102466 h 102959"/>
                <a:gd name="connsiteX14" fmla="*/ 11075 w 13170"/>
                <a:gd name="connsiteY14" fmla="*/ 100873 h 102959"/>
                <a:gd name="connsiteX15" fmla="*/ 6816 w 13170"/>
                <a:gd name="connsiteY15" fmla="*/ 93826 h 102959"/>
                <a:gd name="connsiteX16" fmla="*/ 4548 w 13170"/>
                <a:gd name="connsiteY16" fmla="*/ 81477 h 102959"/>
                <a:gd name="connsiteX17" fmla="*/ 9267 w 13170"/>
                <a:gd name="connsiteY17" fmla="*/ 66279 h 102959"/>
                <a:gd name="connsiteX18" fmla="*/ 9390 w 13170"/>
                <a:gd name="connsiteY18" fmla="*/ 67015 h 102959"/>
                <a:gd name="connsiteX19" fmla="*/ 320 w 13170"/>
                <a:gd name="connsiteY19" fmla="*/ 52307 h 102959"/>
                <a:gd name="connsiteX20" fmla="*/ 2220 w 13170"/>
                <a:gd name="connsiteY20" fmla="*/ 38917 h 102959"/>
                <a:gd name="connsiteX21" fmla="*/ 10248 w 13170"/>
                <a:gd name="connsiteY21" fmla="*/ 29602 h 102959"/>
                <a:gd name="connsiteX22" fmla="*/ 10064 w 13170"/>
                <a:gd name="connsiteY22" fmla="*/ 30185 h 102959"/>
                <a:gd name="connsiteX23" fmla="*/ 9267 w 13170"/>
                <a:gd name="connsiteY23" fmla="*/ 7786 h 102959"/>
                <a:gd name="connsiteX24" fmla="*/ 11749 w 13170"/>
                <a:gd name="connsiteY24" fmla="*/ 1872 h 102959"/>
                <a:gd name="connsiteX25" fmla="*/ 12638 w 13170"/>
                <a:gd name="connsiteY25" fmla="*/ 432 h 102959"/>
                <a:gd name="connsiteX26" fmla="*/ 12975 w 13170"/>
                <a:gd name="connsiteY26" fmla="*/ 3 h 102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170" h="102959">
                  <a:moveTo>
                    <a:pt x="12975" y="3"/>
                  </a:moveTo>
                  <a:cubicBezTo>
                    <a:pt x="13128" y="95"/>
                    <a:pt x="11289" y="2730"/>
                    <a:pt x="9819" y="7970"/>
                  </a:cubicBezTo>
                  <a:cubicBezTo>
                    <a:pt x="8379" y="13118"/>
                    <a:pt x="7551" y="21237"/>
                    <a:pt x="10983" y="29817"/>
                  </a:cubicBezTo>
                  <a:lnTo>
                    <a:pt x="11136" y="30185"/>
                  </a:lnTo>
                  <a:lnTo>
                    <a:pt x="10799" y="30399"/>
                  </a:lnTo>
                  <a:cubicBezTo>
                    <a:pt x="7735" y="32452"/>
                    <a:pt x="4977" y="35547"/>
                    <a:pt x="3170" y="39346"/>
                  </a:cubicBezTo>
                  <a:cubicBezTo>
                    <a:pt x="1392" y="43146"/>
                    <a:pt x="596" y="47650"/>
                    <a:pt x="1392" y="52093"/>
                  </a:cubicBezTo>
                  <a:cubicBezTo>
                    <a:pt x="2404" y="57945"/>
                    <a:pt x="5774" y="63062"/>
                    <a:pt x="10003" y="66157"/>
                  </a:cubicBezTo>
                  <a:lnTo>
                    <a:pt x="10401" y="66463"/>
                  </a:lnTo>
                  <a:lnTo>
                    <a:pt x="10125" y="66892"/>
                  </a:lnTo>
                  <a:cubicBezTo>
                    <a:pt x="6969" y="71550"/>
                    <a:pt x="5560" y="76820"/>
                    <a:pt x="5437" y="81508"/>
                  </a:cubicBezTo>
                  <a:cubicBezTo>
                    <a:pt x="5223" y="86227"/>
                    <a:pt x="6172" y="90363"/>
                    <a:pt x="7429" y="93580"/>
                  </a:cubicBezTo>
                  <a:cubicBezTo>
                    <a:pt x="9972" y="100076"/>
                    <a:pt x="13404" y="102803"/>
                    <a:pt x="13159" y="102957"/>
                  </a:cubicBezTo>
                  <a:cubicBezTo>
                    <a:pt x="13128" y="102987"/>
                    <a:pt x="12944" y="102803"/>
                    <a:pt x="12576" y="102466"/>
                  </a:cubicBezTo>
                  <a:cubicBezTo>
                    <a:pt x="12239" y="102099"/>
                    <a:pt x="11657" y="101608"/>
                    <a:pt x="11075" y="100873"/>
                  </a:cubicBezTo>
                  <a:cubicBezTo>
                    <a:pt x="9819" y="99433"/>
                    <a:pt x="8195" y="97104"/>
                    <a:pt x="6816" y="93826"/>
                  </a:cubicBezTo>
                  <a:cubicBezTo>
                    <a:pt x="5468" y="90578"/>
                    <a:pt x="4395" y="86319"/>
                    <a:pt x="4548" y="81477"/>
                  </a:cubicBezTo>
                  <a:cubicBezTo>
                    <a:pt x="4610" y="76636"/>
                    <a:pt x="6019" y="71182"/>
                    <a:pt x="9267" y="66279"/>
                  </a:cubicBezTo>
                  <a:lnTo>
                    <a:pt x="9390" y="67015"/>
                  </a:lnTo>
                  <a:cubicBezTo>
                    <a:pt x="4916" y="63798"/>
                    <a:pt x="1392" y="58466"/>
                    <a:pt x="320" y="52307"/>
                  </a:cubicBezTo>
                  <a:cubicBezTo>
                    <a:pt x="-507" y="47619"/>
                    <a:pt x="320" y="42870"/>
                    <a:pt x="2220" y="38917"/>
                  </a:cubicBezTo>
                  <a:cubicBezTo>
                    <a:pt x="4119" y="34965"/>
                    <a:pt x="7000" y="31747"/>
                    <a:pt x="10248" y="29602"/>
                  </a:cubicBezTo>
                  <a:lnTo>
                    <a:pt x="10064" y="30185"/>
                  </a:lnTo>
                  <a:cubicBezTo>
                    <a:pt x="6632" y="21299"/>
                    <a:pt x="7643" y="12995"/>
                    <a:pt x="9267" y="7786"/>
                  </a:cubicBezTo>
                  <a:cubicBezTo>
                    <a:pt x="10094" y="5151"/>
                    <a:pt x="11044" y="3190"/>
                    <a:pt x="11749" y="1872"/>
                  </a:cubicBezTo>
                  <a:cubicBezTo>
                    <a:pt x="12086" y="1229"/>
                    <a:pt x="12423" y="739"/>
                    <a:pt x="12638" y="432"/>
                  </a:cubicBezTo>
                  <a:cubicBezTo>
                    <a:pt x="12821" y="157"/>
                    <a:pt x="12944" y="-27"/>
                    <a:pt x="12975" y="3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F223D780-0BAC-480D-9915-6A971848E22E}"/>
                </a:ext>
              </a:extLst>
            </p:cNvPr>
            <p:cNvSpPr/>
            <p:nvPr/>
          </p:nvSpPr>
          <p:spPr>
            <a:xfrm>
              <a:off x="5754240" y="3998515"/>
              <a:ext cx="11443" cy="13439"/>
            </a:xfrm>
            <a:custGeom>
              <a:avLst/>
              <a:gdLst>
                <a:gd name="connsiteX0" fmla="*/ 1861 w 11443"/>
                <a:gd name="connsiteY0" fmla="*/ 1718 h 13439"/>
                <a:gd name="connsiteX1" fmla="*/ 819 w 11443"/>
                <a:gd name="connsiteY1" fmla="*/ 5977 h 13439"/>
                <a:gd name="connsiteX2" fmla="*/ 2014 w 11443"/>
                <a:gd name="connsiteY2" fmla="*/ 10267 h 13439"/>
                <a:gd name="connsiteX3" fmla="*/ 6763 w 11443"/>
                <a:gd name="connsiteY3" fmla="*/ 12320 h 13439"/>
                <a:gd name="connsiteX4" fmla="*/ 10287 w 11443"/>
                <a:gd name="connsiteY4" fmla="*/ 8765 h 13439"/>
                <a:gd name="connsiteX5" fmla="*/ 10042 w 11443"/>
                <a:gd name="connsiteY5" fmla="*/ 4200 h 13439"/>
                <a:gd name="connsiteX6" fmla="*/ 8510 w 11443"/>
                <a:gd name="connsiteY6" fmla="*/ 2 h 13439"/>
                <a:gd name="connsiteX7" fmla="*/ 10777 w 11443"/>
                <a:gd name="connsiteY7" fmla="*/ 3955 h 13439"/>
                <a:gd name="connsiteX8" fmla="*/ 11267 w 11443"/>
                <a:gd name="connsiteY8" fmla="*/ 8980 h 13439"/>
                <a:gd name="connsiteX9" fmla="*/ 9888 w 11443"/>
                <a:gd name="connsiteY9" fmla="*/ 11768 h 13439"/>
                <a:gd name="connsiteX10" fmla="*/ 6916 w 11443"/>
                <a:gd name="connsiteY10" fmla="*/ 13392 h 13439"/>
                <a:gd name="connsiteX11" fmla="*/ 1217 w 11443"/>
                <a:gd name="connsiteY11" fmla="*/ 10879 h 13439"/>
                <a:gd name="connsiteX12" fmla="*/ 53 w 11443"/>
                <a:gd name="connsiteY12" fmla="*/ 5916 h 13439"/>
                <a:gd name="connsiteX13" fmla="*/ 1861 w 11443"/>
                <a:gd name="connsiteY13" fmla="*/ 1718 h 13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443" h="13439">
                  <a:moveTo>
                    <a:pt x="1861" y="1718"/>
                  </a:moveTo>
                  <a:cubicBezTo>
                    <a:pt x="2044" y="1810"/>
                    <a:pt x="1003" y="3281"/>
                    <a:pt x="819" y="5977"/>
                  </a:cubicBezTo>
                  <a:cubicBezTo>
                    <a:pt x="757" y="7264"/>
                    <a:pt x="1003" y="8918"/>
                    <a:pt x="2014" y="10267"/>
                  </a:cubicBezTo>
                  <a:cubicBezTo>
                    <a:pt x="3025" y="11584"/>
                    <a:pt x="4894" y="12565"/>
                    <a:pt x="6763" y="12320"/>
                  </a:cubicBezTo>
                  <a:cubicBezTo>
                    <a:pt x="8663" y="12075"/>
                    <a:pt x="9888" y="10389"/>
                    <a:pt x="10287" y="8765"/>
                  </a:cubicBezTo>
                  <a:cubicBezTo>
                    <a:pt x="10716" y="7111"/>
                    <a:pt x="10440" y="5487"/>
                    <a:pt x="10042" y="4200"/>
                  </a:cubicBezTo>
                  <a:cubicBezTo>
                    <a:pt x="9184" y="1626"/>
                    <a:pt x="8326" y="94"/>
                    <a:pt x="8510" y="2"/>
                  </a:cubicBezTo>
                  <a:cubicBezTo>
                    <a:pt x="8602" y="-59"/>
                    <a:pt x="9674" y="1289"/>
                    <a:pt x="10777" y="3955"/>
                  </a:cubicBezTo>
                  <a:cubicBezTo>
                    <a:pt x="11267" y="5272"/>
                    <a:pt x="11696" y="7049"/>
                    <a:pt x="11267" y="8980"/>
                  </a:cubicBezTo>
                  <a:cubicBezTo>
                    <a:pt x="11053" y="9930"/>
                    <a:pt x="10654" y="10941"/>
                    <a:pt x="9888" y="11768"/>
                  </a:cubicBezTo>
                  <a:cubicBezTo>
                    <a:pt x="9153" y="12595"/>
                    <a:pt x="8081" y="13239"/>
                    <a:pt x="6916" y="13392"/>
                  </a:cubicBezTo>
                  <a:cubicBezTo>
                    <a:pt x="4526" y="13698"/>
                    <a:pt x="2381" y="12473"/>
                    <a:pt x="1217" y="10879"/>
                  </a:cubicBezTo>
                  <a:cubicBezTo>
                    <a:pt x="22" y="9225"/>
                    <a:pt x="-101" y="7356"/>
                    <a:pt x="53" y="5916"/>
                  </a:cubicBezTo>
                  <a:cubicBezTo>
                    <a:pt x="451" y="3005"/>
                    <a:pt x="1799" y="1657"/>
                    <a:pt x="1861" y="171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CBDC0648-FE16-4CA8-9775-CC7E02AE9F29}"/>
                </a:ext>
              </a:extLst>
            </p:cNvPr>
            <p:cNvSpPr/>
            <p:nvPr/>
          </p:nvSpPr>
          <p:spPr>
            <a:xfrm>
              <a:off x="5838470" y="4009916"/>
              <a:ext cx="19514" cy="19816"/>
            </a:xfrm>
            <a:custGeom>
              <a:avLst/>
              <a:gdLst>
                <a:gd name="connsiteX0" fmla="*/ 3885 w 19514"/>
                <a:gd name="connsiteY0" fmla="*/ 643 h 19816"/>
                <a:gd name="connsiteX1" fmla="*/ 55 w 19514"/>
                <a:gd name="connsiteY1" fmla="*/ 10203 h 19816"/>
                <a:gd name="connsiteX2" fmla="*/ 5693 w 19514"/>
                <a:gd name="connsiteY2" fmla="*/ 18813 h 19816"/>
                <a:gd name="connsiteX3" fmla="*/ 9768 w 19514"/>
                <a:gd name="connsiteY3" fmla="*/ 19763 h 19816"/>
                <a:gd name="connsiteX4" fmla="*/ 15345 w 19514"/>
                <a:gd name="connsiteY4" fmla="*/ 15014 h 19816"/>
                <a:gd name="connsiteX5" fmla="*/ 18838 w 19514"/>
                <a:gd name="connsiteY5" fmla="*/ 9805 h 19816"/>
                <a:gd name="connsiteX6" fmla="*/ 19481 w 19514"/>
                <a:gd name="connsiteY6" fmla="*/ 7875 h 19816"/>
                <a:gd name="connsiteX7" fmla="*/ 17857 w 19514"/>
                <a:gd name="connsiteY7" fmla="*/ 6404 h 19816"/>
                <a:gd name="connsiteX8" fmla="*/ 4467 w 19514"/>
                <a:gd name="connsiteY8" fmla="*/ 0 h 19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14" h="19816">
                  <a:moveTo>
                    <a:pt x="3885" y="643"/>
                  </a:moveTo>
                  <a:cubicBezTo>
                    <a:pt x="1189" y="2972"/>
                    <a:pt x="-313" y="6649"/>
                    <a:pt x="55" y="10203"/>
                  </a:cubicBezTo>
                  <a:cubicBezTo>
                    <a:pt x="423" y="13758"/>
                    <a:pt x="2567" y="17067"/>
                    <a:pt x="5693" y="18813"/>
                  </a:cubicBezTo>
                  <a:cubicBezTo>
                    <a:pt x="6918" y="19518"/>
                    <a:pt x="8359" y="19978"/>
                    <a:pt x="9768" y="19763"/>
                  </a:cubicBezTo>
                  <a:cubicBezTo>
                    <a:pt x="12250" y="19396"/>
                    <a:pt x="13935" y="17098"/>
                    <a:pt x="15345" y="15014"/>
                  </a:cubicBezTo>
                  <a:cubicBezTo>
                    <a:pt x="16509" y="13267"/>
                    <a:pt x="17673" y="11552"/>
                    <a:pt x="18838" y="9805"/>
                  </a:cubicBezTo>
                  <a:cubicBezTo>
                    <a:pt x="19236" y="9223"/>
                    <a:pt x="19634" y="8549"/>
                    <a:pt x="19481" y="7875"/>
                  </a:cubicBezTo>
                  <a:cubicBezTo>
                    <a:pt x="19297" y="7139"/>
                    <a:pt x="18562" y="6710"/>
                    <a:pt x="17857" y="6404"/>
                  </a:cubicBezTo>
                  <a:cubicBezTo>
                    <a:pt x="13384" y="4259"/>
                    <a:pt x="8941" y="2114"/>
                    <a:pt x="4467" y="0"/>
                  </a:cubicBezTo>
                </a:path>
              </a:pathLst>
            </a:custGeom>
            <a:solidFill>
              <a:srgbClr val="83534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297E23DF-E746-494C-95E4-4AFC1A2E0861}"/>
                </a:ext>
              </a:extLst>
            </p:cNvPr>
            <p:cNvSpPr/>
            <p:nvPr/>
          </p:nvSpPr>
          <p:spPr>
            <a:xfrm>
              <a:off x="5836861" y="4008782"/>
              <a:ext cx="22195" cy="20127"/>
            </a:xfrm>
            <a:custGeom>
              <a:avLst/>
              <a:gdLst>
                <a:gd name="connsiteX0" fmla="*/ 11193 w 22195"/>
                <a:gd name="connsiteY0" fmla="*/ 20100 h 20127"/>
                <a:gd name="connsiteX1" fmla="*/ 4942 w 22195"/>
                <a:gd name="connsiteY1" fmla="*/ 17925 h 20127"/>
                <a:gd name="connsiteX2" fmla="*/ 316 w 22195"/>
                <a:gd name="connsiteY2" fmla="*/ 12164 h 20127"/>
                <a:gd name="connsiteX3" fmla="*/ 377 w 22195"/>
                <a:gd name="connsiteY3" fmla="*/ 7630 h 20127"/>
                <a:gd name="connsiteX4" fmla="*/ 2460 w 22195"/>
                <a:gd name="connsiteY4" fmla="*/ 3370 h 20127"/>
                <a:gd name="connsiteX5" fmla="*/ 5892 w 22195"/>
                <a:gd name="connsiteY5" fmla="*/ 276 h 20127"/>
                <a:gd name="connsiteX6" fmla="*/ 6352 w 22195"/>
                <a:gd name="connsiteY6" fmla="*/ 0 h 20127"/>
                <a:gd name="connsiteX7" fmla="*/ 6781 w 22195"/>
                <a:gd name="connsiteY7" fmla="*/ 276 h 20127"/>
                <a:gd name="connsiteX8" fmla="*/ 22193 w 22195"/>
                <a:gd name="connsiteY8" fmla="*/ 9162 h 20127"/>
                <a:gd name="connsiteX9" fmla="*/ 5892 w 22195"/>
                <a:gd name="connsiteY9" fmla="*/ 1716 h 20127"/>
                <a:gd name="connsiteX10" fmla="*/ 6781 w 22195"/>
                <a:gd name="connsiteY10" fmla="*/ 1716 h 20127"/>
                <a:gd name="connsiteX11" fmla="*/ 3839 w 22195"/>
                <a:gd name="connsiteY11" fmla="*/ 4412 h 20127"/>
                <a:gd name="connsiteX12" fmla="*/ 1848 w 22195"/>
                <a:gd name="connsiteY12" fmla="*/ 11766 h 20127"/>
                <a:gd name="connsiteX13" fmla="*/ 5616 w 22195"/>
                <a:gd name="connsiteY13" fmla="*/ 16944 h 20127"/>
                <a:gd name="connsiteX14" fmla="*/ 11193 w 22195"/>
                <a:gd name="connsiteY14" fmla="*/ 20100 h 20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195" h="20127">
                  <a:moveTo>
                    <a:pt x="11193" y="20100"/>
                  </a:moveTo>
                  <a:cubicBezTo>
                    <a:pt x="11162" y="20223"/>
                    <a:pt x="8619" y="20008"/>
                    <a:pt x="4942" y="17925"/>
                  </a:cubicBezTo>
                  <a:cubicBezTo>
                    <a:pt x="3165" y="16852"/>
                    <a:pt x="1143" y="14983"/>
                    <a:pt x="316" y="12164"/>
                  </a:cubicBezTo>
                  <a:cubicBezTo>
                    <a:pt x="-144" y="10786"/>
                    <a:pt x="-83" y="9039"/>
                    <a:pt x="377" y="7630"/>
                  </a:cubicBezTo>
                  <a:cubicBezTo>
                    <a:pt x="806" y="6159"/>
                    <a:pt x="1480" y="4688"/>
                    <a:pt x="2460" y="3370"/>
                  </a:cubicBezTo>
                  <a:cubicBezTo>
                    <a:pt x="3410" y="2084"/>
                    <a:pt x="4605" y="1042"/>
                    <a:pt x="5892" y="276"/>
                  </a:cubicBezTo>
                  <a:lnTo>
                    <a:pt x="6352" y="0"/>
                  </a:lnTo>
                  <a:lnTo>
                    <a:pt x="6781" y="276"/>
                  </a:lnTo>
                  <a:cubicBezTo>
                    <a:pt x="15422" y="5577"/>
                    <a:pt x="22346" y="8794"/>
                    <a:pt x="22193" y="9162"/>
                  </a:cubicBezTo>
                  <a:cubicBezTo>
                    <a:pt x="22040" y="9560"/>
                    <a:pt x="14717" y="6925"/>
                    <a:pt x="5892" y="1716"/>
                  </a:cubicBezTo>
                  <a:lnTo>
                    <a:pt x="6781" y="1716"/>
                  </a:lnTo>
                  <a:cubicBezTo>
                    <a:pt x="5678" y="2390"/>
                    <a:pt x="4667" y="3309"/>
                    <a:pt x="3839" y="4412"/>
                  </a:cubicBezTo>
                  <a:cubicBezTo>
                    <a:pt x="2215" y="6710"/>
                    <a:pt x="1174" y="9529"/>
                    <a:pt x="1848" y="11766"/>
                  </a:cubicBezTo>
                  <a:cubicBezTo>
                    <a:pt x="2460" y="14095"/>
                    <a:pt x="4084" y="15841"/>
                    <a:pt x="5616" y="16944"/>
                  </a:cubicBezTo>
                  <a:cubicBezTo>
                    <a:pt x="8864" y="19089"/>
                    <a:pt x="11346" y="19825"/>
                    <a:pt x="11193" y="2010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A85E595C-5354-498E-9BEF-9C8E14A1BD18}"/>
                </a:ext>
              </a:extLst>
            </p:cNvPr>
            <p:cNvSpPr/>
            <p:nvPr/>
          </p:nvSpPr>
          <p:spPr>
            <a:xfrm>
              <a:off x="5527642" y="4078827"/>
              <a:ext cx="389752" cy="238937"/>
            </a:xfrm>
            <a:custGeom>
              <a:avLst/>
              <a:gdLst>
                <a:gd name="connsiteX0" fmla="*/ 0 w 389752"/>
                <a:gd name="connsiteY0" fmla="*/ 238937 h 238937"/>
                <a:gd name="connsiteX1" fmla="*/ 101666 w 389752"/>
                <a:gd name="connsiteY1" fmla="*/ 57390 h 238937"/>
                <a:gd name="connsiteX2" fmla="*/ 146984 w 389752"/>
                <a:gd name="connsiteY2" fmla="*/ 10387 h 238937"/>
                <a:gd name="connsiteX3" fmla="*/ 192057 w 389752"/>
                <a:gd name="connsiteY3" fmla="*/ 306 h 238937"/>
                <a:gd name="connsiteX4" fmla="*/ 235291 w 389752"/>
                <a:gd name="connsiteY4" fmla="*/ 0 h 238937"/>
                <a:gd name="connsiteX5" fmla="*/ 273991 w 389752"/>
                <a:gd name="connsiteY5" fmla="*/ 29385 h 238937"/>
                <a:gd name="connsiteX6" fmla="*/ 327674 w 389752"/>
                <a:gd name="connsiteY6" fmla="*/ 13237 h 238937"/>
                <a:gd name="connsiteX7" fmla="*/ 389752 w 389752"/>
                <a:gd name="connsiteY7" fmla="*/ 38699 h 238937"/>
                <a:gd name="connsiteX8" fmla="*/ 377281 w 389752"/>
                <a:gd name="connsiteY8" fmla="*/ 153449 h 238937"/>
                <a:gd name="connsiteX9" fmla="*/ 346640 w 389752"/>
                <a:gd name="connsiteY9" fmla="*/ 233606 h 238937"/>
                <a:gd name="connsiteX10" fmla="*/ 342535 w 389752"/>
                <a:gd name="connsiteY10" fmla="*/ 238937 h 238937"/>
                <a:gd name="connsiteX11" fmla="*/ 113647 w 389752"/>
                <a:gd name="connsiteY11" fmla="*/ 238753 h 238937"/>
                <a:gd name="connsiteX12" fmla="*/ 140182 w 389752"/>
                <a:gd name="connsiteY12" fmla="*/ 156176 h 238937"/>
                <a:gd name="connsiteX13" fmla="*/ 91126 w 389752"/>
                <a:gd name="connsiteY13" fmla="*/ 238937 h 238937"/>
                <a:gd name="connsiteX14" fmla="*/ 0 w 389752"/>
                <a:gd name="connsiteY14" fmla="*/ 238937 h 2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752" h="238937">
                  <a:moveTo>
                    <a:pt x="0" y="238937"/>
                  </a:moveTo>
                  <a:cubicBezTo>
                    <a:pt x="0" y="238937"/>
                    <a:pt x="87173" y="82669"/>
                    <a:pt x="101666" y="57390"/>
                  </a:cubicBezTo>
                  <a:cubicBezTo>
                    <a:pt x="118733" y="27669"/>
                    <a:pt x="133594" y="16883"/>
                    <a:pt x="146984" y="10387"/>
                  </a:cubicBezTo>
                  <a:cubicBezTo>
                    <a:pt x="160987" y="3616"/>
                    <a:pt x="176492" y="398"/>
                    <a:pt x="192057" y="306"/>
                  </a:cubicBezTo>
                  <a:lnTo>
                    <a:pt x="235291" y="0"/>
                  </a:lnTo>
                  <a:cubicBezTo>
                    <a:pt x="235291" y="0"/>
                    <a:pt x="251715" y="24574"/>
                    <a:pt x="273991" y="29385"/>
                  </a:cubicBezTo>
                  <a:cubicBezTo>
                    <a:pt x="304693" y="36034"/>
                    <a:pt x="327674" y="13237"/>
                    <a:pt x="327674" y="13237"/>
                  </a:cubicBezTo>
                  <a:lnTo>
                    <a:pt x="389752" y="38699"/>
                  </a:lnTo>
                  <a:lnTo>
                    <a:pt x="377281" y="153449"/>
                  </a:lnTo>
                  <a:cubicBezTo>
                    <a:pt x="374125" y="182374"/>
                    <a:pt x="363585" y="209982"/>
                    <a:pt x="346640" y="233606"/>
                  </a:cubicBezTo>
                  <a:lnTo>
                    <a:pt x="342535" y="238937"/>
                  </a:lnTo>
                  <a:lnTo>
                    <a:pt x="113647" y="238753"/>
                  </a:lnTo>
                  <a:lnTo>
                    <a:pt x="140182" y="156176"/>
                  </a:lnTo>
                  <a:lnTo>
                    <a:pt x="91126" y="238937"/>
                  </a:lnTo>
                  <a:lnTo>
                    <a:pt x="0" y="238937"/>
                  </a:lnTo>
                  <a:close/>
                </a:path>
              </a:pathLst>
            </a:custGeom>
            <a:solidFill>
              <a:srgbClr val="094A4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B46308B1-1F43-4C31-802B-CF79AF7C8737}"/>
                </a:ext>
              </a:extLst>
            </p:cNvPr>
            <p:cNvSpPr/>
            <p:nvPr/>
          </p:nvSpPr>
          <p:spPr>
            <a:xfrm>
              <a:off x="5883107" y="4117495"/>
              <a:ext cx="226037" cy="279544"/>
            </a:xfrm>
            <a:custGeom>
              <a:avLst/>
              <a:gdLst>
                <a:gd name="connsiteX0" fmla="*/ 34318 w 226037"/>
                <a:gd name="connsiteY0" fmla="*/ 0 h 279544"/>
                <a:gd name="connsiteX1" fmla="*/ 65970 w 226037"/>
                <a:gd name="connsiteY1" fmla="*/ 54510 h 279544"/>
                <a:gd name="connsiteX2" fmla="*/ 108898 w 226037"/>
                <a:gd name="connsiteY2" fmla="*/ 176614 h 279544"/>
                <a:gd name="connsiteX3" fmla="*/ 182405 w 226037"/>
                <a:gd name="connsiteY3" fmla="*/ 93179 h 279544"/>
                <a:gd name="connsiteX4" fmla="*/ 226038 w 226037"/>
                <a:gd name="connsiteY4" fmla="*/ 120878 h 279544"/>
                <a:gd name="connsiteX5" fmla="*/ 144472 w 226037"/>
                <a:gd name="connsiteY5" fmla="*/ 257536 h 279544"/>
                <a:gd name="connsiteX6" fmla="*/ 60945 w 226037"/>
                <a:gd name="connsiteY6" fmla="*/ 262776 h 279544"/>
                <a:gd name="connsiteX7" fmla="*/ 0 w 226037"/>
                <a:gd name="connsiteY7" fmla="*/ 141132 h 279544"/>
                <a:gd name="connsiteX8" fmla="*/ 34318 w 226037"/>
                <a:gd name="connsiteY8" fmla="*/ 0 h 27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6037" h="279544">
                  <a:moveTo>
                    <a:pt x="34318" y="0"/>
                  </a:moveTo>
                  <a:cubicBezTo>
                    <a:pt x="34318" y="0"/>
                    <a:pt x="52365" y="10571"/>
                    <a:pt x="65970" y="54510"/>
                  </a:cubicBezTo>
                  <a:cubicBezTo>
                    <a:pt x="79574" y="98449"/>
                    <a:pt x="108898" y="176614"/>
                    <a:pt x="108898" y="176614"/>
                  </a:cubicBezTo>
                  <a:lnTo>
                    <a:pt x="182405" y="93179"/>
                  </a:lnTo>
                  <a:lnTo>
                    <a:pt x="226038" y="120878"/>
                  </a:lnTo>
                  <a:cubicBezTo>
                    <a:pt x="226038" y="120878"/>
                    <a:pt x="155656" y="243074"/>
                    <a:pt x="144472" y="257536"/>
                  </a:cubicBezTo>
                  <a:cubicBezTo>
                    <a:pt x="127803" y="279107"/>
                    <a:pt x="85672" y="291425"/>
                    <a:pt x="60945" y="262776"/>
                  </a:cubicBezTo>
                  <a:cubicBezTo>
                    <a:pt x="42958" y="241940"/>
                    <a:pt x="0" y="141132"/>
                    <a:pt x="0" y="141132"/>
                  </a:cubicBezTo>
                  <a:lnTo>
                    <a:pt x="34318" y="0"/>
                  </a:lnTo>
                  <a:close/>
                </a:path>
              </a:pathLst>
            </a:custGeom>
            <a:solidFill>
              <a:srgbClr val="094A4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C19372AD-CCEB-4C15-A163-B7D48FE4D9E0}"/>
                </a:ext>
              </a:extLst>
            </p:cNvPr>
            <p:cNvSpPr/>
            <p:nvPr/>
          </p:nvSpPr>
          <p:spPr>
            <a:xfrm>
              <a:off x="5870172" y="4181196"/>
              <a:ext cx="31553" cy="136538"/>
            </a:xfrm>
            <a:custGeom>
              <a:avLst/>
              <a:gdLst>
                <a:gd name="connsiteX0" fmla="*/ 20779 w 31553"/>
                <a:gd name="connsiteY0" fmla="*/ 1 h 136538"/>
                <a:gd name="connsiteX1" fmla="*/ 21453 w 31553"/>
                <a:gd name="connsiteY1" fmla="*/ 1319 h 136538"/>
                <a:gd name="connsiteX2" fmla="*/ 23108 w 31553"/>
                <a:gd name="connsiteY2" fmla="*/ 5210 h 136538"/>
                <a:gd name="connsiteX3" fmla="*/ 27765 w 31553"/>
                <a:gd name="connsiteY3" fmla="*/ 20071 h 136538"/>
                <a:gd name="connsiteX4" fmla="*/ 30094 w 31553"/>
                <a:gd name="connsiteY4" fmla="*/ 71241 h 136538"/>
                <a:gd name="connsiteX5" fmla="*/ 12659 w 31553"/>
                <a:gd name="connsiteY5" fmla="*/ 119439 h 136538"/>
                <a:gd name="connsiteX6" fmla="*/ 3774 w 31553"/>
                <a:gd name="connsiteY6" fmla="*/ 132247 h 136538"/>
                <a:gd name="connsiteX7" fmla="*/ 1047 w 31553"/>
                <a:gd name="connsiteY7" fmla="*/ 135495 h 136538"/>
                <a:gd name="connsiteX8" fmla="*/ 5 w 31553"/>
                <a:gd name="connsiteY8" fmla="*/ 136537 h 136538"/>
                <a:gd name="connsiteX9" fmla="*/ 3283 w 31553"/>
                <a:gd name="connsiteY9" fmla="*/ 131880 h 136538"/>
                <a:gd name="connsiteX10" fmla="*/ 11679 w 31553"/>
                <a:gd name="connsiteY10" fmla="*/ 118857 h 136538"/>
                <a:gd name="connsiteX11" fmla="*/ 28501 w 31553"/>
                <a:gd name="connsiteY11" fmla="*/ 70996 h 136538"/>
                <a:gd name="connsiteX12" fmla="*/ 26662 w 31553"/>
                <a:gd name="connsiteY12" fmla="*/ 20316 h 136538"/>
                <a:gd name="connsiteX13" fmla="*/ 22495 w 31553"/>
                <a:gd name="connsiteY13" fmla="*/ 5394 h 136538"/>
                <a:gd name="connsiteX14" fmla="*/ 20779 w 31553"/>
                <a:gd name="connsiteY14" fmla="*/ 1 h 13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553" h="136538">
                  <a:moveTo>
                    <a:pt x="20779" y="1"/>
                  </a:moveTo>
                  <a:cubicBezTo>
                    <a:pt x="20841" y="-29"/>
                    <a:pt x="21055" y="430"/>
                    <a:pt x="21453" y="1319"/>
                  </a:cubicBezTo>
                  <a:cubicBezTo>
                    <a:pt x="21852" y="2208"/>
                    <a:pt x="22465" y="3494"/>
                    <a:pt x="23108" y="5210"/>
                  </a:cubicBezTo>
                  <a:cubicBezTo>
                    <a:pt x="24456" y="8642"/>
                    <a:pt x="26172" y="13698"/>
                    <a:pt x="27765" y="20071"/>
                  </a:cubicBezTo>
                  <a:cubicBezTo>
                    <a:pt x="30983" y="32818"/>
                    <a:pt x="33128" y="51264"/>
                    <a:pt x="30094" y="71241"/>
                  </a:cubicBezTo>
                  <a:cubicBezTo>
                    <a:pt x="27061" y="91219"/>
                    <a:pt x="19523" y="108225"/>
                    <a:pt x="12659" y="119439"/>
                  </a:cubicBezTo>
                  <a:cubicBezTo>
                    <a:pt x="9228" y="125077"/>
                    <a:pt x="6102" y="129398"/>
                    <a:pt x="3774" y="132247"/>
                  </a:cubicBezTo>
                  <a:cubicBezTo>
                    <a:pt x="2640" y="133718"/>
                    <a:pt x="1690" y="134760"/>
                    <a:pt x="1047" y="135495"/>
                  </a:cubicBezTo>
                  <a:cubicBezTo>
                    <a:pt x="403" y="136231"/>
                    <a:pt x="35" y="136568"/>
                    <a:pt x="5" y="136537"/>
                  </a:cubicBezTo>
                  <a:cubicBezTo>
                    <a:pt x="-87" y="136445"/>
                    <a:pt x="1139" y="134852"/>
                    <a:pt x="3283" y="131880"/>
                  </a:cubicBezTo>
                  <a:cubicBezTo>
                    <a:pt x="5428" y="128907"/>
                    <a:pt x="8400" y="124526"/>
                    <a:pt x="11679" y="118857"/>
                  </a:cubicBezTo>
                  <a:cubicBezTo>
                    <a:pt x="18236" y="107612"/>
                    <a:pt x="25498" y="90760"/>
                    <a:pt x="28501" y="70996"/>
                  </a:cubicBezTo>
                  <a:cubicBezTo>
                    <a:pt x="31504" y="51264"/>
                    <a:pt x="29573" y="33002"/>
                    <a:pt x="26662" y="20316"/>
                  </a:cubicBezTo>
                  <a:cubicBezTo>
                    <a:pt x="25222" y="13943"/>
                    <a:pt x="23690" y="8857"/>
                    <a:pt x="22495" y="5394"/>
                  </a:cubicBezTo>
                  <a:cubicBezTo>
                    <a:pt x="21331" y="1962"/>
                    <a:pt x="20657" y="63"/>
                    <a:pt x="20779" y="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3D71AE3E-F030-4708-9EB9-2B096275F7E4}"/>
                </a:ext>
              </a:extLst>
            </p:cNvPr>
            <p:cNvSpPr/>
            <p:nvPr/>
          </p:nvSpPr>
          <p:spPr>
            <a:xfrm>
              <a:off x="5640449" y="4167164"/>
              <a:ext cx="41653" cy="151059"/>
            </a:xfrm>
            <a:custGeom>
              <a:avLst/>
              <a:gdLst>
                <a:gd name="connsiteX0" fmla="*/ 41624 w 41653"/>
                <a:gd name="connsiteY0" fmla="*/ 0 h 151059"/>
                <a:gd name="connsiteX1" fmla="*/ 41501 w 41653"/>
                <a:gd name="connsiteY1" fmla="*/ 1593 h 151059"/>
                <a:gd name="connsiteX2" fmla="*/ 40888 w 41653"/>
                <a:gd name="connsiteY2" fmla="*/ 6128 h 151059"/>
                <a:gd name="connsiteX3" fmla="*/ 38100 w 41653"/>
                <a:gd name="connsiteY3" fmla="*/ 22736 h 151059"/>
                <a:gd name="connsiteX4" fmla="*/ 25629 w 41653"/>
                <a:gd name="connsiteY4" fmla="*/ 76847 h 151059"/>
                <a:gd name="connsiteX5" fmla="*/ 8623 w 41653"/>
                <a:gd name="connsiteY5" fmla="*/ 129733 h 151059"/>
                <a:gd name="connsiteX6" fmla="*/ 2526 w 41653"/>
                <a:gd name="connsiteY6" fmla="*/ 145422 h 151059"/>
                <a:gd name="connsiteX7" fmla="*/ 749 w 41653"/>
                <a:gd name="connsiteY7" fmla="*/ 149619 h 151059"/>
                <a:gd name="connsiteX8" fmla="*/ 13 w 41653"/>
                <a:gd name="connsiteY8" fmla="*/ 151059 h 151059"/>
                <a:gd name="connsiteX9" fmla="*/ 442 w 41653"/>
                <a:gd name="connsiteY9" fmla="*/ 149527 h 151059"/>
                <a:gd name="connsiteX10" fmla="*/ 1944 w 41653"/>
                <a:gd name="connsiteY10" fmla="*/ 145207 h 151059"/>
                <a:gd name="connsiteX11" fmla="*/ 7551 w 41653"/>
                <a:gd name="connsiteY11" fmla="*/ 129366 h 151059"/>
                <a:gd name="connsiteX12" fmla="*/ 24066 w 41653"/>
                <a:gd name="connsiteY12" fmla="*/ 76449 h 151059"/>
                <a:gd name="connsiteX13" fmla="*/ 36966 w 41653"/>
                <a:gd name="connsiteY13" fmla="*/ 22552 h 151059"/>
                <a:gd name="connsiteX14" fmla="*/ 40245 w 41653"/>
                <a:gd name="connsiteY14" fmla="*/ 6067 h 151059"/>
                <a:gd name="connsiteX15" fmla="*/ 41164 w 41653"/>
                <a:gd name="connsiteY15" fmla="*/ 1593 h 151059"/>
                <a:gd name="connsiteX16" fmla="*/ 41624 w 41653"/>
                <a:gd name="connsiteY16" fmla="*/ 0 h 15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653" h="151059">
                  <a:moveTo>
                    <a:pt x="41624" y="0"/>
                  </a:moveTo>
                  <a:cubicBezTo>
                    <a:pt x="41685" y="0"/>
                    <a:pt x="41654" y="552"/>
                    <a:pt x="41501" y="1593"/>
                  </a:cubicBezTo>
                  <a:cubicBezTo>
                    <a:pt x="41348" y="2819"/>
                    <a:pt x="41133" y="4320"/>
                    <a:pt x="40888" y="6128"/>
                  </a:cubicBezTo>
                  <a:cubicBezTo>
                    <a:pt x="40337" y="10050"/>
                    <a:pt x="39387" y="15749"/>
                    <a:pt x="38100" y="22736"/>
                  </a:cubicBezTo>
                  <a:cubicBezTo>
                    <a:pt x="35526" y="36708"/>
                    <a:pt x="31390" y="55920"/>
                    <a:pt x="25629" y="76847"/>
                  </a:cubicBezTo>
                  <a:cubicBezTo>
                    <a:pt x="19869" y="97775"/>
                    <a:pt x="13587" y="116405"/>
                    <a:pt x="8623" y="129733"/>
                  </a:cubicBezTo>
                  <a:cubicBezTo>
                    <a:pt x="6141" y="136382"/>
                    <a:pt x="4058" y="141745"/>
                    <a:pt x="2526" y="145422"/>
                  </a:cubicBezTo>
                  <a:cubicBezTo>
                    <a:pt x="1821" y="147107"/>
                    <a:pt x="1208" y="148516"/>
                    <a:pt x="749" y="149619"/>
                  </a:cubicBezTo>
                  <a:cubicBezTo>
                    <a:pt x="320" y="150569"/>
                    <a:pt x="75" y="151059"/>
                    <a:pt x="13" y="151059"/>
                  </a:cubicBezTo>
                  <a:cubicBezTo>
                    <a:pt x="-48" y="151029"/>
                    <a:pt x="105" y="150508"/>
                    <a:pt x="442" y="149527"/>
                  </a:cubicBezTo>
                  <a:cubicBezTo>
                    <a:pt x="841" y="148363"/>
                    <a:pt x="1361" y="146954"/>
                    <a:pt x="1944" y="145207"/>
                  </a:cubicBezTo>
                  <a:cubicBezTo>
                    <a:pt x="3353" y="141254"/>
                    <a:pt x="5253" y="135892"/>
                    <a:pt x="7551" y="129366"/>
                  </a:cubicBezTo>
                  <a:cubicBezTo>
                    <a:pt x="12239" y="115976"/>
                    <a:pt x="18306" y="97315"/>
                    <a:pt x="24066" y="76449"/>
                  </a:cubicBezTo>
                  <a:cubicBezTo>
                    <a:pt x="29796" y="55583"/>
                    <a:pt x="34117" y="36432"/>
                    <a:pt x="36966" y="22552"/>
                  </a:cubicBezTo>
                  <a:cubicBezTo>
                    <a:pt x="38314" y="15780"/>
                    <a:pt x="39417" y="10203"/>
                    <a:pt x="40245" y="6067"/>
                  </a:cubicBezTo>
                  <a:cubicBezTo>
                    <a:pt x="40612" y="4259"/>
                    <a:pt x="40919" y="2788"/>
                    <a:pt x="41164" y="1593"/>
                  </a:cubicBezTo>
                  <a:cubicBezTo>
                    <a:pt x="41440" y="521"/>
                    <a:pt x="41593" y="0"/>
                    <a:pt x="41624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F45B8D0B-A61B-4127-AF66-0A3A03FB1299}"/>
                </a:ext>
              </a:extLst>
            </p:cNvPr>
            <p:cNvSpPr/>
            <p:nvPr/>
          </p:nvSpPr>
          <p:spPr>
            <a:xfrm>
              <a:off x="5572623" y="4302592"/>
              <a:ext cx="80969" cy="48827"/>
            </a:xfrm>
            <a:custGeom>
              <a:avLst/>
              <a:gdLst>
                <a:gd name="connsiteX0" fmla="*/ 0 w 80969"/>
                <a:gd name="connsiteY0" fmla="*/ 15019 h 48827"/>
                <a:gd name="connsiteX1" fmla="*/ 12410 w 80969"/>
                <a:gd name="connsiteY1" fmla="*/ 1568 h 48827"/>
                <a:gd name="connsiteX2" fmla="*/ 24635 w 80969"/>
                <a:gd name="connsiteY2" fmla="*/ 1721 h 48827"/>
                <a:gd name="connsiteX3" fmla="*/ 27117 w 80969"/>
                <a:gd name="connsiteY3" fmla="*/ 3958 h 48827"/>
                <a:gd name="connsiteX4" fmla="*/ 46237 w 80969"/>
                <a:gd name="connsiteY4" fmla="*/ 2609 h 48827"/>
                <a:gd name="connsiteX5" fmla="*/ 64407 w 80969"/>
                <a:gd name="connsiteY5" fmla="*/ 3437 h 48827"/>
                <a:gd name="connsiteX6" fmla="*/ 77889 w 80969"/>
                <a:gd name="connsiteY6" fmla="*/ 2671 h 48827"/>
                <a:gd name="connsiteX7" fmla="*/ 79544 w 80969"/>
                <a:gd name="connsiteY7" fmla="*/ 21821 h 48827"/>
                <a:gd name="connsiteX8" fmla="*/ 71148 w 80969"/>
                <a:gd name="connsiteY8" fmla="*/ 42718 h 48827"/>
                <a:gd name="connsiteX9" fmla="*/ 62599 w 80969"/>
                <a:gd name="connsiteY9" fmla="*/ 39440 h 48827"/>
                <a:gd name="connsiteX10" fmla="*/ 61159 w 80969"/>
                <a:gd name="connsiteY10" fmla="*/ 33403 h 48827"/>
                <a:gd name="connsiteX11" fmla="*/ 54786 w 80969"/>
                <a:gd name="connsiteY11" fmla="*/ 48571 h 48827"/>
                <a:gd name="connsiteX12" fmla="*/ 44460 w 80969"/>
                <a:gd name="connsiteY12" fmla="*/ 42565 h 48827"/>
                <a:gd name="connsiteX13" fmla="*/ 38087 w 80969"/>
                <a:gd name="connsiteY13" fmla="*/ 45966 h 48827"/>
                <a:gd name="connsiteX14" fmla="*/ 31376 w 80969"/>
                <a:gd name="connsiteY14" fmla="*/ 38337 h 48827"/>
                <a:gd name="connsiteX15" fmla="*/ 31775 w 80969"/>
                <a:gd name="connsiteY15" fmla="*/ 30493 h 48827"/>
                <a:gd name="connsiteX16" fmla="*/ 27209 w 80969"/>
                <a:gd name="connsiteY16" fmla="*/ 34966 h 48827"/>
                <a:gd name="connsiteX17" fmla="*/ 19886 w 80969"/>
                <a:gd name="connsiteY17" fmla="*/ 29144 h 48827"/>
                <a:gd name="connsiteX18" fmla="*/ 14309 w 80969"/>
                <a:gd name="connsiteY18" fmla="*/ 15080 h 48827"/>
                <a:gd name="connsiteX19" fmla="*/ 0 w 80969"/>
                <a:gd name="connsiteY19" fmla="*/ 15080 h 48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0969" h="48827">
                  <a:moveTo>
                    <a:pt x="0" y="15019"/>
                  </a:moveTo>
                  <a:cubicBezTo>
                    <a:pt x="0" y="15019"/>
                    <a:pt x="8334" y="3712"/>
                    <a:pt x="12410" y="1568"/>
                  </a:cubicBezTo>
                  <a:cubicBezTo>
                    <a:pt x="16515" y="-577"/>
                    <a:pt x="22153" y="-516"/>
                    <a:pt x="24635" y="1721"/>
                  </a:cubicBezTo>
                  <a:cubicBezTo>
                    <a:pt x="27117" y="3958"/>
                    <a:pt x="27117" y="3958"/>
                    <a:pt x="27117" y="3958"/>
                  </a:cubicBezTo>
                  <a:cubicBezTo>
                    <a:pt x="27117" y="3958"/>
                    <a:pt x="40048" y="-1834"/>
                    <a:pt x="46237" y="2609"/>
                  </a:cubicBezTo>
                  <a:cubicBezTo>
                    <a:pt x="46237" y="2609"/>
                    <a:pt x="58524" y="-3212"/>
                    <a:pt x="64407" y="3437"/>
                  </a:cubicBezTo>
                  <a:cubicBezTo>
                    <a:pt x="64407" y="3437"/>
                    <a:pt x="73875" y="-2722"/>
                    <a:pt x="77889" y="2671"/>
                  </a:cubicBezTo>
                  <a:cubicBezTo>
                    <a:pt x="81903" y="8033"/>
                    <a:pt x="81474" y="17133"/>
                    <a:pt x="79544" y="21821"/>
                  </a:cubicBezTo>
                  <a:cubicBezTo>
                    <a:pt x="77613" y="26509"/>
                    <a:pt x="73967" y="42442"/>
                    <a:pt x="71148" y="42718"/>
                  </a:cubicBezTo>
                  <a:cubicBezTo>
                    <a:pt x="71148" y="42718"/>
                    <a:pt x="63580" y="43515"/>
                    <a:pt x="62599" y="39440"/>
                  </a:cubicBezTo>
                  <a:cubicBezTo>
                    <a:pt x="61588" y="35364"/>
                    <a:pt x="61159" y="33403"/>
                    <a:pt x="61159" y="33403"/>
                  </a:cubicBezTo>
                  <a:cubicBezTo>
                    <a:pt x="61159" y="33403"/>
                    <a:pt x="58279" y="47835"/>
                    <a:pt x="54786" y="48571"/>
                  </a:cubicBezTo>
                  <a:cubicBezTo>
                    <a:pt x="51293" y="49275"/>
                    <a:pt x="44674" y="48908"/>
                    <a:pt x="44460" y="42565"/>
                  </a:cubicBezTo>
                  <a:cubicBezTo>
                    <a:pt x="44460" y="42565"/>
                    <a:pt x="41243" y="47345"/>
                    <a:pt x="38087" y="45966"/>
                  </a:cubicBezTo>
                  <a:cubicBezTo>
                    <a:pt x="34931" y="44557"/>
                    <a:pt x="31039" y="42259"/>
                    <a:pt x="31376" y="38337"/>
                  </a:cubicBezTo>
                  <a:cubicBezTo>
                    <a:pt x="31713" y="34415"/>
                    <a:pt x="31775" y="30493"/>
                    <a:pt x="31775" y="30493"/>
                  </a:cubicBezTo>
                  <a:cubicBezTo>
                    <a:pt x="31775" y="30493"/>
                    <a:pt x="30059" y="36192"/>
                    <a:pt x="27209" y="34966"/>
                  </a:cubicBezTo>
                  <a:cubicBezTo>
                    <a:pt x="24359" y="33740"/>
                    <a:pt x="21479" y="33986"/>
                    <a:pt x="19886" y="29144"/>
                  </a:cubicBezTo>
                  <a:cubicBezTo>
                    <a:pt x="18293" y="24303"/>
                    <a:pt x="14309" y="15080"/>
                    <a:pt x="14309" y="15080"/>
                  </a:cubicBezTo>
                  <a:lnTo>
                    <a:pt x="0" y="15080"/>
                  </a:lnTo>
                  <a:close/>
                </a:path>
              </a:pathLst>
            </a:custGeom>
            <a:solidFill>
              <a:srgbClr val="A5695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E4543B6-1190-4735-B5B2-CF945F2A4C84}"/>
                </a:ext>
              </a:extLst>
            </p:cNvPr>
            <p:cNvSpPr/>
            <p:nvPr/>
          </p:nvSpPr>
          <p:spPr>
            <a:xfrm>
              <a:off x="5599237" y="4306079"/>
              <a:ext cx="8166" cy="26670"/>
            </a:xfrm>
            <a:custGeom>
              <a:avLst/>
              <a:gdLst>
                <a:gd name="connsiteX0" fmla="*/ 4946 w 8166"/>
                <a:gd name="connsiteY0" fmla="*/ 26669 h 26670"/>
                <a:gd name="connsiteX1" fmla="*/ 6172 w 8166"/>
                <a:gd name="connsiteY1" fmla="*/ 22593 h 26670"/>
                <a:gd name="connsiteX2" fmla="*/ 6601 w 8166"/>
                <a:gd name="connsiteY2" fmla="*/ 12574 h 26670"/>
                <a:gd name="connsiteX3" fmla="*/ 2617 w 8166"/>
                <a:gd name="connsiteY3" fmla="*/ 3382 h 26670"/>
                <a:gd name="connsiteX4" fmla="*/ 13 w 8166"/>
                <a:gd name="connsiteY4" fmla="*/ 11 h 26670"/>
                <a:gd name="connsiteX5" fmla="*/ 3322 w 8166"/>
                <a:gd name="connsiteY5" fmla="*/ 2830 h 26670"/>
                <a:gd name="connsiteX6" fmla="*/ 7826 w 8166"/>
                <a:gd name="connsiteY6" fmla="*/ 12329 h 26670"/>
                <a:gd name="connsiteX7" fmla="*/ 7030 w 8166"/>
                <a:gd name="connsiteY7" fmla="*/ 22838 h 26670"/>
                <a:gd name="connsiteX8" fmla="*/ 4946 w 8166"/>
                <a:gd name="connsiteY8" fmla="*/ 26669 h 26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66" h="26670">
                  <a:moveTo>
                    <a:pt x="4946" y="26669"/>
                  </a:moveTo>
                  <a:cubicBezTo>
                    <a:pt x="4762" y="26577"/>
                    <a:pt x="5528" y="25106"/>
                    <a:pt x="6172" y="22593"/>
                  </a:cubicBezTo>
                  <a:cubicBezTo>
                    <a:pt x="6846" y="20081"/>
                    <a:pt x="7305" y="16465"/>
                    <a:pt x="6601" y="12574"/>
                  </a:cubicBezTo>
                  <a:cubicBezTo>
                    <a:pt x="5896" y="8682"/>
                    <a:pt x="4149" y="5465"/>
                    <a:pt x="2617" y="3382"/>
                  </a:cubicBezTo>
                  <a:cubicBezTo>
                    <a:pt x="1085" y="1267"/>
                    <a:pt x="-140" y="164"/>
                    <a:pt x="13" y="11"/>
                  </a:cubicBezTo>
                  <a:cubicBezTo>
                    <a:pt x="105" y="-111"/>
                    <a:pt x="1545" y="777"/>
                    <a:pt x="3322" y="2830"/>
                  </a:cubicBezTo>
                  <a:cubicBezTo>
                    <a:pt x="5099" y="4852"/>
                    <a:pt x="7060" y="8223"/>
                    <a:pt x="7826" y="12329"/>
                  </a:cubicBezTo>
                  <a:cubicBezTo>
                    <a:pt x="8592" y="16465"/>
                    <a:pt x="7949" y="20295"/>
                    <a:pt x="7030" y="22838"/>
                  </a:cubicBezTo>
                  <a:cubicBezTo>
                    <a:pt x="6110" y="25382"/>
                    <a:pt x="5069" y="26730"/>
                    <a:pt x="4946" y="26669"/>
                  </a:cubicBezTo>
                  <a:close/>
                </a:path>
              </a:pathLst>
            </a:custGeom>
            <a:solidFill>
              <a:srgbClr val="83534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1BF3824B-3C48-4D94-A372-01895B4C0F99}"/>
                </a:ext>
              </a:extLst>
            </p:cNvPr>
            <p:cNvSpPr/>
            <p:nvPr/>
          </p:nvSpPr>
          <p:spPr>
            <a:xfrm>
              <a:off x="5617022" y="4305262"/>
              <a:ext cx="5299" cy="39436"/>
            </a:xfrm>
            <a:custGeom>
              <a:avLst/>
              <a:gdLst>
                <a:gd name="connsiteX0" fmla="*/ 2665 w 5299"/>
                <a:gd name="connsiteY0" fmla="*/ 0 h 39436"/>
                <a:gd name="connsiteX1" fmla="*/ 4320 w 5299"/>
                <a:gd name="connsiteY1" fmla="*/ 5700 h 39436"/>
                <a:gd name="connsiteX2" fmla="*/ 5178 w 5299"/>
                <a:gd name="connsiteY2" fmla="*/ 19978 h 39436"/>
                <a:gd name="connsiteX3" fmla="*/ 2420 w 5299"/>
                <a:gd name="connsiteY3" fmla="*/ 34012 h 39436"/>
                <a:gd name="connsiteX4" fmla="*/ 30 w 5299"/>
                <a:gd name="connsiteY4" fmla="*/ 39435 h 39436"/>
                <a:gd name="connsiteX5" fmla="*/ 3952 w 5299"/>
                <a:gd name="connsiteY5" fmla="*/ 19886 h 39436"/>
                <a:gd name="connsiteX6" fmla="*/ 2665 w 5299"/>
                <a:gd name="connsiteY6" fmla="*/ 0 h 3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99" h="39436">
                  <a:moveTo>
                    <a:pt x="2665" y="0"/>
                  </a:moveTo>
                  <a:cubicBezTo>
                    <a:pt x="2819" y="-30"/>
                    <a:pt x="3615" y="2084"/>
                    <a:pt x="4320" y="5700"/>
                  </a:cubicBezTo>
                  <a:cubicBezTo>
                    <a:pt x="5025" y="9284"/>
                    <a:pt x="5546" y="14371"/>
                    <a:pt x="5178" y="19978"/>
                  </a:cubicBezTo>
                  <a:cubicBezTo>
                    <a:pt x="4780" y="25585"/>
                    <a:pt x="3615" y="30549"/>
                    <a:pt x="2420" y="34012"/>
                  </a:cubicBezTo>
                  <a:cubicBezTo>
                    <a:pt x="1225" y="37474"/>
                    <a:pt x="153" y="39496"/>
                    <a:pt x="30" y="39435"/>
                  </a:cubicBezTo>
                  <a:cubicBezTo>
                    <a:pt x="-368" y="39313"/>
                    <a:pt x="3278" y="30948"/>
                    <a:pt x="3952" y="19886"/>
                  </a:cubicBezTo>
                  <a:cubicBezTo>
                    <a:pt x="4718" y="8856"/>
                    <a:pt x="2236" y="92"/>
                    <a:pt x="2665" y="0"/>
                  </a:cubicBezTo>
                  <a:close/>
                </a:path>
              </a:pathLst>
            </a:custGeom>
            <a:solidFill>
              <a:srgbClr val="83534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85E7ADCD-D7DD-4CE5-A71E-A06CA4221175}"/>
                </a:ext>
              </a:extLst>
            </p:cNvPr>
            <p:cNvSpPr/>
            <p:nvPr/>
          </p:nvSpPr>
          <p:spPr>
            <a:xfrm>
              <a:off x="5633826" y="4306212"/>
              <a:ext cx="4150" cy="30121"/>
            </a:xfrm>
            <a:custGeom>
              <a:avLst/>
              <a:gdLst>
                <a:gd name="connsiteX0" fmla="*/ 3510 w 4150"/>
                <a:gd name="connsiteY0" fmla="*/ 0 h 30121"/>
                <a:gd name="connsiteX1" fmla="*/ 3694 w 4150"/>
                <a:gd name="connsiteY1" fmla="*/ 15290 h 30121"/>
                <a:gd name="connsiteX2" fmla="*/ 48 w 4150"/>
                <a:gd name="connsiteY2" fmla="*/ 30120 h 30121"/>
                <a:gd name="connsiteX3" fmla="*/ 2438 w 4150"/>
                <a:gd name="connsiteY3" fmla="*/ 15137 h 30121"/>
                <a:gd name="connsiteX4" fmla="*/ 3510 w 4150"/>
                <a:gd name="connsiteY4" fmla="*/ 0 h 3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0" h="30121">
                  <a:moveTo>
                    <a:pt x="3510" y="0"/>
                  </a:moveTo>
                  <a:cubicBezTo>
                    <a:pt x="3817" y="-30"/>
                    <a:pt x="4675" y="6833"/>
                    <a:pt x="3694" y="15290"/>
                  </a:cubicBezTo>
                  <a:cubicBezTo>
                    <a:pt x="2744" y="23747"/>
                    <a:pt x="354" y="30243"/>
                    <a:pt x="48" y="30120"/>
                  </a:cubicBezTo>
                  <a:cubicBezTo>
                    <a:pt x="-320" y="30028"/>
                    <a:pt x="1519" y="23440"/>
                    <a:pt x="2438" y="15137"/>
                  </a:cubicBezTo>
                  <a:cubicBezTo>
                    <a:pt x="3418" y="6833"/>
                    <a:pt x="3143" y="31"/>
                    <a:pt x="3510" y="0"/>
                  </a:cubicBezTo>
                  <a:close/>
                </a:path>
              </a:pathLst>
            </a:custGeom>
            <a:solidFill>
              <a:srgbClr val="83534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AE0F4C7C-1D07-44F6-ACB5-06EC0BE6D83B}"/>
                </a:ext>
              </a:extLst>
            </p:cNvPr>
            <p:cNvSpPr/>
            <p:nvPr/>
          </p:nvSpPr>
          <p:spPr>
            <a:xfrm>
              <a:off x="5666231" y="4306539"/>
              <a:ext cx="19723" cy="11255"/>
            </a:xfrm>
            <a:custGeom>
              <a:avLst/>
              <a:gdLst>
                <a:gd name="connsiteX0" fmla="*/ 19457 w 19723"/>
                <a:gd name="connsiteY0" fmla="*/ 2952 h 11255"/>
                <a:gd name="connsiteX1" fmla="*/ 16209 w 19723"/>
                <a:gd name="connsiteY1" fmla="*/ 317 h 11255"/>
                <a:gd name="connsiteX2" fmla="*/ 6833 w 19723"/>
                <a:gd name="connsiteY2" fmla="*/ 2829 h 11255"/>
                <a:gd name="connsiteX3" fmla="*/ 0 w 19723"/>
                <a:gd name="connsiteY3" fmla="*/ 11256 h 11255"/>
                <a:gd name="connsiteX4" fmla="*/ 18323 w 19723"/>
                <a:gd name="connsiteY4" fmla="*/ 11225 h 11255"/>
                <a:gd name="connsiteX5" fmla="*/ 19457 w 19723"/>
                <a:gd name="connsiteY5" fmla="*/ 2952 h 1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723" h="11255">
                  <a:moveTo>
                    <a:pt x="19457" y="2952"/>
                  </a:moveTo>
                  <a:cubicBezTo>
                    <a:pt x="18936" y="1604"/>
                    <a:pt x="17588" y="715"/>
                    <a:pt x="16209" y="317"/>
                  </a:cubicBezTo>
                  <a:cubicBezTo>
                    <a:pt x="12961" y="-633"/>
                    <a:pt x="9437" y="654"/>
                    <a:pt x="6833" y="2829"/>
                  </a:cubicBezTo>
                  <a:cubicBezTo>
                    <a:pt x="4259" y="4974"/>
                    <a:pt x="1747" y="8375"/>
                    <a:pt x="0" y="11256"/>
                  </a:cubicBezTo>
                  <a:lnTo>
                    <a:pt x="18323" y="11225"/>
                  </a:lnTo>
                  <a:cubicBezTo>
                    <a:pt x="18139" y="8406"/>
                    <a:pt x="20499" y="5556"/>
                    <a:pt x="19457" y="2952"/>
                  </a:cubicBezTo>
                  <a:close/>
                </a:path>
              </a:pathLst>
            </a:custGeom>
            <a:solidFill>
              <a:srgbClr val="A5695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2B39F05B-5609-4989-BF34-245CCF28224B}"/>
                </a:ext>
              </a:extLst>
            </p:cNvPr>
            <p:cNvSpPr/>
            <p:nvPr/>
          </p:nvSpPr>
          <p:spPr>
            <a:xfrm>
              <a:off x="6060334" y="3957029"/>
              <a:ext cx="196591" cy="196591"/>
            </a:xfrm>
            <a:custGeom>
              <a:avLst/>
              <a:gdLst>
                <a:gd name="connsiteX0" fmla="*/ 98296 w 196591"/>
                <a:gd name="connsiteY0" fmla="*/ 98296 h 196591"/>
                <a:gd name="connsiteX1" fmla="*/ 196592 w 196591"/>
                <a:gd name="connsiteY1" fmla="*/ 98296 h 196591"/>
                <a:gd name="connsiteX2" fmla="*/ 98296 w 196591"/>
                <a:gd name="connsiteY2" fmla="*/ 196592 h 196591"/>
                <a:gd name="connsiteX3" fmla="*/ 0 w 196591"/>
                <a:gd name="connsiteY3" fmla="*/ 98296 h 196591"/>
                <a:gd name="connsiteX4" fmla="*/ 98112 w 196591"/>
                <a:gd name="connsiteY4" fmla="*/ 0 h 196591"/>
                <a:gd name="connsiteX5" fmla="*/ 98296 w 196591"/>
                <a:gd name="connsiteY5" fmla="*/ 98296 h 19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591" h="196591">
                  <a:moveTo>
                    <a:pt x="98296" y="98296"/>
                  </a:moveTo>
                  <a:lnTo>
                    <a:pt x="196592" y="98296"/>
                  </a:lnTo>
                  <a:cubicBezTo>
                    <a:pt x="196592" y="152224"/>
                    <a:pt x="152224" y="196592"/>
                    <a:pt x="98296" y="196592"/>
                  </a:cubicBezTo>
                  <a:cubicBezTo>
                    <a:pt x="44368" y="196592"/>
                    <a:pt x="0" y="152224"/>
                    <a:pt x="0" y="98296"/>
                  </a:cubicBezTo>
                  <a:cubicBezTo>
                    <a:pt x="0" y="44460"/>
                    <a:pt x="44245" y="123"/>
                    <a:pt x="98112" y="0"/>
                  </a:cubicBezTo>
                  <a:lnTo>
                    <a:pt x="98296" y="98296"/>
                  </a:lnTo>
                  <a:close/>
                </a:path>
              </a:pathLst>
            </a:custGeom>
            <a:solidFill>
              <a:srgbClr val="FF725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2655B357-F66D-48C6-847F-DF1699A52024}"/>
                </a:ext>
              </a:extLst>
            </p:cNvPr>
            <p:cNvSpPr/>
            <p:nvPr/>
          </p:nvSpPr>
          <p:spPr>
            <a:xfrm>
              <a:off x="6175819" y="3941249"/>
              <a:ext cx="98602" cy="98295"/>
            </a:xfrm>
            <a:custGeom>
              <a:avLst/>
              <a:gdLst>
                <a:gd name="connsiteX0" fmla="*/ 306 w 98602"/>
                <a:gd name="connsiteY0" fmla="*/ 98296 h 98295"/>
                <a:gd name="connsiteX1" fmla="*/ 0 w 98602"/>
                <a:gd name="connsiteY1" fmla="*/ 0 h 98295"/>
                <a:gd name="connsiteX2" fmla="*/ 306 w 98602"/>
                <a:gd name="connsiteY2" fmla="*/ 0 h 98295"/>
                <a:gd name="connsiteX3" fmla="*/ 98602 w 98602"/>
                <a:gd name="connsiteY3" fmla="*/ 97714 h 98295"/>
                <a:gd name="connsiteX4" fmla="*/ 306 w 98602"/>
                <a:gd name="connsiteY4" fmla="*/ 98296 h 9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602" h="98295">
                  <a:moveTo>
                    <a:pt x="306" y="98296"/>
                  </a:moveTo>
                  <a:lnTo>
                    <a:pt x="0" y="0"/>
                  </a:lnTo>
                  <a:cubicBezTo>
                    <a:pt x="92" y="0"/>
                    <a:pt x="215" y="0"/>
                    <a:pt x="306" y="0"/>
                  </a:cubicBezTo>
                  <a:cubicBezTo>
                    <a:pt x="54020" y="0"/>
                    <a:pt x="98296" y="44031"/>
                    <a:pt x="98602" y="97714"/>
                  </a:cubicBezTo>
                  <a:lnTo>
                    <a:pt x="306" y="98296"/>
                  </a:lnTo>
                  <a:close/>
                </a:path>
              </a:pathLst>
            </a:custGeom>
            <a:solidFill>
              <a:srgbClr val="FF725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830BC5D9-96AB-4E7A-8D83-936C45DB71A1}"/>
                </a:ext>
              </a:extLst>
            </p:cNvPr>
            <p:cNvSpPr/>
            <p:nvPr/>
          </p:nvSpPr>
          <p:spPr>
            <a:xfrm>
              <a:off x="5520196" y="3843168"/>
              <a:ext cx="186265" cy="180474"/>
            </a:xfrm>
            <a:custGeom>
              <a:avLst/>
              <a:gdLst>
                <a:gd name="connsiteX0" fmla="*/ 186266 w 186265"/>
                <a:gd name="connsiteY0" fmla="*/ 171221 h 180474"/>
                <a:gd name="connsiteX1" fmla="*/ 167115 w 186265"/>
                <a:gd name="connsiteY1" fmla="*/ 137485 h 180474"/>
                <a:gd name="connsiteX2" fmla="*/ 180475 w 186265"/>
                <a:gd name="connsiteY2" fmla="*/ 90237 h 180474"/>
                <a:gd name="connsiteX3" fmla="*/ 90237 w 186265"/>
                <a:gd name="connsiteY3" fmla="*/ 0 h 180474"/>
                <a:gd name="connsiteX4" fmla="*/ 0 w 186265"/>
                <a:gd name="connsiteY4" fmla="*/ 90237 h 180474"/>
                <a:gd name="connsiteX5" fmla="*/ 90237 w 186265"/>
                <a:gd name="connsiteY5" fmla="*/ 180475 h 180474"/>
                <a:gd name="connsiteX6" fmla="*/ 145452 w 186265"/>
                <a:gd name="connsiteY6" fmla="*/ 161569 h 180474"/>
                <a:gd name="connsiteX7" fmla="*/ 145422 w 186265"/>
                <a:gd name="connsiteY7" fmla="*/ 161600 h 180474"/>
                <a:gd name="connsiteX8" fmla="*/ 186266 w 186265"/>
                <a:gd name="connsiteY8" fmla="*/ 171221 h 18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65" h="180474">
                  <a:moveTo>
                    <a:pt x="186266" y="171221"/>
                  </a:moveTo>
                  <a:lnTo>
                    <a:pt x="167115" y="137485"/>
                  </a:lnTo>
                  <a:cubicBezTo>
                    <a:pt x="175572" y="123728"/>
                    <a:pt x="180475" y="107549"/>
                    <a:pt x="180475" y="90237"/>
                  </a:cubicBezTo>
                  <a:cubicBezTo>
                    <a:pt x="180475" y="40415"/>
                    <a:pt x="140090" y="0"/>
                    <a:pt x="90237" y="0"/>
                  </a:cubicBezTo>
                  <a:cubicBezTo>
                    <a:pt x="40415" y="0"/>
                    <a:pt x="0" y="40385"/>
                    <a:pt x="0" y="90237"/>
                  </a:cubicBezTo>
                  <a:cubicBezTo>
                    <a:pt x="0" y="140059"/>
                    <a:pt x="40385" y="180475"/>
                    <a:pt x="90237" y="180475"/>
                  </a:cubicBezTo>
                  <a:cubicBezTo>
                    <a:pt x="111043" y="180475"/>
                    <a:pt x="130193" y="173427"/>
                    <a:pt x="145452" y="161569"/>
                  </a:cubicBezTo>
                  <a:lnTo>
                    <a:pt x="145422" y="161600"/>
                  </a:lnTo>
                  <a:lnTo>
                    <a:pt x="186266" y="171221"/>
                  </a:lnTo>
                  <a:close/>
                </a:path>
              </a:pathLst>
            </a:custGeom>
            <a:solidFill>
              <a:srgbClr val="FAFAFA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4851A220-A144-4EE2-8E3D-8F8688DDD846}"/>
                </a:ext>
              </a:extLst>
            </p:cNvPr>
            <p:cNvSpPr/>
            <p:nvPr/>
          </p:nvSpPr>
          <p:spPr>
            <a:xfrm>
              <a:off x="5519764" y="3842804"/>
              <a:ext cx="186698" cy="181237"/>
            </a:xfrm>
            <a:custGeom>
              <a:avLst/>
              <a:gdLst>
                <a:gd name="connsiteX0" fmla="*/ 186698 w 186698"/>
                <a:gd name="connsiteY0" fmla="*/ 171585 h 181237"/>
                <a:gd name="connsiteX1" fmla="*/ 145823 w 186698"/>
                <a:gd name="connsiteY1" fmla="*/ 162240 h 181237"/>
                <a:gd name="connsiteX2" fmla="*/ 145394 w 186698"/>
                <a:gd name="connsiteY2" fmla="*/ 162148 h 181237"/>
                <a:gd name="connsiteX3" fmla="*/ 145670 w 186698"/>
                <a:gd name="connsiteY3" fmla="*/ 161811 h 181237"/>
                <a:gd name="connsiteX4" fmla="*/ 145701 w 186698"/>
                <a:gd name="connsiteY4" fmla="*/ 161780 h 181237"/>
                <a:gd name="connsiteX5" fmla="*/ 146099 w 186698"/>
                <a:gd name="connsiteY5" fmla="*/ 162178 h 181237"/>
                <a:gd name="connsiteX6" fmla="*/ 127531 w 186698"/>
                <a:gd name="connsiteY6" fmla="*/ 173362 h 181237"/>
                <a:gd name="connsiteX7" fmla="*/ 102773 w 186698"/>
                <a:gd name="connsiteY7" fmla="*/ 180440 h 181237"/>
                <a:gd name="connsiteX8" fmla="*/ 88494 w 186698"/>
                <a:gd name="connsiteY8" fmla="*/ 181176 h 181237"/>
                <a:gd name="connsiteX9" fmla="*/ 81018 w 186698"/>
                <a:gd name="connsiteY9" fmla="*/ 180777 h 181237"/>
                <a:gd name="connsiteX10" fmla="*/ 73388 w 186698"/>
                <a:gd name="connsiteY10" fmla="*/ 179613 h 181237"/>
                <a:gd name="connsiteX11" fmla="*/ 42962 w 186698"/>
                <a:gd name="connsiteY11" fmla="*/ 167663 h 181237"/>
                <a:gd name="connsiteX12" fmla="*/ 16978 w 186698"/>
                <a:gd name="connsiteY12" fmla="*/ 143396 h 181237"/>
                <a:gd name="connsiteX13" fmla="*/ 1719 w 186698"/>
                <a:gd name="connsiteY13" fmla="*/ 108526 h 181237"/>
                <a:gd name="connsiteX14" fmla="*/ 2792 w 186698"/>
                <a:gd name="connsiteY14" fmla="*/ 68387 h 181237"/>
                <a:gd name="connsiteX15" fmla="*/ 22126 w 186698"/>
                <a:gd name="connsiteY15" fmla="*/ 31281 h 181237"/>
                <a:gd name="connsiteX16" fmla="*/ 25803 w 186698"/>
                <a:gd name="connsiteY16" fmla="*/ 27236 h 181237"/>
                <a:gd name="connsiteX17" fmla="*/ 29786 w 186698"/>
                <a:gd name="connsiteY17" fmla="*/ 23498 h 181237"/>
                <a:gd name="connsiteX18" fmla="*/ 33892 w 186698"/>
                <a:gd name="connsiteY18" fmla="*/ 19944 h 181237"/>
                <a:gd name="connsiteX19" fmla="*/ 38212 w 186698"/>
                <a:gd name="connsiteY19" fmla="*/ 16696 h 181237"/>
                <a:gd name="connsiteX20" fmla="*/ 42686 w 186698"/>
                <a:gd name="connsiteY20" fmla="*/ 13724 h 181237"/>
                <a:gd name="connsiteX21" fmla="*/ 47251 w 186698"/>
                <a:gd name="connsiteY21" fmla="*/ 10935 h 181237"/>
                <a:gd name="connsiteX22" fmla="*/ 52031 w 186698"/>
                <a:gd name="connsiteY22" fmla="*/ 8606 h 181237"/>
                <a:gd name="connsiteX23" fmla="*/ 56873 w 186698"/>
                <a:gd name="connsiteY23" fmla="*/ 6462 h 181237"/>
                <a:gd name="connsiteX24" fmla="*/ 97319 w 186698"/>
                <a:gd name="connsiteY24" fmla="*/ 241 h 181237"/>
                <a:gd name="connsiteX25" fmla="*/ 134455 w 186698"/>
                <a:gd name="connsiteY25" fmla="*/ 11211 h 181237"/>
                <a:gd name="connsiteX26" fmla="*/ 161910 w 186698"/>
                <a:gd name="connsiteY26" fmla="*/ 34651 h 181237"/>
                <a:gd name="connsiteX27" fmla="*/ 177291 w 186698"/>
                <a:gd name="connsiteY27" fmla="*/ 63913 h 181237"/>
                <a:gd name="connsiteX28" fmla="*/ 181213 w 186698"/>
                <a:gd name="connsiteY28" fmla="*/ 93267 h 181237"/>
                <a:gd name="connsiteX29" fmla="*/ 176801 w 186698"/>
                <a:gd name="connsiteY29" fmla="*/ 118607 h 181237"/>
                <a:gd name="connsiteX30" fmla="*/ 167762 w 186698"/>
                <a:gd name="connsiteY30" fmla="*/ 138033 h 181237"/>
                <a:gd name="connsiteX31" fmla="*/ 167762 w 186698"/>
                <a:gd name="connsiteY31" fmla="*/ 137758 h 181237"/>
                <a:gd name="connsiteX32" fmla="*/ 186698 w 186698"/>
                <a:gd name="connsiteY32" fmla="*/ 171585 h 181237"/>
                <a:gd name="connsiteX33" fmla="*/ 167333 w 186698"/>
                <a:gd name="connsiteY33" fmla="*/ 137972 h 181237"/>
                <a:gd name="connsiteX34" fmla="*/ 167241 w 186698"/>
                <a:gd name="connsiteY34" fmla="*/ 137850 h 181237"/>
                <a:gd name="connsiteX35" fmla="*/ 167333 w 186698"/>
                <a:gd name="connsiteY35" fmla="*/ 137727 h 181237"/>
                <a:gd name="connsiteX36" fmla="*/ 176219 w 186698"/>
                <a:gd name="connsiteY36" fmla="*/ 118393 h 181237"/>
                <a:gd name="connsiteX37" fmla="*/ 180509 w 186698"/>
                <a:gd name="connsiteY37" fmla="*/ 93236 h 181237"/>
                <a:gd name="connsiteX38" fmla="*/ 176525 w 186698"/>
                <a:gd name="connsiteY38" fmla="*/ 64158 h 181237"/>
                <a:gd name="connsiteX39" fmla="*/ 161236 w 186698"/>
                <a:gd name="connsiteY39" fmla="*/ 35233 h 181237"/>
                <a:gd name="connsiteX40" fmla="*/ 134026 w 186698"/>
                <a:gd name="connsiteY40" fmla="*/ 12100 h 181237"/>
                <a:gd name="connsiteX41" fmla="*/ 97319 w 186698"/>
                <a:gd name="connsiteY41" fmla="*/ 1314 h 181237"/>
                <a:gd name="connsiteX42" fmla="*/ 57363 w 186698"/>
                <a:gd name="connsiteY42" fmla="*/ 7473 h 181237"/>
                <a:gd name="connsiteX43" fmla="*/ 52583 w 186698"/>
                <a:gd name="connsiteY43" fmla="*/ 9587 h 181237"/>
                <a:gd name="connsiteX44" fmla="*/ 47834 w 186698"/>
                <a:gd name="connsiteY44" fmla="*/ 11885 h 181237"/>
                <a:gd name="connsiteX45" fmla="*/ 43299 w 186698"/>
                <a:gd name="connsiteY45" fmla="*/ 14643 h 181237"/>
                <a:gd name="connsiteX46" fmla="*/ 38856 w 186698"/>
                <a:gd name="connsiteY46" fmla="*/ 17584 h 181237"/>
                <a:gd name="connsiteX47" fmla="*/ 34566 w 186698"/>
                <a:gd name="connsiteY47" fmla="*/ 20771 h 181237"/>
                <a:gd name="connsiteX48" fmla="*/ 30522 w 186698"/>
                <a:gd name="connsiteY48" fmla="*/ 24295 h 181237"/>
                <a:gd name="connsiteX49" fmla="*/ 26600 w 186698"/>
                <a:gd name="connsiteY49" fmla="*/ 28002 h 181237"/>
                <a:gd name="connsiteX50" fmla="*/ 22953 w 186698"/>
                <a:gd name="connsiteY50" fmla="*/ 32016 h 181237"/>
                <a:gd name="connsiteX51" fmla="*/ 3833 w 186698"/>
                <a:gd name="connsiteY51" fmla="*/ 68663 h 181237"/>
                <a:gd name="connsiteX52" fmla="*/ 2761 w 186698"/>
                <a:gd name="connsiteY52" fmla="*/ 108342 h 181237"/>
                <a:gd name="connsiteX53" fmla="*/ 17806 w 186698"/>
                <a:gd name="connsiteY53" fmla="*/ 142813 h 181237"/>
                <a:gd name="connsiteX54" fmla="*/ 43483 w 186698"/>
                <a:gd name="connsiteY54" fmla="*/ 166866 h 181237"/>
                <a:gd name="connsiteX55" fmla="*/ 73572 w 186698"/>
                <a:gd name="connsiteY55" fmla="*/ 178755 h 181237"/>
                <a:gd name="connsiteX56" fmla="*/ 81110 w 186698"/>
                <a:gd name="connsiteY56" fmla="*/ 179919 h 181237"/>
                <a:gd name="connsiteX57" fmla="*/ 88525 w 186698"/>
                <a:gd name="connsiteY57" fmla="*/ 180348 h 181237"/>
                <a:gd name="connsiteX58" fmla="*/ 102681 w 186698"/>
                <a:gd name="connsiteY58" fmla="*/ 179674 h 181237"/>
                <a:gd name="connsiteX59" fmla="*/ 127255 w 186698"/>
                <a:gd name="connsiteY59" fmla="*/ 172780 h 181237"/>
                <a:gd name="connsiteX60" fmla="*/ 145762 w 186698"/>
                <a:gd name="connsiteY60" fmla="*/ 161780 h 181237"/>
                <a:gd name="connsiteX61" fmla="*/ 147447 w 186698"/>
                <a:gd name="connsiteY61" fmla="*/ 160493 h 181237"/>
                <a:gd name="connsiteX62" fmla="*/ 146160 w 186698"/>
                <a:gd name="connsiteY62" fmla="*/ 162178 h 181237"/>
                <a:gd name="connsiteX63" fmla="*/ 146130 w 186698"/>
                <a:gd name="connsiteY63" fmla="*/ 162209 h 181237"/>
                <a:gd name="connsiteX64" fmla="*/ 145976 w 186698"/>
                <a:gd name="connsiteY64" fmla="*/ 161780 h 181237"/>
                <a:gd name="connsiteX65" fmla="*/ 186698 w 186698"/>
                <a:gd name="connsiteY65" fmla="*/ 171585 h 181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86698" h="181237">
                  <a:moveTo>
                    <a:pt x="186698" y="171585"/>
                  </a:moveTo>
                  <a:cubicBezTo>
                    <a:pt x="184768" y="171156"/>
                    <a:pt x="171837" y="168184"/>
                    <a:pt x="145823" y="162240"/>
                  </a:cubicBezTo>
                  <a:lnTo>
                    <a:pt x="145394" y="162148"/>
                  </a:lnTo>
                  <a:lnTo>
                    <a:pt x="145670" y="161811"/>
                  </a:lnTo>
                  <a:lnTo>
                    <a:pt x="145701" y="161780"/>
                  </a:lnTo>
                  <a:lnTo>
                    <a:pt x="146099" y="162178"/>
                  </a:lnTo>
                  <a:cubicBezTo>
                    <a:pt x="140951" y="166162"/>
                    <a:pt x="134792" y="170084"/>
                    <a:pt x="127531" y="173362"/>
                  </a:cubicBezTo>
                  <a:cubicBezTo>
                    <a:pt x="120269" y="176580"/>
                    <a:pt x="111965" y="179215"/>
                    <a:pt x="102773" y="180440"/>
                  </a:cubicBezTo>
                  <a:cubicBezTo>
                    <a:pt x="98177" y="181022"/>
                    <a:pt x="93397" y="181390"/>
                    <a:pt x="88494" y="181176"/>
                  </a:cubicBezTo>
                  <a:cubicBezTo>
                    <a:pt x="86043" y="181022"/>
                    <a:pt x="83530" y="180992"/>
                    <a:pt x="81018" y="180777"/>
                  </a:cubicBezTo>
                  <a:cubicBezTo>
                    <a:pt x="78505" y="180410"/>
                    <a:pt x="75962" y="180011"/>
                    <a:pt x="73388" y="179613"/>
                  </a:cubicBezTo>
                  <a:cubicBezTo>
                    <a:pt x="63154" y="177591"/>
                    <a:pt x="52706" y="173730"/>
                    <a:pt x="42962" y="167663"/>
                  </a:cubicBezTo>
                  <a:cubicBezTo>
                    <a:pt x="33218" y="161627"/>
                    <a:pt x="24210" y="153446"/>
                    <a:pt x="16978" y="143396"/>
                  </a:cubicBezTo>
                  <a:cubicBezTo>
                    <a:pt x="9747" y="133345"/>
                    <a:pt x="4293" y="121457"/>
                    <a:pt x="1719" y="108526"/>
                  </a:cubicBezTo>
                  <a:cubicBezTo>
                    <a:pt x="-824" y="95626"/>
                    <a:pt x="-610" y="81777"/>
                    <a:pt x="2792" y="68387"/>
                  </a:cubicBezTo>
                  <a:cubicBezTo>
                    <a:pt x="6193" y="55027"/>
                    <a:pt x="12597" y="42005"/>
                    <a:pt x="22126" y="31281"/>
                  </a:cubicBezTo>
                  <a:lnTo>
                    <a:pt x="25803" y="27236"/>
                  </a:lnTo>
                  <a:cubicBezTo>
                    <a:pt x="27028" y="25857"/>
                    <a:pt x="28469" y="24754"/>
                    <a:pt x="29786" y="23498"/>
                  </a:cubicBezTo>
                  <a:cubicBezTo>
                    <a:pt x="31165" y="22303"/>
                    <a:pt x="32391" y="20985"/>
                    <a:pt x="33892" y="19944"/>
                  </a:cubicBezTo>
                  <a:lnTo>
                    <a:pt x="38212" y="16696"/>
                  </a:lnTo>
                  <a:cubicBezTo>
                    <a:pt x="39622" y="15562"/>
                    <a:pt x="41154" y="14643"/>
                    <a:pt x="42686" y="13724"/>
                  </a:cubicBezTo>
                  <a:cubicBezTo>
                    <a:pt x="44218" y="12804"/>
                    <a:pt x="45750" y="11854"/>
                    <a:pt x="47251" y="10935"/>
                  </a:cubicBezTo>
                  <a:cubicBezTo>
                    <a:pt x="48845" y="10169"/>
                    <a:pt x="50438" y="9372"/>
                    <a:pt x="52031" y="8606"/>
                  </a:cubicBezTo>
                  <a:cubicBezTo>
                    <a:pt x="53655" y="7871"/>
                    <a:pt x="55187" y="6983"/>
                    <a:pt x="56873" y="6462"/>
                  </a:cubicBezTo>
                  <a:cubicBezTo>
                    <a:pt x="69987" y="1253"/>
                    <a:pt x="83959" y="-739"/>
                    <a:pt x="97319" y="241"/>
                  </a:cubicBezTo>
                  <a:cubicBezTo>
                    <a:pt x="110678" y="1191"/>
                    <a:pt x="123486" y="5052"/>
                    <a:pt x="134455" y="11211"/>
                  </a:cubicBezTo>
                  <a:cubicBezTo>
                    <a:pt x="145456" y="17339"/>
                    <a:pt x="154740" y="25520"/>
                    <a:pt x="161910" y="34651"/>
                  </a:cubicBezTo>
                  <a:cubicBezTo>
                    <a:pt x="169110" y="43782"/>
                    <a:pt x="174166" y="53894"/>
                    <a:pt x="177291" y="63913"/>
                  </a:cubicBezTo>
                  <a:cubicBezTo>
                    <a:pt x="180417" y="73994"/>
                    <a:pt x="181244" y="84014"/>
                    <a:pt x="181213" y="93267"/>
                  </a:cubicBezTo>
                  <a:cubicBezTo>
                    <a:pt x="180938" y="102551"/>
                    <a:pt x="179252" y="111100"/>
                    <a:pt x="176801" y="118607"/>
                  </a:cubicBezTo>
                  <a:cubicBezTo>
                    <a:pt x="174319" y="126114"/>
                    <a:pt x="171102" y="132579"/>
                    <a:pt x="167762" y="138033"/>
                  </a:cubicBezTo>
                  <a:lnTo>
                    <a:pt x="167762" y="137758"/>
                  </a:lnTo>
                  <a:cubicBezTo>
                    <a:pt x="179865" y="159359"/>
                    <a:pt x="185779" y="169930"/>
                    <a:pt x="186698" y="171585"/>
                  </a:cubicBezTo>
                  <a:cubicBezTo>
                    <a:pt x="185748" y="169930"/>
                    <a:pt x="179712" y="159451"/>
                    <a:pt x="167333" y="137972"/>
                  </a:cubicBezTo>
                  <a:lnTo>
                    <a:pt x="167241" y="137850"/>
                  </a:lnTo>
                  <a:lnTo>
                    <a:pt x="167333" y="137727"/>
                  </a:lnTo>
                  <a:cubicBezTo>
                    <a:pt x="170612" y="132304"/>
                    <a:pt x="173798" y="125869"/>
                    <a:pt x="176219" y="118393"/>
                  </a:cubicBezTo>
                  <a:cubicBezTo>
                    <a:pt x="178640" y="110916"/>
                    <a:pt x="180264" y="102429"/>
                    <a:pt x="180509" y="93236"/>
                  </a:cubicBezTo>
                  <a:cubicBezTo>
                    <a:pt x="180509" y="84044"/>
                    <a:pt x="179651" y="74147"/>
                    <a:pt x="176525" y="64158"/>
                  </a:cubicBezTo>
                  <a:cubicBezTo>
                    <a:pt x="173400" y="54231"/>
                    <a:pt x="168344" y="44242"/>
                    <a:pt x="161236" y="35233"/>
                  </a:cubicBezTo>
                  <a:cubicBezTo>
                    <a:pt x="154127" y="26194"/>
                    <a:pt x="144935" y="18136"/>
                    <a:pt x="134026" y="12100"/>
                  </a:cubicBezTo>
                  <a:cubicBezTo>
                    <a:pt x="123180" y="6002"/>
                    <a:pt x="110525" y="2233"/>
                    <a:pt x="97319" y="1314"/>
                  </a:cubicBezTo>
                  <a:cubicBezTo>
                    <a:pt x="84112" y="364"/>
                    <a:pt x="70293" y="2325"/>
                    <a:pt x="57363" y="7473"/>
                  </a:cubicBezTo>
                  <a:cubicBezTo>
                    <a:pt x="55708" y="7994"/>
                    <a:pt x="54176" y="8882"/>
                    <a:pt x="52583" y="9587"/>
                  </a:cubicBezTo>
                  <a:cubicBezTo>
                    <a:pt x="51020" y="10353"/>
                    <a:pt x="49427" y="11119"/>
                    <a:pt x="47834" y="11885"/>
                  </a:cubicBezTo>
                  <a:cubicBezTo>
                    <a:pt x="46332" y="12804"/>
                    <a:pt x="44831" y="13724"/>
                    <a:pt x="43299" y="14643"/>
                  </a:cubicBezTo>
                  <a:cubicBezTo>
                    <a:pt x="41767" y="15562"/>
                    <a:pt x="40265" y="16451"/>
                    <a:pt x="38856" y="17584"/>
                  </a:cubicBezTo>
                  <a:lnTo>
                    <a:pt x="34566" y="20771"/>
                  </a:lnTo>
                  <a:cubicBezTo>
                    <a:pt x="33095" y="21813"/>
                    <a:pt x="31870" y="23130"/>
                    <a:pt x="30522" y="24295"/>
                  </a:cubicBezTo>
                  <a:cubicBezTo>
                    <a:pt x="29235" y="25520"/>
                    <a:pt x="27795" y="26654"/>
                    <a:pt x="26600" y="28002"/>
                  </a:cubicBezTo>
                  <a:lnTo>
                    <a:pt x="22953" y="32016"/>
                  </a:lnTo>
                  <a:cubicBezTo>
                    <a:pt x="13516" y="42618"/>
                    <a:pt x="7204" y="55487"/>
                    <a:pt x="3833" y="68663"/>
                  </a:cubicBezTo>
                  <a:cubicBezTo>
                    <a:pt x="463" y="81899"/>
                    <a:pt x="248" y="95565"/>
                    <a:pt x="2761" y="108342"/>
                  </a:cubicBezTo>
                  <a:cubicBezTo>
                    <a:pt x="5273" y="121120"/>
                    <a:pt x="10666" y="132886"/>
                    <a:pt x="17806" y="142813"/>
                  </a:cubicBezTo>
                  <a:cubicBezTo>
                    <a:pt x="24945" y="152772"/>
                    <a:pt x="33831" y="160891"/>
                    <a:pt x="43483" y="166866"/>
                  </a:cubicBezTo>
                  <a:cubicBezTo>
                    <a:pt x="53104" y="172872"/>
                    <a:pt x="63430" y="176733"/>
                    <a:pt x="73572" y="178755"/>
                  </a:cubicBezTo>
                  <a:cubicBezTo>
                    <a:pt x="76115" y="179153"/>
                    <a:pt x="78628" y="179521"/>
                    <a:pt x="81110" y="179919"/>
                  </a:cubicBezTo>
                  <a:cubicBezTo>
                    <a:pt x="83622" y="180134"/>
                    <a:pt x="86104" y="180195"/>
                    <a:pt x="88525" y="180348"/>
                  </a:cubicBezTo>
                  <a:cubicBezTo>
                    <a:pt x="93397" y="180594"/>
                    <a:pt x="98146" y="180256"/>
                    <a:pt x="102681" y="179674"/>
                  </a:cubicBezTo>
                  <a:cubicBezTo>
                    <a:pt x="111781" y="178510"/>
                    <a:pt x="120054" y="175936"/>
                    <a:pt x="127255" y="172780"/>
                  </a:cubicBezTo>
                  <a:cubicBezTo>
                    <a:pt x="134455" y="169563"/>
                    <a:pt x="140614" y="165702"/>
                    <a:pt x="145762" y="161780"/>
                  </a:cubicBezTo>
                  <a:lnTo>
                    <a:pt x="147447" y="160493"/>
                  </a:lnTo>
                  <a:lnTo>
                    <a:pt x="146160" y="162178"/>
                  </a:lnTo>
                  <a:lnTo>
                    <a:pt x="146130" y="162209"/>
                  </a:lnTo>
                  <a:lnTo>
                    <a:pt x="145976" y="161780"/>
                  </a:lnTo>
                  <a:cubicBezTo>
                    <a:pt x="171899" y="168000"/>
                    <a:pt x="184768" y="171126"/>
                    <a:pt x="186698" y="171585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2A0601FE-C73F-4546-8298-A1ACDC02A8C2}"/>
                </a:ext>
              </a:extLst>
            </p:cNvPr>
            <p:cNvSpPr/>
            <p:nvPr/>
          </p:nvSpPr>
          <p:spPr>
            <a:xfrm>
              <a:off x="5566709" y="3924213"/>
              <a:ext cx="18323" cy="18323"/>
            </a:xfrm>
            <a:custGeom>
              <a:avLst/>
              <a:gdLst>
                <a:gd name="connsiteX0" fmla="*/ 18323 w 18323"/>
                <a:gd name="connsiteY0" fmla="*/ 9162 h 18323"/>
                <a:gd name="connsiteX1" fmla="*/ 9162 w 18323"/>
                <a:gd name="connsiteY1" fmla="*/ 18323 h 18323"/>
                <a:gd name="connsiteX2" fmla="*/ 0 w 18323"/>
                <a:gd name="connsiteY2" fmla="*/ 9162 h 18323"/>
                <a:gd name="connsiteX3" fmla="*/ 9162 w 18323"/>
                <a:gd name="connsiteY3" fmla="*/ 0 h 18323"/>
                <a:gd name="connsiteX4" fmla="*/ 18323 w 18323"/>
                <a:gd name="connsiteY4" fmla="*/ 9162 h 1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23" h="18323">
                  <a:moveTo>
                    <a:pt x="18323" y="9162"/>
                  </a:moveTo>
                  <a:cubicBezTo>
                    <a:pt x="18323" y="14217"/>
                    <a:pt x="14217" y="18323"/>
                    <a:pt x="9162" y="18323"/>
                  </a:cubicBezTo>
                  <a:cubicBezTo>
                    <a:pt x="4106" y="18323"/>
                    <a:pt x="0" y="14217"/>
                    <a:pt x="0" y="9162"/>
                  </a:cubicBezTo>
                  <a:cubicBezTo>
                    <a:pt x="0" y="4106"/>
                    <a:pt x="4106" y="0"/>
                    <a:pt x="9162" y="0"/>
                  </a:cubicBezTo>
                  <a:cubicBezTo>
                    <a:pt x="14217" y="0"/>
                    <a:pt x="18323" y="4106"/>
                    <a:pt x="18323" y="916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30C46075-D3A1-4F6B-B1BB-1451E6BC9529}"/>
                </a:ext>
              </a:extLst>
            </p:cNvPr>
            <p:cNvSpPr/>
            <p:nvPr/>
          </p:nvSpPr>
          <p:spPr>
            <a:xfrm>
              <a:off x="5603386" y="3924213"/>
              <a:ext cx="18323" cy="18323"/>
            </a:xfrm>
            <a:custGeom>
              <a:avLst/>
              <a:gdLst>
                <a:gd name="connsiteX0" fmla="*/ 18323 w 18323"/>
                <a:gd name="connsiteY0" fmla="*/ 9162 h 18323"/>
                <a:gd name="connsiteX1" fmla="*/ 9162 w 18323"/>
                <a:gd name="connsiteY1" fmla="*/ 18323 h 18323"/>
                <a:gd name="connsiteX2" fmla="*/ 0 w 18323"/>
                <a:gd name="connsiteY2" fmla="*/ 9162 h 18323"/>
                <a:gd name="connsiteX3" fmla="*/ 9162 w 18323"/>
                <a:gd name="connsiteY3" fmla="*/ 0 h 18323"/>
                <a:gd name="connsiteX4" fmla="*/ 18323 w 18323"/>
                <a:gd name="connsiteY4" fmla="*/ 9162 h 18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23" h="18323">
                  <a:moveTo>
                    <a:pt x="18323" y="9162"/>
                  </a:moveTo>
                  <a:cubicBezTo>
                    <a:pt x="18323" y="14217"/>
                    <a:pt x="14217" y="18323"/>
                    <a:pt x="9162" y="18323"/>
                  </a:cubicBezTo>
                  <a:cubicBezTo>
                    <a:pt x="4106" y="18323"/>
                    <a:pt x="0" y="14217"/>
                    <a:pt x="0" y="9162"/>
                  </a:cubicBezTo>
                  <a:cubicBezTo>
                    <a:pt x="0" y="4106"/>
                    <a:pt x="4106" y="0"/>
                    <a:pt x="9162" y="0"/>
                  </a:cubicBezTo>
                  <a:cubicBezTo>
                    <a:pt x="14217" y="0"/>
                    <a:pt x="18323" y="4106"/>
                    <a:pt x="18323" y="916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1A1006DC-E312-4BF8-8B82-C8192976B3A0}"/>
                </a:ext>
              </a:extLst>
            </p:cNvPr>
            <p:cNvSpPr/>
            <p:nvPr/>
          </p:nvSpPr>
          <p:spPr>
            <a:xfrm>
              <a:off x="5641154" y="3924231"/>
              <a:ext cx="18377" cy="18348"/>
            </a:xfrm>
            <a:custGeom>
              <a:avLst/>
              <a:gdLst>
                <a:gd name="connsiteX0" fmla="*/ 17141 w 18377"/>
                <a:gd name="connsiteY0" fmla="*/ 4578 h 18348"/>
                <a:gd name="connsiteX1" fmla="*/ 13770 w 18377"/>
                <a:gd name="connsiteY1" fmla="*/ 17110 h 18348"/>
                <a:gd name="connsiteX2" fmla="*/ 1238 w 18377"/>
                <a:gd name="connsiteY2" fmla="*/ 13770 h 18348"/>
                <a:gd name="connsiteX3" fmla="*/ 4578 w 18377"/>
                <a:gd name="connsiteY3" fmla="*/ 1238 h 18348"/>
                <a:gd name="connsiteX4" fmla="*/ 17141 w 18377"/>
                <a:gd name="connsiteY4" fmla="*/ 4578 h 1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77" h="18348">
                  <a:moveTo>
                    <a:pt x="17141" y="4578"/>
                  </a:moveTo>
                  <a:cubicBezTo>
                    <a:pt x="19684" y="8960"/>
                    <a:pt x="18183" y="14567"/>
                    <a:pt x="13770" y="17110"/>
                  </a:cubicBezTo>
                  <a:cubicBezTo>
                    <a:pt x="9389" y="19653"/>
                    <a:pt x="3781" y="18152"/>
                    <a:pt x="1238" y="13770"/>
                  </a:cubicBezTo>
                  <a:cubicBezTo>
                    <a:pt x="-1305" y="9389"/>
                    <a:pt x="196" y="3781"/>
                    <a:pt x="4578" y="1238"/>
                  </a:cubicBezTo>
                  <a:cubicBezTo>
                    <a:pt x="9021" y="-1305"/>
                    <a:pt x="14628" y="196"/>
                    <a:pt x="17141" y="4578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9F22730-F28E-40E1-B2A0-22DA4E4C8542}"/>
                </a:ext>
              </a:extLst>
            </p:cNvPr>
            <p:cNvSpPr/>
            <p:nvPr/>
          </p:nvSpPr>
          <p:spPr>
            <a:xfrm>
              <a:off x="5603386" y="3422408"/>
              <a:ext cx="33476" cy="89286"/>
            </a:xfrm>
            <a:custGeom>
              <a:avLst/>
              <a:gdLst>
                <a:gd name="connsiteX0" fmla="*/ 0 w 33476"/>
                <a:gd name="connsiteY0" fmla="*/ 0 h 89286"/>
                <a:gd name="connsiteX1" fmla="*/ 26412 w 33476"/>
                <a:gd name="connsiteY1" fmla="*/ 22950 h 89286"/>
                <a:gd name="connsiteX2" fmla="*/ 31101 w 33476"/>
                <a:gd name="connsiteY2" fmla="*/ 59566 h 89286"/>
                <a:gd name="connsiteX3" fmla="*/ 23685 w 33476"/>
                <a:gd name="connsiteY3" fmla="*/ 89226 h 89286"/>
                <a:gd name="connsiteX4" fmla="*/ 0 w 33476"/>
                <a:gd name="connsiteY4" fmla="*/ 0 h 89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76" h="89286">
                  <a:moveTo>
                    <a:pt x="0" y="0"/>
                  </a:moveTo>
                  <a:cubicBezTo>
                    <a:pt x="0" y="0"/>
                    <a:pt x="16424" y="5240"/>
                    <a:pt x="26412" y="22950"/>
                  </a:cubicBezTo>
                  <a:cubicBezTo>
                    <a:pt x="36340" y="40507"/>
                    <a:pt x="33674" y="49209"/>
                    <a:pt x="31101" y="59566"/>
                  </a:cubicBezTo>
                  <a:cubicBezTo>
                    <a:pt x="28496" y="69953"/>
                    <a:pt x="23931" y="90544"/>
                    <a:pt x="23685" y="89226"/>
                  </a:cubicBezTo>
                  <a:cubicBezTo>
                    <a:pt x="23440" y="8790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FC4B2944-57E6-4FA6-A2E8-F11AC256D0C8}"/>
                </a:ext>
              </a:extLst>
            </p:cNvPr>
            <p:cNvSpPr/>
            <p:nvPr/>
          </p:nvSpPr>
          <p:spPr>
            <a:xfrm>
              <a:off x="5184434" y="2978821"/>
              <a:ext cx="3064" cy="3064"/>
            </a:xfrm>
            <a:custGeom>
              <a:avLst/>
              <a:gdLst/>
              <a:ahLst/>
              <a:cxnLst/>
              <a:rect l="l" t="t" r="r" b="b"/>
              <a:pathLst>
                <a:path w="3064" h="3064"/>
              </a:pathLst>
            </a:custGeom>
            <a:noFill/>
            <a:ln w="3058" cap="flat">
              <a:solidFill>
                <a:srgbClr val="4E585D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D4F316D-C313-44C2-A9A9-1B0FBFFC16AA}"/>
                </a:ext>
              </a:extLst>
            </p:cNvPr>
            <p:cNvSpPr/>
            <p:nvPr/>
          </p:nvSpPr>
          <p:spPr>
            <a:xfrm>
              <a:off x="5185230" y="3208320"/>
              <a:ext cx="713595" cy="529964"/>
            </a:xfrm>
            <a:custGeom>
              <a:avLst/>
              <a:gdLst>
                <a:gd name="connsiteX0" fmla="*/ 0 w 713595"/>
                <a:gd name="connsiteY0" fmla="*/ 0 h 529964"/>
                <a:gd name="connsiteX1" fmla="*/ 713596 w 713595"/>
                <a:gd name="connsiteY1" fmla="*/ 0 h 529964"/>
                <a:gd name="connsiteX2" fmla="*/ 713596 w 713595"/>
                <a:gd name="connsiteY2" fmla="*/ 529964 h 529964"/>
                <a:gd name="connsiteX3" fmla="*/ 0 w 713595"/>
                <a:gd name="connsiteY3" fmla="*/ 529964 h 52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3595" h="529964">
                  <a:moveTo>
                    <a:pt x="0" y="0"/>
                  </a:moveTo>
                  <a:lnTo>
                    <a:pt x="713596" y="0"/>
                  </a:lnTo>
                  <a:lnTo>
                    <a:pt x="713596" y="529964"/>
                  </a:lnTo>
                  <a:lnTo>
                    <a:pt x="0" y="529964"/>
                  </a:ln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DB7024D-B5E5-483B-AF05-3431389D57EC}"/>
                </a:ext>
              </a:extLst>
            </p:cNvPr>
            <p:cNvSpPr/>
            <p:nvPr/>
          </p:nvSpPr>
          <p:spPr>
            <a:xfrm>
              <a:off x="5184434" y="3207524"/>
              <a:ext cx="715035" cy="531496"/>
            </a:xfrm>
            <a:custGeom>
              <a:avLst/>
              <a:gdLst>
                <a:gd name="connsiteX0" fmla="*/ 714392 w 715035"/>
                <a:gd name="connsiteY0" fmla="*/ 530761 h 531496"/>
                <a:gd name="connsiteX1" fmla="*/ 713749 w 715035"/>
                <a:gd name="connsiteY1" fmla="*/ 797 h 531496"/>
                <a:gd name="connsiteX2" fmla="*/ 714392 w 715035"/>
                <a:gd name="connsiteY2" fmla="*/ 1440 h 531496"/>
                <a:gd name="connsiteX3" fmla="*/ 858 w 715035"/>
                <a:gd name="connsiteY3" fmla="*/ 1593 h 531496"/>
                <a:gd name="connsiteX4" fmla="*/ 797 w 715035"/>
                <a:gd name="connsiteY4" fmla="*/ 1593 h 531496"/>
                <a:gd name="connsiteX5" fmla="*/ 1593 w 715035"/>
                <a:gd name="connsiteY5" fmla="*/ 797 h 531496"/>
                <a:gd name="connsiteX6" fmla="*/ 1501 w 715035"/>
                <a:gd name="connsiteY6" fmla="*/ 530761 h 531496"/>
                <a:gd name="connsiteX7" fmla="*/ 766 w 715035"/>
                <a:gd name="connsiteY7" fmla="*/ 530025 h 531496"/>
                <a:gd name="connsiteX8" fmla="*/ 714392 w 715035"/>
                <a:gd name="connsiteY8" fmla="*/ 530761 h 531496"/>
                <a:gd name="connsiteX9" fmla="*/ 797 w 715035"/>
                <a:gd name="connsiteY9" fmla="*/ 531496 h 531496"/>
                <a:gd name="connsiteX10" fmla="*/ 61 w 715035"/>
                <a:gd name="connsiteY10" fmla="*/ 531496 h 531496"/>
                <a:gd name="connsiteX11" fmla="*/ 61 w 715035"/>
                <a:gd name="connsiteY11" fmla="*/ 530761 h 531496"/>
                <a:gd name="connsiteX12" fmla="*/ 0 w 715035"/>
                <a:gd name="connsiteY12" fmla="*/ 797 h 531496"/>
                <a:gd name="connsiteX13" fmla="*/ 0 w 715035"/>
                <a:gd name="connsiteY13" fmla="*/ 0 h 531496"/>
                <a:gd name="connsiteX14" fmla="*/ 797 w 715035"/>
                <a:gd name="connsiteY14" fmla="*/ 0 h 531496"/>
                <a:gd name="connsiteX15" fmla="*/ 858 w 715035"/>
                <a:gd name="connsiteY15" fmla="*/ 0 h 531496"/>
                <a:gd name="connsiteX16" fmla="*/ 714392 w 715035"/>
                <a:gd name="connsiteY16" fmla="*/ 153 h 531496"/>
                <a:gd name="connsiteX17" fmla="*/ 715036 w 715035"/>
                <a:gd name="connsiteY17" fmla="*/ 153 h 531496"/>
                <a:gd name="connsiteX18" fmla="*/ 715036 w 715035"/>
                <a:gd name="connsiteY18" fmla="*/ 797 h 531496"/>
                <a:gd name="connsiteX19" fmla="*/ 714392 w 715035"/>
                <a:gd name="connsiteY19" fmla="*/ 530761 h 53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15035" h="531496">
                  <a:moveTo>
                    <a:pt x="714392" y="530761"/>
                  </a:moveTo>
                  <a:cubicBezTo>
                    <a:pt x="714392" y="525368"/>
                    <a:pt x="714147" y="321606"/>
                    <a:pt x="713749" y="797"/>
                  </a:cubicBezTo>
                  <a:lnTo>
                    <a:pt x="714392" y="1440"/>
                  </a:lnTo>
                  <a:cubicBezTo>
                    <a:pt x="513449" y="1471"/>
                    <a:pt x="266913" y="1532"/>
                    <a:pt x="858" y="1593"/>
                  </a:cubicBezTo>
                  <a:lnTo>
                    <a:pt x="797" y="1593"/>
                  </a:lnTo>
                  <a:lnTo>
                    <a:pt x="1593" y="797"/>
                  </a:lnTo>
                  <a:cubicBezTo>
                    <a:pt x="1563" y="191168"/>
                    <a:pt x="1532" y="371551"/>
                    <a:pt x="1501" y="530761"/>
                  </a:cubicBezTo>
                  <a:lnTo>
                    <a:pt x="766" y="530025"/>
                  </a:lnTo>
                  <a:cubicBezTo>
                    <a:pt x="423304" y="530485"/>
                    <a:pt x="708019" y="530761"/>
                    <a:pt x="714392" y="530761"/>
                  </a:cubicBezTo>
                  <a:cubicBezTo>
                    <a:pt x="708019" y="530761"/>
                    <a:pt x="423335" y="531067"/>
                    <a:pt x="797" y="531496"/>
                  </a:cubicBezTo>
                  <a:lnTo>
                    <a:pt x="61" y="531496"/>
                  </a:lnTo>
                  <a:lnTo>
                    <a:pt x="61" y="530761"/>
                  </a:lnTo>
                  <a:cubicBezTo>
                    <a:pt x="61" y="371551"/>
                    <a:pt x="31" y="191168"/>
                    <a:pt x="0" y="797"/>
                  </a:cubicBezTo>
                  <a:lnTo>
                    <a:pt x="0" y="0"/>
                  </a:lnTo>
                  <a:lnTo>
                    <a:pt x="797" y="0"/>
                  </a:lnTo>
                  <a:lnTo>
                    <a:pt x="858" y="0"/>
                  </a:lnTo>
                  <a:cubicBezTo>
                    <a:pt x="266913" y="61"/>
                    <a:pt x="513449" y="92"/>
                    <a:pt x="714392" y="153"/>
                  </a:cubicBezTo>
                  <a:lnTo>
                    <a:pt x="715036" y="153"/>
                  </a:lnTo>
                  <a:lnTo>
                    <a:pt x="715036" y="797"/>
                  </a:lnTo>
                  <a:cubicBezTo>
                    <a:pt x="714638" y="321606"/>
                    <a:pt x="714392" y="525368"/>
                    <a:pt x="714392" y="53076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77F2E1A9-13A6-46A0-95E0-94B7CEC8A194}"/>
                </a:ext>
              </a:extLst>
            </p:cNvPr>
            <p:cNvSpPr/>
            <p:nvPr/>
          </p:nvSpPr>
          <p:spPr>
            <a:xfrm>
              <a:off x="5191052" y="3281613"/>
              <a:ext cx="706548" cy="1593"/>
            </a:xfrm>
            <a:custGeom>
              <a:avLst/>
              <a:gdLst>
                <a:gd name="connsiteX0" fmla="*/ 706548 w 706548"/>
                <a:gd name="connsiteY0" fmla="*/ 797 h 1593"/>
                <a:gd name="connsiteX1" fmla="*/ 353289 w 706548"/>
                <a:gd name="connsiteY1" fmla="*/ 1593 h 1593"/>
                <a:gd name="connsiteX2" fmla="*/ 0 w 706548"/>
                <a:gd name="connsiteY2" fmla="*/ 797 h 1593"/>
                <a:gd name="connsiteX3" fmla="*/ 353289 w 706548"/>
                <a:gd name="connsiteY3" fmla="*/ 0 h 1593"/>
                <a:gd name="connsiteX4" fmla="*/ 706548 w 706548"/>
                <a:gd name="connsiteY4" fmla="*/ 797 h 1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6548" h="1593">
                  <a:moveTo>
                    <a:pt x="706548" y="797"/>
                  </a:moveTo>
                  <a:cubicBezTo>
                    <a:pt x="706548" y="1226"/>
                    <a:pt x="548380" y="1593"/>
                    <a:pt x="353289" y="1593"/>
                  </a:cubicBezTo>
                  <a:cubicBezTo>
                    <a:pt x="158138" y="1593"/>
                    <a:pt x="0" y="1226"/>
                    <a:pt x="0" y="797"/>
                  </a:cubicBezTo>
                  <a:cubicBezTo>
                    <a:pt x="0" y="368"/>
                    <a:pt x="158138" y="0"/>
                    <a:pt x="353289" y="0"/>
                  </a:cubicBezTo>
                  <a:cubicBezTo>
                    <a:pt x="548380" y="0"/>
                    <a:pt x="706548" y="337"/>
                    <a:pt x="706548" y="797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2DC217A-9B0F-415F-8850-ED6314AFC402}"/>
                </a:ext>
              </a:extLst>
            </p:cNvPr>
            <p:cNvSpPr/>
            <p:nvPr/>
          </p:nvSpPr>
          <p:spPr>
            <a:xfrm>
              <a:off x="5210877" y="3233231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688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32" y="0"/>
                    <a:pt x="21020" y="4688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26279A41-0203-4935-8DA0-68250E66A175}"/>
                </a:ext>
              </a:extLst>
            </p:cNvPr>
            <p:cNvSpPr/>
            <p:nvPr/>
          </p:nvSpPr>
          <p:spPr>
            <a:xfrm>
              <a:off x="5242529" y="3233231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01" y="0"/>
                    <a:pt x="21020" y="4688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24BC2541-847A-49FD-B065-9BA0BCA947E6}"/>
                </a:ext>
              </a:extLst>
            </p:cNvPr>
            <p:cNvSpPr/>
            <p:nvPr/>
          </p:nvSpPr>
          <p:spPr>
            <a:xfrm>
              <a:off x="5274150" y="3233231"/>
              <a:ext cx="21019" cy="21019"/>
            </a:xfrm>
            <a:custGeom>
              <a:avLst/>
              <a:gdLst>
                <a:gd name="connsiteX0" fmla="*/ 21020 w 21019"/>
                <a:gd name="connsiteY0" fmla="*/ 10510 h 21019"/>
                <a:gd name="connsiteX1" fmla="*/ 10510 w 21019"/>
                <a:gd name="connsiteY1" fmla="*/ 21020 h 21019"/>
                <a:gd name="connsiteX2" fmla="*/ 0 w 21019"/>
                <a:gd name="connsiteY2" fmla="*/ 10510 h 21019"/>
                <a:gd name="connsiteX3" fmla="*/ 10510 w 21019"/>
                <a:gd name="connsiteY3" fmla="*/ 0 h 21019"/>
                <a:gd name="connsiteX4" fmla="*/ 21020 w 21019"/>
                <a:gd name="connsiteY4" fmla="*/ 10510 h 2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9" h="21019">
                  <a:moveTo>
                    <a:pt x="21020" y="10510"/>
                  </a:moveTo>
                  <a:cubicBezTo>
                    <a:pt x="21020" y="16301"/>
                    <a:pt x="16332" y="21020"/>
                    <a:pt x="10510" y="21020"/>
                  </a:cubicBezTo>
                  <a:cubicBezTo>
                    <a:pt x="4719" y="21020"/>
                    <a:pt x="0" y="16332"/>
                    <a:pt x="0" y="10510"/>
                  </a:cubicBezTo>
                  <a:cubicBezTo>
                    <a:pt x="0" y="4719"/>
                    <a:pt x="4688" y="0"/>
                    <a:pt x="10510" y="0"/>
                  </a:cubicBezTo>
                  <a:cubicBezTo>
                    <a:pt x="16332" y="0"/>
                    <a:pt x="21020" y="4688"/>
                    <a:pt x="21020" y="1051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2FDBA38A-B56D-4E74-A184-1853D4FB1E28}"/>
                </a:ext>
              </a:extLst>
            </p:cNvPr>
            <p:cNvSpPr/>
            <p:nvPr/>
          </p:nvSpPr>
          <p:spPr>
            <a:xfrm>
              <a:off x="5421104" y="3152680"/>
              <a:ext cx="161017" cy="101462"/>
            </a:xfrm>
            <a:custGeom>
              <a:avLst/>
              <a:gdLst>
                <a:gd name="connsiteX0" fmla="*/ 159026 w 161017"/>
                <a:gd name="connsiteY0" fmla="*/ 43813 h 101462"/>
                <a:gd name="connsiteX1" fmla="*/ 144227 w 161017"/>
                <a:gd name="connsiteY1" fmla="*/ 22211 h 101462"/>
                <a:gd name="connsiteX2" fmla="*/ 132644 w 161017"/>
                <a:gd name="connsiteY2" fmla="*/ 16879 h 101462"/>
                <a:gd name="connsiteX3" fmla="*/ 120204 w 161017"/>
                <a:gd name="connsiteY3" fmla="*/ 7840 h 101462"/>
                <a:gd name="connsiteX4" fmla="*/ 84109 w 161017"/>
                <a:gd name="connsiteY4" fmla="*/ 1314 h 101462"/>
                <a:gd name="connsiteX5" fmla="*/ 55460 w 161017"/>
                <a:gd name="connsiteY5" fmla="*/ 24233 h 101462"/>
                <a:gd name="connsiteX6" fmla="*/ 21387 w 161017"/>
                <a:gd name="connsiteY6" fmla="*/ 24111 h 101462"/>
                <a:gd name="connsiteX7" fmla="*/ 0 w 161017"/>
                <a:gd name="connsiteY7" fmla="*/ 50737 h 101462"/>
                <a:gd name="connsiteX8" fmla="*/ 48290 w 161017"/>
                <a:gd name="connsiteY8" fmla="*/ 65353 h 101462"/>
                <a:gd name="connsiteX9" fmla="*/ 81290 w 161017"/>
                <a:gd name="connsiteY9" fmla="*/ 92501 h 101462"/>
                <a:gd name="connsiteX10" fmla="*/ 122655 w 161017"/>
                <a:gd name="connsiteY10" fmla="*/ 100866 h 101462"/>
                <a:gd name="connsiteX11" fmla="*/ 156698 w 161017"/>
                <a:gd name="connsiteY11" fmla="*/ 77456 h 101462"/>
                <a:gd name="connsiteX12" fmla="*/ 159026 w 161017"/>
                <a:gd name="connsiteY12" fmla="*/ 43813 h 101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1017" h="101462">
                  <a:moveTo>
                    <a:pt x="159026" y="43813"/>
                  </a:moveTo>
                  <a:cubicBezTo>
                    <a:pt x="156636" y="35172"/>
                    <a:pt x="151948" y="26715"/>
                    <a:pt x="144227" y="22211"/>
                  </a:cubicBezTo>
                  <a:cubicBezTo>
                    <a:pt x="140550" y="20066"/>
                    <a:pt x="136383" y="18932"/>
                    <a:pt x="132644" y="16879"/>
                  </a:cubicBezTo>
                  <a:cubicBezTo>
                    <a:pt x="128140" y="14428"/>
                    <a:pt x="124433" y="10782"/>
                    <a:pt x="120204" y="7840"/>
                  </a:cubicBezTo>
                  <a:cubicBezTo>
                    <a:pt x="109848" y="670"/>
                    <a:pt x="96335" y="-1781"/>
                    <a:pt x="84109" y="1314"/>
                  </a:cubicBezTo>
                  <a:cubicBezTo>
                    <a:pt x="71884" y="4408"/>
                    <a:pt x="61159" y="12988"/>
                    <a:pt x="55460" y="24233"/>
                  </a:cubicBezTo>
                  <a:cubicBezTo>
                    <a:pt x="46758" y="17615"/>
                    <a:pt x="31683" y="20403"/>
                    <a:pt x="21387" y="24111"/>
                  </a:cubicBezTo>
                  <a:cubicBezTo>
                    <a:pt x="11092" y="27818"/>
                    <a:pt x="2482" y="40074"/>
                    <a:pt x="0" y="50737"/>
                  </a:cubicBezTo>
                  <a:lnTo>
                    <a:pt x="48290" y="65353"/>
                  </a:lnTo>
                  <a:cubicBezTo>
                    <a:pt x="57942" y="75894"/>
                    <a:pt x="68697" y="85699"/>
                    <a:pt x="81290" y="92501"/>
                  </a:cubicBezTo>
                  <a:cubicBezTo>
                    <a:pt x="93884" y="99303"/>
                    <a:pt x="108499" y="102980"/>
                    <a:pt x="122655" y="100866"/>
                  </a:cubicBezTo>
                  <a:cubicBezTo>
                    <a:pt x="136812" y="98721"/>
                    <a:pt x="150294" y="90264"/>
                    <a:pt x="156698" y="77456"/>
                  </a:cubicBezTo>
                  <a:cubicBezTo>
                    <a:pt x="161845" y="67161"/>
                    <a:pt x="162090" y="54874"/>
                    <a:pt x="159026" y="4381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F43A0B30-530A-41FC-AF30-47ECC248C541}"/>
                </a:ext>
              </a:extLst>
            </p:cNvPr>
            <p:cNvSpPr/>
            <p:nvPr/>
          </p:nvSpPr>
          <p:spPr>
            <a:xfrm>
              <a:off x="5520874" y="3210006"/>
              <a:ext cx="107299" cy="228898"/>
            </a:xfrm>
            <a:custGeom>
              <a:avLst/>
              <a:gdLst>
                <a:gd name="connsiteX0" fmla="*/ 93513 w 107299"/>
                <a:gd name="connsiteY0" fmla="*/ 146279 h 228898"/>
                <a:gd name="connsiteX1" fmla="*/ 99580 w 107299"/>
                <a:gd name="connsiteY1" fmla="*/ 106569 h 228898"/>
                <a:gd name="connsiteX2" fmla="*/ 92532 w 107299"/>
                <a:gd name="connsiteY2" fmla="*/ 95446 h 228898"/>
                <a:gd name="connsiteX3" fmla="*/ 93697 w 107299"/>
                <a:gd name="connsiteY3" fmla="*/ 87357 h 228898"/>
                <a:gd name="connsiteX4" fmla="*/ 76170 w 107299"/>
                <a:gd name="connsiteY4" fmla="*/ 38822 h 228898"/>
                <a:gd name="connsiteX5" fmla="*/ 57816 w 107299"/>
                <a:gd name="connsiteY5" fmla="*/ 0 h 228898"/>
                <a:gd name="connsiteX6" fmla="*/ 763 w 107299"/>
                <a:gd name="connsiteY6" fmla="*/ 8028 h 228898"/>
                <a:gd name="connsiteX7" fmla="*/ 242 w 107299"/>
                <a:gd name="connsiteY7" fmla="*/ 188411 h 228898"/>
                <a:gd name="connsiteX8" fmla="*/ 4501 w 107299"/>
                <a:gd name="connsiteY8" fmla="*/ 215252 h 228898"/>
                <a:gd name="connsiteX9" fmla="*/ 39615 w 107299"/>
                <a:gd name="connsiteY9" fmla="*/ 228826 h 228898"/>
                <a:gd name="connsiteX10" fmla="*/ 76660 w 107299"/>
                <a:gd name="connsiteY10" fmla="*/ 224475 h 228898"/>
                <a:gd name="connsiteX11" fmla="*/ 104268 w 107299"/>
                <a:gd name="connsiteY11" fmla="*/ 200667 h 228898"/>
                <a:gd name="connsiteX12" fmla="*/ 93513 w 107299"/>
                <a:gd name="connsiteY12" fmla="*/ 146279 h 228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299" h="228898">
                  <a:moveTo>
                    <a:pt x="93513" y="146279"/>
                  </a:moveTo>
                  <a:cubicBezTo>
                    <a:pt x="105800" y="137700"/>
                    <a:pt x="108741" y="118427"/>
                    <a:pt x="99580" y="106569"/>
                  </a:cubicBezTo>
                  <a:cubicBezTo>
                    <a:pt x="96853" y="103045"/>
                    <a:pt x="93145" y="99859"/>
                    <a:pt x="92532" y="95446"/>
                  </a:cubicBezTo>
                  <a:cubicBezTo>
                    <a:pt x="92164" y="92719"/>
                    <a:pt x="93053" y="90023"/>
                    <a:pt x="93697" y="87357"/>
                  </a:cubicBezTo>
                  <a:cubicBezTo>
                    <a:pt x="98048" y="69647"/>
                    <a:pt x="90816" y="49669"/>
                    <a:pt x="76170" y="38822"/>
                  </a:cubicBezTo>
                  <a:cubicBezTo>
                    <a:pt x="75925" y="28925"/>
                    <a:pt x="70379" y="7997"/>
                    <a:pt x="57816" y="0"/>
                  </a:cubicBezTo>
                  <a:lnTo>
                    <a:pt x="763" y="8028"/>
                  </a:lnTo>
                  <a:cubicBezTo>
                    <a:pt x="3367" y="68115"/>
                    <a:pt x="3183" y="128324"/>
                    <a:pt x="242" y="188411"/>
                  </a:cubicBezTo>
                  <a:cubicBezTo>
                    <a:pt x="-218" y="197633"/>
                    <a:pt x="-555" y="207530"/>
                    <a:pt x="4501" y="215252"/>
                  </a:cubicBezTo>
                  <a:cubicBezTo>
                    <a:pt x="11640" y="226191"/>
                    <a:pt x="26532" y="228489"/>
                    <a:pt x="39615" y="228826"/>
                  </a:cubicBezTo>
                  <a:cubicBezTo>
                    <a:pt x="52117" y="229132"/>
                    <a:pt x="64863" y="228611"/>
                    <a:pt x="76660" y="224475"/>
                  </a:cubicBezTo>
                  <a:cubicBezTo>
                    <a:pt x="88457" y="220338"/>
                    <a:pt x="99304" y="212157"/>
                    <a:pt x="104268" y="200667"/>
                  </a:cubicBezTo>
                  <a:cubicBezTo>
                    <a:pt x="111867" y="182956"/>
                    <a:pt x="104022" y="162427"/>
                    <a:pt x="93513" y="146279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8D1FFD8D-CBAE-41F0-B6D9-B04B6AD6688E}"/>
                </a:ext>
              </a:extLst>
            </p:cNvPr>
            <p:cNvSpPr/>
            <p:nvPr/>
          </p:nvSpPr>
          <p:spPr>
            <a:xfrm>
              <a:off x="5438630" y="3197639"/>
              <a:ext cx="140045" cy="241585"/>
            </a:xfrm>
            <a:custGeom>
              <a:avLst/>
              <a:gdLst>
                <a:gd name="connsiteX0" fmla="*/ 1716 w 140045"/>
                <a:gd name="connsiteY0" fmla="*/ 37094 h 241585"/>
                <a:gd name="connsiteX1" fmla="*/ 0 w 140045"/>
                <a:gd name="connsiteY1" fmla="*/ 24316 h 241585"/>
                <a:gd name="connsiteX2" fmla="*/ 75285 w 140045"/>
                <a:gd name="connsiteY2" fmla="*/ 815 h 241585"/>
                <a:gd name="connsiteX3" fmla="*/ 131388 w 140045"/>
                <a:gd name="connsiteY3" fmla="*/ 40066 h 241585"/>
                <a:gd name="connsiteX4" fmla="*/ 139937 w 140045"/>
                <a:gd name="connsiteY4" fmla="*/ 118721 h 241585"/>
                <a:gd name="connsiteX5" fmla="*/ 108346 w 140045"/>
                <a:gd name="connsiteY5" fmla="*/ 167716 h 241585"/>
                <a:gd name="connsiteX6" fmla="*/ 111410 w 140045"/>
                <a:gd name="connsiteY6" fmla="*/ 191677 h 241585"/>
                <a:gd name="connsiteX7" fmla="*/ 73079 w 140045"/>
                <a:gd name="connsiteY7" fmla="*/ 241223 h 241585"/>
                <a:gd name="connsiteX8" fmla="*/ 73079 w 140045"/>
                <a:gd name="connsiteY8" fmla="*/ 241223 h 241585"/>
                <a:gd name="connsiteX9" fmla="*/ 23563 w 140045"/>
                <a:gd name="connsiteY9" fmla="*/ 203075 h 241585"/>
                <a:gd name="connsiteX10" fmla="*/ 1716 w 140045"/>
                <a:gd name="connsiteY10" fmla="*/ 37094 h 241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45" h="241585">
                  <a:moveTo>
                    <a:pt x="1716" y="37094"/>
                  </a:moveTo>
                  <a:lnTo>
                    <a:pt x="0" y="24316"/>
                  </a:lnTo>
                  <a:lnTo>
                    <a:pt x="75285" y="815"/>
                  </a:lnTo>
                  <a:cubicBezTo>
                    <a:pt x="98725" y="-4425"/>
                    <a:pt x="127129" y="16411"/>
                    <a:pt x="131388" y="40066"/>
                  </a:cubicBezTo>
                  <a:cubicBezTo>
                    <a:pt x="136107" y="66325"/>
                    <a:pt x="140826" y="98590"/>
                    <a:pt x="139937" y="118721"/>
                  </a:cubicBezTo>
                  <a:cubicBezTo>
                    <a:pt x="138190" y="159167"/>
                    <a:pt x="108346" y="167716"/>
                    <a:pt x="108346" y="167716"/>
                  </a:cubicBezTo>
                  <a:lnTo>
                    <a:pt x="111410" y="191677"/>
                  </a:lnTo>
                  <a:cubicBezTo>
                    <a:pt x="114505" y="215944"/>
                    <a:pt x="97346" y="238098"/>
                    <a:pt x="73079" y="241223"/>
                  </a:cubicBezTo>
                  <a:lnTo>
                    <a:pt x="73079" y="241223"/>
                  </a:lnTo>
                  <a:cubicBezTo>
                    <a:pt x="48872" y="244318"/>
                    <a:pt x="26750" y="227251"/>
                    <a:pt x="23563" y="203075"/>
                  </a:cubicBezTo>
                  <a:lnTo>
                    <a:pt x="1716" y="37094"/>
                  </a:ln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CC1A928E-2A64-4F80-A589-75F6D46E6586}"/>
                </a:ext>
              </a:extLst>
            </p:cNvPr>
            <p:cNvSpPr/>
            <p:nvPr/>
          </p:nvSpPr>
          <p:spPr>
            <a:xfrm>
              <a:off x="5554707" y="3263362"/>
              <a:ext cx="10215" cy="9836"/>
            </a:xfrm>
            <a:custGeom>
              <a:avLst/>
              <a:gdLst>
                <a:gd name="connsiteX0" fmla="*/ 10164 w 10215"/>
                <a:gd name="connsiteY0" fmla="*/ 4065 h 9836"/>
                <a:gd name="connsiteX1" fmla="*/ 5843 w 10215"/>
                <a:gd name="connsiteY1" fmla="*/ 9764 h 9836"/>
                <a:gd name="connsiteX2" fmla="*/ 52 w 10215"/>
                <a:gd name="connsiteY2" fmla="*/ 5780 h 9836"/>
                <a:gd name="connsiteX3" fmla="*/ 4372 w 10215"/>
                <a:gd name="connsiteY3" fmla="*/ 81 h 9836"/>
                <a:gd name="connsiteX4" fmla="*/ 10164 w 10215"/>
                <a:gd name="connsiteY4" fmla="*/ 4065 h 9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5" h="9836">
                  <a:moveTo>
                    <a:pt x="10164" y="4065"/>
                  </a:moveTo>
                  <a:cubicBezTo>
                    <a:pt x="10562" y="6730"/>
                    <a:pt x="8632" y="9304"/>
                    <a:pt x="5843" y="9764"/>
                  </a:cubicBezTo>
                  <a:cubicBezTo>
                    <a:pt x="3055" y="10223"/>
                    <a:pt x="481" y="8446"/>
                    <a:pt x="52" y="5780"/>
                  </a:cubicBezTo>
                  <a:cubicBezTo>
                    <a:pt x="-346" y="3115"/>
                    <a:pt x="1584" y="541"/>
                    <a:pt x="4372" y="81"/>
                  </a:cubicBezTo>
                  <a:cubicBezTo>
                    <a:pt x="7161" y="-409"/>
                    <a:pt x="9765" y="1368"/>
                    <a:pt x="10164" y="4065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34B3483-ED3E-4E67-9F02-D1681DDBB8AC}"/>
                </a:ext>
              </a:extLst>
            </p:cNvPr>
            <p:cNvSpPr/>
            <p:nvPr/>
          </p:nvSpPr>
          <p:spPr>
            <a:xfrm>
              <a:off x="5543386" y="3251227"/>
              <a:ext cx="20225" cy="6592"/>
            </a:xfrm>
            <a:custGeom>
              <a:avLst/>
              <a:gdLst>
                <a:gd name="connsiteX0" fmla="*/ 20168 w 20225"/>
                <a:gd name="connsiteY0" fmla="*/ 4311 h 6592"/>
                <a:gd name="connsiteX1" fmla="*/ 9933 w 20225"/>
                <a:gd name="connsiteY1" fmla="*/ 3269 h 6592"/>
                <a:gd name="connsiteX2" fmla="*/ 98 w 20225"/>
                <a:gd name="connsiteY2" fmla="*/ 6517 h 6592"/>
                <a:gd name="connsiteX3" fmla="*/ 1875 w 20225"/>
                <a:gd name="connsiteY3" fmla="*/ 3514 h 6592"/>
                <a:gd name="connsiteX4" fmla="*/ 9658 w 20225"/>
                <a:gd name="connsiteY4" fmla="*/ 82 h 6592"/>
                <a:gd name="connsiteX5" fmla="*/ 17900 w 20225"/>
                <a:gd name="connsiteY5" fmla="*/ 1737 h 6592"/>
                <a:gd name="connsiteX6" fmla="*/ 20168 w 20225"/>
                <a:gd name="connsiteY6" fmla="*/ 4311 h 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25" h="6592">
                  <a:moveTo>
                    <a:pt x="20168" y="4311"/>
                  </a:moveTo>
                  <a:cubicBezTo>
                    <a:pt x="19616" y="5046"/>
                    <a:pt x="15418" y="2626"/>
                    <a:pt x="9933" y="3269"/>
                  </a:cubicBezTo>
                  <a:cubicBezTo>
                    <a:pt x="4449" y="3821"/>
                    <a:pt x="741" y="7130"/>
                    <a:pt x="98" y="6517"/>
                  </a:cubicBezTo>
                  <a:cubicBezTo>
                    <a:pt x="-239" y="6241"/>
                    <a:pt x="282" y="4985"/>
                    <a:pt x="1875" y="3514"/>
                  </a:cubicBezTo>
                  <a:cubicBezTo>
                    <a:pt x="3468" y="2043"/>
                    <a:pt x="6257" y="481"/>
                    <a:pt x="9658" y="82"/>
                  </a:cubicBezTo>
                  <a:cubicBezTo>
                    <a:pt x="13059" y="-285"/>
                    <a:pt x="16092" y="634"/>
                    <a:pt x="17900" y="1737"/>
                  </a:cubicBezTo>
                  <a:cubicBezTo>
                    <a:pt x="19739" y="2840"/>
                    <a:pt x="20443" y="3974"/>
                    <a:pt x="20168" y="431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D226C2A-0047-46F9-8E17-ED70FA484213}"/>
                </a:ext>
              </a:extLst>
            </p:cNvPr>
            <p:cNvSpPr/>
            <p:nvPr/>
          </p:nvSpPr>
          <p:spPr>
            <a:xfrm>
              <a:off x="5503537" y="3270318"/>
              <a:ext cx="10215" cy="9835"/>
            </a:xfrm>
            <a:custGeom>
              <a:avLst/>
              <a:gdLst>
                <a:gd name="connsiteX0" fmla="*/ 10164 w 10215"/>
                <a:gd name="connsiteY0" fmla="*/ 4064 h 9835"/>
                <a:gd name="connsiteX1" fmla="*/ 5843 w 10215"/>
                <a:gd name="connsiteY1" fmla="*/ 9763 h 9835"/>
                <a:gd name="connsiteX2" fmla="*/ 52 w 10215"/>
                <a:gd name="connsiteY2" fmla="*/ 5779 h 9835"/>
                <a:gd name="connsiteX3" fmla="*/ 4372 w 10215"/>
                <a:gd name="connsiteY3" fmla="*/ 80 h 9835"/>
                <a:gd name="connsiteX4" fmla="*/ 10164 w 10215"/>
                <a:gd name="connsiteY4" fmla="*/ 4064 h 9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5" h="9835">
                  <a:moveTo>
                    <a:pt x="10164" y="4064"/>
                  </a:moveTo>
                  <a:cubicBezTo>
                    <a:pt x="10562" y="6729"/>
                    <a:pt x="8632" y="9303"/>
                    <a:pt x="5843" y="9763"/>
                  </a:cubicBezTo>
                  <a:cubicBezTo>
                    <a:pt x="3055" y="10222"/>
                    <a:pt x="481" y="8445"/>
                    <a:pt x="52" y="5779"/>
                  </a:cubicBezTo>
                  <a:cubicBezTo>
                    <a:pt x="-346" y="3114"/>
                    <a:pt x="1584" y="540"/>
                    <a:pt x="4372" y="80"/>
                  </a:cubicBezTo>
                  <a:cubicBezTo>
                    <a:pt x="7161" y="-410"/>
                    <a:pt x="9765" y="1398"/>
                    <a:pt x="10164" y="4064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37E1874D-9D25-451C-AEF7-27CFA2050A6D}"/>
                </a:ext>
              </a:extLst>
            </p:cNvPr>
            <p:cNvSpPr/>
            <p:nvPr/>
          </p:nvSpPr>
          <p:spPr>
            <a:xfrm>
              <a:off x="5489611" y="3258428"/>
              <a:ext cx="20255" cy="6592"/>
            </a:xfrm>
            <a:custGeom>
              <a:avLst/>
              <a:gdLst>
                <a:gd name="connsiteX0" fmla="*/ 20198 w 20255"/>
                <a:gd name="connsiteY0" fmla="*/ 4311 h 6592"/>
                <a:gd name="connsiteX1" fmla="*/ 9964 w 20255"/>
                <a:gd name="connsiteY1" fmla="*/ 3269 h 6592"/>
                <a:gd name="connsiteX2" fmla="*/ 98 w 20255"/>
                <a:gd name="connsiteY2" fmla="*/ 6517 h 6592"/>
                <a:gd name="connsiteX3" fmla="*/ 1875 w 20255"/>
                <a:gd name="connsiteY3" fmla="*/ 3514 h 6592"/>
                <a:gd name="connsiteX4" fmla="*/ 9658 w 20255"/>
                <a:gd name="connsiteY4" fmla="*/ 82 h 6592"/>
                <a:gd name="connsiteX5" fmla="*/ 17900 w 20255"/>
                <a:gd name="connsiteY5" fmla="*/ 1737 h 6592"/>
                <a:gd name="connsiteX6" fmla="*/ 20198 w 20255"/>
                <a:gd name="connsiteY6" fmla="*/ 4311 h 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55" h="6592">
                  <a:moveTo>
                    <a:pt x="20198" y="4311"/>
                  </a:moveTo>
                  <a:cubicBezTo>
                    <a:pt x="19647" y="5046"/>
                    <a:pt x="15449" y="2626"/>
                    <a:pt x="9964" y="3269"/>
                  </a:cubicBezTo>
                  <a:cubicBezTo>
                    <a:pt x="4479" y="3821"/>
                    <a:pt x="772" y="7130"/>
                    <a:pt x="98" y="6517"/>
                  </a:cubicBezTo>
                  <a:cubicBezTo>
                    <a:pt x="-239" y="6241"/>
                    <a:pt x="282" y="4985"/>
                    <a:pt x="1875" y="3514"/>
                  </a:cubicBezTo>
                  <a:cubicBezTo>
                    <a:pt x="3438" y="2043"/>
                    <a:pt x="6257" y="481"/>
                    <a:pt x="9658" y="82"/>
                  </a:cubicBezTo>
                  <a:cubicBezTo>
                    <a:pt x="13059" y="-285"/>
                    <a:pt x="16092" y="634"/>
                    <a:pt x="17900" y="1737"/>
                  </a:cubicBezTo>
                  <a:cubicBezTo>
                    <a:pt x="19769" y="2840"/>
                    <a:pt x="20474" y="3974"/>
                    <a:pt x="20198" y="431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63710B61-B257-4DCB-B699-91B53CDBDF80}"/>
                </a:ext>
              </a:extLst>
            </p:cNvPr>
            <p:cNvSpPr/>
            <p:nvPr/>
          </p:nvSpPr>
          <p:spPr>
            <a:xfrm>
              <a:off x="5526559" y="3255716"/>
              <a:ext cx="21333" cy="45483"/>
            </a:xfrm>
            <a:custGeom>
              <a:avLst/>
              <a:gdLst>
                <a:gd name="connsiteX0" fmla="*/ 7825 w 21333"/>
                <a:gd name="connsiteY0" fmla="*/ 45385 h 45483"/>
                <a:gd name="connsiteX1" fmla="*/ 16527 w 21333"/>
                <a:gd name="connsiteY1" fmla="*/ 42750 h 45483"/>
                <a:gd name="connsiteX2" fmla="*/ 19315 w 21333"/>
                <a:gd name="connsiteY2" fmla="*/ 41034 h 45483"/>
                <a:gd name="connsiteX3" fmla="*/ 17905 w 21333"/>
                <a:gd name="connsiteY3" fmla="*/ 36989 h 45483"/>
                <a:gd name="connsiteX4" fmla="*/ 12543 w 21333"/>
                <a:gd name="connsiteY4" fmla="*/ 26817 h 45483"/>
                <a:gd name="connsiteX5" fmla="*/ 42 w 21333"/>
                <a:gd name="connsiteY5" fmla="*/ 6 h 45483"/>
                <a:gd name="connsiteX6" fmla="*/ 14657 w 21333"/>
                <a:gd name="connsiteY6" fmla="*/ 25744 h 45483"/>
                <a:gd name="connsiteX7" fmla="*/ 19866 w 21333"/>
                <a:gd name="connsiteY7" fmla="*/ 36009 h 45483"/>
                <a:gd name="connsiteX8" fmla="*/ 21215 w 21333"/>
                <a:gd name="connsiteY8" fmla="*/ 41432 h 45483"/>
                <a:gd name="connsiteX9" fmla="*/ 19162 w 21333"/>
                <a:gd name="connsiteY9" fmla="*/ 43730 h 45483"/>
                <a:gd name="connsiteX10" fmla="*/ 16833 w 21333"/>
                <a:gd name="connsiteY10" fmla="*/ 44343 h 45483"/>
                <a:gd name="connsiteX11" fmla="*/ 7825 w 21333"/>
                <a:gd name="connsiteY11" fmla="*/ 45385 h 4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3" h="45483">
                  <a:moveTo>
                    <a:pt x="7825" y="45385"/>
                  </a:moveTo>
                  <a:cubicBezTo>
                    <a:pt x="7763" y="45079"/>
                    <a:pt x="11103" y="44098"/>
                    <a:pt x="16527" y="42750"/>
                  </a:cubicBezTo>
                  <a:cubicBezTo>
                    <a:pt x="17905" y="42444"/>
                    <a:pt x="19192" y="42015"/>
                    <a:pt x="19315" y="41034"/>
                  </a:cubicBezTo>
                  <a:cubicBezTo>
                    <a:pt x="19529" y="39992"/>
                    <a:pt x="18763" y="38552"/>
                    <a:pt x="17905" y="36989"/>
                  </a:cubicBezTo>
                  <a:cubicBezTo>
                    <a:pt x="16189" y="33742"/>
                    <a:pt x="14412" y="30371"/>
                    <a:pt x="12543" y="26817"/>
                  </a:cubicBezTo>
                  <a:cubicBezTo>
                    <a:pt x="5036" y="12293"/>
                    <a:pt x="-540" y="312"/>
                    <a:pt x="42" y="6"/>
                  </a:cubicBezTo>
                  <a:cubicBezTo>
                    <a:pt x="624" y="-300"/>
                    <a:pt x="7181" y="11221"/>
                    <a:pt x="14657" y="25744"/>
                  </a:cubicBezTo>
                  <a:cubicBezTo>
                    <a:pt x="16465" y="29329"/>
                    <a:pt x="18212" y="32730"/>
                    <a:pt x="19866" y="36009"/>
                  </a:cubicBezTo>
                  <a:cubicBezTo>
                    <a:pt x="20571" y="37541"/>
                    <a:pt x="21705" y="39226"/>
                    <a:pt x="21215" y="41432"/>
                  </a:cubicBezTo>
                  <a:cubicBezTo>
                    <a:pt x="20969" y="42535"/>
                    <a:pt x="20020" y="43393"/>
                    <a:pt x="19162" y="43730"/>
                  </a:cubicBezTo>
                  <a:cubicBezTo>
                    <a:pt x="18304" y="44098"/>
                    <a:pt x="17507" y="44221"/>
                    <a:pt x="16833" y="44343"/>
                  </a:cubicBezTo>
                  <a:cubicBezTo>
                    <a:pt x="11318" y="45262"/>
                    <a:pt x="7886" y="45691"/>
                    <a:pt x="7825" y="45385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4B3B431B-EC70-4B71-A879-2B64E809960C}"/>
                </a:ext>
              </a:extLst>
            </p:cNvPr>
            <p:cNvSpPr/>
            <p:nvPr/>
          </p:nvSpPr>
          <p:spPr>
            <a:xfrm>
              <a:off x="5490812" y="3357449"/>
              <a:ext cx="57298" cy="19539"/>
            </a:xfrm>
            <a:custGeom>
              <a:avLst/>
              <a:gdLst>
                <a:gd name="connsiteX0" fmla="*/ 56165 w 57298"/>
                <a:gd name="connsiteY0" fmla="*/ 7997 h 19539"/>
                <a:gd name="connsiteX1" fmla="*/ 0 w 57298"/>
                <a:gd name="connsiteY1" fmla="*/ 0 h 19539"/>
                <a:gd name="connsiteX2" fmla="*/ 57298 w 57298"/>
                <a:gd name="connsiteY2" fmla="*/ 17894 h 19539"/>
                <a:gd name="connsiteX3" fmla="*/ 56165 w 57298"/>
                <a:gd name="connsiteY3" fmla="*/ 7997 h 1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298" h="19539">
                  <a:moveTo>
                    <a:pt x="56165" y="7997"/>
                  </a:moveTo>
                  <a:cubicBezTo>
                    <a:pt x="56165" y="7997"/>
                    <a:pt x="28282" y="12869"/>
                    <a:pt x="0" y="0"/>
                  </a:cubicBezTo>
                  <a:cubicBezTo>
                    <a:pt x="0" y="0"/>
                    <a:pt x="16607" y="26259"/>
                    <a:pt x="57298" y="17894"/>
                  </a:cubicBezTo>
                  <a:lnTo>
                    <a:pt x="56165" y="7997"/>
                  </a:ln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251E06E5-1C61-459E-806D-921634197AD2}"/>
                </a:ext>
              </a:extLst>
            </p:cNvPr>
            <p:cNvSpPr/>
            <p:nvPr/>
          </p:nvSpPr>
          <p:spPr>
            <a:xfrm>
              <a:off x="5517577" y="3311696"/>
              <a:ext cx="16665" cy="12516"/>
            </a:xfrm>
            <a:custGeom>
              <a:avLst/>
              <a:gdLst>
                <a:gd name="connsiteX0" fmla="*/ 16010 w 16665"/>
                <a:gd name="connsiteY0" fmla="*/ 2887 h 12516"/>
                <a:gd name="connsiteX1" fmla="*/ 6726 w 16665"/>
                <a:gd name="connsiteY1" fmla="*/ 252 h 12516"/>
                <a:gd name="connsiteX2" fmla="*/ 873 w 16665"/>
                <a:gd name="connsiteY2" fmla="*/ 4296 h 12516"/>
                <a:gd name="connsiteX3" fmla="*/ 1180 w 16665"/>
                <a:gd name="connsiteY3" fmla="*/ 10884 h 12516"/>
                <a:gd name="connsiteX4" fmla="*/ 8564 w 16665"/>
                <a:gd name="connsiteY4" fmla="*/ 11865 h 12516"/>
                <a:gd name="connsiteX5" fmla="*/ 15091 w 16665"/>
                <a:gd name="connsiteY5" fmla="*/ 6870 h 12516"/>
                <a:gd name="connsiteX6" fmla="*/ 16470 w 16665"/>
                <a:gd name="connsiteY6" fmla="*/ 5062 h 12516"/>
                <a:gd name="connsiteX7" fmla="*/ 16224 w 16665"/>
                <a:gd name="connsiteY7" fmla="*/ 3009 h 1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65" h="12516">
                  <a:moveTo>
                    <a:pt x="16010" y="2887"/>
                  </a:moveTo>
                  <a:cubicBezTo>
                    <a:pt x="13743" y="497"/>
                    <a:pt x="10127" y="-514"/>
                    <a:pt x="6726" y="252"/>
                  </a:cubicBezTo>
                  <a:cubicBezTo>
                    <a:pt x="4366" y="773"/>
                    <a:pt x="2099" y="2213"/>
                    <a:pt x="873" y="4296"/>
                  </a:cubicBezTo>
                  <a:cubicBezTo>
                    <a:pt x="-352" y="6411"/>
                    <a:pt x="-322" y="9168"/>
                    <a:pt x="1180" y="10884"/>
                  </a:cubicBezTo>
                  <a:cubicBezTo>
                    <a:pt x="2896" y="12784"/>
                    <a:pt x="6052" y="12906"/>
                    <a:pt x="8564" y="11865"/>
                  </a:cubicBezTo>
                  <a:cubicBezTo>
                    <a:pt x="11107" y="10823"/>
                    <a:pt x="13160" y="8831"/>
                    <a:pt x="15091" y="6870"/>
                  </a:cubicBezTo>
                  <a:cubicBezTo>
                    <a:pt x="15642" y="6319"/>
                    <a:pt x="16163" y="5767"/>
                    <a:pt x="16470" y="5062"/>
                  </a:cubicBezTo>
                  <a:cubicBezTo>
                    <a:pt x="16776" y="4358"/>
                    <a:pt x="16745" y="3500"/>
                    <a:pt x="16224" y="3009"/>
                  </a:cubicBezTo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2992409-3365-4C67-A68A-7BFB17E2BF77}"/>
                </a:ext>
              </a:extLst>
            </p:cNvPr>
            <p:cNvSpPr/>
            <p:nvPr/>
          </p:nvSpPr>
          <p:spPr>
            <a:xfrm>
              <a:off x="5518082" y="3306736"/>
              <a:ext cx="19771" cy="14356"/>
            </a:xfrm>
            <a:custGeom>
              <a:avLst/>
              <a:gdLst>
                <a:gd name="connsiteX0" fmla="*/ 613 w 19771"/>
                <a:gd name="connsiteY0" fmla="*/ 3 h 14356"/>
                <a:gd name="connsiteX1" fmla="*/ 7783 w 19771"/>
                <a:gd name="connsiteY1" fmla="*/ 9440 h 14356"/>
                <a:gd name="connsiteX2" fmla="*/ 19764 w 19771"/>
                <a:gd name="connsiteY2" fmla="*/ 12535 h 14356"/>
                <a:gd name="connsiteX3" fmla="*/ 15811 w 19771"/>
                <a:gd name="connsiteY3" fmla="*/ 14220 h 14356"/>
                <a:gd name="connsiteX4" fmla="*/ 5853 w 19771"/>
                <a:gd name="connsiteY4" fmla="*/ 11983 h 14356"/>
                <a:gd name="connsiteX5" fmla="*/ 246 w 19771"/>
                <a:gd name="connsiteY5" fmla="*/ 4047 h 14356"/>
                <a:gd name="connsiteX6" fmla="*/ 613 w 19771"/>
                <a:gd name="connsiteY6" fmla="*/ 3 h 14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71" h="14356">
                  <a:moveTo>
                    <a:pt x="613" y="3"/>
                  </a:moveTo>
                  <a:cubicBezTo>
                    <a:pt x="1502" y="-150"/>
                    <a:pt x="2207" y="5794"/>
                    <a:pt x="7783" y="9440"/>
                  </a:cubicBezTo>
                  <a:cubicBezTo>
                    <a:pt x="13360" y="13087"/>
                    <a:pt x="19611" y="11708"/>
                    <a:pt x="19764" y="12535"/>
                  </a:cubicBezTo>
                  <a:cubicBezTo>
                    <a:pt x="19886" y="12903"/>
                    <a:pt x="18477" y="13853"/>
                    <a:pt x="15811" y="14220"/>
                  </a:cubicBezTo>
                  <a:cubicBezTo>
                    <a:pt x="13207" y="14619"/>
                    <a:pt x="9254" y="14220"/>
                    <a:pt x="5853" y="11983"/>
                  </a:cubicBezTo>
                  <a:cubicBezTo>
                    <a:pt x="2452" y="9747"/>
                    <a:pt x="705" y="6437"/>
                    <a:pt x="246" y="4047"/>
                  </a:cubicBezTo>
                  <a:cubicBezTo>
                    <a:pt x="-306" y="1566"/>
                    <a:pt x="184" y="34"/>
                    <a:pt x="613" y="3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3B50851E-9A39-42AF-B94D-13613946450C}"/>
                </a:ext>
              </a:extLst>
            </p:cNvPr>
            <p:cNvSpPr/>
            <p:nvPr/>
          </p:nvSpPr>
          <p:spPr>
            <a:xfrm>
              <a:off x="5484030" y="3238081"/>
              <a:ext cx="24748" cy="8992"/>
            </a:xfrm>
            <a:custGeom>
              <a:avLst/>
              <a:gdLst>
                <a:gd name="connsiteX0" fmla="*/ 24737 w 24748"/>
                <a:gd name="connsiteY0" fmla="*/ 3025 h 8992"/>
                <a:gd name="connsiteX1" fmla="*/ 12481 w 24748"/>
                <a:gd name="connsiteY1" fmla="*/ 6028 h 8992"/>
                <a:gd name="connsiteX2" fmla="*/ 133 w 24748"/>
                <a:gd name="connsiteY2" fmla="*/ 8663 h 8992"/>
                <a:gd name="connsiteX3" fmla="*/ 2339 w 24748"/>
                <a:gd name="connsiteY3" fmla="*/ 4863 h 8992"/>
                <a:gd name="connsiteX4" fmla="*/ 11225 w 24748"/>
                <a:gd name="connsiteY4" fmla="*/ 573 h 8992"/>
                <a:gd name="connsiteX5" fmla="*/ 21091 w 24748"/>
                <a:gd name="connsiteY5" fmla="*/ 604 h 8992"/>
                <a:gd name="connsiteX6" fmla="*/ 24737 w 24748"/>
                <a:gd name="connsiteY6" fmla="*/ 3025 h 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48" h="8992">
                  <a:moveTo>
                    <a:pt x="24737" y="3025"/>
                  </a:moveTo>
                  <a:cubicBezTo>
                    <a:pt x="24370" y="4587"/>
                    <a:pt x="18824" y="4495"/>
                    <a:pt x="12481" y="6028"/>
                  </a:cubicBezTo>
                  <a:cubicBezTo>
                    <a:pt x="6108" y="7406"/>
                    <a:pt x="1144" y="9888"/>
                    <a:pt x="133" y="8663"/>
                  </a:cubicBezTo>
                  <a:cubicBezTo>
                    <a:pt x="-327" y="8080"/>
                    <a:pt x="408" y="6548"/>
                    <a:pt x="2339" y="4863"/>
                  </a:cubicBezTo>
                  <a:cubicBezTo>
                    <a:pt x="4238" y="3178"/>
                    <a:pt x="7394" y="1431"/>
                    <a:pt x="11225" y="573"/>
                  </a:cubicBezTo>
                  <a:cubicBezTo>
                    <a:pt x="15024" y="-285"/>
                    <a:pt x="18640" y="-101"/>
                    <a:pt x="21091" y="604"/>
                  </a:cubicBezTo>
                  <a:cubicBezTo>
                    <a:pt x="23542" y="1248"/>
                    <a:pt x="24890" y="2289"/>
                    <a:pt x="24737" y="3025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624E4D05-E854-4531-AFA9-D527E0E8A15C}"/>
                </a:ext>
              </a:extLst>
            </p:cNvPr>
            <p:cNvSpPr/>
            <p:nvPr/>
          </p:nvSpPr>
          <p:spPr>
            <a:xfrm>
              <a:off x="5540954" y="3235240"/>
              <a:ext cx="18866" cy="6689"/>
            </a:xfrm>
            <a:custGeom>
              <a:avLst/>
              <a:gdLst>
                <a:gd name="connsiteX0" fmla="*/ 18769 w 18866"/>
                <a:gd name="connsiteY0" fmla="*/ 4671 h 6689"/>
                <a:gd name="connsiteX1" fmla="*/ 9485 w 18866"/>
                <a:gd name="connsiteY1" fmla="*/ 5621 h 6689"/>
                <a:gd name="connsiteX2" fmla="*/ 170 w 18866"/>
                <a:gd name="connsiteY2" fmla="*/ 6234 h 6689"/>
                <a:gd name="connsiteX3" fmla="*/ 1702 w 18866"/>
                <a:gd name="connsiteY3" fmla="*/ 2955 h 6689"/>
                <a:gd name="connsiteX4" fmla="*/ 9025 w 18866"/>
                <a:gd name="connsiteY4" fmla="*/ 45 h 6689"/>
                <a:gd name="connsiteX5" fmla="*/ 16716 w 18866"/>
                <a:gd name="connsiteY5" fmla="*/ 1699 h 6689"/>
                <a:gd name="connsiteX6" fmla="*/ 18769 w 18866"/>
                <a:gd name="connsiteY6" fmla="*/ 4671 h 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66" h="6689">
                  <a:moveTo>
                    <a:pt x="18769" y="4671"/>
                  </a:moveTo>
                  <a:cubicBezTo>
                    <a:pt x="17942" y="6020"/>
                    <a:pt x="14020" y="5162"/>
                    <a:pt x="9485" y="5621"/>
                  </a:cubicBezTo>
                  <a:cubicBezTo>
                    <a:pt x="4919" y="5928"/>
                    <a:pt x="1212" y="7429"/>
                    <a:pt x="170" y="6234"/>
                  </a:cubicBezTo>
                  <a:cubicBezTo>
                    <a:pt x="-290" y="5652"/>
                    <a:pt x="170" y="4334"/>
                    <a:pt x="1702" y="2955"/>
                  </a:cubicBezTo>
                  <a:cubicBezTo>
                    <a:pt x="3234" y="1577"/>
                    <a:pt x="5869" y="320"/>
                    <a:pt x="9025" y="45"/>
                  </a:cubicBezTo>
                  <a:cubicBezTo>
                    <a:pt x="12151" y="-201"/>
                    <a:pt x="15000" y="596"/>
                    <a:pt x="16716" y="1699"/>
                  </a:cubicBezTo>
                  <a:cubicBezTo>
                    <a:pt x="18463" y="2772"/>
                    <a:pt x="19137" y="3997"/>
                    <a:pt x="18769" y="467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A7BBFC61-B9B0-44A0-9C5F-81977910561E}"/>
                </a:ext>
              </a:extLst>
            </p:cNvPr>
            <p:cNvSpPr/>
            <p:nvPr/>
          </p:nvSpPr>
          <p:spPr>
            <a:xfrm>
              <a:off x="5434184" y="3188312"/>
              <a:ext cx="138530" cy="54948"/>
            </a:xfrm>
            <a:custGeom>
              <a:avLst/>
              <a:gdLst>
                <a:gd name="connsiteX0" fmla="*/ 14711 w 138530"/>
                <a:gd name="connsiteY0" fmla="*/ 6557 h 54948"/>
                <a:gd name="connsiteX1" fmla="*/ 371 w 138530"/>
                <a:gd name="connsiteY1" fmla="*/ 38301 h 54948"/>
                <a:gd name="connsiteX2" fmla="*/ 17989 w 138530"/>
                <a:gd name="connsiteY2" fmla="*/ 53928 h 54948"/>
                <a:gd name="connsiteX3" fmla="*/ 42288 w 138530"/>
                <a:gd name="connsiteY3" fmla="*/ 52365 h 54948"/>
                <a:gd name="connsiteX4" fmla="*/ 65912 w 138530"/>
                <a:gd name="connsiteY4" fmla="*/ 29752 h 54948"/>
                <a:gd name="connsiteX5" fmla="*/ 108411 w 138530"/>
                <a:gd name="connsiteY5" fmla="*/ 41426 h 54948"/>
                <a:gd name="connsiteX6" fmla="*/ 138531 w 138530"/>
                <a:gd name="connsiteY6" fmla="*/ 0 h 54948"/>
                <a:gd name="connsiteX7" fmla="*/ 14711 w 138530"/>
                <a:gd name="connsiteY7" fmla="*/ 6557 h 5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30" h="54948">
                  <a:moveTo>
                    <a:pt x="14711" y="6557"/>
                  </a:moveTo>
                  <a:cubicBezTo>
                    <a:pt x="6897" y="9131"/>
                    <a:pt x="-1927" y="30426"/>
                    <a:pt x="371" y="38301"/>
                  </a:cubicBezTo>
                  <a:cubicBezTo>
                    <a:pt x="2669" y="46176"/>
                    <a:pt x="10023" y="51906"/>
                    <a:pt x="17989" y="53928"/>
                  </a:cubicBezTo>
                  <a:cubicBezTo>
                    <a:pt x="25956" y="55950"/>
                    <a:pt x="34413" y="54725"/>
                    <a:pt x="42288" y="52365"/>
                  </a:cubicBezTo>
                  <a:cubicBezTo>
                    <a:pt x="53410" y="48995"/>
                    <a:pt x="65115" y="41334"/>
                    <a:pt x="65912" y="29752"/>
                  </a:cubicBezTo>
                  <a:cubicBezTo>
                    <a:pt x="76759" y="40660"/>
                    <a:pt x="93519" y="45287"/>
                    <a:pt x="108411" y="41426"/>
                  </a:cubicBezTo>
                  <a:cubicBezTo>
                    <a:pt x="123302" y="37566"/>
                    <a:pt x="134333" y="14800"/>
                    <a:pt x="138531" y="0"/>
                  </a:cubicBezTo>
                  <a:lnTo>
                    <a:pt x="14711" y="6557"/>
                  </a:ln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D15D72AD-31D1-4DCB-97A3-58435242D004}"/>
                </a:ext>
              </a:extLst>
            </p:cNvPr>
            <p:cNvSpPr/>
            <p:nvPr/>
          </p:nvSpPr>
          <p:spPr>
            <a:xfrm>
              <a:off x="5480118" y="3251438"/>
              <a:ext cx="45935" cy="46347"/>
            </a:xfrm>
            <a:custGeom>
              <a:avLst/>
              <a:gdLst>
                <a:gd name="connsiteX0" fmla="*/ 45839 w 45935"/>
                <a:gd name="connsiteY0" fmla="*/ 23159 h 46347"/>
                <a:gd name="connsiteX1" fmla="*/ 44828 w 45935"/>
                <a:gd name="connsiteY1" fmla="*/ 17735 h 46347"/>
                <a:gd name="connsiteX2" fmla="*/ 36585 w 45935"/>
                <a:gd name="connsiteY2" fmla="*/ 5693 h 46347"/>
                <a:gd name="connsiteX3" fmla="*/ 27332 w 45935"/>
                <a:gd name="connsiteY3" fmla="*/ 1679 h 46347"/>
                <a:gd name="connsiteX4" fmla="*/ 15872 w 45935"/>
                <a:gd name="connsiteY4" fmla="*/ 2690 h 46347"/>
                <a:gd name="connsiteX5" fmla="*/ 5791 w 45935"/>
                <a:gd name="connsiteY5" fmla="*/ 10289 h 46347"/>
                <a:gd name="connsiteX6" fmla="*/ 1563 w 45935"/>
                <a:gd name="connsiteY6" fmla="*/ 23128 h 46347"/>
                <a:gd name="connsiteX7" fmla="*/ 5791 w 45935"/>
                <a:gd name="connsiteY7" fmla="*/ 35966 h 46347"/>
                <a:gd name="connsiteX8" fmla="*/ 15872 w 45935"/>
                <a:gd name="connsiteY8" fmla="*/ 43565 h 46347"/>
                <a:gd name="connsiteX9" fmla="*/ 27332 w 45935"/>
                <a:gd name="connsiteY9" fmla="*/ 44576 h 46347"/>
                <a:gd name="connsiteX10" fmla="*/ 36585 w 45935"/>
                <a:gd name="connsiteY10" fmla="*/ 40563 h 46347"/>
                <a:gd name="connsiteX11" fmla="*/ 44828 w 45935"/>
                <a:gd name="connsiteY11" fmla="*/ 28551 h 46347"/>
                <a:gd name="connsiteX12" fmla="*/ 45839 w 45935"/>
                <a:gd name="connsiteY12" fmla="*/ 23159 h 46347"/>
                <a:gd name="connsiteX13" fmla="*/ 45931 w 45935"/>
                <a:gd name="connsiteY13" fmla="*/ 24599 h 46347"/>
                <a:gd name="connsiteX14" fmla="*/ 45440 w 45935"/>
                <a:gd name="connsiteY14" fmla="*/ 28735 h 46347"/>
                <a:gd name="connsiteX15" fmla="*/ 37290 w 45935"/>
                <a:gd name="connsiteY15" fmla="*/ 41512 h 46347"/>
                <a:gd name="connsiteX16" fmla="*/ 27607 w 45935"/>
                <a:gd name="connsiteY16" fmla="*/ 45925 h 46347"/>
                <a:gd name="connsiteX17" fmla="*/ 15412 w 45935"/>
                <a:gd name="connsiteY17" fmla="*/ 45005 h 46347"/>
                <a:gd name="connsiteX18" fmla="*/ 4565 w 45935"/>
                <a:gd name="connsiteY18" fmla="*/ 36947 h 46347"/>
                <a:gd name="connsiteX19" fmla="*/ 0 w 45935"/>
                <a:gd name="connsiteY19" fmla="*/ 23159 h 46347"/>
                <a:gd name="connsiteX20" fmla="*/ 4565 w 45935"/>
                <a:gd name="connsiteY20" fmla="*/ 9401 h 46347"/>
                <a:gd name="connsiteX21" fmla="*/ 15412 w 45935"/>
                <a:gd name="connsiteY21" fmla="*/ 1342 h 46347"/>
                <a:gd name="connsiteX22" fmla="*/ 27607 w 45935"/>
                <a:gd name="connsiteY22" fmla="*/ 423 h 46347"/>
                <a:gd name="connsiteX23" fmla="*/ 37290 w 45935"/>
                <a:gd name="connsiteY23" fmla="*/ 4835 h 46347"/>
                <a:gd name="connsiteX24" fmla="*/ 45440 w 45935"/>
                <a:gd name="connsiteY24" fmla="*/ 17613 h 46347"/>
                <a:gd name="connsiteX25" fmla="*/ 45931 w 45935"/>
                <a:gd name="connsiteY25" fmla="*/ 21749 h 46347"/>
                <a:gd name="connsiteX26" fmla="*/ 45839 w 45935"/>
                <a:gd name="connsiteY26" fmla="*/ 23159 h 4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5935" h="46347">
                  <a:moveTo>
                    <a:pt x="45839" y="23159"/>
                  </a:moveTo>
                  <a:cubicBezTo>
                    <a:pt x="45655" y="23159"/>
                    <a:pt x="45747" y="21167"/>
                    <a:pt x="44828" y="17735"/>
                  </a:cubicBezTo>
                  <a:cubicBezTo>
                    <a:pt x="43908" y="14395"/>
                    <a:pt x="41641" y="9493"/>
                    <a:pt x="36585" y="5693"/>
                  </a:cubicBezTo>
                  <a:cubicBezTo>
                    <a:pt x="34073" y="3855"/>
                    <a:pt x="30947" y="2292"/>
                    <a:pt x="27332" y="1679"/>
                  </a:cubicBezTo>
                  <a:cubicBezTo>
                    <a:pt x="23747" y="1097"/>
                    <a:pt x="19702" y="1220"/>
                    <a:pt x="15872" y="2690"/>
                  </a:cubicBezTo>
                  <a:cubicBezTo>
                    <a:pt x="12042" y="4069"/>
                    <a:pt x="8396" y="6704"/>
                    <a:pt x="5791" y="10289"/>
                  </a:cubicBezTo>
                  <a:cubicBezTo>
                    <a:pt x="3125" y="13844"/>
                    <a:pt x="1624" y="18409"/>
                    <a:pt x="1563" y="23128"/>
                  </a:cubicBezTo>
                  <a:cubicBezTo>
                    <a:pt x="1593" y="27847"/>
                    <a:pt x="3095" y="32412"/>
                    <a:pt x="5791" y="35966"/>
                  </a:cubicBezTo>
                  <a:cubicBezTo>
                    <a:pt x="8396" y="39582"/>
                    <a:pt x="12042" y="42186"/>
                    <a:pt x="15872" y="43565"/>
                  </a:cubicBezTo>
                  <a:cubicBezTo>
                    <a:pt x="19702" y="45036"/>
                    <a:pt x="23747" y="45159"/>
                    <a:pt x="27332" y="44576"/>
                  </a:cubicBezTo>
                  <a:cubicBezTo>
                    <a:pt x="30947" y="43964"/>
                    <a:pt x="34073" y="42401"/>
                    <a:pt x="36585" y="40563"/>
                  </a:cubicBezTo>
                  <a:cubicBezTo>
                    <a:pt x="41641" y="36794"/>
                    <a:pt x="43908" y="31891"/>
                    <a:pt x="44828" y="28551"/>
                  </a:cubicBezTo>
                  <a:cubicBezTo>
                    <a:pt x="45747" y="25150"/>
                    <a:pt x="45655" y="23159"/>
                    <a:pt x="45839" y="23159"/>
                  </a:cubicBezTo>
                  <a:cubicBezTo>
                    <a:pt x="45900" y="23159"/>
                    <a:pt x="45931" y="23649"/>
                    <a:pt x="45931" y="24599"/>
                  </a:cubicBezTo>
                  <a:cubicBezTo>
                    <a:pt x="45961" y="25548"/>
                    <a:pt x="45839" y="26958"/>
                    <a:pt x="45440" y="28735"/>
                  </a:cubicBezTo>
                  <a:cubicBezTo>
                    <a:pt x="44705" y="32228"/>
                    <a:pt x="42499" y="37407"/>
                    <a:pt x="37290" y="41512"/>
                  </a:cubicBezTo>
                  <a:cubicBezTo>
                    <a:pt x="34716" y="43504"/>
                    <a:pt x="31407" y="45220"/>
                    <a:pt x="27607" y="45925"/>
                  </a:cubicBezTo>
                  <a:cubicBezTo>
                    <a:pt x="23808" y="46629"/>
                    <a:pt x="19518" y="46537"/>
                    <a:pt x="15412" y="45005"/>
                  </a:cubicBezTo>
                  <a:cubicBezTo>
                    <a:pt x="11306" y="43565"/>
                    <a:pt x="7384" y="40808"/>
                    <a:pt x="4565" y="36947"/>
                  </a:cubicBezTo>
                  <a:cubicBezTo>
                    <a:pt x="1685" y="33147"/>
                    <a:pt x="61" y="28214"/>
                    <a:pt x="0" y="23159"/>
                  </a:cubicBezTo>
                  <a:cubicBezTo>
                    <a:pt x="31" y="18103"/>
                    <a:pt x="1685" y="13200"/>
                    <a:pt x="4565" y="9401"/>
                  </a:cubicBezTo>
                  <a:cubicBezTo>
                    <a:pt x="7354" y="5540"/>
                    <a:pt x="11306" y="2782"/>
                    <a:pt x="15412" y="1342"/>
                  </a:cubicBezTo>
                  <a:cubicBezTo>
                    <a:pt x="19518" y="-190"/>
                    <a:pt x="23808" y="-282"/>
                    <a:pt x="27607" y="423"/>
                  </a:cubicBezTo>
                  <a:cubicBezTo>
                    <a:pt x="31438" y="1128"/>
                    <a:pt x="34716" y="2844"/>
                    <a:pt x="37290" y="4835"/>
                  </a:cubicBezTo>
                  <a:cubicBezTo>
                    <a:pt x="42499" y="8911"/>
                    <a:pt x="44705" y="14119"/>
                    <a:pt x="45440" y="17613"/>
                  </a:cubicBezTo>
                  <a:cubicBezTo>
                    <a:pt x="45839" y="19390"/>
                    <a:pt x="45961" y="20799"/>
                    <a:pt x="45931" y="21749"/>
                  </a:cubicBezTo>
                  <a:cubicBezTo>
                    <a:pt x="45931" y="22668"/>
                    <a:pt x="45900" y="23159"/>
                    <a:pt x="45839" y="23159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D7ED2F40-70FA-4940-A9C9-C580962AEE95}"/>
                </a:ext>
              </a:extLst>
            </p:cNvPr>
            <p:cNvSpPr/>
            <p:nvPr/>
          </p:nvSpPr>
          <p:spPr>
            <a:xfrm>
              <a:off x="5536528" y="3241265"/>
              <a:ext cx="45935" cy="46347"/>
            </a:xfrm>
            <a:custGeom>
              <a:avLst/>
              <a:gdLst>
                <a:gd name="connsiteX0" fmla="*/ 45839 w 45935"/>
                <a:gd name="connsiteY0" fmla="*/ 23159 h 46347"/>
                <a:gd name="connsiteX1" fmla="*/ 44828 w 45935"/>
                <a:gd name="connsiteY1" fmla="*/ 17735 h 46347"/>
                <a:gd name="connsiteX2" fmla="*/ 36585 w 45935"/>
                <a:gd name="connsiteY2" fmla="*/ 5693 h 46347"/>
                <a:gd name="connsiteX3" fmla="*/ 27332 w 45935"/>
                <a:gd name="connsiteY3" fmla="*/ 1679 h 46347"/>
                <a:gd name="connsiteX4" fmla="*/ 15872 w 45935"/>
                <a:gd name="connsiteY4" fmla="*/ 2690 h 46347"/>
                <a:gd name="connsiteX5" fmla="*/ 5791 w 45935"/>
                <a:gd name="connsiteY5" fmla="*/ 10289 h 46347"/>
                <a:gd name="connsiteX6" fmla="*/ 1563 w 45935"/>
                <a:gd name="connsiteY6" fmla="*/ 23128 h 46347"/>
                <a:gd name="connsiteX7" fmla="*/ 5791 w 45935"/>
                <a:gd name="connsiteY7" fmla="*/ 35966 h 46347"/>
                <a:gd name="connsiteX8" fmla="*/ 15872 w 45935"/>
                <a:gd name="connsiteY8" fmla="*/ 43565 h 46347"/>
                <a:gd name="connsiteX9" fmla="*/ 27332 w 45935"/>
                <a:gd name="connsiteY9" fmla="*/ 44576 h 46347"/>
                <a:gd name="connsiteX10" fmla="*/ 36585 w 45935"/>
                <a:gd name="connsiteY10" fmla="*/ 40563 h 46347"/>
                <a:gd name="connsiteX11" fmla="*/ 44828 w 45935"/>
                <a:gd name="connsiteY11" fmla="*/ 28521 h 46347"/>
                <a:gd name="connsiteX12" fmla="*/ 45839 w 45935"/>
                <a:gd name="connsiteY12" fmla="*/ 23159 h 46347"/>
                <a:gd name="connsiteX13" fmla="*/ 45931 w 45935"/>
                <a:gd name="connsiteY13" fmla="*/ 24599 h 46347"/>
                <a:gd name="connsiteX14" fmla="*/ 45440 w 45935"/>
                <a:gd name="connsiteY14" fmla="*/ 28735 h 46347"/>
                <a:gd name="connsiteX15" fmla="*/ 37290 w 45935"/>
                <a:gd name="connsiteY15" fmla="*/ 41512 h 46347"/>
                <a:gd name="connsiteX16" fmla="*/ 27607 w 45935"/>
                <a:gd name="connsiteY16" fmla="*/ 45925 h 46347"/>
                <a:gd name="connsiteX17" fmla="*/ 15412 w 45935"/>
                <a:gd name="connsiteY17" fmla="*/ 45005 h 46347"/>
                <a:gd name="connsiteX18" fmla="*/ 4565 w 45935"/>
                <a:gd name="connsiteY18" fmla="*/ 36947 h 46347"/>
                <a:gd name="connsiteX19" fmla="*/ 0 w 45935"/>
                <a:gd name="connsiteY19" fmla="*/ 23159 h 46347"/>
                <a:gd name="connsiteX20" fmla="*/ 4565 w 45935"/>
                <a:gd name="connsiteY20" fmla="*/ 9401 h 46347"/>
                <a:gd name="connsiteX21" fmla="*/ 15412 w 45935"/>
                <a:gd name="connsiteY21" fmla="*/ 1342 h 46347"/>
                <a:gd name="connsiteX22" fmla="*/ 27607 w 45935"/>
                <a:gd name="connsiteY22" fmla="*/ 423 h 46347"/>
                <a:gd name="connsiteX23" fmla="*/ 37290 w 45935"/>
                <a:gd name="connsiteY23" fmla="*/ 4835 h 46347"/>
                <a:gd name="connsiteX24" fmla="*/ 45440 w 45935"/>
                <a:gd name="connsiteY24" fmla="*/ 17613 h 46347"/>
                <a:gd name="connsiteX25" fmla="*/ 45931 w 45935"/>
                <a:gd name="connsiteY25" fmla="*/ 21749 h 46347"/>
                <a:gd name="connsiteX26" fmla="*/ 45839 w 45935"/>
                <a:gd name="connsiteY26" fmla="*/ 23159 h 4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5935" h="46347">
                  <a:moveTo>
                    <a:pt x="45839" y="23159"/>
                  </a:moveTo>
                  <a:cubicBezTo>
                    <a:pt x="45655" y="23159"/>
                    <a:pt x="45747" y="21167"/>
                    <a:pt x="44828" y="17735"/>
                  </a:cubicBezTo>
                  <a:cubicBezTo>
                    <a:pt x="43908" y="14395"/>
                    <a:pt x="41641" y="9493"/>
                    <a:pt x="36585" y="5693"/>
                  </a:cubicBezTo>
                  <a:cubicBezTo>
                    <a:pt x="34073" y="3855"/>
                    <a:pt x="30947" y="2292"/>
                    <a:pt x="27332" y="1679"/>
                  </a:cubicBezTo>
                  <a:cubicBezTo>
                    <a:pt x="23747" y="1097"/>
                    <a:pt x="19702" y="1220"/>
                    <a:pt x="15872" y="2690"/>
                  </a:cubicBezTo>
                  <a:cubicBezTo>
                    <a:pt x="12042" y="4069"/>
                    <a:pt x="8396" y="6704"/>
                    <a:pt x="5791" y="10289"/>
                  </a:cubicBezTo>
                  <a:cubicBezTo>
                    <a:pt x="3125" y="13844"/>
                    <a:pt x="1624" y="18409"/>
                    <a:pt x="1563" y="23128"/>
                  </a:cubicBezTo>
                  <a:cubicBezTo>
                    <a:pt x="1593" y="27847"/>
                    <a:pt x="3095" y="32412"/>
                    <a:pt x="5791" y="35966"/>
                  </a:cubicBezTo>
                  <a:cubicBezTo>
                    <a:pt x="8396" y="39582"/>
                    <a:pt x="12042" y="42186"/>
                    <a:pt x="15872" y="43565"/>
                  </a:cubicBezTo>
                  <a:cubicBezTo>
                    <a:pt x="19702" y="45036"/>
                    <a:pt x="23747" y="45159"/>
                    <a:pt x="27332" y="44576"/>
                  </a:cubicBezTo>
                  <a:cubicBezTo>
                    <a:pt x="30947" y="43964"/>
                    <a:pt x="34073" y="42401"/>
                    <a:pt x="36585" y="40563"/>
                  </a:cubicBezTo>
                  <a:cubicBezTo>
                    <a:pt x="41641" y="36794"/>
                    <a:pt x="43908" y="31891"/>
                    <a:pt x="44828" y="28521"/>
                  </a:cubicBezTo>
                  <a:cubicBezTo>
                    <a:pt x="45747" y="25181"/>
                    <a:pt x="45655" y="23159"/>
                    <a:pt x="45839" y="23159"/>
                  </a:cubicBezTo>
                  <a:cubicBezTo>
                    <a:pt x="45900" y="23159"/>
                    <a:pt x="45931" y="23649"/>
                    <a:pt x="45931" y="24599"/>
                  </a:cubicBezTo>
                  <a:cubicBezTo>
                    <a:pt x="45961" y="25549"/>
                    <a:pt x="45839" y="26958"/>
                    <a:pt x="45440" y="28735"/>
                  </a:cubicBezTo>
                  <a:cubicBezTo>
                    <a:pt x="44705" y="32228"/>
                    <a:pt x="42499" y="37407"/>
                    <a:pt x="37290" y="41512"/>
                  </a:cubicBezTo>
                  <a:cubicBezTo>
                    <a:pt x="34716" y="43504"/>
                    <a:pt x="31407" y="45220"/>
                    <a:pt x="27607" y="45925"/>
                  </a:cubicBezTo>
                  <a:cubicBezTo>
                    <a:pt x="23808" y="46629"/>
                    <a:pt x="19518" y="46537"/>
                    <a:pt x="15412" y="45005"/>
                  </a:cubicBezTo>
                  <a:cubicBezTo>
                    <a:pt x="11306" y="43565"/>
                    <a:pt x="7384" y="40808"/>
                    <a:pt x="4565" y="36947"/>
                  </a:cubicBezTo>
                  <a:cubicBezTo>
                    <a:pt x="1685" y="33147"/>
                    <a:pt x="61" y="28214"/>
                    <a:pt x="0" y="23159"/>
                  </a:cubicBezTo>
                  <a:cubicBezTo>
                    <a:pt x="31" y="18103"/>
                    <a:pt x="1685" y="13200"/>
                    <a:pt x="4565" y="9401"/>
                  </a:cubicBezTo>
                  <a:cubicBezTo>
                    <a:pt x="7354" y="5540"/>
                    <a:pt x="11306" y="2782"/>
                    <a:pt x="15412" y="1342"/>
                  </a:cubicBezTo>
                  <a:cubicBezTo>
                    <a:pt x="19518" y="-190"/>
                    <a:pt x="23808" y="-282"/>
                    <a:pt x="27607" y="423"/>
                  </a:cubicBezTo>
                  <a:cubicBezTo>
                    <a:pt x="31438" y="1128"/>
                    <a:pt x="34716" y="2844"/>
                    <a:pt x="37290" y="4835"/>
                  </a:cubicBezTo>
                  <a:cubicBezTo>
                    <a:pt x="42499" y="8911"/>
                    <a:pt x="44705" y="14119"/>
                    <a:pt x="45440" y="17613"/>
                  </a:cubicBezTo>
                  <a:cubicBezTo>
                    <a:pt x="45839" y="19390"/>
                    <a:pt x="45961" y="20799"/>
                    <a:pt x="45931" y="21749"/>
                  </a:cubicBezTo>
                  <a:cubicBezTo>
                    <a:pt x="45900" y="22668"/>
                    <a:pt x="45869" y="23159"/>
                    <a:pt x="45839" y="23159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A56087B8-B41E-47E2-9C00-244CDEC77036}"/>
                </a:ext>
              </a:extLst>
            </p:cNvPr>
            <p:cNvSpPr/>
            <p:nvPr/>
          </p:nvSpPr>
          <p:spPr>
            <a:xfrm>
              <a:off x="5522476" y="3255231"/>
              <a:ext cx="13730" cy="6962"/>
            </a:xfrm>
            <a:custGeom>
              <a:avLst/>
              <a:gdLst>
                <a:gd name="connsiteX0" fmla="*/ 110 w 13730"/>
                <a:gd name="connsiteY0" fmla="*/ 6956 h 6962"/>
                <a:gd name="connsiteX1" fmla="*/ 631 w 13730"/>
                <a:gd name="connsiteY1" fmla="*/ 4412 h 6962"/>
                <a:gd name="connsiteX2" fmla="*/ 5503 w 13730"/>
                <a:gd name="connsiteY2" fmla="*/ 368 h 6962"/>
                <a:gd name="connsiteX3" fmla="*/ 11815 w 13730"/>
                <a:gd name="connsiteY3" fmla="*/ 919 h 6962"/>
                <a:gd name="connsiteX4" fmla="*/ 13715 w 13730"/>
                <a:gd name="connsiteY4" fmla="*/ 2727 h 6962"/>
                <a:gd name="connsiteX5" fmla="*/ 11386 w 13730"/>
                <a:gd name="connsiteY5" fmla="*/ 1961 h 6962"/>
                <a:gd name="connsiteX6" fmla="*/ 5994 w 13730"/>
                <a:gd name="connsiteY6" fmla="*/ 1869 h 6962"/>
                <a:gd name="connsiteX7" fmla="*/ 1612 w 13730"/>
                <a:gd name="connsiteY7" fmla="*/ 4995 h 6962"/>
                <a:gd name="connsiteX8" fmla="*/ 110 w 13730"/>
                <a:gd name="connsiteY8" fmla="*/ 6956 h 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30" h="6962">
                  <a:moveTo>
                    <a:pt x="110" y="6956"/>
                  </a:moveTo>
                  <a:cubicBezTo>
                    <a:pt x="-73" y="6925"/>
                    <a:pt x="-104" y="5883"/>
                    <a:pt x="631" y="4412"/>
                  </a:cubicBezTo>
                  <a:cubicBezTo>
                    <a:pt x="1367" y="2972"/>
                    <a:pt x="3021" y="1134"/>
                    <a:pt x="5503" y="368"/>
                  </a:cubicBezTo>
                  <a:cubicBezTo>
                    <a:pt x="7985" y="-398"/>
                    <a:pt x="10375" y="153"/>
                    <a:pt x="11815" y="919"/>
                  </a:cubicBezTo>
                  <a:cubicBezTo>
                    <a:pt x="13255" y="1716"/>
                    <a:pt x="13838" y="2574"/>
                    <a:pt x="13715" y="2727"/>
                  </a:cubicBezTo>
                  <a:cubicBezTo>
                    <a:pt x="13562" y="2911"/>
                    <a:pt x="12765" y="2390"/>
                    <a:pt x="11386" y="1961"/>
                  </a:cubicBezTo>
                  <a:cubicBezTo>
                    <a:pt x="10038" y="1532"/>
                    <a:pt x="8016" y="1256"/>
                    <a:pt x="5994" y="1869"/>
                  </a:cubicBezTo>
                  <a:cubicBezTo>
                    <a:pt x="3971" y="2513"/>
                    <a:pt x="2470" y="3861"/>
                    <a:pt x="1612" y="4995"/>
                  </a:cubicBezTo>
                  <a:cubicBezTo>
                    <a:pt x="723" y="6159"/>
                    <a:pt x="356" y="7047"/>
                    <a:pt x="110" y="6956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D29CB756-E95C-4CAE-B5D4-805621B0B980}"/>
                </a:ext>
              </a:extLst>
            </p:cNvPr>
            <p:cNvSpPr/>
            <p:nvPr/>
          </p:nvSpPr>
          <p:spPr>
            <a:xfrm>
              <a:off x="5462282" y="3279829"/>
              <a:ext cx="17870" cy="6172"/>
            </a:xfrm>
            <a:custGeom>
              <a:avLst/>
              <a:gdLst>
                <a:gd name="connsiteX0" fmla="*/ 17866 w 17870"/>
                <a:gd name="connsiteY0" fmla="*/ 99 h 6172"/>
                <a:gd name="connsiteX1" fmla="*/ 9195 w 17870"/>
                <a:gd name="connsiteY1" fmla="*/ 3837 h 6172"/>
                <a:gd name="connsiteX2" fmla="*/ 3 w 17870"/>
                <a:gd name="connsiteY2" fmla="*/ 6074 h 6172"/>
                <a:gd name="connsiteX3" fmla="*/ 8674 w 17870"/>
                <a:gd name="connsiteY3" fmla="*/ 2335 h 6172"/>
                <a:gd name="connsiteX4" fmla="*/ 17866 w 17870"/>
                <a:gd name="connsiteY4" fmla="*/ 99 h 6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70" h="6172">
                  <a:moveTo>
                    <a:pt x="17866" y="99"/>
                  </a:moveTo>
                  <a:cubicBezTo>
                    <a:pt x="18020" y="497"/>
                    <a:pt x="14128" y="2182"/>
                    <a:pt x="9195" y="3837"/>
                  </a:cubicBezTo>
                  <a:cubicBezTo>
                    <a:pt x="4262" y="5491"/>
                    <a:pt x="156" y="6503"/>
                    <a:pt x="3" y="6074"/>
                  </a:cubicBezTo>
                  <a:cubicBezTo>
                    <a:pt x="-120" y="5645"/>
                    <a:pt x="3772" y="3959"/>
                    <a:pt x="8674" y="2335"/>
                  </a:cubicBezTo>
                  <a:cubicBezTo>
                    <a:pt x="13607" y="681"/>
                    <a:pt x="17713" y="-330"/>
                    <a:pt x="17866" y="99"/>
                  </a:cubicBezTo>
                  <a:close/>
                </a:path>
              </a:pathLst>
            </a:custGeom>
            <a:solidFill>
              <a:srgbClr val="455A64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208BA05B-09FB-4EB5-8D4D-56529B74257C}"/>
                </a:ext>
              </a:extLst>
            </p:cNvPr>
            <p:cNvSpPr/>
            <p:nvPr/>
          </p:nvSpPr>
          <p:spPr>
            <a:xfrm>
              <a:off x="5797680" y="3325614"/>
              <a:ext cx="77222" cy="83071"/>
            </a:xfrm>
            <a:custGeom>
              <a:avLst/>
              <a:gdLst>
                <a:gd name="connsiteX0" fmla="*/ 72803 w 77222"/>
                <a:gd name="connsiteY0" fmla="*/ 22919 h 83071"/>
                <a:gd name="connsiteX1" fmla="*/ 76664 w 77222"/>
                <a:gd name="connsiteY1" fmla="*/ 13513 h 83071"/>
                <a:gd name="connsiteX2" fmla="*/ 52181 w 77222"/>
                <a:gd name="connsiteY2" fmla="*/ 20897 h 83071"/>
                <a:gd name="connsiteX3" fmla="*/ 71822 w 77222"/>
                <a:gd name="connsiteY3" fmla="*/ 10173 h 83071"/>
                <a:gd name="connsiteX4" fmla="*/ 75162 w 77222"/>
                <a:gd name="connsiteY4" fmla="*/ 0 h 83071"/>
                <a:gd name="connsiteX5" fmla="*/ 49945 w 77222"/>
                <a:gd name="connsiteY5" fmla="*/ 9744 h 83071"/>
                <a:gd name="connsiteX6" fmla="*/ 35697 w 77222"/>
                <a:gd name="connsiteY6" fmla="*/ 18139 h 83071"/>
                <a:gd name="connsiteX7" fmla="*/ 0 w 77222"/>
                <a:gd name="connsiteY7" fmla="*/ 72649 h 83071"/>
                <a:gd name="connsiteX8" fmla="*/ 32847 w 77222"/>
                <a:gd name="connsiteY8" fmla="*/ 82363 h 83071"/>
                <a:gd name="connsiteX9" fmla="*/ 48198 w 77222"/>
                <a:gd name="connsiteY9" fmla="*/ 52151 h 83071"/>
                <a:gd name="connsiteX10" fmla="*/ 65694 w 77222"/>
                <a:gd name="connsiteY10" fmla="*/ 45869 h 83071"/>
                <a:gd name="connsiteX11" fmla="*/ 70934 w 77222"/>
                <a:gd name="connsiteY11" fmla="*/ 39956 h 83071"/>
                <a:gd name="connsiteX12" fmla="*/ 51507 w 77222"/>
                <a:gd name="connsiteY12" fmla="*/ 43663 h 83071"/>
                <a:gd name="connsiteX13" fmla="*/ 73783 w 77222"/>
                <a:gd name="connsiteY13" fmla="*/ 34471 h 83071"/>
                <a:gd name="connsiteX14" fmla="*/ 74703 w 77222"/>
                <a:gd name="connsiteY14" fmla="*/ 28864 h 83071"/>
                <a:gd name="connsiteX15" fmla="*/ 50282 w 77222"/>
                <a:gd name="connsiteY15" fmla="*/ 32663 h 83071"/>
                <a:gd name="connsiteX16" fmla="*/ 52794 w 77222"/>
                <a:gd name="connsiteY16" fmla="*/ 30825 h 83071"/>
                <a:gd name="connsiteX17" fmla="*/ 72803 w 77222"/>
                <a:gd name="connsiteY17" fmla="*/ 22919 h 83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222" h="83071">
                  <a:moveTo>
                    <a:pt x="72803" y="22919"/>
                  </a:moveTo>
                  <a:cubicBezTo>
                    <a:pt x="79391" y="20376"/>
                    <a:pt x="76664" y="13513"/>
                    <a:pt x="76664" y="13513"/>
                  </a:cubicBezTo>
                  <a:lnTo>
                    <a:pt x="52181" y="20897"/>
                  </a:lnTo>
                  <a:cubicBezTo>
                    <a:pt x="52181" y="20897"/>
                    <a:pt x="65173" y="15627"/>
                    <a:pt x="71822" y="10173"/>
                  </a:cubicBezTo>
                  <a:cubicBezTo>
                    <a:pt x="78471" y="4719"/>
                    <a:pt x="75162" y="0"/>
                    <a:pt x="75162" y="0"/>
                  </a:cubicBezTo>
                  <a:lnTo>
                    <a:pt x="49945" y="9744"/>
                  </a:lnTo>
                  <a:lnTo>
                    <a:pt x="35697" y="18139"/>
                  </a:lnTo>
                  <a:lnTo>
                    <a:pt x="0" y="72649"/>
                  </a:lnTo>
                  <a:cubicBezTo>
                    <a:pt x="0" y="72649"/>
                    <a:pt x="27914" y="86285"/>
                    <a:pt x="32847" y="82363"/>
                  </a:cubicBezTo>
                  <a:cubicBezTo>
                    <a:pt x="41518" y="75438"/>
                    <a:pt x="46268" y="59995"/>
                    <a:pt x="48198" y="52151"/>
                  </a:cubicBezTo>
                  <a:cubicBezTo>
                    <a:pt x="51691" y="51140"/>
                    <a:pt x="62722" y="47861"/>
                    <a:pt x="65694" y="45869"/>
                  </a:cubicBezTo>
                  <a:cubicBezTo>
                    <a:pt x="69248" y="43510"/>
                    <a:pt x="70934" y="39956"/>
                    <a:pt x="70934" y="39956"/>
                  </a:cubicBezTo>
                  <a:lnTo>
                    <a:pt x="51507" y="43663"/>
                  </a:lnTo>
                  <a:cubicBezTo>
                    <a:pt x="54326" y="42836"/>
                    <a:pt x="72343" y="36677"/>
                    <a:pt x="73783" y="34471"/>
                  </a:cubicBezTo>
                  <a:cubicBezTo>
                    <a:pt x="76296" y="30580"/>
                    <a:pt x="74703" y="28864"/>
                    <a:pt x="74703" y="28864"/>
                  </a:cubicBezTo>
                  <a:lnTo>
                    <a:pt x="50282" y="32663"/>
                  </a:lnTo>
                  <a:lnTo>
                    <a:pt x="52794" y="30825"/>
                  </a:lnTo>
                  <a:cubicBezTo>
                    <a:pt x="52764" y="30825"/>
                    <a:pt x="66460" y="25401"/>
                    <a:pt x="72803" y="22919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DCCBF5BD-1C82-476A-9E4D-55AF2B074A1A}"/>
                </a:ext>
              </a:extLst>
            </p:cNvPr>
            <p:cNvSpPr/>
            <p:nvPr/>
          </p:nvSpPr>
          <p:spPr>
            <a:xfrm>
              <a:off x="5543361" y="3403380"/>
              <a:ext cx="272366" cy="148534"/>
            </a:xfrm>
            <a:custGeom>
              <a:avLst/>
              <a:gdLst>
                <a:gd name="connsiteX0" fmla="*/ 237191 w 272366"/>
                <a:gd name="connsiteY0" fmla="*/ 1900 h 148534"/>
                <a:gd name="connsiteX1" fmla="*/ 155043 w 272366"/>
                <a:gd name="connsiteY1" fmla="*/ 77123 h 148534"/>
                <a:gd name="connsiteX2" fmla="*/ 19763 w 272366"/>
                <a:gd name="connsiteY2" fmla="*/ 0 h 148534"/>
                <a:gd name="connsiteX3" fmla="*/ 0 w 272366"/>
                <a:gd name="connsiteY3" fmla="*/ 96212 h 148534"/>
                <a:gd name="connsiteX4" fmla="*/ 163255 w 272366"/>
                <a:gd name="connsiteY4" fmla="*/ 147934 h 148534"/>
                <a:gd name="connsiteX5" fmla="*/ 184397 w 272366"/>
                <a:gd name="connsiteY5" fmla="*/ 138405 h 148534"/>
                <a:gd name="connsiteX6" fmla="*/ 272367 w 272366"/>
                <a:gd name="connsiteY6" fmla="*/ 12563 h 148534"/>
                <a:gd name="connsiteX7" fmla="*/ 237191 w 272366"/>
                <a:gd name="connsiteY7" fmla="*/ 1900 h 148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366" h="148534">
                  <a:moveTo>
                    <a:pt x="237191" y="1900"/>
                  </a:moveTo>
                  <a:lnTo>
                    <a:pt x="155043" y="77123"/>
                  </a:lnTo>
                  <a:cubicBezTo>
                    <a:pt x="144840" y="74764"/>
                    <a:pt x="19763" y="0"/>
                    <a:pt x="19763" y="0"/>
                  </a:cubicBezTo>
                  <a:lnTo>
                    <a:pt x="0" y="96212"/>
                  </a:lnTo>
                  <a:cubicBezTo>
                    <a:pt x="0" y="96212"/>
                    <a:pt x="128018" y="155073"/>
                    <a:pt x="163255" y="147934"/>
                  </a:cubicBezTo>
                  <a:cubicBezTo>
                    <a:pt x="169015" y="146770"/>
                    <a:pt x="178483" y="146034"/>
                    <a:pt x="184397" y="138405"/>
                  </a:cubicBezTo>
                  <a:cubicBezTo>
                    <a:pt x="212587" y="102187"/>
                    <a:pt x="272367" y="12563"/>
                    <a:pt x="272367" y="12563"/>
                  </a:cubicBezTo>
                  <a:lnTo>
                    <a:pt x="237191" y="1900"/>
                  </a:ln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34DD05C3-AC29-4AC0-921E-DB63635443CE}"/>
                </a:ext>
              </a:extLst>
            </p:cNvPr>
            <p:cNvSpPr/>
            <p:nvPr/>
          </p:nvSpPr>
          <p:spPr>
            <a:xfrm>
              <a:off x="5780797" y="3333029"/>
              <a:ext cx="72894" cy="109387"/>
            </a:xfrm>
            <a:custGeom>
              <a:avLst/>
              <a:gdLst>
                <a:gd name="connsiteX0" fmla="*/ 55583 w 72894"/>
                <a:gd name="connsiteY0" fmla="*/ 68482 h 109387"/>
                <a:gd name="connsiteX1" fmla="*/ 40752 w 72894"/>
                <a:gd name="connsiteY1" fmla="*/ 61343 h 109387"/>
                <a:gd name="connsiteX2" fmla="*/ 51477 w 72894"/>
                <a:gd name="connsiteY2" fmla="*/ 41947 h 109387"/>
                <a:gd name="connsiteX3" fmla="*/ 59872 w 72894"/>
                <a:gd name="connsiteY3" fmla="*/ 24176 h 109387"/>
                <a:gd name="connsiteX4" fmla="*/ 72895 w 72894"/>
                <a:gd name="connsiteY4" fmla="*/ 0 h 109387"/>
                <a:gd name="connsiteX5" fmla="*/ 53070 w 72894"/>
                <a:gd name="connsiteY5" fmla="*/ 7446 h 109387"/>
                <a:gd name="connsiteX6" fmla="*/ 47095 w 72894"/>
                <a:gd name="connsiteY6" fmla="*/ 12011 h 109387"/>
                <a:gd name="connsiteX7" fmla="*/ 14463 w 72894"/>
                <a:gd name="connsiteY7" fmla="*/ 57084 h 109387"/>
                <a:gd name="connsiteX8" fmla="*/ 0 w 72894"/>
                <a:gd name="connsiteY8" fmla="*/ 71822 h 109387"/>
                <a:gd name="connsiteX9" fmla="*/ 13972 w 72894"/>
                <a:gd name="connsiteY9" fmla="*/ 109388 h 109387"/>
                <a:gd name="connsiteX10" fmla="*/ 30396 w 72894"/>
                <a:gd name="connsiteY10" fmla="*/ 83772 h 109387"/>
                <a:gd name="connsiteX11" fmla="*/ 39986 w 72894"/>
                <a:gd name="connsiteY11" fmla="*/ 81535 h 109387"/>
                <a:gd name="connsiteX12" fmla="*/ 55583 w 72894"/>
                <a:gd name="connsiteY12" fmla="*/ 68482 h 10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894" h="109387">
                  <a:moveTo>
                    <a:pt x="55583" y="68482"/>
                  </a:moveTo>
                  <a:lnTo>
                    <a:pt x="40752" y="61343"/>
                  </a:lnTo>
                  <a:lnTo>
                    <a:pt x="51477" y="41947"/>
                  </a:lnTo>
                  <a:lnTo>
                    <a:pt x="59872" y="24176"/>
                  </a:lnTo>
                  <a:lnTo>
                    <a:pt x="72895" y="0"/>
                  </a:lnTo>
                  <a:lnTo>
                    <a:pt x="53070" y="7446"/>
                  </a:lnTo>
                  <a:cubicBezTo>
                    <a:pt x="50711" y="8457"/>
                    <a:pt x="48658" y="10020"/>
                    <a:pt x="47095" y="12011"/>
                  </a:cubicBezTo>
                  <a:lnTo>
                    <a:pt x="14463" y="57084"/>
                  </a:lnTo>
                  <a:lnTo>
                    <a:pt x="0" y="71822"/>
                  </a:lnTo>
                  <a:lnTo>
                    <a:pt x="13972" y="109388"/>
                  </a:lnTo>
                  <a:lnTo>
                    <a:pt x="30396" y="83772"/>
                  </a:lnTo>
                  <a:cubicBezTo>
                    <a:pt x="30396" y="83772"/>
                    <a:pt x="30396" y="83772"/>
                    <a:pt x="39986" y="81535"/>
                  </a:cubicBezTo>
                  <a:cubicBezTo>
                    <a:pt x="49516" y="79329"/>
                    <a:pt x="55583" y="68482"/>
                    <a:pt x="55583" y="68482"/>
                  </a:cubicBez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E5C7F2B5-207F-4EA0-B8CB-E410DD1E29C2}"/>
                </a:ext>
              </a:extLst>
            </p:cNvPr>
            <p:cNvSpPr/>
            <p:nvPr/>
          </p:nvSpPr>
          <p:spPr>
            <a:xfrm>
              <a:off x="5805953" y="3361629"/>
              <a:ext cx="40981" cy="41812"/>
            </a:xfrm>
            <a:custGeom>
              <a:avLst/>
              <a:gdLst>
                <a:gd name="connsiteX0" fmla="*/ 6588 w 40981"/>
                <a:gd name="connsiteY0" fmla="*/ 9364 h 41812"/>
                <a:gd name="connsiteX1" fmla="*/ 27883 w 40981"/>
                <a:gd name="connsiteY1" fmla="*/ 1060 h 41812"/>
                <a:gd name="connsiteX2" fmla="*/ 35237 w 40981"/>
                <a:gd name="connsiteY2" fmla="*/ 110 h 41812"/>
                <a:gd name="connsiteX3" fmla="*/ 40814 w 40981"/>
                <a:gd name="connsiteY3" fmla="*/ 4461 h 41812"/>
                <a:gd name="connsiteX4" fmla="*/ 37413 w 40981"/>
                <a:gd name="connsiteY4" fmla="*/ 11631 h 41812"/>
                <a:gd name="connsiteX5" fmla="*/ 29446 w 40981"/>
                <a:gd name="connsiteY5" fmla="*/ 14419 h 41812"/>
                <a:gd name="connsiteX6" fmla="*/ 22061 w 40981"/>
                <a:gd name="connsiteY6" fmla="*/ 18311 h 41812"/>
                <a:gd name="connsiteX7" fmla="*/ 18905 w 40981"/>
                <a:gd name="connsiteY7" fmla="*/ 25603 h 41812"/>
                <a:gd name="connsiteX8" fmla="*/ 0 w 40981"/>
                <a:gd name="connsiteY8" fmla="*/ 41812 h 4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81" h="41812">
                  <a:moveTo>
                    <a:pt x="6588" y="9364"/>
                  </a:moveTo>
                  <a:cubicBezTo>
                    <a:pt x="13421" y="5932"/>
                    <a:pt x="20529" y="3144"/>
                    <a:pt x="27883" y="1060"/>
                  </a:cubicBezTo>
                  <a:cubicBezTo>
                    <a:pt x="30273" y="355"/>
                    <a:pt x="32786" y="-258"/>
                    <a:pt x="35237" y="110"/>
                  </a:cubicBezTo>
                  <a:cubicBezTo>
                    <a:pt x="37688" y="478"/>
                    <a:pt x="40140" y="2041"/>
                    <a:pt x="40814" y="4461"/>
                  </a:cubicBezTo>
                  <a:cubicBezTo>
                    <a:pt x="41549" y="7188"/>
                    <a:pt x="39772" y="10099"/>
                    <a:pt x="37413" y="11631"/>
                  </a:cubicBezTo>
                  <a:cubicBezTo>
                    <a:pt x="35053" y="13163"/>
                    <a:pt x="32173" y="13715"/>
                    <a:pt x="29446" y="14419"/>
                  </a:cubicBezTo>
                  <a:cubicBezTo>
                    <a:pt x="26719" y="15124"/>
                    <a:pt x="23869" y="16135"/>
                    <a:pt x="22061" y="18311"/>
                  </a:cubicBezTo>
                  <a:cubicBezTo>
                    <a:pt x="20346" y="20364"/>
                    <a:pt x="19794" y="23091"/>
                    <a:pt x="18905" y="25603"/>
                  </a:cubicBezTo>
                  <a:cubicBezTo>
                    <a:pt x="15964" y="33784"/>
                    <a:pt x="8518" y="40158"/>
                    <a:pt x="0" y="41812"/>
                  </a:cubicBezTo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700BD622-DFCE-46C1-ACF5-359CF8B83A1E}"/>
                </a:ext>
              </a:extLst>
            </p:cNvPr>
            <p:cNvSpPr/>
            <p:nvPr/>
          </p:nvSpPr>
          <p:spPr>
            <a:xfrm>
              <a:off x="5805922" y="3361042"/>
              <a:ext cx="41708" cy="42460"/>
            </a:xfrm>
            <a:custGeom>
              <a:avLst/>
              <a:gdLst>
                <a:gd name="connsiteX0" fmla="*/ 1 w 41708"/>
                <a:gd name="connsiteY0" fmla="*/ 42399 h 42460"/>
                <a:gd name="connsiteX1" fmla="*/ 3585 w 41708"/>
                <a:gd name="connsiteY1" fmla="*/ 41081 h 42460"/>
                <a:gd name="connsiteX2" fmla="*/ 12134 w 41708"/>
                <a:gd name="connsiteY2" fmla="*/ 35505 h 42460"/>
                <a:gd name="connsiteX3" fmla="*/ 16455 w 41708"/>
                <a:gd name="connsiteY3" fmla="*/ 29989 h 42460"/>
                <a:gd name="connsiteX4" fmla="*/ 19457 w 41708"/>
                <a:gd name="connsiteY4" fmla="*/ 22452 h 42460"/>
                <a:gd name="connsiteX5" fmla="*/ 21664 w 41708"/>
                <a:gd name="connsiteY5" fmla="*/ 18315 h 42460"/>
                <a:gd name="connsiteX6" fmla="*/ 25708 w 41708"/>
                <a:gd name="connsiteY6" fmla="*/ 15496 h 42460"/>
                <a:gd name="connsiteX7" fmla="*/ 35084 w 41708"/>
                <a:gd name="connsiteY7" fmla="*/ 12616 h 42460"/>
                <a:gd name="connsiteX8" fmla="*/ 38853 w 41708"/>
                <a:gd name="connsiteY8" fmla="*/ 10011 h 42460"/>
                <a:gd name="connsiteX9" fmla="*/ 40324 w 41708"/>
                <a:gd name="connsiteY9" fmla="*/ 6089 h 42460"/>
                <a:gd name="connsiteX10" fmla="*/ 34594 w 41708"/>
                <a:gd name="connsiteY10" fmla="*/ 1309 h 42460"/>
                <a:gd name="connsiteX11" fmla="*/ 26719 w 41708"/>
                <a:gd name="connsiteY11" fmla="*/ 2658 h 42460"/>
                <a:gd name="connsiteX12" fmla="*/ 19886 w 41708"/>
                <a:gd name="connsiteY12" fmla="*/ 4833 h 42460"/>
                <a:gd name="connsiteX13" fmla="*/ 10204 w 41708"/>
                <a:gd name="connsiteY13" fmla="*/ 8602 h 42460"/>
                <a:gd name="connsiteX14" fmla="*/ 6650 w 41708"/>
                <a:gd name="connsiteY14" fmla="*/ 10011 h 42460"/>
                <a:gd name="connsiteX15" fmla="*/ 9959 w 41708"/>
                <a:gd name="connsiteY15" fmla="*/ 8112 h 42460"/>
                <a:gd name="connsiteX16" fmla="*/ 19519 w 41708"/>
                <a:gd name="connsiteY16" fmla="*/ 3914 h 42460"/>
                <a:gd name="connsiteX17" fmla="*/ 26352 w 41708"/>
                <a:gd name="connsiteY17" fmla="*/ 1555 h 42460"/>
                <a:gd name="connsiteX18" fmla="*/ 34655 w 41708"/>
                <a:gd name="connsiteY18" fmla="*/ 23 h 42460"/>
                <a:gd name="connsiteX19" fmla="*/ 39160 w 41708"/>
                <a:gd name="connsiteY19" fmla="*/ 1646 h 42460"/>
                <a:gd name="connsiteX20" fmla="*/ 41703 w 41708"/>
                <a:gd name="connsiteY20" fmla="*/ 6089 h 42460"/>
                <a:gd name="connsiteX21" fmla="*/ 35605 w 41708"/>
                <a:gd name="connsiteY21" fmla="*/ 14056 h 42460"/>
                <a:gd name="connsiteX22" fmla="*/ 26260 w 41708"/>
                <a:gd name="connsiteY22" fmla="*/ 16906 h 42460"/>
                <a:gd name="connsiteX23" fmla="*/ 22705 w 41708"/>
                <a:gd name="connsiteY23" fmla="*/ 19326 h 42460"/>
                <a:gd name="connsiteX24" fmla="*/ 20714 w 41708"/>
                <a:gd name="connsiteY24" fmla="*/ 23003 h 42460"/>
                <a:gd name="connsiteX25" fmla="*/ 17496 w 41708"/>
                <a:gd name="connsiteY25" fmla="*/ 30725 h 42460"/>
                <a:gd name="connsiteX26" fmla="*/ 12839 w 41708"/>
                <a:gd name="connsiteY26" fmla="*/ 36393 h 42460"/>
                <a:gd name="connsiteX27" fmla="*/ 3800 w 41708"/>
                <a:gd name="connsiteY27" fmla="*/ 41755 h 42460"/>
                <a:gd name="connsiteX28" fmla="*/ 1012 w 41708"/>
                <a:gd name="connsiteY28" fmla="*/ 42460 h 42460"/>
                <a:gd name="connsiteX29" fmla="*/ 1 w 41708"/>
                <a:gd name="connsiteY29" fmla="*/ 42399 h 4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708" h="42460">
                  <a:moveTo>
                    <a:pt x="1" y="42399"/>
                  </a:moveTo>
                  <a:cubicBezTo>
                    <a:pt x="-30" y="42276"/>
                    <a:pt x="1318" y="42000"/>
                    <a:pt x="3585" y="41081"/>
                  </a:cubicBezTo>
                  <a:cubicBezTo>
                    <a:pt x="5822" y="40162"/>
                    <a:pt x="9009" y="38538"/>
                    <a:pt x="12134" y="35505"/>
                  </a:cubicBezTo>
                  <a:cubicBezTo>
                    <a:pt x="13666" y="34003"/>
                    <a:pt x="15198" y="32165"/>
                    <a:pt x="16455" y="29989"/>
                  </a:cubicBezTo>
                  <a:cubicBezTo>
                    <a:pt x="17772" y="27783"/>
                    <a:pt x="18569" y="25301"/>
                    <a:pt x="19457" y="22452"/>
                  </a:cubicBezTo>
                  <a:cubicBezTo>
                    <a:pt x="19948" y="21042"/>
                    <a:pt x="20561" y="19571"/>
                    <a:pt x="21664" y="18315"/>
                  </a:cubicBezTo>
                  <a:cubicBezTo>
                    <a:pt x="22736" y="17059"/>
                    <a:pt x="24207" y="16140"/>
                    <a:pt x="25708" y="15496"/>
                  </a:cubicBezTo>
                  <a:cubicBezTo>
                    <a:pt x="28742" y="14148"/>
                    <a:pt x="32112" y="13842"/>
                    <a:pt x="35084" y="12616"/>
                  </a:cubicBezTo>
                  <a:cubicBezTo>
                    <a:pt x="36586" y="12003"/>
                    <a:pt x="37873" y="11176"/>
                    <a:pt x="38853" y="10011"/>
                  </a:cubicBezTo>
                  <a:cubicBezTo>
                    <a:pt x="39803" y="8878"/>
                    <a:pt x="40385" y="7438"/>
                    <a:pt x="40324" y="6089"/>
                  </a:cubicBezTo>
                  <a:cubicBezTo>
                    <a:pt x="40171" y="3270"/>
                    <a:pt x="37199" y="1463"/>
                    <a:pt x="34594" y="1309"/>
                  </a:cubicBezTo>
                  <a:cubicBezTo>
                    <a:pt x="31867" y="1095"/>
                    <a:pt x="29201" y="1953"/>
                    <a:pt x="26719" y="2658"/>
                  </a:cubicBezTo>
                  <a:cubicBezTo>
                    <a:pt x="24237" y="3393"/>
                    <a:pt x="21970" y="4128"/>
                    <a:pt x="19886" y="4833"/>
                  </a:cubicBezTo>
                  <a:cubicBezTo>
                    <a:pt x="15750" y="6273"/>
                    <a:pt x="12471" y="7621"/>
                    <a:pt x="10204" y="8602"/>
                  </a:cubicBezTo>
                  <a:cubicBezTo>
                    <a:pt x="7936" y="9552"/>
                    <a:pt x="6680" y="10103"/>
                    <a:pt x="6650" y="10011"/>
                  </a:cubicBezTo>
                  <a:cubicBezTo>
                    <a:pt x="6619" y="9920"/>
                    <a:pt x="7783" y="9215"/>
                    <a:pt x="9959" y="8112"/>
                  </a:cubicBezTo>
                  <a:cubicBezTo>
                    <a:pt x="12165" y="7009"/>
                    <a:pt x="15413" y="5477"/>
                    <a:pt x="19519" y="3914"/>
                  </a:cubicBezTo>
                  <a:cubicBezTo>
                    <a:pt x="21572" y="3117"/>
                    <a:pt x="23870" y="2321"/>
                    <a:pt x="26352" y="1555"/>
                  </a:cubicBezTo>
                  <a:cubicBezTo>
                    <a:pt x="28803" y="819"/>
                    <a:pt x="31530" y="-161"/>
                    <a:pt x="34655" y="23"/>
                  </a:cubicBezTo>
                  <a:cubicBezTo>
                    <a:pt x="36218" y="114"/>
                    <a:pt x="37811" y="635"/>
                    <a:pt x="39160" y="1646"/>
                  </a:cubicBezTo>
                  <a:cubicBezTo>
                    <a:pt x="40508" y="2627"/>
                    <a:pt x="41611" y="4251"/>
                    <a:pt x="41703" y="6089"/>
                  </a:cubicBezTo>
                  <a:cubicBezTo>
                    <a:pt x="41856" y="9828"/>
                    <a:pt x="38853" y="12830"/>
                    <a:pt x="35605" y="14056"/>
                  </a:cubicBezTo>
                  <a:cubicBezTo>
                    <a:pt x="32357" y="15374"/>
                    <a:pt x="29017" y="15680"/>
                    <a:pt x="26260" y="16906"/>
                  </a:cubicBezTo>
                  <a:cubicBezTo>
                    <a:pt x="24881" y="17488"/>
                    <a:pt x="23625" y="18284"/>
                    <a:pt x="22705" y="19326"/>
                  </a:cubicBezTo>
                  <a:cubicBezTo>
                    <a:pt x="21786" y="20368"/>
                    <a:pt x="21204" y="21686"/>
                    <a:pt x="20714" y="23003"/>
                  </a:cubicBezTo>
                  <a:cubicBezTo>
                    <a:pt x="19825" y="25700"/>
                    <a:pt x="18906" y="28488"/>
                    <a:pt x="17496" y="30725"/>
                  </a:cubicBezTo>
                  <a:cubicBezTo>
                    <a:pt x="16148" y="32992"/>
                    <a:pt x="14494" y="34861"/>
                    <a:pt x="12839" y="36393"/>
                  </a:cubicBezTo>
                  <a:cubicBezTo>
                    <a:pt x="9530" y="39427"/>
                    <a:pt x="6159" y="40989"/>
                    <a:pt x="3800" y="41755"/>
                  </a:cubicBezTo>
                  <a:cubicBezTo>
                    <a:pt x="2605" y="42123"/>
                    <a:pt x="1686" y="42368"/>
                    <a:pt x="1012" y="42460"/>
                  </a:cubicBezTo>
                  <a:cubicBezTo>
                    <a:pt x="338" y="42429"/>
                    <a:pt x="1" y="42460"/>
                    <a:pt x="1" y="42399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5EC522D3-14A8-463E-8076-6E3A91B06991}"/>
                </a:ext>
              </a:extLst>
            </p:cNvPr>
            <p:cNvSpPr/>
            <p:nvPr/>
          </p:nvSpPr>
          <p:spPr>
            <a:xfrm>
              <a:off x="5344226" y="3674092"/>
              <a:ext cx="240411" cy="64866"/>
            </a:xfrm>
            <a:custGeom>
              <a:avLst/>
              <a:gdLst>
                <a:gd name="connsiteX0" fmla="*/ 209614 w 240411"/>
                <a:gd name="connsiteY0" fmla="*/ 0 h 64866"/>
                <a:gd name="connsiteX1" fmla="*/ 41243 w 240411"/>
                <a:gd name="connsiteY1" fmla="*/ 0 h 64866"/>
                <a:gd name="connsiteX2" fmla="*/ 0 w 240411"/>
                <a:gd name="connsiteY2" fmla="*/ 63886 h 64866"/>
                <a:gd name="connsiteX3" fmla="*/ 239979 w 240411"/>
                <a:gd name="connsiteY3" fmla="*/ 64867 h 64866"/>
                <a:gd name="connsiteX4" fmla="*/ 209614 w 240411"/>
                <a:gd name="connsiteY4" fmla="*/ 0 h 64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411" h="64866">
                  <a:moveTo>
                    <a:pt x="209614" y="0"/>
                  </a:moveTo>
                  <a:lnTo>
                    <a:pt x="41243" y="0"/>
                  </a:lnTo>
                  <a:cubicBezTo>
                    <a:pt x="41243" y="0"/>
                    <a:pt x="16393" y="31284"/>
                    <a:pt x="0" y="63886"/>
                  </a:cubicBezTo>
                  <a:lnTo>
                    <a:pt x="239979" y="64867"/>
                  </a:lnTo>
                  <a:cubicBezTo>
                    <a:pt x="244668" y="57145"/>
                    <a:pt x="209614" y="0"/>
                    <a:pt x="209614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8A67956-7043-49DF-9D59-9A706A69F08D}"/>
                </a:ext>
              </a:extLst>
            </p:cNvPr>
            <p:cNvSpPr/>
            <p:nvPr/>
          </p:nvSpPr>
          <p:spPr>
            <a:xfrm>
              <a:off x="5366132" y="3389285"/>
              <a:ext cx="237549" cy="284806"/>
            </a:xfrm>
            <a:custGeom>
              <a:avLst/>
              <a:gdLst>
                <a:gd name="connsiteX0" fmla="*/ 237469 w 237549"/>
                <a:gd name="connsiteY0" fmla="*/ 131725 h 284806"/>
                <a:gd name="connsiteX1" fmla="*/ 213079 w 237549"/>
                <a:gd name="connsiteY1" fmla="*/ 8978 h 284806"/>
                <a:gd name="connsiteX2" fmla="*/ 183908 w 237549"/>
                <a:gd name="connsiteY2" fmla="*/ 0 h 284806"/>
                <a:gd name="connsiteX3" fmla="*/ 183908 w 237549"/>
                <a:gd name="connsiteY3" fmla="*/ 0 h 284806"/>
                <a:gd name="connsiteX4" fmla="*/ 130226 w 237549"/>
                <a:gd name="connsiteY4" fmla="*/ 17190 h 284806"/>
                <a:gd name="connsiteX5" fmla="*/ 111320 w 237549"/>
                <a:gd name="connsiteY5" fmla="*/ 7292 h 284806"/>
                <a:gd name="connsiteX6" fmla="*/ 39743 w 237549"/>
                <a:gd name="connsiteY6" fmla="*/ 11643 h 284806"/>
                <a:gd name="connsiteX7" fmla="*/ 28682 w 237549"/>
                <a:gd name="connsiteY7" fmla="*/ 73661 h 284806"/>
                <a:gd name="connsiteX8" fmla="*/ 63 w 237549"/>
                <a:gd name="connsiteY8" fmla="*/ 238999 h 284806"/>
                <a:gd name="connsiteX9" fmla="*/ 19336 w 237549"/>
                <a:gd name="connsiteY9" fmla="*/ 284807 h 284806"/>
                <a:gd name="connsiteX10" fmla="*/ 187708 w 237549"/>
                <a:gd name="connsiteY10" fmla="*/ 284807 h 284806"/>
                <a:gd name="connsiteX11" fmla="*/ 208329 w 237549"/>
                <a:gd name="connsiteY11" fmla="*/ 232564 h 284806"/>
                <a:gd name="connsiteX12" fmla="*/ 237469 w 237549"/>
                <a:gd name="connsiteY12" fmla="*/ 131725 h 28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7549" h="284806">
                  <a:moveTo>
                    <a:pt x="237469" y="131725"/>
                  </a:moveTo>
                  <a:cubicBezTo>
                    <a:pt x="231770" y="56349"/>
                    <a:pt x="213079" y="8978"/>
                    <a:pt x="213079" y="8978"/>
                  </a:cubicBezTo>
                  <a:lnTo>
                    <a:pt x="183908" y="0"/>
                  </a:lnTo>
                  <a:lnTo>
                    <a:pt x="183908" y="0"/>
                  </a:lnTo>
                  <a:cubicBezTo>
                    <a:pt x="179496" y="19273"/>
                    <a:pt x="148120" y="25616"/>
                    <a:pt x="130226" y="17190"/>
                  </a:cubicBezTo>
                  <a:lnTo>
                    <a:pt x="111320" y="7292"/>
                  </a:lnTo>
                  <a:cubicBezTo>
                    <a:pt x="50621" y="-1808"/>
                    <a:pt x="53777" y="3217"/>
                    <a:pt x="39743" y="11643"/>
                  </a:cubicBezTo>
                  <a:cubicBezTo>
                    <a:pt x="27548" y="18967"/>
                    <a:pt x="28682" y="73661"/>
                    <a:pt x="28682" y="73661"/>
                  </a:cubicBezTo>
                  <a:cubicBezTo>
                    <a:pt x="28682" y="73661"/>
                    <a:pt x="-1561" y="216140"/>
                    <a:pt x="63" y="238999"/>
                  </a:cubicBezTo>
                  <a:cubicBezTo>
                    <a:pt x="1718" y="261857"/>
                    <a:pt x="19336" y="284807"/>
                    <a:pt x="19336" y="284807"/>
                  </a:cubicBezTo>
                  <a:cubicBezTo>
                    <a:pt x="19336" y="284807"/>
                    <a:pt x="170764" y="284807"/>
                    <a:pt x="187708" y="284807"/>
                  </a:cubicBezTo>
                  <a:cubicBezTo>
                    <a:pt x="204652" y="284807"/>
                    <a:pt x="209494" y="246475"/>
                    <a:pt x="208329" y="232564"/>
                  </a:cubicBezTo>
                  <a:cubicBezTo>
                    <a:pt x="207134" y="218653"/>
                    <a:pt x="239368" y="156483"/>
                    <a:pt x="237469" y="131725"/>
                  </a:cubicBezTo>
                  <a:close/>
                </a:path>
              </a:pathLst>
            </a:custGeom>
            <a:solidFill>
              <a:srgbClr val="F7AB9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8D32BCF-2BF1-443C-BA6B-7324BB4286AD}"/>
                </a:ext>
              </a:extLst>
            </p:cNvPr>
            <p:cNvSpPr/>
            <p:nvPr/>
          </p:nvSpPr>
          <p:spPr>
            <a:xfrm>
              <a:off x="5443714" y="3552103"/>
              <a:ext cx="81393" cy="28641"/>
            </a:xfrm>
            <a:custGeom>
              <a:avLst/>
              <a:gdLst>
                <a:gd name="connsiteX0" fmla="*/ 3 w 81393"/>
                <a:gd name="connsiteY0" fmla="*/ 16339 h 28641"/>
                <a:gd name="connsiteX1" fmla="*/ 2822 w 81393"/>
                <a:gd name="connsiteY1" fmla="*/ 18729 h 28641"/>
                <a:gd name="connsiteX2" fmla="*/ 11524 w 81393"/>
                <a:gd name="connsiteY2" fmla="*/ 23816 h 28641"/>
                <a:gd name="connsiteX3" fmla="*/ 25894 w 81393"/>
                <a:gd name="connsiteY3" fmla="*/ 28136 h 28641"/>
                <a:gd name="connsiteX4" fmla="*/ 44279 w 81393"/>
                <a:gd name="connsiteY4" fmla="*/ 27339 h 28641"/>
                <a:gd name="connsiteX5" fmla="*/ 72867 w 81393"/>
                <a:gd name="connsiteY5" fmla="*/ 10763 h 28641"/>
                <a:gd name="connsiteX6" fmla="*/ 79424 w 81393"/>
                <a:gd name="connsiteY6" fmla="*/ 3133 h 28641"/>
                <a:gd name="connsiteX7" fmla="*/ 81385 w 81393"/>
                <a:gd name="connsiteY7" fmla="*/ 8 h 28641"/>
                <a:gd name="connsiteX8" fmla="*/ 71978 w 81393"/>
                <a:gd name="connsiteY8" fmla="*/ 9874 h 28641"/>
                <a:gd name="connsiteX9" fmla="*/ 43850 w 81393"/>
                <a:gd name="connsiteY9" fmla="*/ 25623 h 28641"/>
                <a:gd name="connsiteX10" fmla="*/ 12014 w 81393"/>
                <a:gd name="connsiteY10" fmla="*/ 22682 h 28641"/>
                <a:gd name="connsiteX11" fmla="*/ 3 w 81393"/>
                <a:gd name="connsiteY11" fmla="*/ 16339 h 2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393" h="28641">
                  <a:moveTo>
                    <a:pt x="3" y="16339"/>
                  </a:moveTo>
                  <a:cubicBezTo>
                    <a:pt x="-59" y="16431"/>
                    <a:pt x="922" y="17320"/>
                    <a:pt x="2822" y="18729"/>
                  </a:cubicBezTo>
                  <a:cubicBezTo>
                    <a:pt x="4752" y="20139"/>
                    <a:pt x="7663" y="22008"/>
                    <a:pt x="11524" y="23816"/>
                  </a:cubicBezTo>
                  <a:cubicBezTo>
                    <a:pt x="15384" y="25623"/>
                    <a:pt x="20287" y="27278"/>
                    <a:pt x="25894" y="28136"/>
                  </a:cubicBezTo>
                  <a:cubicBezTo>
                    <a:pt x="31502" y="28933"/>
                    <a:pt x="37875" y="28871"/>
                    <a:pt x="44279" y="27339"/>
                  </a:cubicBezTo>
                  <a:cubicBezTo>
                    <a:pt x="57209" y="24336"/>
                    <a:pt x="66922" y="16707"/>
                    <a:pt x="72867" y="10763"/>
                  </a:cubicBezTo>
                  <a:cubicBezTo>
                    <a:pt x="75870" y="7729"/>
                    <a:pt x="78014" y="5033"/>
                    <a:pt x="79424" y="3133"/>
                  </a:cubicBezTo>
                  <a:cubicBezTo>
                    <a:pt x="80803" y="1203"/>
                    <a:pt x="81477" y="69"/>
                    <a:pt x="81385" y="8"/>
                  </a:cubicBezTo>
                  <a:cubicBezTo>
                    <a:pt x="81140" y="-207"/>
                    <a:pt x="78076" y="4083"/>
                    <a:pt x="71978" y="9874"/>
                  </a:cubicBezTo>
                  <a:cubicBezTo>
                    <a:pt x="65911" y="15512"/>
                    <a:pt x="56321" y="22743"/>
                    <a:pt x="43850" y="25623"/>
                  </a:cubicBezTo>
                  <a:cubicBezTo>
                    <a:pt x="31410" y="28626"/>
                    <a:pt x="19613" y="25961"/>
                    <a:pt x="12014" y="22682"/>
                  </a:cubicBezTo>
                  <a:cubicBezTo>
                    <a:pt x="4323" y="19373"/>
                    <a:pt x="187" y="16063"/>
                    <a:pt x="3" y="16339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F9C0562B-CA61-4112-8E34-887460CC25DA}"/>
                </a:ext>
              </a:extLst>
            </p:cNvPr>
            <p:cNvSpPr/>
            <p:nvPr/>
          </p:nvSpPr>
          <p:spPr>
            <a:xfrm>
              <a:off x="5444360" y="3555022"/>
              <a:ext cx="78747" cy="43282"/>
            </a:xfrm>
            <a:custGeom>
              <a:avLst/>
              <a:gdLst>
                <a:gd name="connsiteX0" fmla="*/ 77950 w 78747"/>
                <a:gd name="connsiteY0" fmla="*/ 950 h 43282"/>
                <a:gd name="connsiteX1" fmla="*/ 60638 w 78747"/>
                <a:gd name="connsiteY1" fmla="*/ 34042 h 43282"/>
                <a:gd name="connsiteX2" fmla="*/ 24605 w 78747"/>
                <a:gd name="connsiteY2" fmla="*/ 41886 h 43282"/>
                <a:gd name="connsiteX3" fmla="*/ 0 w 78747"/>
                <a:gd name="connsiteY3" fmla="*/ 15137 h 43282"/>
                <a:gd name="connsiteX4" fmla="*/ 26872 w 78747"/>
                <a:gd name="connsiteY4" fmla="*/ 24482 h 43282"/>
                <a:gd name="connsiteX5" fmla="*/ 78747 w 78747"/>
                <a:gd name="connsiteY5" fmla="*/ 0 h 43282"/>
                <a:gd name="connsiteX6" fmla="*/ 77368 w 78747"/>
                <a:gd name="connsiteY6" fmla="*/ 1440 h 4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47" h="43282">
                  <a:moveTo>
                    <a:pt x="77950" y="950"/>
                  </a:moveTo>
                  <a:cubicBezTo>
                    <a:pt x="76664" y="13666"/>
                    <a:pt x="70597" y="26014"/>
                    <a:pt x="60638" y="34042"/>
                  </a:cubicBezTo>
                  <a:cubicBezTo>
                    <a:pt x="50711" y="42070"/>
                    <a:pt x="36892" y="45410"/>
                    <a:pt x="24605" y="41886"/>
                  </a:cubicBezTo>
                  <a:cubicBezTo>
                    <a:pt x="12318" y="38362"/>
                    <a:pt x="2114" y="27761"/>
                    <a:pt x="0" y="15137"/>
                  </a:cubicBezTo>
                  <a:cubicBezTo>
                    <a:pt x="8671" y="19089"/>
                    <a:pt x="17465" y="23073"/>
                    <a:pt x="26872" y="24482"/>
                  </a:cubicBezTo>
                  <a:cubicBezTo>
                    <a:pt x="46942" y="27515"/>
                    <a:pt x="68360" y="17404"/>
                    <a:pt x="78747" y="0"/>
                  </a:cubicBezTo>
                  <a:cubicBezTo>
                    <a:pt x="78287" y="490"/>
                    <a:pt x="77828" y="980"/>
                    <a:pt x="77368" y="1440"/>
                  </a:cubicBezTo>
                </a:path>
              </a:pathLst>
            </a:custGeom>
            <a:solidFill>
              <a:srgbClr val="FF725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873698AB-0937-41F7-ADAC-2E51946CD9F2}"/>
                </a:ext>
              </a:extLst>
            </p:cNvPr>
            <p:cNvSpPr/>
            <p:nvPr/>
          </p:nvSpPr>
          <p:spPr>
            <a:xfrm>
              <a:off x="5330131" y="3397118"/>
              <a:ext cx="129356" cy="160171"/>
            </a:xfrm>
            <a:custGeom>
              <a:avLst/>
              <a:gdLst>
                <a:gd name="connsiteX0" fmla="*/ 0 w 129356"/>
                <a:gd name="connsiteY0" fmla="*/ 120399 h 160171"/>
                <a:gd name="connsiteX1" fmla="*/ 84845 w 129356"/>
                <a:gd name="connsiteY1" fmla="*/ 160171 h 160171"/>
                <a:gd name="connsiteX2" fmla="*/ 122410 w 129356"/>
                <a:gd name="connsiteY2" fmla="*/ 73182 h 160171"/>
                <a:gd name="connsiteX3" fmla="*/ 125137 w 129356"/>
                <a:gd name="connsiteY3" fmla="*/ 24340 h 160171"/>
                <a:gd name="connsiteX4" fmla="*/ 75744 w 129356"/>
                <a:gd name="connsiteY4" fmla="*/ 3811 h 160171"/>
                <a:gd name="connsiteX5" fmla="*/ 0 w 129356"/>
                <a:gd name="connsiteY5" fmla="*/ 120399 h 16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356" h="160171">
                  <a:moveTo>
                    <a:pt x="0" y="120399"/>
                  </a:moveTo>
                  <a:lnTo>
                    <a:pt x="84845" y="160171"/>
                  </a:lnTo>
                  <a:cubicBezTo>
                    <a:pt x="84845" y="160171"/>
                    <a:pt x="119438" y="83661"/>
                    <a:pt x="122410" y="73182"/>
                  </a:cubicBezTo>
                  <a:cubicBezTo>
                    <a:pt x="125383" y="62733"/>
                    <a:pt x="134728" y="46156"/>
                    <a:pt x="125137" y="24340"/>
                  </a:cubicBezTo>
                  <a:cubicBezTo>
                    <a:pt x="115577" y="2524"/>
                    <a:pt x="89931" y="-5473"/>
                    <a:pt x="75744" y="3811"/>
                  </a:cubicBezTo>
                  <a:cubicBezTo>
                    <a:pt x="43970" y="24647"/>
                    <a:pt x="0" y="120399"/>
                    <a:pt x="0" y="120399"/>
                  </a:cubicBezTo>
                  <a:close/>
                </a:path>
              </a:pathLst>
            </a:custGeom>
            <a:solidFill>
              <a:srgbClr val="F7AB9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DC491F9-6751-4F5A-B95F-A13D9B4982F6}"/>
                </a:ext>
              </a:extLst>
            </p:cNvPr>
            <p:cNvSpPr/>
            <p:nvPr/>
          </p:nvSpPr>
          <p:spPr>
            <a:xfrm>
              <a:off x="5579211" y="3398294"/>
              <a:ext cx="93056" cy="147076"/>
            </a:xfrm>
            <a:custGeom>
              <a:avLst/>
              <a:gdLst>
                <a:gd name="connsiteX0" fmla="*/ 17710 w 93056"/>
                <a:gd name="connsiteY0" fmla="*/ 123268 h 147076"/>
                <a:gd name="connsiteX1" fmla="*/ 67165 w 93056"/>
                <a:gd name="connsiteY1" fmla="*/ 147076 h 147076"/>
                <a:gd name="connsiteX2" fmla="*/ 93056 w 93056"/>
                <a:gd name="connsiteY2" fmla="*/ 61282 h 147076"/>
                <a:gd name="connsiteX3" fmla="*/ 0 w 93056"/>
                <a:gd name="connsiteY3" fmla="*/ 0 h 147076"/>
                <a:gd name="connsiteX4" fmla="*/ 11889 w 93056"/>
                <a:gd name="connsiteY4" fmla="*/ 70903 h 147076"/>
                <a:gd name="connsiteX5" fmla="*/ 17710 w 93056"/>
                <a:gd name="connsiteY5" fmla="*/ 123268 h 14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056" h="147076">
                  <a:moveTo>
                    <a:pt x="17710" y="123268"/>
                  </a:moveTo>
                  <a:cubicBezTo>
                    <a:pt x="21663" y="123268"/>
                    <a:pt x="67165" y="147076"/>
                    <a:pt x="67165" y="147076"/>
                  </a:cubicBezTo>
                  <a:lnTo>
                    <a:pt x="93056" y="61282"/>
                  </a:lnTo>
                  <a:cubicBezTo>
                    <a:pt x="54388" y="35513"/>
                    <a:pt x="22644" y="6067"/>
                    <a:pt x="0" y="0"/>
                  </a:cubicBezTo>
                  <a:lnTo>
                    <a:pt x="11889" y="70903"/>
                  </a:lnTo>
                  <a:lnTo>
                    <a:pt x="17710" y="123268"/>
                  </a:lnTo>
                  <a:close/>
                </a:path>
              </a:pathLst>
            </a:custGeom>
            <a:solidFill>
              <a:srgbClr val="F7AB9B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702326C2-D581-4428-9EAB-16844C73EA9B}"/>
                </a:ext>
              </a:extLst>
            </p:cNvPr>
            <p:cNvSpPr/>
            <p:nvPr/>
          </p:nvSpPr>
          <p:spPr>
            <a:xfrm>
              <a:off x="5330130" y="3484638"/>
              <a:ext cx="119880" cy="73661"/>
            </a:xfrm>
            <a:custGeom>
              <a:avLst/>
              <a:gdLst>
                <a:gd name="connsiteX0" fmla="*/ 1 w 119880"/>
                <a:gd name="connsiteY0" fmla="*/ 32879 h 73661"/>
                <a:gd name="connsiteX1" fmla="*/ 1687 w 119880"/>
                <a:gd name="connsiteY1" fmla="*/ 33461 h 73661"/>
                <a:gd name="connsiteX2" fmla="*/ 6375 w 119880"/>
                <a:gd name="connsiteY2" fmla="*/ 35453 h 73661"/>
                <a:gd name="connsiteX3" fmla="*/ 23533 w 119880"/>
                <a:gd name="connsiteY3" fmla="*/ 43052 h 73661"/>
                <a:gd name="connsiteX4" fmla="*/ 79851 w 119880"/>
                <a:gd name="connsiteY4" fmla="*/ 68729 h 73661"/>
                <a:gd name="connsiteX5" fmla="*/ 86715 w 119880"/>
                <a:gd name="connsiteY5" fmla="*/ 71885 h 73661"/>
                <a:gd name="connsiteX6" fmla="*/ 85643 w 119880"/>
                <a:gd name="connsiteY6" fmla="*/ 72252 h 73661"/>
                <a:gd name="connsiteX7" fmla="*/ 110094 w 119880"/>
                <a:gd name="connsiteY7" fmla="*/ 20990 h 73661"/>
                <a:gd name="connsiteX8" fmla="*/ 117203 w 119880"/>
                <a:gd name="connsiteY8" fmla="*/ 5578 h 73661"/>
                <a:gd name="connsiteX9" fmla="*/ 119102 w 119880"/>
                <a:gd name="connsiteY9" fmla="*/ 1411 h 73661"/>
                <a:gd name="connsiteX10" fmla="*/ 119868 w 119880"/>
                <a:gd name="connsiteY10" fmla="*/ 1 h 73661"/>
                <a:gd name="connsiteX11" fmla="*/ 119409 w 119880"/>
                <a:gd name="connsiteY11" fmla="*/ 1533 h 73661"/>
                <a:gd name="connsiteX12" fmla="*/ 117754 w 119880"/>
                <a:gd name="connsiteY12" fmla="*/ 5823 h 73661"/>
                <a:gd name="connsiteX13" fmla="*/ 111105 w 119880"/>
                <a:gd name="connsiteY13" fmla="*/ 21450 h 73661"/>
                <a:gd name="connsiteX14" fmla="*/ 87113 w 119880"/>
                <a:gd name="connsiteY14" fmla="*/ 72957 h 73661"/>
                <a:gd name="connsiteX15" fmla="*/ 86776 w 119880"/>
                <a:gd name="connsiteY15" fmla="*/ 73662 h 73661"/>
                <a:gd name="connsiteX16" fmla="*/ 86041 w 119880"/>
                <a:gd name="connsiteY16" fmla="*/ 73325 h 73661"/>
                <a:gd name="connsiteX17" fmla="*/ 79177 w 119880"/>
                <a:gd name="connsiteY17" fmla="*/ 70169 h 73661"/>
                <a:gd name="connsiteX18" fmla="*/ 23074 w 119880"/>
                <a:gd name="connsiteY18" fmla="*/ 44063 h 73661"/>
                <a:gd name="connsiteX19" fmla="*/ 6129 w 119880"/>
                <a:gd name="connsiteY19" fmla="*/ 35974 h 73661"/>
                <a:gd name="connsiteX20" fmla="*/ 1564 w 119880"/>
                <a:gd name="connsiteY20" fmla="*/ 33706 h 73661"/>
                <a:gd name="connsiteX21" fmla="*/ 1 w 119880"/>
                <a:gd name="connsiteY21" fmla="*/ 32879 h 7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9880" h="73661">
                  <a:moveTo>
                    <a:pt x="1" y="32879"/>
                  </a:moveTo>
                  <a:cubicBezTo>
                    <a:pt x="32" y="32818"/>
                    <a:pt x="614" y="33032"/>
                    <a:pt x="1687" y="33461"/>
                  </a:cubicBezTo>
                  <a:cubicBezTo>
                    <a:pt x="2912" y="33982"/>
                    <a:pt x="4475" y="34656"/>
                    <a:pt x="6375" y="35453"/>
                  </a:cubicBezTo>
                  <a:cubicBezTo>
                    <a:pt x="10634" y="37353"/>
                    <a:pt x="16425" y="39926"/>
                    <a:pt x="23533" y="43052"/>
                  </a:cubicBezTo>
                  <a:cubicBezTo>
                    <a:pt x="38119" y="49701"/>
                    <a:pt x="57943" y="58740"/>
                    <a:pt x="79851" y="68729"/>
                  </a:cubicBezTo>
                  <a:cubicBezTo>
                    <a:pt x="82211" y="69801"/>
                    <a:pt x="84539" y="70874"/>
                    <a:pt x="86715" y="71885"/>
                  </a:cubicBezTo>
                  <a:lnTo>
                    <a:pt x="85643" y="72252"/>
                  </a:lnTo>
                  <a:cubicBezTo>
                    <a:pt x="95448" y="52060"/>
                    <a:pt x="104027" y="34013"/>
                    <a:pt x="110094" y="20990"/>
                  </a:cubicBezTo>
                  <a:cubicBezTo>
                    <a:pt x="113036" y="14617"/>
                    <a:pt x="115426" y="9408"/>
                    <a:pt x="117203" y="5578"/>
                  </a:cubicBezTo>
                  <a:cubicBezTo>
                    <a:pt x="117969" y="3893"/>
                    <a:pt x="118612" y="2514"/>
                    <a:pt x="119102" y="1411"/>
                  </a:cubicBezTo>
                  <a:cubicBezTo>
                    <a:pt x="119562" y="461"/>
                    <a:pt x="119807" y="-29"/>
                    <a:pt x="119868" y="1"/>
                  </a:cubicBezTo>
                  <a:cubicBezTo>
                    <a:pt x="119930" y="32"/>
                    <a:pt x="119746" y="553"/>
                    <a:pt x="119409" y="1533"/>
                  </a:cubicBezTo>
                  <a:cubicBezTo>
                    <a:pt x="119041" y="2514"/>
                    <a:pt x="118520" y="3985"/>
                    <a:pt x="117754" y="5823"/>
                  </a:cubicBezTo>
                  <a:cubicBezTo>
                    <a:pt x="116283" y="9531"/>
                    <a:pt x="114016" y="14862"/>
                    <a:pt x="111105" y="21450"/>
                  </a:cubicBezTo>
                  <a:cubicBezTo>
                    <a:pt x="105283" y="34626"/>
                    <a:pt x="96888" y="52765"/>
                    <a:pt x="87113" y="72957"/>
                  </a:cubicBezTo>
                  <a:lnTo>
                    <a:pt x="86776" y="73662"/>
                  </a:lnTo>
                  <a:lnTo>
                    <a:pt x="86041" y="73325"/>
                  </a:lnTo>
                  <a:cubicBezTo>
                    <a:pt x="83865" y="72314"/>
                    <a:pt x="81537" y="71241"/>
                    <a:pt x="79177" y="70169"/>
                  </a:cubicBezTo>
                  <a:cubicBezTo>
                    <a:pt x="57361" y="60027"/>
                    <a:pt x="37598" y="50835"/>
                    <a:pt x="23074" y="44063"/>
                  </a:cubicBezTo>
                  <a:cubicBezTo>
                    <a:pt x="16088" y="40723"/>
                    <a:pt x="10358" y="37996"/>
                    <a:pt x="6129" y="35974"/>
                  </a:cubicBezTo>
                  <a:cubicBezTo>
                    <a:pt x="4291" y="35054"/>
                    <a:pt x="2759" y="34288"/>
                    <a:pt x="1564" y="33706"/>
                  </a:cubicBezTo>
                  <a:cubicBezTo>
                    <a:pt x="492" y="33247"/>
                    <a:pt x="-29" y="32940"/>
                    <a:pt x="1" y="32879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33AF40FD-4799-4D01-AC94-F4C954FADC9C}"/>
                </a:ext>
              </a:extLst>
            </p:cNvPr>
            <p:cNvSpPr/>
            <p:nvPr/>
          </p:nvSpPr>
          <p:spPr>
            <a:xfrm>
              <a:off x="5584649" y="3451118"/>
              <a:ext cx="19962" cy="136658"/>
            </a:xfrm>
            <a:custGeom>
              <a:avLst/>
              <a:gdLst>
                <a:gd name="connsiteX0" fmla="*/ 4458 w 19962"/>
                <a:gd name="connsiteY0" fmla="*/ 0 h 136658"/>
                <a:gd name="connsiteX1" fmla="*/ 6205 w 19962"/>
                <a:gd name="connsiteY1" fmla="*/ 5271 h 136658"/>
                <a:gd name="connsiteX2" fmla="*/ 10678 w 19962"/>
                <a:gd name="connsiteY2" fmla="*/ 19764 h 136658"/>
                <a:gd name="connsiteX3" fmla="*/ 19963 w 19962"/>
                <a:gd name="connsiteY3" fmla="*/ 68942 h 136658"/>
                <a:gd name="connsiteX4" fmla="*/ 15428 w 19962"/>
                <a:gd name="connsiteY4" fmla="*/ 96243 h 136658"/>
                <a:gd name="connsiteX5" fmla="*/ 8013 w 19962"/>
                <a:gd name="connsiteY5" fmla="*/ 117539 h 136658"/>
                <a:gd name="connsiteX6" fmla="*/ 2283 w 19962"/>
                <a:gd name="connsiteY6" fmla="*/ 131572 h 136658"/>
                <a:gd name="connsiteX7" fmla="*/ 15 w 19962"/>
                <a:gd name="connsiteY7" fmla="*/ 136659 h 136658"/>
                <a:gd name="connsiteX8" fmla="*/ 383 w 19962"/>
                <a:gd name="connsiteY8" fmla="*/ 135249 h 136658"/>
                <a:gd name="connsiteX9" fmla="*/ 1731 w 19962"/>
                <a:gd name="connsiteY9" fmla="*/ 131358 h 136658"/>
                <a:gd name="connsiteX10" fmla="*/ 7001 w 19962"/>
                <a:gd name="connsiteY10" fmla="*/ 117140 h 136658"/>
                <a:gd name="connsiteX11" fmla="*/ 14080 w 19962"/>
                <a:gd name="connsiteY11" fmla="*/ 95845 h 136658"/>
                <a:gd name="connsiteX12" fmla="*/ 18431 w 19962"/>
                <a:gd name="connsiteY12" fmla="*/ 68942 h 136658"/>
                <a:gd name="connsiteX13" fmla="*/ 9667 w 19962"/>
                <a:gd name="connsiteY13" fmla="*/ 20070 h 136658"/>
                <a:gd name="connsiteX14" fmla="*/ 5684 w 19962"/>
                <a:gd name="connsiteY14" fmla="*/ 5424 h 136658"/>
                <a:gd name="connsiteX15" fmla="*/ 4734 w 19962"/>
                <a:gd name="connsiteY15" fmla="*/ 1410 h 136658"/>
                <a:gd name="connsiteX16" fmla="*/ 4458 w 19962"/>
                <a:gd name="connsiteY16" fmla="*/ 0 h 13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962" h="136658">
                  <a:moveTo>
                    <a:pt x="4458" y="0"/>
                  </a:moveTo>
                  <a:cubicBezTo>
                    <a:pt x="4581" y="-30"/>
                    <a:pt x="5163" y="1869"/>
                    <a:pt x="6205" y="5271"/>
                  </a:cubicBezTo>
                  <a:cubicBezTo>
                    <a:pt x="7338" y="8947"/>
                    <a:pt x="8840" y="13819"/>
                    <a:pt x="10678" y="19764"/>
                  </a:cubicBezTo>
                  <a:cubicBezTo>
                    <a:pt x="14355" y="31959"/>
                    <a:pt x="19717" y="49148"/>
                    <a:pt x="19963" y="68942"/>
                  </a:cubicBezTo>
                  <a:cubicBezTo>
                    <a:pt x="19809" y="78839"/>
                    <a:pt x="17787" y="88093"/>
                    <a:pt x="15428" y="96243"/>
                  </a:cubicBezTo>
                  <a:cubicBezTo>
                    <a:pt x="13068" y="104424"/>
                    <a:pt x="10341" y="111564"/>
                    <a:pt x="8013" y="117539"/>
                  </a:cubicBezTo>
                  <a:cubicBezTo>
                    <a:pt x="5653" y="123514"/>
                    <a:pt x="3662" y="128263"/>
                    <a:pt x="2283" y="131572"/>
                  </a:cubicBezTo>
                  <a:cubicBezTo>
                    <a:pt x="904" y="134881"/>
                    <a:pt x="107" y="136689"/>
                    <a:pt x="15" y="136659"/>
                  </a:cubicBezTo>
                  <a:cubicBezTo>
                    <a:pt x="-46" y="136628"/>
                    <a:pt x="77" y="136168"/>
                    <a:pt x="383" y="135249"/>
                  </a:cubicBezTo>
                  <a:cubicBezTo>
                    <a:pt x="751" y="134177"/>
                    <a:pt x="1180" y="132890"/>
                    <a:pt x="1731" y="131358"/>
                  </a:cubicBezTo>
                  <a:cubicBezTo>
                    <a:pt x="3049" y="127773"/>
                    <a:pt x="4826" y="122962"/>
                    <a:pt x="7001" y="117140"/>
                  </a:cubicBezTo>
                  <a:cubicBezTo>
                    <a:pt x="9177" y="111135"/>
                    <a:pt x="11812" y="103995"/>
                    <a:pt x="14080" y="95845"/>
                  </a:cubicBezTo>
                  <a:cubicBezTo>
                    <a:pt x="16347" y="87725"/>
                    <a:pt x="18277" y="78625"/>
                    <a:pt x="18431" y="68942"/>
                  </a:cubicBezTo>
                  <a:cubicBezTo>
                    <a:pt x="18185" y="49485"/>
                    <a:pt x="13068" y="32357"/>
                    <a:pt x="9667" y="20070"/>
                  </a:cubicBezTo>
                  <a:cubicBezTo>
                    <a:pt x="7921" y="13911"/>
                    <a:pt x="6542" y="8917"/>
                    <a:pt x="5684" y="5424"/>
                  </a:cubicBezTo>
                  <a:cubicBezTo>
                    <a:pt x="5255" y="3677"/>
                    <a:pt x="4948" y="2329"/>
                    <a:pt x="4734" y="1410"/>
                  </a:cubicBezTo>
                  <a:cubicBezTo>
                    <a:pt x="4489" y="521"/>
                    <a:pt x="4397" y="31"/>
                    <a:pt x="4458" y="0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EDB9C2E7-384B-4851-9FB9-C66D27196D08}"/>
                </a:ext>
              </a:extLst>
            </p:cNvPr>
            <p:cNvSpPr/>
            <p:nvPr/>
          </p:nvSpPr>
          <p:spPr>
            <a:xfrm>
              <a:off x="5355729" y="3178170"/>
              <a:ext cx="161872" cy="296351"/>
            </a:xfrm>
            <a:custGeom>
              <a:avLst/>
              <a:gdLst>
                <a:gd name="connsiteX0" fmla="*/ 161648 w 161872"/>
                <a:gd name="connsiteY0" fmla="*/ 255851 h 296351"/>
                <a:gd name="connsiteX1" fmla="*/ 144887 w 161872"/>
                <a:gd name="connsiteY1" fmla="*/ 222943 h 296351"/>
                <a:gd name="connsiteX2" fmla="*/ 134347 w 161872"/>
                <a:gd name="connsiteY2" fmla="*/ 207959 h 296351"/>
                <a:gd name="connsiteX3" fmla="*/ 139035 w 161872"/>
                <a:gd name="connsiteY3" fmla="*/ 184489 h 296351"/>
                <a:gd name="connsiteX4" fmla="*/ 120681 w 161872"/>
                <a:gd name="connsiteY4" fmla="*/ 161171 h 296351"/>
                <a:gd name="connsiteX5" fmla="*/ 118689 w 161872"/>
                <a:gd name="connsiteY5" fmla="*/ 121338 h 296351"/>
                <a:gd name="connsiteX6" fmla="*/ 103737 w 161872"/>
                <a:gd name="connsiteY6" fmla="*/ 102371 h 296351"/>
                <a:gd name="connsiteX7" fmla="*/ 114614 w 161872"/>
                <a:gd name="connsiteY7" fmla="*/ 78563 h 296351"/>
                <a:gd name="connsiteX8" fmla="*/ 97976 w 161872"/>
                <a:gd name="connsiteY8" fmla="*/ 19488 h 296351"/>
                <a:gd name="connsiteX9" fmla="*/ 83759 w 161872"/>
                <a:gd name="connsiteY9" fmla="*/ 0 h 296351"/>
                <a:gd name="connsiteX10" fmla="*/ 54129 w 161872"/>
                <a:gd name="connsiteY10" fmla="*/ 43602 h 296351"/>
                <a:gd name="connsiteX11" fmla="*/ 54650 w 161872"/>
                <a:gd name="connsiteY11" fmla="*/ 68697 h 296351"/>
                <a:gd name="connsiteX12" fmla="*/ 33446 w 161872"/>
                <a:gd name="connsiteY12" fmla="*/ 97744 h 296351"/>
                <a:gd name="connsiteX13" fmla="*/ 36357 w 161872"/>
                <a:gd name="connsiteY13" fmla="*/ 148639 h 296351"/>
                <a:gd name="connsiteX14" fmla="*/ 16533 w 161872"/>
                <a:gd name="connsiteY14" fmla="*/ 171589 h 296351"/>
                <a:gd name="connsiteX15" fmla="*/ 18769 w 161872"/>
                <a:gd name="connsiteY15" fmla="*/ 215528 h 296351"/>
                <a:gd name="connsiteX16" fmla="*/ 2131 w 161872"/>
                <a:gd name="connsiteY16" fmla="*/ 264982 h 296351"/>
                <a:gd name="connsiteX17" fmla="*/ 18249 w 161872"/>
                <a:gd name="connsiteY17" fmla="*/ 280241 h 296351"/>
                <a:gd name="connsiteX18" fmla="*/ 44140 w 161872"/>
                <a:gd name="connsiteY18" fmla="*/ 260447 h 296351"/>
                <a:gd name="connsiteX19" fmla="*/ 91480 w 161872"/>
                <a:gd name="connsiteY19" fmla="*/ 261673 h 296351"/>
                <a:gd name="connsiteX20" fmla="*/ 113695 w 161872"/>
                <a:gd name="connsiteY20" fmla="*/ 291486 h 296351"/>
                <a:gd name="connsiteX21" fmla="*/ 148656 w 161872"/>
                <a:gd name="connsiteY21" fmla="*/ 289648 h 296351"/>
                <a:gd name="connsiteX22" fmla="*/ 161648 w 161872"/>
                <a:gd name="connsiteY22" fmla="*/ 255851 h 2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872" h="296351">
                  <a:moveTo>
                    <a:pt x="161648" y="255851"/>
                  </a:moveTo>
                  <a:cubicBezTo>
                    <a:pt x="160330" y="243380"/>
                    <a:pt x="153773" y="231829"/>
                    <a:pt x="144887" y="222943"/>
                  </a:cubicBezTo>
                  <a:cubicBezTo>
                    <a:pt x="140506" y="218531"/>
                    <a:pt x="135205" y="214118"/>
                    <a:pt x="134347" y="207959"/>
                  </a:cubicBezTo>
                  <a:cubicBezTo>
                    <a:pt x="133244" y="199962"/>
                    <a:pt x="140169" y="192486"/>
                    <a:pt x="139035" y="184489"/>
                  </a:cubicBezTo>
                  <a:cubicBezTo>
                    <a:pt x="137625" y="174530"/>
                    <a:pt x="125155" y="170179"/>
                    <a:pt x="120681" y="161171"/>
                  </a:cubicBezTo>
                  <a:cubicBezTo>
                    <a:pt x="114675" y="149037"/>
                    <a:pt x="125124" y="133257"/>
                    <a:pt x="118689" y="121338"/>
                  </a:cubicBezTo>
                  <a:cubicBezTo>
                    <a:pt x="114829" y="114168"/>
                    <a:pt x="105575" y="110307"/>
                    <a:pt x="103737" y="102371"/>
                  </a:cubicBezTo>
                  <a:cubicBezTo>
                    <a:pt x="102542" y="97223"/>
                    <a:pt x="112347" y="89716"/>
                    <a:pt x="114614" y="78563"/>
                  </a:cubicBezTo>
                  <a:cubicBezTo>
                    <a:pt x="119731" y="53468"/>
                    <a:pt x="122336" y="34073"/>
                    <a:pt x="97976" y="19488"/>
                  </a:cubicBezTo>
                  <a:lnTo>
                    <a:pt x="83759" y="0"/>
                  </a:lnTo>
                  <a:cubicBezTo>
                    <a:pt x="67795" y="7783"/>
                    <a:pt x="54405" y="25279"/>
                    <a:pt x="54129" y="43602"/>
                  </a:cubicBezTo>
                  <a:cubicBezTo>
                    <a:pt x="54006" y="52243"/>
                    <a:pt x="58419" y="60914"/>
                    <a:pt x="54650" y="68697"/>
                  </a:cubicBezTo>
                  <a:cubicBezTo>
                    <a:pt x="49410" y="79574"/>
                    <a:pt x="37154" y="86254"/>
                    <a:pt x="33446" y="97744"/>
                  </a:cubicBezTo>
                  <a:cubicBezTo>
                    <a:pt x="28146" y="114198"/>
                    <a:pt x="42731" y="132583"/>
                    <a:pt x="36357" y="148639"/>
                  </a:cubicBezTo>
                  <a:cubicBezTo>
                    <a:pt x="32619" y="158107"/>
                    <a:pt x="22722" y="163500"/>
                    <a:pt x="16533" y="171589"/>
                  </a:cubicBezTo>
                  <a:cubicBezTo>
                    <a:pt x="6820" y="184243"/>
                    <a:pt x="7800" y="203915"/>
                    <a:pt x="18769" y="215528"/>
                  </a:cubicBezTo>
                  <a:cubicBezTo>
                    <a:pt x="3265" y="225976"/>
                    <a:pt x="-3905" y="247272"/>
                    <a:pt x="2131" y="264982"/>
                  </a:cubicBezTo>
                  <a:cubicBezTo>
                    <a:pt x="4675" y="272428"/>
                    <a:pt x="10404" y="279812"/>
                    <a:pt x="18249" y="280241"/>
                  </a:cubicBezTo>
                  <a:cubicBezTo>
                    <a:pt x="29494" y="280854"/>
                    <a:pt x="35898" y="268138"/>
                    <a:pt x="44140" y="260447"/>
                  </a:cubicBezTo>
                  <a:cubicBezTo>
                    <a:pt x="56917" y="248497"/>
                    <a:pt x="79347" y="249110"/>
                    <a:pt x="91480" y="261673"/>
                  </a:cubicBezTo>
                  <a:cubicBezTo>
                    <a:pt x="100121" y="270651"/>
                    <a:pt x="103614" y="284133"/>
                    <a:pt x="113695" y="291486"/>
                  </a:cubicBezTo>
                  <a:cubicBezTo>
                    <a:pt x="123837" y="298871"/>
                    <a:pt x="138912" y="297523"/>
                    <a:pt x="148656" y="289648"/>
                  </a:cubicBezTo>
                  <a:cubicBezTo>
                    <a:pt x="158461" y="281681"/>
                    <a:pt x="162965" y="268353"/>
                    <a:pt x="161648" y="255851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062A039A-F7D1-46C4-BDD2-B6575C671552}"/>
                </a:ext>
              </a:extLst>
            </p:cNvPr>
            <p:cNvSpPr/>
            <p:nvPr/>
          </p:nvSpPr>
          <p:spPr>
            <a:xfrm>
              <a:off x="5184434" y="2978821"/>
              <a:ext cx="3064" cy="3064"/>
            </a:xfrm>
            <a:custGeom>
              <a:avLst/>
              <a:gdLst/>
              <a:ahLst/>
              <a:cxnLst/>
              <a:rect l="l" t="t" r="r" b="b"/>
              <a:pathLst>
                <a:path w="3064" h="3064"/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7A78EE92-56EE-4700-A2CE-AAB105DDE1F1}"/>
                </a:ext>
              </a:extLst>
            </p:cNvPr>
            <p:cNvSpPr/>
            <p:nvPr/>
          </p:nvSpPr>
          <p:spPr>
            <a:xfrm>
              <a:off x="5306467" y="3520980"/>
              <a:ext cx="217007" cy="199257"/>
            </a:xfrm>
            <a:custGeom>
              <a:avLst/>
              <a:gdLst>
                <a:gd name="connsiteX0" fmla="*/ 100174 w 217007"/>
                <a:gd name="connsiteY0" fmla="*/ 30917 h 199257"/>
                <a:gd name="connsiteX1" fmla="*/ 72904 w 217007"/>
                <a:gd name="connsiteY1" fmla="*/ 72496 h 199257"/>
                <a:gd name="connsiteX2" fmla="*/ 217008 w 217007"/>
                <a:gd name="connsiteY2" fmla="*/ 160252 h 199257"/>
                <a:gd name="connsiteX3" fmla="*/ 200217 w 217007"/>
                <a:gd name="connsiteY3" fmla="*/ 199257 h 199257"/>
                <a:gd name="connsiteX4" fmla="*/ 13307 w 217007"/>
                <a:gd name="connsiteY4" fmla="*/ 122318 h 199257"/>
                <a:gd name="connsiteX5" fmla="*/ 1388 w 217007"/>
                <a:gd name="connsiteY5" fmla="*/ 82240 h 199257"/>
                <a:gd name="connsiteX6" fmla="*/ 31201 w 217007"/>
                <a:gd name="connsiteY6" fmla="*/ 0 h 199257"/>
                <a:gd name="connsiteX7" fmla="*/ 100174 w 217007"/>
                <a:gd name="connsiteY7" fmla="*/ 30917 h 19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7007" h="199257">
                  <a:moveTo>
                    <a:pt x="100174" y="30917"/>
                  </a:moveTo>
                  <a:cubicBezTo>
                    <a:pt x="84118" y="57329"/>
                    <a:pt x="72904" y="72496"/>
                    <a:pt x="72904" y="72496"/>
                  </a:cubicBezTo>
                  <a:lnTo>
                    <a:pt x="217008" y="160252"/>
                  </a:lnTo>
                  <a:lnTo>
                    <a:pt x="200217" y="199257"/>
                  </a:lnTo>
                  <a:lnTo>
                    <a:pt x="13307" y="122318"/>
                  </a:lnTo>
                  <a:cubicBezTo>
                    <a:pt x="13307" y="122318"/>
                    <a:pt x="-5108" y="103352"/>
                    <a:pt x="1388" y="82240"/>
                  </a:cubicBezTo>
                  <a:lnTo>
                    <a:pt x="31201" y="0"/>
                  </a:lnTo>
                  <a:lnTo>
                    <a:pt x="100174" y="30917"/>
                  </a:ln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21D7D58-CEE4-47DB-AF52-945DE524F74B}"/>
                </a:ext>
              </a:extLst>
            </p:cNvPr>
            <p:cNvSpPr/>
            <p:nvPr/>
          </p:nvSpPr>
          <p:spPr>
            <a:xfrm>
              <a:off x="5344305" y="3593134"/>
              <a:ext cx="36169" cy="13788"/>
            </a:xfrm>
            <a:custGeom>
              <a:avLst/>
              <a:gdLst>
                <a:gd name="connsiteX0" fmla="*/ 13 w 36169"/>
                <a:gd name="connsiteY0" fmla="*/ 13762 h 13788"/>
                <a:gd name="connsiteX1" fmla="*/ 17263 w 36169"/>
                <a:gd name="connsiteY1" fmla="*/ 4815 h 13788"/>
                <a:gd name="connsiteX2" fmla="*/ 36169 w 36169"/>
                <a:gd name="connsiteY2" fmla="*/ 342 h 13788"/>
                <a:gd name="connsiteX3" fmla="*/ 16620 w 36169"/>
                <a:gd name="connsiteY3" fmla="*/ 3130 h 13788"/>
                <a:gd name="connsiteX4" fmla="*/ 13 w 36169"/>
                <a:gd name="connsiteY4" fmla="*/ 13762 h 13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69" h="13788">
                  <a:moveTo>
                    <a:pt x="13" y="13762"/>
                  </a:moveTo>
                  <a:cubicBezTo>
                    <a:pt x="350" y="14222"/>
                    <a:pt x="7152" y="8492"/>
                    <a:pt x="17263" y="4815"/>
                  </a:cubicBezTo>
                  <a:cubicBezTo>
                    <a:pt x="27314" y="1016"/>
                    <a:pt x="36230" y="924"/>
                    <a:pt x="36169" y="342"/>
                  </a:cubicBezTo>
                  <a:cubicBezTo>
                    <a:pt x="36261" y="-87"/>
                    <a:pt x="27068" y="-792"/>
                    <a:pt x="16620" y="3130"/>
                  </a:cubicBezTo>
                  <a:cubicBezTo>
                    <a:pt x="6171" y="6991"/>
                    <a:pt x="-325" y="13517"/>
                    <a:pt x="13" y="13762"/>
                  </a:cubicBezTo>
                  <a:close/>
                </a:path>
              </a:pathLst>
            </a:custGeom>
            <a:solidFill>
              <a:srgbClr val="EB996E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CCA068B6-A318-4C7E-AD10-9CFE17B0A7BC}"/>
                </a:ext>
              </a:extLst>
            </p:cNvPr>
            <p:cNvSpPr/>
            <p:nvPr/>
          </p:nvSpPr>
          <p:spPr>
            <a:xfrm>
              <a:off x="5506653" y="3681231"/>
              <a:ext cx="128599" cy="50036"/>
            </a:xfrm>
            <a:custGeom>
              <a:avLst/>
              <a:gdLst>
                <a:gd name="connsiteX0" fmla="*/ 128600 w 128599"/>
                <a:gd name="connsiteY0" fmla="*/ 26749 h 50036"/>
                <a:gd name="connsiteX1" fmla="*/ 92658 w 128599"/>
                <a:gd name="connsiteY1" fmla="*/ 9560 h 50036"/>
                <a:gd name="connsiteX2" fmla="*/ 22521 w 128599"/>
                <a:gd name="connsiteY2" fmla="*/ 3983 h 50036"/>
                <a:gd name="connsiteX3" fmla="*/ 16791 w 128599"/>
                <a:gd name="connsiteY3" fmla="*/ 0 h 50036"/>
                <a:gd name="connsiteX4" fmla="*/ 0 w 128599"/>
                <a:gd name="connsiteY4" fmla="*/ 39006 h 50036"/>
                <a:gd name="connsiteX5" fmla="*/ 28006 w 128599"/>
                <a:gd name="connsiteY5" fmla="*/ 48566 h 50036"/>
                <a:gd name="connsiteX6" fmla="*/ 86989 w 128599"/>
                <a:gd name="connsiteY6" fmla="*/ 46789 h 50036"/>
                <a:gd name="connsiteX7" fmla="*/ 117814 w 128599"/>
                <a:gd name="connsiteY7" fmla="*/ 50037 h 50036"/>
                <a:gd name="connsiteX8" fmla="*/ 128600 w 128599"/>
                <a:gd name="connsiteY8" fmla="*/ 26749 h 5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599" h="50036">
                  <a:moveTo>
                    <a:pt x="128600" y="26749"/>
                  </a:moveTo>
                  <a:lnTo>
                    <a:pt x="92658" y="9560"/>
                  </a:lnTo>
                  <a:lnTo>
                    <a:pt x="22521" y="3983"/>
                  </a:lnTo>
                  <a:lnTo>
                    <a:pt x="16791" y="0"/>
                  </a:lnTo>
                  <a:lnTo>
                    <a:pt x="0" y="39006"/>
                  </a:lnTo>
                  <a:cubicBezTo>
                    <a:pt x="0" y="39006"/>
                    <a:pt x="18385" y="47800"/>
                    <a:pt x="28006" y="48566"/>
                  </a:cubicBezTo>
                  <a:lnTo>
                    <a:pt x="86989" y="46789"/>
                  </a:lnTo>
                  <a:lnTo>
                    <a:pt x="117814" y="50037"/>
                  </a:lnTo>
                  <a:lnTo>
                    <a:pt x="128600" y="26749"/>
                  </a:lnTo>
                  <a:close/>
                </a:path>
              </a:pathLst>
            </a:custGeom>
            <a:solidFill>
              <a:srgbClr val="FFBE9D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1E337188-7266-4B50-B3E5-135AD771D697}"/>
                </a:ext>
              </a:extLst>
            </p:cNvPr>
            <p:cNvSpPr/>
            <p:nvPr/>
          </p:nvSpPr>
          <p:spPr>
            <a:xfrm>
              <a:off x="5489127" y="3569545"/>
              <a:ext cx="361594" cy="170792"/>
            </a:xfrm>
            <a:custGeom>
              <a:avLst/>
              <a:gdLst>
                <a:gd name="connsiteX0" fmla="*/ 348326 w 361594"/>
                <a:gd name="connsiteY0" fmla="*/ 0 h 170792"/>
                <a:gd name="connsiteX1" fmla="*/ 146126 w 361594"/>
                <a:gd name="connsiteY1" fmla="*/ 1655 h 170792"/>
                <a:gd name="connsiteX2" fmla="*/ 132307 w 361594"/>
                <a:gd name="connsiteY2" fmla="*/ 11276 h 170792"/>
                <a:gd name="connsiteX3" fmla="*/ 110215 w 361594"/>
                <a:gd name="connsiteY3" fmla="*/ 158658 h 170792"/>
                <a:gd name="connsiteX4" fmla="*/ 6067 w 361594"/>
                <a:gd name="connsiteY4" fmla="*/ 158658 h 170792"/>
                <a:gd name="connsiteX5" fmla="*/ 0 w 361594"/>
                <a:gd name="connsiteY5" fmla="*/ 164725 h 170792"/>
                <a:gd name="connsiteX6" fmla="*/ 6067 w 361594"/>
                <a:gd name="connsiteY6" fmla="*/ 170792 h 170792"/>
                <a:gd name="connsiteX7" fmla="*/ 108407 w 361594"/>
                <a:gd name="connsiteY7" fmla="*/ 170792 h 170792"/>
                <a:gd name="connsiteX8" fmla="*/ 127834 w 361594"/>
                <a:gd name="connsiteY8" fmla="*/ 170792 h 170792"/>
                <a:gd name="connsiteX9" fmla="*/ 338704 w 361594"/>
                <a:gd name="connsiteY9" fmla="*/ 170792 h 170792"/>
                <a:gd name="connsiteX10" fmla="*/ 361440 w 361594"/>
                <a:gd name="connsiteY10" fmla="*/ 15259 h 170792"/>
                <a:gd name="connsiteX11" fmla="*/ 348326 w 361594"/>
                <a:gd name="connsiteY11" fmla="*/ 0 h 1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594" h="170792">
                  <a:moveTo>
                    <a:pt x="348326" y="0"/>
                  </a:moveTo>
                  <a:lnTo>
                    <a:pt x="146126" y="1655"/>
                  </a:lnTo>
                  <a:cubicBezTo>
                    <a:pt x="139569" y="1655"/>
                    <a:pt x="133288" y="4811"/>
                    <a:pt x="132307" y="11276"/>
                  </a:cubicBezTo>
                  <a:lnTo>
                    <a:pt x="110215" y="158658"/>
                  </a:lnTo>
                  <a:lnTo>
                    <a:pt x="6067" y="158658"/>
                  </a:lnTo>
                  <a:cubicBezTo>
                    <a:pt x="2727" y="158658"/>
                    <a:pt x="0" y="161385"/>
                    <a:pt x="0" y="164725"/>
                  </a:cubicBezTo>
                  <a:cubicBezTo>
                    <a:pt x="0" y="168065"/>
                    <a:pt x="2727" y="170792"/>
                    <a:pt x="6067" y="170792"/>
                  </a:cubicBezTo>
                  <a:lnTo>
                    <a:pt x="108407" y="170792"/>
                  </a:lnTo>
                  <a:lnTo>
                    <a:pt x="127834" y="170792"/>
                  </a:lnTo>
                  <a:lnTo>
                    <a:pt x="338704" y="170792"/>
                  </a:lnTo>
                  <a:lnTo>
                    <a:pt x="361440" y="15259"/>
                  </a:lnTo>
                  <a:cubicBezTo>
                    <a:pt x="362666" y="7231"/>
                    <a:pt x="356446" y="0"/>
                    <a:pt x="348326" y="0"/>
                  </a:cubicBezTo>
                  <a:close/>
                </a:path>
              </a:pathLst>
            </a:custGeom>
            <a:solidFill>
              <a:srgbClr val="E0E0E0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0FF6EEDA-E850-4D68-81F9-E8B98BB21AC0}"/>
                </a:ext>
              </a:extLst>
            </p:cNvPr>
            <p:cNvSpPr/>
            <p:nvPr/>
          </p:nvSpPr>
          <p:spPr>
            <a:xfrm>
              <a:off x="5488325" y="3569453"/>
              <a:ext cx="362632" cy="171695"/>
            </a:xfrm>
            <a:custGeom>
              <a:avLst/>
              <a:gdLst>
                <a:gd name="connsiteX0" fmla="*/ 349128 w 362632"/>
                <a:gd name="connsiteY0" fmla="*/ 92 h 171695"/>
                <a:gd name="connsiteX1" fmla="*/ 352314 w 362632"/>
                <a:gd name="connsiteY1" fmla="*/ 398 h 171695"/>
                <a:gd name="connsiteX2" fmla="*/ 360036 w 362632"/>
                <a:gd name="connsiteY2" fmla="*/ 5515 h 171695"/>
                <a:gd name="connsiteX3" fmla="*/ 362548 w 362632"/>
                <a:gd name="connsiteY3" fmla="*/ 11981 h 171695"/>
                <a:gd name="connsiteX4" fmla="*/ 361813 w 362632"/>
                <a:gd name="connsiteY4" fmla="*/ 20284 h 171695"/>
                <a:gd name="connsiteX5" fmla="*/ 358902 w 362632"/>
                <a:gd name="connsiteY5" fmla="*/ 40814 h 171695"/>
                <a:gd name="connsiteX6" fmla="*/ 340150 w 362632"/>
                <a:gd name="connsiteY6" fmla="*/ 170976 h 171695"/>
                <a:gd name="connsiteX7" fmla="*/ 340058 w 362632"/>
                <a:gd name="connsiteY7" fmla="*/ 171497 h 171695"/>
                <a:gd name="connsiteX8" fmla="*/ 339506 w 362632"/>
                <a:gd name="connsiteY8" fmla="*/ 171497 h 171695"/>
                <a:gd name="connsiteX9" fmla="*/ 16797 w 362632"/>
                <a:gd name="connsiteY9" fmla="*/ 171681 h 171695"/>
                <a:gd name="connsiteX10" fmla="*/ 8125 w 362632"/>
                <a:gd name="connsiteY10" fmla="*/ 171681 h 171695"/>
                <a:gd name="connsiteX11" fmla="*/ 3529 w 362632"/>
                <a:gd name="connsiteY11" fmla="*/ 170792 h 171695"/>
                <a:gd name="connsiteX12" fmla="*/ 434 w 362632"/>
                <a:gd name="connsiteY12" fmla="*/ 167146 h 171695"/>
                <a:gd name="connsiteX13" fmla="*/ 3560 w 362632"/>
                <a:gd name="connsiteY13" fmla="*/ 158750 h 171695"/>
                <a:gd name="connsiteX14" fmla="*/ 8125 w 362632"/>
                <a:gd name="connsiteY14" fmla="*/ 157892 h 171695"/>
                <a:gd name="connsiteX15" fmla="*/ 12415 w 362632"/>
                <a:gd name="connsiteY15" fmla="*/ 157892 h 171695"/>
                <a:gd name="connsiteX16" fmla="*/ 46212 w 362632"/>
                <a:gd name="connsiteY16" fmla="*/ 157892 h 171695"/>
                <a:gd name="connsiteX17" fmla="*/ 111048 w 362632"/>
                <a:gd name="connsiteY17" fmla="*/ 157923 h 171695"/>
                <a:gd name="connsiteX18" fmla="*/ 110282 w 362632"/>
                <a:gd name="connsiteY18" fmla="*/ 158597 h 171695"/>
                <a:gd name="connsiteX19" fmla="*/ 132313 w 362632"/>
                <a:gd name="connsiteY19" fmla="*/ 12410 h 171695"/>
                <a:gd name="connsiteX20" fmla="*/ 136051 w 362632"/>
                <a:gd name="connsiteY20" fmla="*/ 4719 h 171695"/>
                <a:gd name="connsiteX21" fmla="*/ 143772 w 362632"/>
                <a:gd name="connsiteY21" fmla="*/ 1318 h 171695"/>
                <a:gd name="connsiteX22" fmla="*/ 151923 w 362632"/>
                <a:gd name="connsiteY22" fmla="*/ 1042 h 171695"/>
                <a:gd name="connsiteX23" fmla="*/ 159859 w 362632"/>
                <a:gd name="connsiteY23" fmla="*/ 981 h 171695"/>
                <a:gd name="connsiteX24" fmla="*/ 190285 w 362632"/>
                <a:gd name="connsiteY24" fmla="*/ 766 h 171695"/>
                <a:gd name="connsiteX25" fmla="*/ 244397 w 362632"/>
                <a:gd name="connsiteY25" fmla="*/ 429 h 171695"/>
                <a:gd name="connsiteX26" fmla="*/ 321428 w 362632"/>
                <a:gd name="connsiteY26" fmla="*/ 31 h 171695"/>
                <a:gd name="connsiteX27" fmla="*/ 342019 w 362632"/>
                <a:gd name="connsiteY27" fmla="*/ 0 h 171695"/>
                <a:gd name="connsiteX28" fmla="*/ 347350 w 362632"/>
                <a:gd name="connsiteY28" fmla="*/ 31 h 171695"/>
                <a:gd name="connsiteX29" fmla="*/ 349128 w 362632"/>
                <a:gd name="connsiteY29" fmla="*/ 92 h 171695"/>
                <a:gd name="connsiteX30" fmla="*/ 347320 w 362632"/>
                <a:gd name="connsiteY30" fmla="*/ 184 h 171695"/>
                <a:gd name="connsiteX31" fmla="*/ 341988 w 362632"/>
                <a:gd name="connsiteY31" fmla="*/ 306 h 171695"/>
                <a:gd name="connsiteX32" fmla="*/ 321398 w 362632"/>
                <a:gd name="connsiteY32" fmla="*/ 613 h 171695"/>
                <a:gd name="connsiteX33" fmla="*/ 244397 w 362632"/>
                <a:gd name="connsiteY33" fmla="*/ 1471 h 171695"/>
                <a:gd name="connsiteX34" fmla="*/ 190285 w 362632"/>
                <a:gd name="connsiteY34" fmla="*/ 1992 h 171695"/>
                <a:gd name="connsiteX35" fmla="*/ 159859 w 362632"/>
                <a:gd name="connsiteY35" fmla="*/ 2267 h 171695"/>
                <a:gd name="connsiteX36" fmla="*/ 151923 w 362632"/>
                <a:gd name="connsiteY36" fmla="*/ 2329 h 171695"/>
                <a:gd name="connsiteX37" fmla="*/ 143956 w 362632"/>
                <a:gd name="connsiteY37" fmla="*/ 2604 h 171695"/>
                <a:gd name="connsiteX38" fmla="*/ 136909 w 362632"/>
                <a:gd name="connsiteY38" fmla="*/ 5730 h 171695"/>
                <a:gd name="connsiteX39" fmla="*/ 133630 w 362632"/>
                <a:gd name="connsiteY39" fmla="*/ 12624 h 171695"/>
                <a:gd name="connsiteX40" fmla="*/ 111814 w 362632"/>
                <a:gd name="connsiteY40" fmla="*/ 158842 h 171695"/>
                <a:gd name="connsiteX41" fmla="*/ 111722 w 362632"/>
                <a:gd name="connsiteY41" fmla="*/ 159516 h 171695"/>
                <a:gd name="connsiteX42" fmla="*/ 111048 w 362632"/>
                <a:gd name="connsiteY42" fmla="*/ 159516 h 171695"/>
                <a:gd name="connsiteX43" fmla="*/ 46212 w 362632"/>
                <a:gd name="connsiteY43" fmla="*/ 159547 h 171695"/>
                <a:gd name="connsiteX44" fmla="*/ 12415 w 362632"/>
                <a:gd name="connsiteY44" fmla="*/ 159547 h 171695"/>
                <a:gd name="connsiteX45" fmla="*/ 8125 w 362632"/>
                <a:gd name="connsiteY45" fmla="*/ 159547 h 171695"/>
                <a:gd name="connsiteX46" fmla="*/ 4356 w 362632"/>
                <a:gd name="connsiteY46" fmla="*/ 160190 h 171695"/>
                <a:gd name="connsiteX47" fmla="*/ 1966 w 362632"/>
                <a:gd name="connsiteY47" fmla="*/ 166594 h 171695"/>
                <a:gd name="connsiteX48" fmla="*/ 4326 w 362632"/>
                <a:gd name="connsiteY48" fmla="*/ 169383 h 171695"/>
                <a:gd name="connsiteX49" fmla="*/ 8125 w 362632"/>
                <a:gd name="connsiteY49" fmla="*/ 170057 h 171695"/>
                <a:gd name="connsiteX50" fmla="*/ 16797 w 362632"/>
                <a:gd name="connsiteY50" fmla="*/ 170057 h 171695"/>
                <a:gd name="connsiteX51" fmla="*/ 339506 w 362632"/>
                <a:gd name="connsiteY51" fmla="*/ 170241 h 171695"/>
                <a:gd name="connsiteX52" fmla="*/ 338894 w 362632"/>
                <a:gd name="connsiteY52" fmla="*/ 170761 h 171695"/>
                <a:gd name="connsiteX53" fmla="*/ 358197 w 362632"/>
                <a:gd name="connsiteY53" fmla="*/ 40660 h 171695"/>
                <a:gd name="connsiteX54" fmla="*/ 361261 w 362632"/>
                <a:gd name="connsiteY54" fmla="*/ 20162 h 171695"/>
                <a:gd name="connsiteX55" fmla="*/ 362089 w 362632"/>
                <a:gd name="connsiteY55" fmla="*/ 11981 h 171695"/>
                <a:gd name="connsiteX56" fmla="*/ 359729 w 362632"/>
                <a:gd name="connsiteY56" fmla="*/ 5699 h 171695"/>
                <a:gd name="connsiteX57" fmla="*/ 352253 w 362632"/>
                <a:gd name="connsiteY57" fmla="*/ 552 h 171695"/>
                <a:gd name="connsiteX58" fmla="*/ 349128 w 362632"/>
                <a:gd name="connsiteY58" fmla="*/ 92 h 17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62632" h="171695">
                  <a:moveTo>
                    <a:pt x="349128" y="92"/>
                  </a:moveTo>
                  <a:cubicBezTo>
                    <a:pt x="349128" y="92"/>
                    <a:pt x="350231" y="-61"/>
                    <a:pt x="352314" y="398"/>
                  </a:cubicBezTo>
                  <a:cubicBezTo>
                    <a:pt x="354337" y="858"/>
                    <a:pt x="357523" y="2114"/>
                    <a:pt x="360036" y="5515"/>
                  </a:cubicBezTo>
                  <a:cubicBezTo>
                    <a:pt x="361292" y="7170"/>
                    <a:pt x="362242" y="9407"/>
                    <a:pt x="362548" y="11981"/>
                  </a:cubicBezTo>
                  <a:cubicBezTo>
                    <a:pt x="362885" y="14585"/>
                    <a:pt x="362119" y="17343"/>
                    <a:pt x="361813" y="20284"/>
                  </a:cubicBezTo>
                  <a:cubicBezTo>
                    <a:pt x="360955" y="26229"/>
                    <a:pt x="360005" y="33092"/>
                    <a:pt x="358902" y="40814"/>
                  </a:cubicBezTo>
                  <a:cubicBezTo>
                    <a:pt x="354459" y="71700"/>
                    <a:pt x="348025" y="116251"/>
                    <a:pt x="340150" y="170976"/>
                  </a:cubicBezTo>
                  <a:lnTo>
                    <a:pt x="340058" y="171497"/>
                  </a:lnTo>
                  <a:lnTo>
                    <a:pt x="339506" y="171497"/>
                  </a:lnTo>
                  <a:cubicBezTo>
                    <a:pt x="253436" y="171558"/>
                    <a:pt x="140310" y="171619"/>
                    <a:pt x="16797" y="171681"/>
                  </a:cubicBezTo>
                  <a:cubicBezTo>
                    <a:pt x="13886" y="171681"/>
                    <a:pt x="11005" y="171681"/>
                    <a:pt x="8125" y="171681"/>
                  </a:cubicBezTo>
                  <a:cubicBezTo>
                    <a:pt x="6777" y="171742"/>
                    <a:pt x="4908" y="171650"/>
                    <a:pt x="3529" y="170792"/>
                  </a:cubicBezTo>
                  <a:cubicBezTo>
                    <a:pt x="2089" y="169995"/>
                    <a:pt x="986" y="168678"/>
                    <a:pt x="434" y="167146"/>
                  </a:cubicBezTo>
                  <a:cubicBezTo>
                    <a:pt x="-791" y="164051"/>
                    <a:pt x="679" y="160282"/>
                    <a:pt x="3560" y="158750"/>
                  </a:cubicBezTo>
                  <a:cubicBezTo>
                    <a:pt x="4939" y="157923"/>
                    <a:pt x="6777" y="157831"/>
                    <a:pt x="8125" y="157892"/>
                  </a:cubicBezTo>
                  <a:lnTo>
                    <a:pt x="12415" y="157892"/>
                  </a:lnTo>
                  <a:cubicBezTo>
                    <a:pt x="23813" y="157892"/>
                    <a:pt x="35089" y="157892"/>
                    <a:pt x="46212" y="157892"/>
                  </a:cubicBezTo>
                  <a:cubicBezTo>
                    <a:pt x="68488" y="157892"/>
                    <a:pt x="90151" y="157892"/>
                    <a:pt x="111048" y="157923"/>
                  </a:cubicBezTo>
                  <a:lnTo>
                    <a:pt x="110282" y="158597"/>
                  </a:lnTo>
                  <a:cubicBezTo>
                    <a:pt x="118249" y="105833"/>
                    <a:pt x="125664" y="56594"/>
                    <a:pt x="132313" y="12410"/>
                  </a:cubicBezTo>
                  <a:cubicBezTo>
                    <a:pt x="132558" y="9621"/>
                    <a:pt x="133814" y="6588"/>
                    <a:pt x="136051" y="4719"/>
                  </a:cubicBezTo>
                  <a:cubicBezTo>
                    <a:pt x="138257" y="2758"/>
                    <a:pt x="141015" y="1747"/>
                    <a:pt x="143772" y="1318"/>
                  </a:cubicBezTo>
                  <a:cubicBezTo>
                    <a:pt x="146591" y="889"/>
                    <a:pt x="149257" y="1134"/>
                    <a:pt x="151923" y="1042"/>
                  </a:cubicBezTo>
                  <a:cubicBezTo>
                    <a:pt x="154589" y="1011"/>
                    <a:pt x="157224" y="1011"/>
                    <a:pt x="159859" y="981"/>
                  </a:cubicBezTo>
                  <a:cubicBezTo>
                    <a:pt x="170369" y="919"/>
                    <a:pt x="180511" y="827"/>
                    <a:pt x="190285" y="766"/>
                  </a:cubicBezTo>
                  <a:cubicBezTo>
                    <a:pt x="209865" y="643"/>
                    <a:pt x="227943" y="521"/>
                    <a:pt x="244397" y="429"/>
                  </a:cubicBezTo>
                  <a:cubicBezTo>
                    <a:pt x="277213" y="245"/>
                    <a:pt x="303411" y="123"/>
                    <a:pt x="321428" y="31"/>
                  </a:cubicBezTo>
                  <a:cubicBezTo>
                    <a:pt x="330375" y="0"/>
                    <a:pt x="337300" y="0"/>
                    <a:pt x="342019" y="0"/>
                  </a:cubicBezTo>
                  <a:cubicBezTo>
                    <a:pt x="344317" y="0"/>
                    <a:pt x="346094" y="31"/>
                    <a:pt x="347350" y="31"/>
                  </a:cubicBezTo>
                  <a:cubicBezTo>
                    <a:pt x="348515" y="31"/>
                    <a:pt x="349128" y="92"/>
                    <a:pt x="349128" y="92"/>
                  </a:cubicBezTo>
                  <a:cubicBezTo>
                    <a:pt x="349128" y="92"/>
                    <a:pt x="348515" y="153"/>
                    <a:pt x="347320" y="184"/>
                  </a:cubicBezTo>
                  <a:cubicBezTo>
                    <a:pt x="346094" y="215"/>
                    <a:pt x="344317" y="245"/>
                    <a:pt x="341988" y="306"/>
                  </a:cubicBezTo>
                  <a:cubicBezTo>
                    <a:pt x="337270" y="368"/>
                    <a:pt x="330345" y="460"/>
                    <a:pt x="321398" y="613"/>
                  </a:cubicBezTo>
                  <a:cubicBezTo>
                    <a:pt x="303381" y="827"/>
                    <a:pt x="277213" y="1103"/>
                    <a:pt x="244397" y="1471"/>
                  </a:cubicBezTo>
                  <a:cubicBezTo>
                    <a:pt x="227974" y="1624"/>
                    <a:pt x="209865" y="1808"/>
                    <a:pt x="190285" y="1992"/>
                  </a:cubicBezTo>
                  <a:cubicBezTo>
                    <a:pt x="180511" y="2084"/>
                    <a:pt x="170338" y="2176"/>
                    <a:pt x="159859" y="2267"/>
                  </a:cubicBezTo>
                  <a:cubicBezTo>
                    <a:pt x="157224" y="2298"/>
                    <a:pt x="154589" y="2329"/>
                    <a:pt x="151923" y="2329"/>
                  </a:cubicBezTo>
                  <a:cubicBezTo>
                    <a:pt x="149257" y="2421"/>
                    <a:pt x="146530" y="2206"/>
                    <a:pt x="143956" y="2604"/>
                  </a:cubicBezTo>
                  <a:cubicBezTo>
                    <a:pt x="141382" y="3003"/>
                    <a:pt x="138839" y="3983"/>
                    <a:pt x="136909" y="5730"/>
                  </a:cubicBezTo>
                  <a:cubicBezTo>
                    <a:pt x="134917" y="7446"/>
                    <a:pt x="133875" y="9866"/>
                    <a:pt x="133630" y="12624"/>
                  </a:cubicBezTo>
                  <a:cubicBezTo>
                    <a:pt x="127042" y="56808"/>
                    <a:pt x="119689" y="106048"/>
                    <a:pt x="111814" y="158842"/>
                  </a:cubicBezTo>
                  <a:lnTo>
                    <a:pt x="111722" y="159516"/>
                  </a:lnTo>
                  <a:lnTo>
                    <a:pt x="111048" y="159516"/>
                  </a:lnTo>
                  <a:cubicBezTo>
                    <a:pt x="90151" y="159516"/>
                    <a:pt x="68457" y="159516"/>
                    <a:pt x="46212" y="159547"/>
                  </a:cubicBezTo>
                  <a:cubicBezTo>
                    <a:pt x="35089" y="159547"/>
                    <a:pt x="23813" y="159547"/>
                    <a:pt x="12415" y="159547"/>
                  </a:cubicBezTo>
                  <a:lnTo>
                    <a:pt x="8125" y="159547"/>
                  </a:lnTo>
                  <a:cubicBezTo>
                    <a:pt x="6624" y="159516"/>
                    <a:pt x="5490" y="159578"/>
                    <a:pt x="4356" y="160190"/>
                  </a:cubicBezTo>
                  <a:cubicBezTo>
                    <a:pt x="2150" y="161355"/>
                    <a:pt x="1047" y="164235"/>
                    <a:pt x="1966" y="166594"/>
                  </a:cubicBezTo>
                  <a:cubicBezTo>
                    <a:pt x="2395" y="167759"/>
                    <a:pt x="3253" y="168770"/>
                    <a:pt x="4326" y="169383"/>
                  </a:cubicBezTo>
                  <a:cubicBezTo>
                    <a:pt x="5459" y="170026"/>
                    <a:pt x="6593" y="170087"/>
                    <a:pt x="8125" y="170057"/>
                  </a:cubicBezTo>
                  <a:cubicBezTo>
                    <a:pt x="11005" y="170057"/>
                    <a:pt x="13916" y="170057"/>
                    <a:pt x="16797" y="170057"/>
                  </a:cubicBezTo>
                  <a:cubicBezTo>
                    <a:pt x="140310" y="170118"/>
                    <a:pt x="253436" y="170210"/>
                    <a:pt x="339506" y="170241"/>
                  </a:cubicBezTo>
                  <a:lnTo>
                    <a:pt x="338894" y="170761"/>
                  </a:lnTo>
                  <a:cubicBezTo>
                    <a:pt x="347013" y="116068"/>
                    <a:pt x="353601" y="71546"/>
                    <a:pt x="358197" y="40660"/>
                  </a:cubicBezTo>
                  <a:cubicBezTo>
                    <a:pt x="359362" y="32970"/>
                    <a:pt x="360373" y="26106"/>
                    <a:pt x="361261" y="20162"/>
                  </a:cubicBezTo>
                  <a:cubicBezTo>
                    <a:pt x="361629" y="17190"/>
                    <a:pt x="362395" y="14462"/>
                    <a:pt x="362089" y="11981"/>
                  </a:cubicBezTo>
                  <a:cubicBezTo>
                    <a:pt x="361844" y="9499"/>
                    <a:pt x="360924" y="7323"/>
                    <a:pt x="359729" y="5699"/>
                  </a:cubicBezTo>
                  <a:cubicBezTo>
                    <a:pt x="357339" y="2359"/>
                    <a:pt x="354245" y="1072"/>
                    <a:pt x="352253" y="552"/>
                  </a:cubicBezTo>
                  <a:cubicBezTo>
                    <a:pt x="350231" y="61"/>
                    <a:pt x="349128" y="153"/>
                    <a:pt x="349128" y="92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C3541C99-BE83-45DA-8503-925F76FA4723}"/>
                </a:ext>
              </a:extLst>
            </p:cNvPr>
            <p:cNvSpPr/>
            <p:nvPr/>
          </p:nvSpPr>
          <p:spPr>
            <a:xfrm>
              <a:off x="5715134" y="3640418"/>
              <a:ext cx="25309" cy="25309"/>
            </a:xfrm>
            <a:custGeom>
              <a:avLst/>
              <a:gdLst>
                <a:gd name="connsiteX0" fmla="*/ 25309 w 25309"/>
                <a:gd name="connsiteY0" fmla="*/ 12655 h 25309"/>
                <a:gd name="connsiteX1" fmla="*/ 12655 w 25309"/>
                <a:gd name="connsiteY1" fmla="*/ 25309 h 25309"/>
                <a:gd name="connsiteX2" fmla="*/ 0 w 25309"/>
                <a:gd name="connsiteY2" fmla="*/ 12655 h 25309"/>
                <a:gd name="connsiteX3" fmla="*/ 12655 w 25309"/>
                <a:gd name="connsiteY3" fmla="*/ 0 h 25309"/>
                <a:gd name="connsiteX4" fmla="*/ 25309 w 25309"/>
                <a:gd name="connsiteY4" fmla="*/ 12655 h 2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9" h="25309">
                  <a:moveTo>
                    <a:pt x="25309" y="12655"/>
                  </a:moveTo>
                  <a:cubicBezTo>
                    <a:pt x="25309" y="19644"/>
                    <a:pt x="19644" y="25309"/>
                    <a:pt x="12655" y="25309"/>
                  </a:cubicBezTo>
                  <a:cubicBezTo>
                    <a:pt x="5666" y="25309"/>
                    <a:pt x="0" y="19644"/>
                    <a:pt x="0" y="12655"/>
                  </a:cubicBezTo>
                  <a:cubicBezTo>
                    <a:pt x="0" y="5666"/>
                    <a:pt x="5666" y="0"/>
                    <a:pt x="12655" y="0"/>
                  </a:cubicBezTo>
                  <a:cubicBezTo>
                    <a:pt x="19644" y="0"/>
                    <a:pt x="25309" y="5666"/>
                    <a:pt x="25309" y="12655"/>
                  </a:cubicBezTo>
                  <a:close/>
                </a:path>
              </a:pathLst>
            </a:custGeom>
            <a:solidFill>
              <a:srgbClr val="FFFFFF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9AAC8BEF-5B08-4ED7-9EB5-E02840444DCF}"/>
                </a:ext>
              </a:extLst>
            </p:cNvPr>
            <p:cNvSpPr/>
            <p:nvPr/>
          </p:nvSpPr>
          <p:spPr>
            <a:xfrm>
              <a:off x="5607542" y="3571169"/>
              <a:ext cx="27721" cy="167789"/>
            </a:xfrm>
            <a:custGeom>
              <a:avLst/>
              <a:gdLst>
                <a:gd name="connsiteX0" fmla="*/ 11 w 27721"/>
                <a:gd name="connsiteY0" fmla="*/ 167789 h 167789"/>
                <a:gd name="connsiteX1" fmla="*/ 14382 w 27721"/>
                <a:gd name="connsiteY1" fmla="*/ 83987 h 167789"/>
                <a:gd name="connsiteX2" fmla="*/ 27711 w 27721"/>
                <a:gd name="connsiteY2" fmla="*/ 0 h 167789"/>
                <a:gd name="connsiteX3" fmla="*/ 13340 w 27721"/>
                <a:gd name="connsiteY3" fmla="*/ 83803 h 167789"/>
                <a:gd name="connsiteX4" fmla="*/ 11 w 27721"/>
                <a:gd name="connsiteY4" fmla="*/ 167789 h 16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21" h="167789">
                  <a:moveTo>
                    <a:pt x="11" y="167789"/>
                  </a:moveTo>
                  <a:cubicBezTo>
                    <a:pt x="287" y="167851"/>
                    <a:pt x="6722" y="130316"/>
                    <a:pt x="14382" y="83987"/>
                  </a:cubicBezTo>
                  <a:cubicBezTo>
                    <a:pt x="22042" y="37658"/>
                    <a:pt x="28017" y="61"/>
                    <a:pt x="27711" y="0"/>
                  </a:cubicBezTo>
                  <a:cubicBezTo>
                    <a:pt x="27435" y="-61"/>
                    <a:pt x="21000" y="37474"/>
                    <a:pt x="13340" y="83803"/>
                  </a:cubicBezTo>
                  <a:cubicBezTo>
                    <a:pt x="5680" y="130162"/>
                    <a:pt x="-295" y="167759"/>
                    <a:pt x="11" y="167789"/>
                  </a:cubicBezTo>
                  <a:close/>
                </a:path>
              </a:pathLst>
            </a:custGeom>
            <a:solidFill>
              <a:srgbClr val="263238"/>
            </a:solidFill>
            <a:ln w="305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4" name="TextBox 263">
            <a:extLst>
              <a:ext uri="{FF2B5EF4-FFF2-40B4-BE49-F238E27FC236}">
                <a16:creationId xmlns:a16="http://schemas.microsoft.com/office/drawing/2014/main" id="{E70C9D4F-8050-4F71-884D-E6727B17B33F}"/>
              </a:ext>
            </a:extLst>
          </p:cNvPr>
          <p:cNvSpPr txBox="1"/>
          <p:nvPr/>
        </p:nvSpPr>
        <p:spPr>
          <a:xfrm>
            <a:off x="326655" y="3843325"/>
            <a:ext cx="3319620" cy="176611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An ML model, specifically the </a:t>
            </a:r>
            <a:r>
              <a:rPr lang="en-US" sz="1600" b="1">
                <a:solidFill>
                  <a:srgbClr val="073732"/>
                </a:solidFill>
                <a:latin typeface="Georgia" panose="02040502050405020303" pitchFamily="18" charset="0"/>
              </a:rPr>
              <a:t>Logistic Regression Model </a:t>
            </a: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was trained on a dataset of emotions/tex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Logistic Regression (LR) model was chosen as it was best at making predictions based on categories/groups of data.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EF21FA22-5894-4DFE-AC15-A76F915B6173}"/>
              </a:ext>
            </a:extLst>
          </p:cNvPr>
          <p:cNvSpPr txBox="1"/>
          <p:nvPr/>
        </p:nvSpPr>
        <p:spPr>
          <a:xfrm>
            <a:off x="8454380" y="1229042"/>
            <a:ext cx="3319620" cy="1832689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the user's input was passed into the “</a:t>
            </a:r>
            <a:r>
              <a:rPr lang="en-US" sz="1600" b="1" err="1">
                <a:solidFill>
                  <a:srgbClr val="073732"/>
                </a:solidFill>
                <a:latin typeface="Georgia" panose="02040502050405020303" pitchFamily="18" charset="0"/>
              </a:rPr>
              <a:t>predict_emotion</a:t>
            </a: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” function designed to identify the most probable emotion out of the eig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The function value that is returned from this was made use of to pick out appropriate responses with therapist replies.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42F1A168-0DD5-4829-A178-D21EB9CE3348}"/>
              </a:ext>
            </a:extLst>
          </p:cNvPr>
          <p:cNvSpPr txBox="1"/>
          <p:nvPr/>
        </p:nvSpPr>
        <p:spPr>
          <a:xfrm>
            <a:off x="340488" y="1499512"/>
            <a:ext cx="3319620" cy="1753985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rgbClr val="073732"/>
                </a:solidFill>
                <a:latin typeface="Georgia" panose="02040502050405020303" pitchFamily="18" charset="0"/>
              </a:rPr>
              <a:t>Sentiment Analysis </a:t>
            </a: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was performed to categorize the emotions as per the sentiment which will later be used to predict emotion in a more accurate wa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It was performed on each of the 8 emotions to further categorize them into “Positive”, “Negative” and “Neutral”.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C66FF4E5-5F1C-438A-BB41-B06C980C6E21}"/>
              </a:ext>
            </a:extLst>
          </p:cNvPr>
          <p:cNvSpPr txBox="1"/>
          <p:nvPr/>
        </p:nvSpPr>
        <p:spPr>
          <a:xfrm>
            <a:off x="8454380" y="4397039"/>
            <a:ext cx="3319620" cy="15553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python libraries used: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pandas (for reading and updating the dataset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rgbClr val="073732"/>
                </a:solidFill>
                <a:latin typeface="Georgia" panose="02040502050405020303" pitchFamily="18" charset="0"/>
              </a:rPr>
              <a:t>numpy</a:t>
            </a: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 (for basic array creation and use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rgbClr val="073732"/>
                </a:solidFill>
                <a:latin typeface="Georgia" panose="02040502050405020303" pitchFamily="18" charset="0"/>
              </a:rPr>
              <a:t>neattext</a:t>
            </a: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 (for text cleaning)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seaborn (to visualize data and plot graph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rgbClr val="073732"/>
                </a:solidFill>
                <a:latin typeface="Georgia" panose="02040502050405020303" pitchFamily="18" charset="0"/>
              </a:rPr>
              <a:t>textblob</a:t>
            </a:r>
            <a:r>
              <a:rPr lang="en-US" sz="1600">
                <a:solidFill>
                  <a:srgbClr val="073732"/>
                </a:solidFill>
                <a:latin typeface="Georgia" panose="02040502050405020303" pitchFamily="18" charset="0"/>
              </a:rPr>
              <a:t> (for performing sentiment analysis on the dataset).</a:t>
            </a:r>
          </a:p>
        </p:txBody>
      </p:sp>
      <p:sp>
        <p:nvSpPr>
          <p:cNvPr id="798" name="Freeform: Shape 797">
            <a:extLst>
              <a:ext uri="{FF2B5EF4-FFF2-40B4-BE49-F238E27FC236}">
                <a16:creationId xmlns:a16="http://schemas.microsoft.com/office/drawing/2014/main" id="{9DA9B069-E4B6-489A-87E2-3312969F2FED}"/>
              </a:ext>
            </a:extLst>
          </p:cNvPr>
          <p:cNvSpPr/>
          <p:nvPr/>
        </p:nvSpPr>
        <p:spPr>
          <a:xfrm rot="16200000">
            <a:off x="11398475" y="1059212"/>
            <a:ext cx="1082619" cy="504431"/>
          </a:xfrm>
          <a:custGeom>
            <a:avLst/>
            <a:gdLst>
              <a:gd name="connsiteX0" fmla="*/ 770214 w 770214"/>
              <a:gd name="connsiteY0" fmla="*/ 358870 h 358870"/>
              <a:gd name="connsiteX1" fmla="*/ 0 w 770214"/>
              <a:gd name="connsiteY1" fmla="*/ 358870 h 358870"/>
              <a:gd name="connsiteX2" fmla="*/ 4943 w 770214"/>
              <a:gd name="connsiteY2" fmla="*/ 309843 h 358870"/>
              <a:gd name="connsiteX3" fmla="*/ 385108 w 770214"/>
              <a:gd name="connsiteY3" fmla="*/ 0 h 358870"/>
              <a:gd name="connsiteX4" fmla="*/ 765272 w 770214"/>
              <a:gd name="connsiteY4" fmla="*/ 309843 h 35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0214" h="358870">
                <a:moveTo>
                  <a:pt x="770214" y="358870"/>
                </a:moveTo>
                <a:lnTo>
                  <a:pt x="0" y="358870"/>
                </a:lnTo>
                <a:lnTo>
                  <a:pt x="4943" y="309843"/>
                </a:lnTo>
                <a:cubicBezTo>
                  <a:pt x="41127" y="133016"/>
                  <a:pt x="197583" y="0"/>
                  <a:pt x="385108" y="0"/>
                </a:cubicBezTo>
                <a:cubicBezTo>
                  <a:pt x="572632" y="0"/>
                  <a:pt x="729088" y="133016"/>
                  <a:pt x="765272" y="309843"/>
                </a:cubicBezTo>
                <a:close/>
              </a:path>
            </a:pathLst>
          </a:custGeom>
          <a:solidFill>
            <a:srgbClr val="F7AB9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7" name="Freeform: Shape 826">
            <a:extLst>
              <a:ext uri="{FF2B5EF4-FFF2-40B4-BE49-F238E27FC236}">
                <a16:creationId xmlns:a16="http://schemas.microsoft.com/office/drawing/2014/main" id="{1F2C893F-E24D-4227-A831-92EDB448E360}"/>
              </a:ext>
            </a:extLst>
          </p:cNvPr>
          <p:cNvSpPr/>
          <p:nvPr/>
        </p:nvSpPr>
        <p:spPr>
          <a:xfrm>
            <a:off x="7507370" y="0"/>
            <a:ext cx="2625938" cy="291186"/>
          </a:xfrm>
          <a:custGeom>
            <a:avLst/>
            <a:gdLst>
              <a:gd name="connsiteX0" fmla="*/ 0 w 6479712"/>
              <a:gd name="connsiteY0" fmla="*/ 0 h 718525"/>
              <a:gd name="connsiteX1" fmla="*/ 6479712 w 6479712"/>
              <a:gd name="connsiteY1" fmla="*/ 0 h 718525"/>
              <a:gd name="connsiteX2" fmla="*/ 6443912 w 6479712"/>
              <a:gd name="connsiteY2" fmla="*/ 22038 h 718525"/>
              <a:gd name="connsiteX3" fmla="*/ 4737151 w 6479712"/>
              <a:gd name="connsiteY3" fmla="*/ 712799 h 718525"/>
              <a:gd name="connsiteX4" fmla="*/ 3372808 w 6479712"/>
              <a:gd name="connsiteY4" fmla="*/ 306399 h 718525"/>
              <a:gd name="connsiteX5" fmla="*/ 1311779 w 6479712"/>
              <a:gd name="connsiteY5" fmla="*/ 538628 h 718525"/>
              <a:gd name="connsiteX6" fmla="*/ 127278 w 6479712"/>
              <a:gd name="connsiteY6" fmla="*/ 80578 h 71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9712" h="718525">
                <a:moveTo>
                  <a:pt x="0" y="0"/>
                </a:moveTo>
                <a:lnTo>
                  <a:pt x="6479712" y="0"/>
                </a:lnTo>
                <a:lnTo>
                  <a:pt x="6443912" y="22038"/>
                </a:lnTo>
                <a:cubicBezTo>
                  <a:pt x="6079647" y="238401"/>
                  <a:pt x="5202817" y="659883"/>
                  <a:pt x="4737151" y="712799"/>
                </a:cubicBezTo>
                <a:cubicBezTo>
                  <a:pt x="4204961" y="773275"/>
                  <a:pt x="3943703" y="335428"/>
                  <a:pt x="3372808" y="306399"/>
                </a:cubicBezTo>
                <a:cubicBezTo>
                  <a:pt x="2801913" y="277370"/>
                  <a:pt x="1911703" y="613618"/>
                  <a:pt x="1311779" y="538628"/>
                </a:cubicBezTo>
                <a:cubicBezTo>
                  <a:pt x="861836" y="482386"/>
                  <a:pt x="485372" y="297555"/>
                  <a:pt x="127278" y="80578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2" name="Freeform: Shape 831">
            <a:extLst>
              <a:ext uri="{FF2B5EF4-FFF2-40B4-BE49-F238E27FC236}">
                <a16:creationId xmlns:a16="http://schemas.microsoft.com/office/drawing/2014/main" id="{BB32310A-5685-4F51-A2F4-1DE2A8C8837F}"/>
              </a:ext>
            </a:extLst>
          </p:cNvPr>
          <p:cNvSpPr/>
          <p:nvPr/>
        </p:nvSpPr>
        <p:spPr>
          <a:xfrm>
            <a:off x="0" y="1544361"/>
            <a:ext cx="594307" cy="4717703"/>
          </a:xfrm>
          <a:custGeom>
            <a:avLst/>
            <a:gdLst>
              <a:gd name="connsiteX0" fmla="*/ 0 w 594307"/>
              <a:gd name="connsiteY0" fmla="*/ 0 h 4717703"/>
              <a:gd name="connsiteX1" fmla="*/ 44592 w 594307"/>
              <a:gd name="connsiteY1" fmla="*/ 57991 h 4717703"/>
              <a:gd name="connsiteX2" fmla="*/ 340251 w 594307"/>
              <a:gd name="connsiteY2" fmla="*/ 1365988 h 4717703"/>
              <a:gd name="connsiteX3" fmla="*/ 153438 w 594307"/>
              <a:gd name="connsiteY3" fmla="*/ 2368879 h 4717703"/>
              <a:gd name="connsiteX4" fmla="*/ 251760 w 594307"/>
              <a:gd name="connsiteY4" fmla="*/ 2840827 h 4717703"/>
              <a:gd name="connsiteX5" fmla="*/ 586057 w 594307"/>
              <a:gd name="connsiteY5" fmla="*/ 3420930 h 4717703"/>
              <a:gd name="connsiteX6" fmla="*/ 46819 w 594307"/>
              <a:gd name="connsiteY6" fmla="*/ 4664864 h 4717703"/>
              <a:gd name="connsiteX7" fmla="*/ 0 w 594307"/>
              <a:gd name="connsiteY7" fmla="*/ 4717703 h 4717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4307" h="4717703">
                <a:moveTo>
                  <a:pt x="0" y="0"/>
                </a:moveTo>
                <a:lnTo>
                  <a:pt x="44592" y="57991"/>
                </a:lnTo>
                <a:cubicBezTo>
                  <a:pt x="171259" y="311479"/>
                  <a:pt x="311984" y="1071021"/>
                  <a:pt x="340251" y="1365988"/>
                </a:cubicBezTo>
                <a:cubicBezTo>
                  <a:pt x="377941" y="1759278"/>
                  <a:pt x="168187" y="2123073"/>
                  <a:pt x="153438" y="2368879"/>
                </a:cubicBezTo>
                <a:cubicBezTo>
                  <a:pt x="138690" y="2614686"/>
                  <a:pt x="179657" y="2665485"/>
                  <a:pt x="251760" y="2840827"/>
                </a:cubicBezTo>
                <a:cubicBezTo>
                  <a:pt x="323863" y="3016169"/>
                  <a:pt x="649967" y="3094827"/>
                  <a:pt x="586057" y="3420930"/>
                </a:cubicBezTo>
                <a:cubicBezTo>
                  <a:pt x="538125" y="3665507"/>
                  <a:pt x="258827" y="4366363"/>
                  <a:pt x="46819" y="4664864"/>
                </a:cubicBezTo>
                <a:lnTo>
                  <a:pt x="0" y="4717703"/>
                </a:lnTo>
                <a:close/>
              </a:path>
            </a:pathLst>
          </a:custGeom>
          <a:solidFill>
            <a:srgbClr val="8094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783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5" name="Freeform: Shape 1414">
            <a:extLst>
              <a:ext uri="{FF2B5EF4-FFF2-40B4-BE49-F238E27FC236}">
                <a16:creationId xmlns:a16="http://schemas.microsoft.com/office/drawing/2014/main" id="{D432FA7A-6570-4846-8DB5-FF643E547C72}"/>
              </a:ext>
            </a:extLst>
          </p:cNvPr>
          <p:cNvSpPr/>
          <p:nvPr/>
        </p:nvSpPr>
        <p:spPr>
          <a:xfrm>
            <a:off x="377205" y="2916116"/>
            <a:ext cx="3709864" cy="646032"/>
          </a:xfrm>
          <a:custGeom>
            <a:avLst/>
            <a:gdLst>
              <a:gd name="connsiteX0" fmla="*/ 3294279 w 3709864"/>
              <a:gd name="connsiteY0" fmla="*/ 0 h 646032"/>
              <a:gd name="connsiteX1" fmla="*/ 3709864 w 3709864"/>
              <a:gd name="connsiteY1" fmla="*/ 323016 h 646032"/>
              <a:gd name="connsiteX2" fmla="*/ 3294279 w 3709864"/>
              <a:gd name="connsiteY2" fmla="*/ 646032 h 646032"/>
              <a:gd name="connsiteX3" fmla="*/ 3294279 w 3709864"/>
              <a:gd name="connsiteY3" fmla="*/ 467533 h 646032"/>
              <a:gd name="connsiteX4" fmla="*/ 0 w 3709864"/>
              <a:gd name="connsiteY4" fmla="*/ 467533 h 646032"/>
              <a:gd name="connsiteX5" fmla="*/ 0 w 3709864"/>
              <a:gd name="connsiteY5" fmla="*/ 178498 h 646032"/>
              <a:gd name="connsiteX6" fmla="*/ 3294279 w 3709864"/>
              <a:gd name="connsiteY6" fmla="*/ 178498 h 646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9864" h="646032">
                <a:moveTo>
                  <a:pt x="3294279" y="0"/>
                </a:moveTo>
                <a:lnTo>
                  <a:pt x="3709864" y="323016"/>
                </a:lnTo>
                <a:lnTo>
                  <a:pt x="3294279" y="646032"/>
                </a:lnTo>
                <a:lnTo>
                  <a:pt x="3294279" y="467533"/>
                </a:lnTo>
                <a:lnTo>
                  <a:pt x="0" y="467533"/>
                </a:lnTo>
                <a:lnTo>
                  <a:pt x="0" y="178498"/>
                </a:lnTo>
                <a:lnTo>
                  <a:pt x="3294279" y="178498"/>
                </a:lnTo>
                <a:close/>
              </a:path>
            </a:pathLst>
          </a:custGeom>
          <a:noFill/>
          <a:ln w="6781" cap="flat">
            <a:solidFill>
              <a:srgbClr val="F3836D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D960EE-2147-4D1E-B86F-0DEFB1073E79}"/>
              </a:ext>
            </a:extLst>
          </p:cNvPr>
          <p:cNvSpPr txBox="1"/>
          <p:nvPr/>
        </p:nvSpPr>
        <p:spPr>
          <a:xfrm>
            <a:off x="431672" y="997851"/>
            <a:ext cx="5422706" cy="243114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4400" b="1">
                <a:solidFill>
                  <a:srgbClr val="094A44"/>
                </a:solidFill>
                <a:latin typeface="Georgia" panose="02040502050405020303" pitchFamily="18" charset="0"/>
              </a:rPr>
              <a:t>Architecture flow</a:t>
            </a:r>
          </a:p>
        </p:txBody>
      </p:sp>
      <p:grpSp>
        <p:nvGrpSpPr>
          <p:cNvPr id="436" name="Graphic 28">
            <a:extLst>
              <a:ext uri="{FF2B5EF4-FFF2-40B4-BE49-F238E27FC236}">
                <a16:creationId xmlns:a16="http://schemas.microsoft.com/office/drawing/2014/main" id="{8A99B8AC-DDCB-4F88-A850-260FD0972691}"/>
              </a:ext>
            </a:extLst>
          </p:cNvPr>
          <p:cNvGrpSpPr/>
          <p:nvPr/>
        </p:nvGrpSpPr>
        <p:grpSpPr>
          <a:xfrm rot="8886293">
            <a:off x="1318249" y="4212475"/>
            <a:ext cx="302176" cy="302310"/>
            <a:chOff x="10517187" y="-377031"/>
            <a:chExt cx="214979" cy="215074"/>
          </a:xfrm>
          <a:solidFill>
            <a:srgbClr val="094A44"/>
          </a:solidFill>
        </p:grpSpPr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E960B3F6-63D9-47F7-B683-D2CA084E6820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F77E3427-7B48-4B5F-89EE-AD6777FE9231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91" name="Graphic 890">
            <a:extLst>
              <a:ext uri="{FF2B5EF4-FFF2-40B4-BE49-F238E27FC236}">
                <a16:creationId xmlns:a16="http://schemas.microsoft.com/office/drawing/2014/main" id="{41EDC71A-C27F-4D0B-873B-143503763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7497"/>
          <a:stretch>
            <a:fillRect/>
          </a:stretch>
        </p:blipFill>
        <p:spPr>
          <a:xfrm flipV="1">
            <a:off x="492724" y="0"/>
            <a:ext cx="2050243" cy="1076432"/>
          </a:xfrm>
          <a:custGeom>
            <a:avLst/>
            <a:gdLst>
              <a:gd name="connsiteX0" fmla="*/ 0 w 2756958"/>
              <a:gd name="connsiteY0" fmla="*/ 0 h 1447476"/>
              <a:gd name="connsiteX1" fmla="*/ 2756958 w 2756958"/>
              <a:gd name="connsiteY1" fmla="*/ 0 h 1447476"/>
              <a:gd name="connsiteX2" fmla="*/ 2756958 w 2756958"/>
              <a:gd name="connsiteY2" fmla="*/ 1447476 h 1447476"/>
              <a:gd name="connsiteX3" fmla="*/ 0 w 2756958"/>
              <a:gd name="connsiteY3" fmla="*/ 1447476 h 144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6958" h="1447476">
                <a:moveTo>
                  <a:pt x="0" y="0"/>
                </a:moveTo>
                <a:lnTo>
                  <a:pt x="2756958" y="0"/>
                </a:lnTo>
                <a:lnTo>
                  <a:pt x="2756958" y="1447476"/>
                </a:lnTo>
                <a:lnTo>
                  <a:pt x="0" y="1447476"/>
                </a:lnTo>
                <a:close/>
              </a:path>
            </a:pathLst>
          </a:custGeom>
        </p:spPr>
      </p:pic>
      <p:pic>
        <p:nvPicPr>
          <p:cNvPr id="892" name="Graphic 891">
            <a:extLst>
              <a:ext uri="{FF2B5EF4-FFF2-40B4-BE49-F238E27FC236}">
                <a16:creationId xmlns:a16="http://schemas.microsoft.com/office/drawing/2014/main" id="{E87DEBBA-2F9C-4FE6-8BAB-6CFAB2F5ED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0155660" flipV="1">
            <a:off x="827870" y="104583"/>
            <a:ext cx="333375" cy="333375"/>
          </a:xfrm>
          <a:prstGeom prst="rect">
            <a:avLst/>
          </a:prstGeom>
        </p:spPr>
      </p:pic>
      <p:sp>
        <p:nvSpPr>
          <p:cNvPr id="893" name="Freeform: Shape 892">
            <a:extLst>
              <a:ext uri="{FF2B5EF4-FFF2-40B4-BE49-F238E27FC236}">
                <a16:creationId xmlns:a16="http://schemas.microsoft.com/office/drawing/2014/main" id="{571F294A-15A5-4531-8C93-BE6AFB0BDF85}"/>
              </a:ext>
            </a:extLst>
          </p:cNvPr>
          <p:cNvSpPr/>
          <p:nvPr/>
        </p:nvSpPr>
        <p:spPr>
          <a:xfrm>
            <a:off x="5985649" y="5743523"/>
            <a:ext cx="634672" cy="634736"/>
          </a:xfrm>
          <a:custGeom>
            <a:avLst/>
            <a:gdLst>
              <a:gd name="connsiteX0" fmla="*/ 181701 w 634672"/>
              <a:gd name="connsiteY0" fmla="*/ 92578 h 634736"/>
              <a:gd name="connsiteX1" fmla="*/ 245360 w 634672"/>
              <a:gd name="connsiteY1" fmla="*/ 64875 h 634736"/>
              <a:gd name="connsiteX2" fmla="*/ 258476 w 634672"/>
              <a:gd name="connsiteY2" fmla="*/ 1855 h 634736"/>
              <a:gd name="connsiteX3" fmla="*/ 365001 w 634672"/>
              <a:gd name="connsiteY3" fmla="*/ 0 h 634736"/>
              <a:gd name="connsiteX4" fmla="*/ 380356 w 634672"/>
              <a:gd name="connsiteY4" fmla="*/ 62508 h 634736"/>
              <a:gd name="connsiteX5" fmla="*/ 444975 w 634672"/>
              <a:gd name="connsiteY5" fmla="*/ 87907 h 634736"/>
              <a:gd name="connsiteX6" fmla="*/ 498781 w 634672"/>
              <a:gd name="connsiteY6" fmla="*/ 52655 h 634736"/>
              <a:gd name="connsiteX7" fmla="*/ 575428 w 634672"/>
              <a:gd name="connsiteY7" fmla="*/ 126679 h 634736"/>
              <a:gd name="connsiteX8" fmla="*/ 542095 w 634672"/>
              <a:gd name="connsiteY8" fmla="*/ 181701 h 634736"/>
              <a:gd name="connsiteX9" fmla="*/ 569798 w 634672"/>
              <a:gd name="connsiteY9" fmla="*/ 245424 h 634736"/>
              <a:gd name="connsiteX10" fmla="*/ 632817 w 634672"/>
              <a:gd name="connsiteY10" fmla="*/ 258540 h 634736"/>
              <a:gd name="connsiteX11" fmla="*/ 634673 w 634672"/>
              <a:gd name="connsiteY11" fmla="*/ 365065 h 634736"/>
              <a:gd name="connsiteX12" fmla="*/ 572165 w 634672"/>
              <a:gd name="connsiteY12" fmla="*/ 380420 h 634736"/>
              <a:gd name="connsiteX13" fmla="*/ 546765 w 634672"/>
              <a:gd name="connsiteY13" fmla="*/ 445039 h 634736"/>
              <a:gd name="connsiteX14" fmla="*/ 582018 w 634672"/>
              <a:gd name="connsiteY14" fmla="*/ 498845 h 634736"/>
              <a:gd name="connsiteX15" fmla="*/ 508058 w 634672"/>
              <a:gd name="connsiteY15" fmla="*/ 575492 h 634736"/>
              <a:gd name="connsiteX16" fmla="*/ 453036 w 634672"/>
              <a:gd name="connsiteY16" fmla="*/ 542159 h 634736"/>
              <a:gd name="connsiteX17" fmla="*/ 389313 w 634672"/>
              <a:gd name="connsiteY17" fmla="*/ 569862 h 634736"/>
              <a:gd name="connsiteX18" fmla="*/ 376197 w 634672"/>
              <a:gd name="connsiteY18" fmla="*/ 632881 h 634736"/>
              <a:gd name="connsiteX19" fmla="*/ 269672 w 634672"/>
              <a:gd name="connsiteY19" fmla="*/ 634737 h 634736"/>
              <a:gd name="connsiteX20" fmla="*/ 254317 w 634672"/>
              <a:gd name="connsiteY20" fmla="*/ 572229 h 634736"/>
              <a:gd name="connsiteX21" fmla="*/ 189698 w 634672"/>
              <a:gd name="connsiteY21" fmla="*/ 546830 h 634736"/>
              <a:gd name="connsiteX22" fmla="*/ 135892 w 634672"/>
              <a:gd name="connsiteY22" fmla="*/ 582082 h 634736"/>
              <a:gd name="connsiteX23" fmla="*/ 59245 w 634672"/>
              <a:gd name="connsiteY23" fmla="*/ 508122 h 634736"/>
              <a:gd name="connsiteX24" fmla="*/ 92578 w 634672"/>
              <a:gd name="connsiteY24" fmla="*/ 453100 h 634736"/>
              <a:gd name="connsiteX25" fmla="*/ 64875 w 634672"/>
              <a:gd name="connsiteY25" fmla="*/ 389377 h 634736"/>
              <a:gd name="connsiteX26" fmla="*/ 1855 w 634672"/>
              <a:gd name="connsiteY26" fmla="*/ 376261 h 634736"/>
              <a:gd name="connsiteX27" fmla="*/ 0 w 634672"/>
              <a:gd name="connsiteY27" fmla="*/ 269736 h 634736"/>
              <a:gd name="connsiteX28" fmla="*/ 62508 w 634672"/>
              <a:gd name="connsiteY28" fmla="*/ 254381 h 634736"/>
              <a:gd name="connsiteX29" fmla="*/ 87907 w 634672"/>
              <a:gd name="connsiteY29" fmla="*/ 189762 h 634736"/>
              <a:gd name="connsiteX30" fmla="*/ 52655 w 634672"/>
              <a:gd name="connsiteY30" fmla="*/ 135956 h 634736"/>
              <a:gd name="connsiteX31" fmla="*/ 126615 w 634672"/>
              <a:gd name="connsiteY31" fmla="*/ 59309 h 634736"/>
              <a:gd name="connsiteX32" fmla="*/ 181701 w 634672"/>
              <a:gd name="connsiteY32" fmla="*/ 92578 h 634736"/>
              <a:gd name="connsiteX33" fmla="*/ 181701 w 634672"/>
              <a:gd name="connsiteY33" fmla="*/ 92578 h 634736"/>
              <a:gd name="connsiteX34" fmla="*/ 238514 w 634672"/>
              <a:gd name="connsiteY34" fmla="*/ 234483 h 634736"/>
              <a:gd name="connsiteX35" fmla="*/ 241329 w 634672"/>
              <a:gd name="connsiteY35" fmla="*/ 396031 h 634736"/>
              <a:gd name="connsiteX36" fmla="*/ 402876 w 634672"/>
              <a:gd name="connsiteY36" fmla="*/ 393216 h 634736"/>
              <a:gd name="connsiteX37" fmla="*/ 400061 w 634672"/>
              <a:gd name="connsiteY37" fmla="*/ 231668 h 634736"/>
              <a:gd name="connsiteX38" fmla="*/ 238514 w 634672"/>
              <a:gd name="connsiteY38" fmla="*/ 234483 h 63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34672" h="634736">
                <a:moveTo>
                  <a:pt x="181701" y="92578"/>
                </a:moveTo>
                <a:cubicBezTo>
                  <a:pt x="201854" y="80422"/>
                  <a:pt x="223287" y="71209"/>
                  <a:pt x="245360" y="64875"/>
                </a:cubicBezTo>
                <a:lnTo>
                  <a:pt x="258476" y="1855"/>
                </a:lnTo>
                <a:lnTo>
                  <a:pt x="365001" y="0"/>
                </a:lnTo>
                <a:lnTo>
                  <a:pt x="380356" y="62508"/>
                </a:lnTo>
                <a:cubicBezTo>
                  <a:pt x="402685" y="68010"/>
                  <a:pt x="424437" y="76455"/>
                  <a:pt x="444975" y="87907"/>
                </a:cubicBezTo>
                <a:lnTo>
                  <a:pt x="498781" y="52655"/>
                </a:lnTo>
                <a:lnTo>
                  <a:pt x="575428" y="126679"/>
                </a:lnTo>
                <a:lnTo>
                  <a:pt x="542095" y="181701"/>
                </a:lnTo>
                <a:cubicBezTo>
                  <a:pt x="554251" y="201854"/>
                  <a:pt x="563464" y="223287"/>
                  <a:pt x="569798" y="245424"/>
                </a:cubicBezTo>
                <a:lnTo>
                  <a:pt x="632817" y="258540"/>
                </a:lnTo>
                <a:lnTo>
                  <a:pt x="634673" y="365065"/>
                </a:lnTo>
                <a:lnTo>
                  <a:pt x="572165" y="380420"/>
                </a:lnTo>
                <a:cubicBezTo>
                  <a:pt x="566663" y="402749"/>
                  <a:pt x="558218" y="424501"/>
                  <a:pt x="546765" y="445039"/>
                </a:cubicBezTo>
                <a:lnTo>
                  <a:pt x="582018" y="498845"/>
                </a:lnTo>
                <a:lnTo>
                  <a:pt x="508058" y="575492"/>
                </a:lnTo>
                <a:lnTo>
                  <a:pt x="453036" y="542159"/>
                </a:lnTo>
                <a:cubicBezTo>
                  <a:pt x="432883" y="554315"/>
                  <a:pt x="411450" y="563528"/>
                  <a:pt x="389313" y="569862"/>
                </a:cubicBezTo>
                <a:lnTo>
                  <a:pt x="376197" y="632881"/>
                </a:lnTo>
                <a:lnTo>
                  <a:pt x="269672" y="634737"/>
                </a:lnTo>
                <a:lnTo>
                  <a:pt x="254317" y="572229"/>
                </a:lnTo>
                <a:cubicBezTo>
                  <a:pt x="231988" y="566727"/>
                  <a:pt x="210235" y="558282"/>
                  <a:pt x="189698" y="546830"/>
                </a:cubicBezTo>
                <a:lnTo>
                  <a:pt x="135892" y="582082"/>
                </a:lnTo>
                <a:lnTo>
                  <a:pt x="59245" y="508122"/>
                </a:lnTo>
                <a:lnTo>
                  <a:pt x="92578" y="453100"/>
                </a:lnTo>
                <a:cubicBezTo>
                  <a:pt x="80422" y="432947"/>
                  <a:pt x="71209" y="411514"/>
                  <a:pt x="64875" y="389377"/>
                </a:cubicBezTo>
                <a:lnTo>
                  <a:pt x="1855" y="376261"/>
                </a:lnTo>
                <a:lnTo>
                  <a:pt x="0" y="269736"/>
                </a:lnTo>
                <a:lnTo>
                  <a:pt x="62508" y="254381"/>
                </a:lnTo>
                <a:cubicBezTo>
                  <a:pt x="68010" y="232052"/>
                  <a:pt x="76455" y="210299"/>
                  <a:pt x="87907" y="189762"/>
                </a:cubicBezTo>
                <a:lnTo>
                  <a:pt x="52655" y="135956"/>
                </a:lnTo>
                <a:lnTo>
                  <a:pt x="126615" y="59309"/>
                </a:lnTo>
                <a:lnTo>
                  <a:pt x="181701" y="92578"/>
                </a:lnTo>
                <a:lnTo>
                  <a:pt x="181701" y="92578"/>
                </a:lnTo>
                <a:close/>
                <a:moveTo>
                  <a:pt x="238514" y="234483"/>
                </a:moveTo>
                <a:cubicBezTo>
                  <a:pt x="194688" y="279909"/>
                  <a:pt x="195968" y="352205"/>
                  <a:pt x="241329" y="396031"/>
                </a:cubicBezTo>
                <a:cubicBezTo>
                  <a:pt x="286754" y="439856"/>
                  <a:pt x="359051" y="438577"/>
                  <a:pt x="402876" y="393216"/>
                </a:cubicBezTo>
                <a:cubicBezTo>
                  <a:pt x="446702" y="347791"/>
                  <a:pt x="445423" y="275494"/>
                  <a:pt x="400061" y="231668"/>
                </a:cubicBezTo>
                <a:cubicBezTo>
                  <a:pt x="354700" y="187779"/>
                  <a:pt x="282340" y="189058"/>
                  <a:pt x="238514" y="234483"/>
                </a:cubicBezTo>
                <a:close/>
              </a:path>
            </a:pathLst>
          </a:custGeom>
          <a:solidFill>
            <a:srgbClr val="45726D"/>
          </a:solidFill>
          <a:ln w="638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0" name="Freeform: Shape 899">
            <a:extLst>
              <a:ext uri="{FF2B5EF4-FFF2-40B4-BE49-F238E27FC236}">
                <a16:creationId xmlns:a16="http://schemas.microsoft.com/office/drawing/2014/main" id="{3824474C-06B8-46CF-BB22-8A357AB42481}"/>
              </a:ext>
            </a:extLst>
          </p:cNvPr>
          <p:cNvSpPr/>
          <p:nvPr/>
        </p:nvSpPr>
        <p:spPr>
          <a:xfrm>
            <a:off x="6696529" y="5911783"/>
            <a:ext cx="443489" cy="443534"/>
          </a:xfrm>
          <a:custGeom>
            <a:avLst/>
            <a:gdLst>
              <a:gd name="connsiteX0" fmla="*/ 181701 w 634672"/>
              <a:gd name="connsiteY0" fmla="*/ 92578 h 634736"/>
              <a:gd name="connsiteX1" fmla="*/ 245360 w 634672"/>
              <a:gd name="connsiteY1" fmla="*/ 64875 h 634736"/>
              <a:gd name="connsiteX2" fmla="*/ 258476 w 634672"/>
              <a:gd name="connsiteY2" fmla="*/ 1855 h 634736"/>
              <a:gd name="connsiteX3" fmla="*/ 365001 w 634672"/>
              <a:gd name="connsiteY3" fmla="*/ 0 h 634736"/>
              <a:gd name="connsiteX4" fmla="*/ 380356 w 634672"/>
              <a:gd name="connsiteY4" fmla="*/ 62508 h 634736"/>
              <a:gd name="connsiteX5" fmla="*/ 444975 w 634672"/>
              <a:gd name="connsiteY5" fmla="*/ 87907 h 634736"/>
              <a:gd name="connsiteX6" fmla="*/ 498781 w 634672"/>
              <a:gd name="connsiteY6" fmla="*/ 52655 h 634736"/>
              <a:gd name="connsiteX7" fmla="*/ 575428 w 634672"/>
              <a:gd name="connsiteY7" fmla="*/ 126679 h 634736"/>
              <a:gd name="connsiteX8" fmla="*/ 542095 w 634672"/>
              <a:gd name="connsiteY8" fmla="*/ 181701 h 634736"/>
              <a:gd name="connsiteX9" fmla="*/ 569798 w 634672"/>
              <a:gd name="connsiteY9" fmla="*/ 245424 h 634736"/>
              <a:gd name="connsiteX10" fmla="*/ 632817 w 634672"/>
              <a:gd name="connsiteY10" fmla="*/ 258540 h 634736"/>
              <a:gd name="connsiteX11" fmla="*/ 634673 w 634672"/>
              <a:gd name="connsiteY11" fmla="*/ 365065 h 634736"/>
              <a:gd name="connsiteX12" fmla="*/ 572165 w 634672"/>
              <a:gd name="connsiteY12" fmla="*/ 380420 h 634736"/>
              <a:gd name="connsiteX13" fmla="*/ 546765 w 634672"/>
              <a:gd name="connsiteY13" fmla="*/ 445039 h 634736"/>
              <a:gd name="connsiteX14" fmla="*/ 582018 w 634672"/>
              <a:gd name="connsiteY14" fmla="*/ 498845 h 634736"/>
              <a:gd name="connsiteX15" fmla="*/ 508058 w 634672"/>
              <a:gd name="connsiteY15" fmla="*/ 575492 h 634736"/>
              <a:gd name="connsiteX16" fmla="*/ 453036 w 634672"/>
              <a:gd name="connsiteY16" fmla="*/ 542159 h 634736"/>
              <a:gd name="connsiteX17" fmla="*/ 389313 w 634672"/>
              <a:gd name="connsiteY17" fmla="*/ 569862 h 634736"/>
              <a:gd name="connsiteX18" fmla="*/ 376197 w 634672"/>
              <a:gd name="connsiteY18" fmla="*/ 632881 h 634736"/>
              <a:gd name="connsiteX19" fmla="*/ 269672 w 634672"/>
              <a:gd name="connsiteY19" fmla="*/ 634737 h 634736"/>
              <a:gd name="connsiteX20" fmla="*/ 254317 w 634672"/>
              <a:gd name="connsiteY20" fmla="*/ 572229 h 634736"/>
              <a:gd name="connsiteX21" fmla="*/ 189698 w 634672"/>
              <a:gd name="connsiteY21" fmla="*/ 546830 h 634736"/>
              <a:gd name="connsiteX22" fmla="*/ 135892 w 634672"/>
              <a:gd name="connsiteY22" fmla="*/ 582082 h 634736"/>
              <a:gd name="connsiteX23" fmla="*/ 59245 w 634672"/>
              <a:gd name="connsiteY23" fmla="*/ 508122 h 634736"/>
              <a:gd name="connsiteX24" fmla="*/ 92578 w 634672"/>
              <a:gd name="connsiteY24" fmla="*/ 453100 h 634736"/>
              <a:gd name="connsiteX25" fmla="*/ 64875 w 634672"/>
              <a:gd name="connsiteY25" fmla="*/ 389377 h 634736"/>
              <a:gd name="connsiteX26" fmla="*/ 1855 w 634672"/>
              <a:gd name="connsiteY26" fmla="*/ 376261 h 634736"/>
              <a:gd name="connsiteX27" fmla="*/ 0 w 634672"/>
              <a:gd name="connsiteY27" fmla="*/ 269736 h 634736"/>
              <a:gd name="connsiteX28" fmla="*/ 62508 w 634672"/>
              <a:gd name="connsiteY28" fmla="*/ 254381 h 634736"/>
              <a:gd name="connsiteX29" fmla="*/ 87907 w 634672"/>
              <a:gd name="connsiteY29" fmla="*/ 189762 h 634736"/>
              <a:gd name="connsiteX30" fmla="*/ 52655 w 634672"/>
              <a:gd name="connsiteY30" fmla="*/ 135956 h 634736"/>
              <a:gd name="connsiteX31" fmla="*/ 126615 w 634672"/>
              <a:gd name="connsiteY31" fmla="*/ 59309 h 634736"/>
              <a:gd name="connsiteX32" fmla="*/ 181701 w 634672"/>
              <a:gd name="connsiteY32" fmla="*/ 92578 h 634736"/>
              <a:gd name="connsiteX33" fmla="*/ 181701 w 634672"/>
              <a:gd name="connsiteY33" fmla="*/ 92578 h 634736"/>
              <a:gd name="connsiteX34" fmla="*/ 238514 w 634672"/>
              <a:gd name="connsiteY34" fmla="*/ 234483 h 634736"/>
              <a:gd name="connsiteX35" fmla="*/ 241329 w 634672"/>
              <a:gd name="connsiteY35" fmla="*/ 396031 h 634736"/>
              <a:gd name="connsiteX36" fmla="*/ 402876 w 634672"/>
              <a:gd name="connsiteY36" fmla="*/ 393216 h 634736"/>
              <a:gd name="connsiteX37" fmla="*/ 400061 w 634672"/>
              <a:gd name="connsiteY37" fmla="*/ 231668 h 634736"/>
              <a:gd name="connsiteX38" fmla="*/ 238514 w 634672"/>
              <a:gd name="connsiteY38" fmla="*/ 234483 h 63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34672" h="634736">
                <a:moveTo>
                  <a:pt x="181701" y="92578"/>
                </a:moveTo>
                <a:cubicBezTo>
                  <a:pt x="201854" y="80422"/>
                  <a:pt x="223287" y="71209"/>
                  <a:pt x="245360" y="64875"/>
                </a:cubicBezTo>
                <a:lnTo>
                  <a:pt x="258476" y="1855"/>
                </a:lnTo>
                <a:lnTo>
                  <a:pt x="365001" y="0"/>
                </a:lnTo>
                <a:lnTo>
                  <a:pt x="380356" y="62508"/>
                </a:lnTo>
                <a:cubicBezTo>
                  <a:pt x="402685" y="68010"/>
                  <a:pt x="424437" y="76455"/>
                  <a:pt x="444975" y="87907"/>
                </a:cubicBezTo>
                <a:lnTo>
                  <a:pt x="498781" y="52655"/>
                </a:lnTo>
                <a:lnTo>
                  <a:pt x="575428" y="126679"/>
                </a:lnTo>
                <a:lnTo>
                  <a:pt x="542095" y="181701"/>
                </a:lnTo>
                <a:cubicBezTo>
                  <a:pt x="554251" y="201854"/>
                  <a:pt x="563464" y="223287"/>
                  <a:pt x="569798" y="245424"/>
                </a:cubicBezTo>
                <a:lnTo>
                  <a:pt x="632817" y="258540"/>
                </a:lnTo>
                <a:lnTo>
                  <a:pt x="634673" y="365065"/>
                </a:lnTo>
                <a:lnTo>
                  <a:pt x="572165" y="380420"/>
                </a:lnTo>
                <a:cubicBezTo>
                  <a:pt x="566663" y="402749"/>
                  <a:pt x="558218" y="424501"/>
                  <a:pt x="546765" y="445039"/>
                </a:cubicBezTo>
                <a:lnTo>
                  <a:pt x="582018" y="498845"/>
                </a:lnTo>
                <a:lnTo>
                  <a:pt x="508058" y="575492"/>
                </a:lnTo>
                <a:lnTo>
                  <a:pt x="453036" y="542159"/>
                </a:lnTo>
                <a:cubicBezTo>
                  <a:pt x="432883" y="554315"/>
                  <a:pt x="411450" y="563528"/>
                  <a:pt x="389313" y="569862"/>
                </a:cubicBezTo>
                <a:lnTo>
                  <a:pt x="376197" y="632881"/>
                </a:lnTo>
                <a:lnTo>
                  <a:pt x="269672" y="634737"/>
                </a:lnTo>
                <a:lnTo>
                  <a:pt x="254317" y="572229"/>
                </a:lnTo>
                <a:cubicBezTo>
                  <a:pt x="231988" y="566727"/>
                  <a:pt x="210235" y="558282"/>
                  <a:pt x="189698" y="546830"/>
                </a:cubicBezTo>
                <a:lnTo>
                  <a:pt x="135892" y="582082"/>
                </a:lnTo>
                <a:lnTo>
                  <a:pt x="59245" y="508122"/>
                </a:lnTo>
                <a:lnTo>
                  <a:pt x="92578" y="453100"/>
                </a:lnTo>
                <a:cubicBezTo>
                  <a:pt x="80422" y="432947"/>
                  <a:pt x="71209" y="411514"/>
                  <a:pt x="64875" y="389377"/>
                </a:cubicBezTo>
                <a:lnTo>
                  <a:pt x="1855" y="376261"/>
                </a:lnTo>
                <a:lnTo>
                  <a:pt x="0" y="269736"/>
                </a:lnTo>
                <a:lnTo>
                  <a:pt x="62508" y="254381"/>
                </a:lnTo>
                <a:cubicBezTo>
                  <a:pt x="68010" y="232052"/>
                  <a:pt x="76455" y="210299"/>
                  <a:pt x="87907" y="189762"/>
                </a:cubicBezTo>
                <a:lnTo>
                  <a:pt x="52655" y="135956"/>
                </a:lnTo>
                <a:lnTo>
                  <a:pt x="126615" y="59309"/>
                </a:lnTo>
                <a:lnTo>
                  <a:pt x="181701" y="92578"/>
                </a:lnTo>
                <a:lnTo>
                  <a:pt x="181701" y="92578"/>
                </a:lnTo>
                <a:close/>
                <a:moveTo>
                  <a:pt x="238514" y="234483"/>
                </a:moveTo>
                <a:cubicBezTo>
                  <a:pt x="194688" y="279909"/>
                  <a:pt x="195968" y="352205"/>
                  <a:pt x="241329" y="396031"/>
                </a:cubicBezTo>
                <a:cubicBezTo>
                  <a:pt x="286754" y="439856"/>
                  <a:pt x="359051" y="438577"/>
                  <a:pt x="402876" y="393216"/>
                </a:cubicBezTo>
                <a:cubicBezTo>
                  <a:pt x="446702" y="347791"/>
                  <a:pt x="445423" y="275494"/>
                  <a:pt x="400061" y="231668"/>
                </a:cubicBezTo>
                <a:cubicBezTo>
                  <a:pt x="354700" y="187779"/>
                  <a:pt x="282340" y="189058"/>
                  <a:pt x="238514" y="234483"/>
                </a:cubicBezTo>
                <a:close/>
              </a:path>
            </a:pathLst>
          </a:custGeom>
          <a:solidFill>
            <a:srgbClr val="45726D"/>
          </a:solidFill>
          <a:ln w="638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1" name="Freeform: Shape 900">
            <a:extLst>
              <a:ext uri="{FF2B5EF4-FFF2-40B4-BE49-F238E27FC236}">
                <a16:creationId xmlns:a16="http://schemas.microsoft.com/office/drawing/2014/main" id="{40F02335-5F4E-4A65-B3BD-452D974AAC29}"/>
              </a:ext>
            </a:extLst>
          </p:cNvPr>
          <p:cNvSpPr/>
          <p:nvPr/>
        </p:nvSpPr>
        <p:spPr>
          <a:xfrm>
            <a:off x="3016481" y="0"/>
            <a:ext cx="870586" cy="911214"/>
          </a:xfrm>
          <a:custGeom>
            <a:avLst/>
            <a:gdLst>
              <a:gd name="connsiteX0" fmla="*/ 7151 w 978708"/>
              <a:gd name="connsiteY0" fmla="*/ 0 h 1024382"/>
              <a:gd name="connsiteX1" fmla="*/ 971558 w 978708"/>
              <a:gd name="connsiteY1" fmla="*/ 0 h 1024382"/>
              <a:gd name="connsiteX2" fmla="*/ 978708 w 978708"/>
              <a:gd name="connsiteY2" fmla="*/ 35418 h 1024382"/>
              <a:gd name="connsiteX3" fmla="*/ 978708 w 978708"/>
              <a:gd name="connsiteY3" fmla="*/ 861261 h 1024382"/>
              <a:gd name="connsiteX4" fmla="*/ 815587 w 978708"/>
              <a:gd name="connsiteY4" fmla="*/ 1024382 h 1024382"/>
              <a:gd name="connsiteX5" fmla="*/ 163121 w 978708"/>
              <a:gd name="connsiteY5" fmla="*/ 1024382 h 1024382"/>
              <a:gd name="connsiteX6" fmla="*/ 0 w 978708"/>
              <a:gd name="connsiteY6" fmla="*/ 861261 h 1024382"/>
              <a:gd name="connsiteX7" fmla="*/ 0 w 978708"/>
              <a:gd name="connsiteY7" fmla="*/ 35418 h 102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708" h="1024382">
                <a:moveTo>
                  <a:pt x="7151" y="0"/>
                </a:moveTo>
                <a:lnTo>
                  <a:pt x="971558" y="0"/>
                </a:lnTo>
                <a:lnTo>
                  <a:pt x="978708" y="35418"/>
                </a:lnTo>
                <a:lnTo>
                  <a:pt x="978708" y="861261"/>
                </a:lnTo>
                <a:cubicBezTo>
                  <a:pt x="978708" y="951350"/>
                  <a:pt x="905676" y="1024382"/>
                  <a:pt x="815587" y="1024382"/>
                </a:cubicBezTo>
                <a:lnTo>
                  <a:pt x="163121" y="1024382"/>
                </a:lnTo>
                <a:cubicBezTo>
                  <a:pt x="73032" y="1024382"/>
                  <a:pt x="0" y="951350"/>
                  <a:pt x="0" y="861261"/>
                </a:cubicBezTo>
                <a:lnTo>
                  <a:pt x="0" y="35418"/>
                </a:ln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909" name="Graphic 905" descr="Two circles, one solid and one filled with dots">
            <a:extLst>
              <a:ext uri="{FF2B5EF4-FFF2-40B4-BE49-F238E27FC236}">
                <a16:creationId xmlns:a16="http://schemas.microsoft.com/office/drawing/2014/main" id="{F474094B-0A6F-4796-8A19-67BB7B45287F}"/>
              </a:ext>
            </a:extLst>
          </p:cNvPr>
          <p:cNvGrpSpPr/>
          <p:nvPr/>
        </p:nvGrpSpPr>
        <p:grpSpPr>
          <a:xfrm>
            <a:off x="11249986" y="324373"/>
            <a:ext cx="545626" cy="545626"/>
            <a:chOff x="12567532" y="1668451"/>
            <a:chExt cx="2003545" cy="2003545"/>
          </a:xfrm>
          <a:solidFill>
            <a:srgbClr val="45726D"/>
          </a:solidFill>
        </p:grpSpPr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1D4882D4-A369-42DA-BAFB-9021CB593555}"/>
                </a:ext>
              </a:extLst>
            </p:cNvPr>
            <p:cNvSpPr/>
            <p:nvPr/>
          </p:nvSpPr>
          <p:spPr>
            <a:xfrm>
              <a:off x="12996862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AA347B46-AF1B-43F2-9A69-4A664813D4AC}"/>
                </a:ext>
              </a:extLst>
            </p:cNvPr>
            <p:cNvSpPr/>
            <p:nvPr/>
          </p:nvSpPr>
          <p:spPr>
            <a:xfrm>
              <a:off x="13211526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FD37477E-B0BB-46DA-9557-DB3B053BBE20}"/>
                </a:ext>
              </a:extLst>
            </p:cNvPr>
            <p:cNvSpPr/>
            <p:nvPr/>
          </p:nvSpPr>
          <p:spPr>
            <a:xfrm>
              <a:off x="13426191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98DF180A-FA0F-4276-A373-406806E69477}"/>
                </a:ext>
              </a:extLst>
            </p:cNvPr>
            <p:cNvSpPr/>
            <p:nvPr/>
          </p:nvSpPr>
          <p:spPr>
            <a:xfrm>
              <a:off x="13640866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4CF64EBF-7DFB-4A70-9120-4495E01B9675}"/>
                </a:ext>
              </a:extLst>
            </p:cNvPr>
            <p:cNvSpPr/>
            <p:nvPr/>
          </p:nvSpPr>
          <p:spPr>
            <a:xfrm>
              <a:off x="13855531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6653B454-FA90-464F-AD5B-FCA66E3AC19B}"/>
                </a:ext>
              </a:extLst>
            </p:cNvPr>
            <p:cNvSpPr/>
            <p:nvPr/>
          </p:nvSpPr>
          <p:spPr>
            <a:xfrm>
              <a:off x="14070196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A82ACD83-7F8D-4B45-BEE8-F1B441598381}"/>
                </a:ext>
              </a:extLst>
            </p:cNvPr>
            <p:cNvSpPr/>
            <p:nvPr/>
          </p:nvSpPr>
          <p:spPr>
            <a:xfrm>
              <a:off x="12782197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9695C363-5DB2-4A17-A7D6-DB02D5F63322}"/>
                </a:ext>
              </a:extLst>
            </p:cNvPr>
            <p:cNvSpPr/>
            <p:nvPr/>
          </p:nvSpPr>
          <p:spPr>
            <a:xfrm>
              <a:off x="12996862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EE286B4F-F473-4B49-AA93-C9CA71D77417}"/>
                </a:ext>
              </a:extLst>
            </p:cNvPr>
            <p:cNvSpPr/>
            <p:nvPr/>
          </p:nvSpPr>
          <p:spPr>
            <a:xfrm>
              <a:off x="13211526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F7E60B5D-D6FF-46FA-844A-2F8838EC9D0D}"/>
                </a:ext>
              </a:extLst>
            </p:cNvPr>
            <p:cNvSpPr/>
            <p:nvPr/>
          </p:nvSpPr>
          <p:spPr>
            <a:xfrm>
              <a:off x="13426191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E09D64B6-E311-4C46-97AA-BD65D11C79A4}"/>
                </a:ext>
              </a:extLst>
            </p:cNvPr>
            <p:cNvSpPr/>
            <p:nvPr/>
          </p:nvSpPr>
          <p:spPr>
            <a:xfrm>
              <a:off x="13640866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86D703FC-1962-4222-8FBA-B3B43FB5EF66}"/>
                </a:ext>
              </a:extLst>
            </p:cNvPr>
            <p:cNvSpPr/>
            <p:nvPr/>
          </p:nvSpPr>
          <p:spPr>
            <a:xfrm>
              <a:off x="13855531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F888E7CD-7D9B-40C7-B5AD-5D8AE573A9C2}"/>
                </a:ext>
              </a:extLst>
            </p:cNvPr>
            <p:cNvSpPr/>
            <p:nvPr/>
          </p:nvSpPr>
          <p:spPr>
            <a:xfrm>
              <a:off x="14070196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6444D9A0-5FA6-4195-82BC-30873AC82B50}"/>
                </a:ext>
              </a:extLst>
            </p:cNvPr>
            <p:cNvSpPr/>
            <p:nvPr/>
          </p:nvSpPr>
          <p:spPr>
            <a:xfrm>
              <a:off x="14284861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EAC4B74E-DCC3-4CA1-8E5A-3031211B446F}"/>
                </a:ext>
              </a:extLst>
            </p:cNvPr>
            <p:cNvSpPr/>
            <p:nvPr/>
          </p:nvSpPr>
          <p:spPr>
            <a:xfrm>
              <a:off x="12567532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907CA444-119D-4F64-8039-97493E050469}"/>
                </a:ext>
              </a:extLst>
            </p:cNvPr>
            <p:cNvSpPr/>
            <p:nvPr/>
          </p:nvSpPr>
          <p:spPr>
            <a:xfrm>
              <a:off x="12782197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3975BDE4-4AA6-41D7-8455-5687745095E9}"/>
                </a:ext>
              </a:extLst>
            </p:cNvPr>
            <p:cNvSpPr/>
            <p:nvPr/>
          </p:nvSpPr>
          <p:spPr>
            <a:xfrm>
              <a:off x="12996862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A1D7F65B-3B0F-4063-A31B-964FA5871A71}"/>
                </a:ext>
              </a:extLst>
            </p:cNvPr>
            <p:cNvSpPr/>
            <p:nvPr/>
          </p:nvSpPr>
          <p:spPr>
            <a:xfrm>
              <a:off x="13211526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A0F28A80-AB68-497A-8A13-C66D9857A951}"/>
                </a:ext>
              </a:extLst>
            </p:cNvPr>
            <p:cNvSpPr/>
            <p:nvPr/>
          </p:nvSpPr>
          <p:spPr>
            <a:xfrm>
              <a:off x="13426191" y="2097781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3BA1ED81-B377-472D-85D6-D88510D584FC}"/>
                </a:ext>
              </a:extLst>
            </p:cNvPr>
            <p:cNvSpPr/>
            <p:nvPr/>
          </p:nvSpPr>
          <p:spPr>
            <a:xfrm>
              <a:off x="13640866" y="2097781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9B54029F-FFAF-4A9D-9DFF-65A6C9A12CFB}"/>
                </a:ext>
              </a:extLst>
            </p:cNvPr>
            <p:cNvSpPr/>
            <p:nvPr/>
          </p:nvSpPr>
          <p:spPr>
            <a:xfrm>
              <a:off x="13855531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4E110E4E-68E1-4918-8431-487C6D5FD464}"/>
                </a:ext>
              </a:extLst>
            </p:cNvPr>
            <p:cNvSpPr/>
            <p:nvPr/>
          </p:nvSpPr>
          <p:spPr>
            <a:xfrm>
              <a:off x="14070196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CDF38ADB-02A1-4430-8689-0DA2CDCFC54A}"/>
                </a:ext>
              </a:extLst>
            </p:cNvPr>
            <p:cNvSpPr/>
            <p:nvPr/>
          </p:nvSpPr>
          <p:spPr>
            <a:xfrm>
              <a:off x="14284861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2E5C0C63-512C-4F17-9ACD-423617174BC4}"/>
                </a:ext>
              </a:extLst>
            </p:cNvPr>
            <p:cNvSpPr/>
            <p:nvPr/>
          </p:nvSpPr>
          <p:spPr>
            <a:xfrm>
              <a:off x="14499526" y="2097790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102D9242-07F1-4D65-9627-4CCA3EAF76DA}"/>
                </a:ext>
              </a:extLst>
            </p:cNvPr>
            <p:cNvSpPr/>
            <p:nvPr/>
          </p:nvSpPr>
          <p:spPr>
            <a:xfrm>
              <a:off x="12567532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D18356F8-693B-4A46-AD0E-CF234A100C2E}"/>
                </a:ext>
              </a:extLst>
            </p:cNvPr>
            <p:cNvSpPr/>
            <p:nvPr/>
          </p:nvSpPr>
          <p:spPr>
            <a:xfrm>
              <a:off x="12782197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6EDE40B4-ED62-4AF7-8EB3-C9534592846E}"/>
                </a:ext>
              </a:extLst>
            </p:cNvPr>
            <p:cNvSpPr/>
            <p:nvPr/>
          </p:nvSpPr>
          <p:spPr>
            <a:xfrm>
              <a:off x="12996862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2944D423-F7FB-4EF4-ACEC-89E5649D2EB9}"/>
                </a:ext>
              </a:extLst>
            </p:cNvPr>
            <p:cNvSpPr/>
            <p:nvPr/>
          </p:nvSpPr>
          <p:spPr>
            <a:xfrm>
              <a:off x="13211526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6A3B0347-051A-4F3D-943D-4F3EAD88E654}"/>
                </a:ext>
              </a:extLst>
            </p:cNvPr>
            <p:cNvSpPr/>
            <p:nvPr/>
          </p:nvSpPr>
          <p:spPr>
            <a:xfrm>
              <a:off x="13426191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F165A3CE-4FFE-4327-A41F-4EC6575451D4}"/>
                </a:ext>
              </a:extLst>
            </p:cNvPr>
            <p:cNvSpPr/>
            <p:nvPr/>
          </p:nvSpPr>
          <p:spPr>
            <a:xfrm>
              <a:off x="13640866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2FF8863B-73AB-405B-8B3F-E8D49E78CFE1}"/>
                </a:ext>
              </a:extLst>
            </p:cNvPr>
            <p:cNvSpPr/>
            <p:nvPr/>
          </p:nvSpPr>
          <p:spPr>
            <a:xfrm>
              <a:off x="13855531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B4F1CC44-5034-4CF7-89EC-CCF1DAD52B81}"/>
                </a:ext>
              </a:extLst>
            </p:cNvPr>
            <p:cNvSpPr/>
            <p:nvPr/>
          </p:nvSpPr>
          <p:spPr>
            <a:xfrm>
              <a:off x="14070196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44FE2D7A-4142-46B9-9DAC-2E08CE6121F5}"/>
                </a:ext>
              </a:extLst>
            </p:cNvPr>
            <p:cNvSpPr/>
            <p:nvPr/>
          </p:nvSpPr>
          <p:spPr>
            <a:xfrm>
              <a:off x="14284861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7EA30B57-64C5-48B9-87F7-FCCE253E3DDC}"/>
                </a:ext>
              </a:extLst>
            </p:cNvPr>
            <p:cNvSpPr/>
            <p:nvPr/>
          </p:nvSpPr>
          <p:spPr>
            <a:xfrm>
              <a:off x="14499526" y="2312455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DA78853D-D000-4741-B99C-00963AF3EEAF}"/>
                </a:ext>
              </a:extLst>
            </p:cNvPr>
            <p:cNvSpPr/>
            <p:nvPr/>
          </p:nvSpPr>
          <p:spPr>
            <a:xfrm>
              <a:off x="12567532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125F6ECA-552C-4D5E-B047-3444526B6C43}"/>
                </a:ext>
              </a:extLst>
            </p:cNvPr>
            <p:cNvSpPr/>
            <p:nvPr/>
          </p:nvSpPr>
          <p:spPr>
            <a:xfrm>
              <a:off x="12782197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C56C322-AD23-40CF-AC2F-64B2A64DACB8}"/>
                </a:ext>
              </a:extLst>
            </p:cNvPr>
            <p:cNvSpPr/>
            <p:nvPr/>
          </p:nvSpPr>
          <p:spPr>
            <a:xfrm>
              <a:off x="12996862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719C24E8-A84B-40FB-A9DF-F19FFF3B237C}"/>
                </a:ext>
              </a:extLst>
            </p:cNvPr>
            <p:cNvSpPr/>
            <p:nvPr/>
          </p:nvSpPr>
          <p:spPr>
            <a:xfrm>
              <a:off x="13211526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51B46CD8-5C9E-4934-AC18-3A66641089B3}"/>
                </a:ext>
              </a:extLst>
            </p:cNvPr>
            <p:cNvSpPr/>
            <p:nvPr/>
          </p:nvSpPr>
          <p:spPr>
            <a:xfrm>
              <a:off x="13426191" y="2527110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708D2B53-6D4D-40D4-AB09-E830BF813973}"/>
                </a:ext>
              </a:extLst>
            </p:cNvPr>
            <p:cNvSpPr/>
            <p:nvPr/>
          </p:nvSpPr>
          <p:spPr>
            <a:xfrm>
              <a:off x="13640866" y="2527110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F379477-8BD3-4395-A133-9505939DD4F3}"/>
                </a:ext>
              </a:extLst>
            </p:cNvPr>
            <p:cNvSpPr/>
            <p:nvPr/>
          </p:nvSpPr>
          <p:spPr>
            <a:xfrm>
              <a:off x="13855531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E8099D15-223C-4CBD-A8EE-22ACAAC91F88}"/>
                </a:ext>
              </a:extLst>
            </p:cNvPr>
            <p:cNvSpPr/>
            <p:nvPr/>
          </p:nvSpPr>
          <p:spPr>
            <a:xfrm>
              <a:off x="14070196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1C57A235-5DE6-42CF-93F6-2635454ED6B5}"/>
                </a:ext>
              </a:extLst>
            </p:cNvPr>
            <p:cNvSpPr/>
            <p:nvPr/>
          </p:nvSpPr>
          <p:spPr>
            <a:xfrm>
              <a:off x="14284861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FC890025-2020-40D5-8A9D-A037548CF715}"/>
                </a:ext>
              </a:extLst>
            </p:cNvPr>
            <p:cNvSpPr/>
            <p:nvPr/>
          </p:nvSpPr>
          <p:spPr>
            <a:xfrm>
              <a:off x="14499526" y="2527120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F50A0E9-5E97-4C98-819C-2DF8678A0098}"/>
                </a:ext>
              </a:extLst>
            </p:cNvPr>
            <p:cNvSpPr/>
            <p:nvPr/>
          </p:nvSpPr>
          <p:spPr>
            <a:xfrm>
              <a:off x="12567532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ABCF06A1-A79F-4D57-945A-EA0487CFCC34}"/>
                </a:ext>
              </a:extLst>
            </p:cNvPr>
            <p:cNvSpPr/>
            <p:nvPr/>
          </p:nvSpPr>
          <p:spPr>
            <a:xfrm>
              <a:off x="12782197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16ECD66F-D1FE-408D-ADA0-72FAF2DB8795}"/>
                </a:ext>
              </a:extLst>
            </p:cNvPr>
            <p:cNvSpPr/>
            <p:nvPr/>
          </p:nvSpPr>
          <p:spPr>
            <a:xfrm>
              <a:off x="12996862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F806C843-EDDC-4166-80CC-861D8DEBA51C}"/>
                </a:ext>
              </a:extLst>
            </p:cNvPr>
            <p:cNvSpPr/>
            <p:nvPr/>
          </p:nvSpPr>
          <p:spPr>
            <a:xfrm>
              <a:off x="13211526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536A97D7-C110-4503-9997-F7261E5246DE}"/>
                </a:ext>
              </a:extLst>
            </p:cNvPr>
            <p:cNvSpPr/>
            <p:nvPr/>
          </p:nvSpPr>
          <p:spPr>
            <a:xfrm>
              <a:off x="13426191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8EDE26B6-A833-4E09-AF0F-3668C91FD91F}"/>
                </a:ext>
              </a:extLst>
            </p:cNvPr>
            <p:cNvSpPr/>
            <p:nvPr/>
          </p:nvSpPr>
          <p:spPr>
            <a:xfrm>
              <a:off x="13640866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81FC6784-DF88-46F1-9F51-731AA8CF6EBB}"/>
                </a:ext>
              </a:extLst>
            </p:cNvPr>
            <p:cNvSpPr/>
            <p:nvPr/>
          </p:nvSpPr>
          <p:spPr>
            <a:xfrm>
              <a:off x="13855531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F0C61644-1CBC-436B-8706-0B94E893040A}"/>
                </a:ext>
              </a:extLst>
            </p:cNvPr>
            <p:cNvSpPr/>
            <p:nvPr/>
          </p:nvSpPr>
          <p:spPr>
            <a:xfrm>
              <a:off x="14070196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46CAF4D4-02DB-4673-B1DF-020617FAD7BE}"/>
                </a:ext>
              </a:extLst>
            </p:cNvPr>
            <p:cNvSpPr/>
            <p:nvPr/>
          </p:nvSpPr>
          <p:spPr>
            <a:xfrm>
              <a:off x="14284861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D91BE317-DF4A-492C-BEBE-AB1BFDDDB06B}"/>
                </a:ext>
              </a:extLst>
            </p:cNvPr>
            <p:cNvSpPr/>
            <p:nvPr/>
          </p:nvSpPr>
          <p:spPr>
            <a:xfrm>
              <a:off x="14499526" y="2741785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27867C11-C625-4C37-8B6A-AC6475D95977}"/>
                </a:ext>
              </a:extLst>
            </p:cNvPr>
            <p:cNvSpPr/>
            <p:nvPr/>
          </p:nvSpPr>
          <p:spPr>
            <a:xfrm>
              <a:off x="12567532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66994F50-B340-46A2-93F3-C2370D74E8B7}"/>
                </a:ext>
              </a:extLst>
            </p:cNvPr>
            <p:cNvSpPr/>
            <p:nvPr/>
          </p:nvSpPr>
          <p:spPr>
            <a:xfrm>
              <a:off x="12782197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A8399831-83D4-4576-B017-3AD6CBF396A7}"/>
                </a:ext>
              </a:extLst>
            </p:cNvPr>
            <p:cNvSpPr/>
            <p:nvPr/>
          </p:nvSpPr>
          <p:spPr>
            <a:xfrm>
              <a:off x="12996862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869ED12F-0064-4D37-A9CA-03E7EBFAA135}"/>
                </a:ext>
              </a:extLst>
            </p:cNvPr>
            <p:cNvSpPr/>
            <p:nvPr/>
          </p:nvSpPr>
          <p:spPr>
            <a:xfrm>
              <a:off x="13211526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489C430F-D239-44CD-82B5-EA96021CA919}"/>
                </a:ext>
              </a:extLst>
            </p:cNvPr>
            <p:cNvSpPr/>
            <p:nvPr/>
          </p:nvSpPr>
          <p:spPr>
            <a:xfrm>
              <a:off x="13426191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91E7A4B5-6C8B-43AC-956F-ADB2650E9E18}"/>
                </a:ext>
              </a:extLst>
            </p:cNvPr>
            <p:cNvSpPr/>
            <p:nvPr/>
          </p:nvSpPr>
          <p:spPr>
            <a:xfrm>
              <a:off x="13640866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4D7D3C12-5BC3-42D3-B146-78951A14A148}"/>
                </a:ext>
              </a:extLst>
            </p:cNvPr>
            <p:cNvSpPr/>
            <p:nvPr/>
          </p:nvSpPr>
          <p:spPr>
            <a:xfrm>
              <a:off x="13855531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44ED1995-00DC-4936-9B6F-89CAB9C67D11}"/>
                </a:ext>
              </a:extLst>
            </p:cNvPr>
            <p:cNvSpPr/>
            <p:nvPr/>
          </p:nvSpPr>
          <p:spPr>
            <a:xfrm>
              <a:off x="14070196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2C82EBF9-19EF-4A6F-859D-15AF0FCFCD2A}"/>
                </a:ext>
              </a:extLst>
            </p:cNvPr>
            <p:cNvSpPr/>
            <p:nvPr/>
          </p:nvSpPr>
          <p:spPr>
            <a:xfrm>
              <a:off x="14284861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561F4729-F7F1-456F-80A4-D74629D2410E}"/>
                </a:ext>
              </a:extLst>
            </p:cNvPr>
            <p:cNvSpPr/>
            <p:nvPr/>
          </p:nvSpPr>
          <p:spPr>
            <a:xfrm>
              <a:off x="14499526" y="2956450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71552 w 71551"/>
                <a:gd name="connsiteY2" fmla="*/ 35776 h 71551"/>
                <a:gd name="connsiteX3" fmla="*/ 35776 w 71551"/>
                <a:gd name="connsiteY3" fmla="*/ 0 h 71551"/>
                <a:gd name="connsiteX4" fmla="*/ 0 w 71551"/>
                <a:gd name="connsiteY4" fmla="*/ 35776 h 71551"/>
                <a:gd name="connsiteX5" fmla="*/ 0 w 71551"/>
                <a:gd name="connsiteY5" fmla="*/ 35776 h 71551"/>
                <a:gd name="connsiteX6" fmla="*/ 35776 w 71551"/>
                <a:gd name="connsiteY6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D15E082D-CDA9-486D-A638-127317EA8FEF}"/>
                </a:ext>
              </a:extLst>
            </p:cNvPr>
            <p:cNvSpPr/>
            <p:nvPr/>
          </p:nvSpPr>
          <p:spPr>
            <a:xfrm>
              <a:off x="12567532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15850E1A-217B-4D2D-AB53-6473D2E10F71}"/>
                </a:ext>
              </a:extLst>
            </p:cNvPr>
            <p:cNvSpPr/>
            <p:nvPr/>
          </p:nvSpPr>
          <p:spPr>
            <a:xfrm>
              <a:off x="12782197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24434215-7BBD-404D-AD10-2398017A5536}"/>
                </a:ext>
              </a:extLst>
            </p:cNvPr>
            <p:cNvSpPr/>
            <p:nvPr/>
          </p:nvSpPr>
          <p:spPr>
            <a:xfrm>
              <a:off x="12996862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7F4DD820-0D6B-4F12-ABE9-9B667CA498CB}"/>
                </a:ext>
              </a:extLst>
            </p:cNvPr>
            <p:cNvSpPr/>
            <p:nvPr/>
          </p:nvSpPr>
          <p:spPr>
            <a:xfrm>
              <a:off x="13211526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442595E6-4822-4821-9F79-7AB8562AD370}"/>
                </a:ext>
              </a:extLst>
            </p:cNvPr>
            <p:cNvSpPr/>
            <p:nvPr/>
          </p:nvSpPr>
          <p:spPr>
            <a:xfrm>
              <a:off x="13426191" y="317111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98816F8B-49D7-4246-8BF3-74F35A4B84D8}"/>
                </a:ext>
              </a:extLst>
            </p:cNvPr>
            <p:cNvSpPr/>
            <p:nvPr/>
          </p:nvSpPr>
          <p:spPr>
            <a:xfrm>
              <a:off x="13640866" y="317111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F25D5224-6B60-4D00-A5F3-4DF890EFA327}"/>
                </a:ext>
              </a:extLst>
            </p:cNvPr>
            <p:cNvSpPr/>
            <p:nvPr/>
          </p:nvSpPr>
          <p:spPr>
            <a:xfrm>
              <a:off x="13855531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DB957F66-6863-48E0-8655-BD9A1BBA6AEC}"/>
                </a:ext>
              </a:extLst>
            </p:cNvPr>
            <p:cNvSpPr/>
            <p:nvPr/>
          </p:nvSpPr>
          <p:spPr>
            <a:xfrm>
              <a:off x="14070196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3DD759E-735A-431B-A9A5-8EE081DE673A}"/>
                </a:ext>
              </a:extLst>
            </p:cNvPr>
            <p:cNvSpPr/>
            <p:nvPr/>
          </p:nvSpPr>
          <p:spPr>
            <a:xfrm>
              <a:off x="14284861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020A5440-6EEC-4633-9217-CA15728DAEF6}"/>
                </a:ext>
              </a:extLst>
            </p:cNvPr>
            <p:cNvSpPr/>
            <p:nvPr/>
          </p:nvSpPr>
          <p:spPr>
            <a:xfrm>
              <a:off x="14499526" y="3171115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12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8D7E5F8A-6880-4CCA-A282-DC5E7DBD04D5}"/>
                </a:ext>
              </a:extLst>
            </p:cNvPr>
            <p:cNvSpPr/>
            <p:nvPr/>
          </p:nvSpPr>
          <p:spPr>
            <a:xfrm>
              <a:off x="12782197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3A3D5200-BEB3-4EB2-8D4F-A1C822D7A2C5}"/>
                </a:ext>
              </a:extLst>
            </p:cNvPr>
            <p:cNvSpPr/>
            <p:nvPr/>
          </p:nvSpPr>
          <p:spPr>
            <a:xfrm>
              <a:off x="12996862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7D7757B3-9117-4F29-82B9-0632C4AB2A62}"/>
                </a:ext>
              </a:extLst>
            </p:cNvPr>
            <p:cNvSpPr/>
            <p:nvPr/>
          </p:nvSpPr>
          <p:spPr>
            <a:xfrm>
              <a:off x="13211526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011EDDEC-39E2-4DD3-A040-A4DEBD1F5592}"/>
                </a:ext>
              </a:extLst>
            </p:cNvPr>
            <p:cNvSpPr/>
            <p:nvPr/>
          </p:nvSpPr>
          <p:spPr>
            <a:xfrm>
              <a:off x="13426191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4E6D0925-BF4C-488D-A973-CF06E2565B70}"/>
                </a:ext>
              </a:extLst>
            </p:cNvPr>
            <p:cNvSpPr/>
            <p:nvPr/>
          </p:nvSpPr>
          <p:spPr>
            <a:xfrm>
              <a:off x="13640866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BB1D212E-10EE-4EE9-AD9A-3C1D1BDF573D}"/>
                </a:ext>
              </a:extLst>
            </p:cNvPr>
            <p:cNvSpPr/>
            <p:nvPr/>
          </p:nvSpPr>
          <p:spPr>
            <a:xfrm>
              <a:off x="13855531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957D001B-824C-43BF-B058-72E1F7ADCDB7}"/>
                </a:ext>
              </a:extLst>
            </p:cNvPr>
            <p:cNvSpPr/>
            <p:nvPr/>
          </p:nvSpPr>
          <p:spPr>
            <a:xfrm>
              <a:off x="14070196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08BE7B2A-97CE-4FFE-A7A1-2200AFA6D656}"/>
                </a:ext>
              </a:extLst>
            </p:cNvPr>
            <p:cNvSpPr/>
            <p:nvPr/>
          </p:nvSpPr>
          <p:spPr>
            <a:xfrm>
              <a:off x="14284861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B3F7073-BC70-4E9D-8205-8FFAE99E3BF2}"/>
                </a:ext>
              </a:extLst>
            </p:cNvPr>
            <p:cNvSpPr/>
            <p:nvPr/>
          </p:nvSpPr>
          <p:spPr>
            <a:xfrm>
              <a:off x="12996862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3E638BAE-CA28-4A76-B583-EA69A6C5516C}"/>
                </a:ext>
              </a:extLst>
            </p:cNvPr>
            <p:cNvSpPr/>
            <p:nvPr/>
          </p:nvSpPr>
          <p:spPr>
            <a:xfrm>
              <a:off x="13211526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AD9ECA79-A485-4F43-A62C-1C6C8C84D418}"/>
                </a:ext>
              </a:extLst>
            </p:cNvPr>
            <p:cNvSpPr/>
            <p:nvPr/>
          </p:nvSpPr>
          <p:spPr>
            <a:xfrm>
              <a:off x="13426191" y="360044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5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14959298-C4D3-4481-A91A-253500DEDE04}"/>
                </a:ext>
              </a:extLst>
            </p:cNvPr>
            <p:cNvSpPr/>
            <p:nvPr/>
          </p:nvSpPr>
          <p:spPr>
            <a:xfrm>
              <a:off x="13640866" y="360044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5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E0F89723-7BCD-4C89-8BC9-13005F9FE4CC}"/>
                </a:ext>
              </a:extLst>
            </p:cNvPr>
            <p:cNvSpPr/>
            <p:nvPr/>
          </p:nvSpPr>
          <p:spPr>
            <a:xfrm>
              <a:off x="13855531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99A83C20-EEF3-4541-941B-1BBBE6F22210}"/>
                </a:ext>
              </a:extLst>
            </p:cNvPr>
            <p:cNvSpPr/>
            <p:nvPr/>
          </p:nvSpPr>
          <p:spPr>
            <a:xfrm>
              <a:off x="14070196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98" name="Freeform 176">
            <a:extLst>
              <a:ext uri="{FF2B5EF4-FFF2-40B4-BE49-F238E27FC236}">
                <a16:creationId xmlns:a16="http://schemas.microsoft.com/office/drawing/2014/main" id="{3F7B4F14-A4E6-4939-AB1D-F65ACF702470}"/>
              </a:ext>
            </a:extLst>
          </p:cNvPr>
          <p:cNvSpPr>
            <a:spLocks noEditPoints="1"/>
          </p:cNvSpPr>
          <p:nvPr/>
        </p:nvSpPr>
        <p:spPr bwMode="auto">
          <a:xfrm>
            <a:off x="3243335" y="111220"/>
            <a:ext cx="435271" cy="479643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41 w 87"/>
              <a:gd name="T35" fmla="*/ 60 h 96"/>
              <a:gd name="T36" fmla="*/ 40 w 87"/>
              <a:gd name="T37" fmla="*/ 60 h 96"/>
              <a:gd name="T38" fmla="*/ 39 w 87"/>
              <a:gd name="T39" fmla="*/ 60 h 96"/>
              <a:gd name="T40" fmla="*/ 18 w 87"/>
              <a:gd name="T41" fmla="*/ 33 h 96"/>
              <a:gd name="T42" fmla="*/ 30 w 87"/>
              <a:gd name="T43" fmla="*/ 20 h 96"/>
              <a:gd name="T44" fmla="*/ 40 w 87"/>
              <a:gd name="T45" fmla="*/ 26 h 96"/>
              <a:gd name="T46" fmla="*/ 50 w 87"/>
              <a:gd name="T47" fmla="*/ 20 h 96"/>
              <a:gd name="T48" fmla="*/ 62 w 87"/>
              <a:gd name="T49" fmla="*/ 33 h 96"/>
              <a:gd name="T50" fmla="*/ 41 w 87"/>
              <a:gd name="T5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41" y="60"/>
                </a:moveTo>
                <a:cubicBezTo>
                  <a:pt x="41" y="60"/>
                  <a:pt x="40" y="60"/>
                  <a:pt x="40" y="60"/>
                </a:cubicBezTo>
                <a:cubicBezTo>
                  <a:pt x="40" y="60"/>
                  <a:pt x="39" y="60"/>
                  <a:pt x="39" y="60"/>
                </a:cubicBezTo>
                <a:cubicBezTo>
                  <a:pt x="37" y="58"/>
                  <a:pt x="18" y="45"/>
                  <a:pt x="18" y="33"/>
                </a:cubicBezTo>
                <a:cubicBezTo>
                  <a:pt x="18" y="25"/>
                  <a:pt x="24" y="20"/>
                  <a:pt x="30" y="20"/>
                </a:cubicBezTo>
                <a:cubicBezTo>
                  <a:pt x="33" y="20"/>
                  <a:pt x="37" y="22"/>
                  <a:pt x="40" y="26"/>
                </a:cubicBezTo>
                <a:cubicBezTo>
                  <a:pt x="43" y="22"/>
                  <a:pt x="47" y="20"/>
                  <a:pt x="50" y="20"/>
                </a:cubicBezTo>
                <a:cubicBezTo>
                  <a:pt x="56" y="20"/>
                  <a:pt x="62" y="25"/>
                  <a:pt x="62" y="33"/>
                </a:cubicBezTo>
                <a:cubicBezTo>
                  <a:pt x="62" y="45"/>
                  <a:pt x="43" y="58"/>
                  <a:pt x="41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433" name="Graphic 28">
            <a:extLst>
              <a:ext uri="{FF2B5EF4-FFF2-40B4-BE49-F238E27FC236}">
                <a16:creationId xmlns:a16="http://schemas.microsoft.com/office/drawing/2014/main" id="{125C154A-1CBD-4522-A4EC-040AC61290FD}"/>
              </a:ext>
            </a:extLst>
          </p:cNvPr>
          <p:cNvGrpSpPr/>
          <p:nvPr/>
        </p:nvGrpSpPr>
        <p:grpSpPr>
          <a:xfrm rot="8886293">
            <a:off x="10343345" y="500229"/>
            <a:ext cx="209107" cy="209200"/>
            <a:chOff x="10517187" y="-377031"/>
            <a:chExt cx="214979" cy="215074"/>
          </a:xfrm>
          <a:solidFill>
            <a:srgbClr val="45726D"/>
          </a:solidFill>
        </p:grpSpPr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F749881-D063-4875-95C6-F18942F100D9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D9F8C98E-B5A8-48BE-A2DC-E4619DD25A20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36" name="Graphic 28">
            <a:extLst>
              <a:ext uri="{FF2B5EF4-FFF2-40B4-BE49-F238E27FC236}">
                <a16:creationId xmlns:a16="http://schemas.microsoft.com/office/drawing/2014/main" id="{9674826B-A4CC-4B54-8AC2-4BDBBB83956F}"/>
              </a:ext>
            </a:extLst>
          </p:cNvPr>
          <p:cNvGrpSpPr/>
          <p:nvPr/>
        </p:nvGrpSpPr>
        <p:grpSpPr>
          <a:xfrm rot="10800000">
            <a:off x="10118738" y="295068"/>
            <a:ext cx="165637" cy="165711"/>
            <a:chOff x="10517187" y="-377031"/>
            <a:chExt cx="214979" cy="215074"/>
          </a:xfrm>
          <a:solidFill>
            <a:srgbClr val="45726D"/>
          </a:solidFill>
        </p:grpSpPr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64CA534E-410B-42D2-A03F-1E972B15AC76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096EABB6-87C1-40EA-AD9F-37A40FE733CD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67" name="Graphic 6">
            <a:extLst>
              <a:ext uri="{FF2B5EF4-FFF2-40B4-BE49-F238E27FC236}">
                <a16:creationId xmlns:a16="http://schemas.microsoft.com/office/drawing/2014/main" id="{697E1CBA-9B2A-46F5-9C90-8C2EADF655C2}"/>
              </a:ext>
            </a:extLst>
          </p:cNvPr>
          <p:cNvGrpSpPr/>
          <p:nvPr/>
        </p:nvGrpSpPr>
        <p:grpSpPr>
          <a:xfrm>
            <a:off x="233543" y="3752162"/>
            <a:ext cx="5109073" cy="2702706"/>
            <a:chOff x="3886199" y="2162915"/>
            <a:chExt cx="4532948" cy="2397935"/>
          </a:xfrm>
        </p:grpSpPr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7A811BDA-9D33-4A69-B07B-A810CD0B5886}"/>
                </a:ext>
              </a:extLst>
            </p:cNvPr>
            <p:cNvSpPr/>
            <p:nvPr/>
          </p:nvSpPr>
          <p:spPr>
            <a:xfrm flipV="1">
              <a:off x="3886199" y="4211715"/>
              <a:ext cx="3780577" cy="198654"/>
            </a:xfrm>
            <a:custGeom>
              <a:avLst/>
              <a:gdLst>
                <a:gd name="connsiteX0" fmla="*/ 3112102 w 3780577"/>
                <a:gd name="connsiteY0" fmla="*/ -539 h 198654"/>
                <a:gd name="connsiteX1" fmla="*/ 2802350 w 3780577"/>
                <a:gd name="connsiteY1" fmla="*/ 22866 h 198654"/>
                <a:gd name="connsiteX2" fmla="*/ 2165142 w 3780577"/>
                <a:gd name="connsiteY2" fmla="*/ 18093 h 198654"/>
                <a:gd name="connsiteX3" fmla="*/ 2092930 w 3780577"/>
                <a:gd name="connsiteY3" fmla="*/ 18153 h 198654"/>
                <a:gd name="connsiteX4" fmla="*/ 2111586 w 3780577"/>
                <a:gd name="connsiteY4" fmla="*/ 22181 h 198654"/>
                <a:gd name="connsiteX5" fmla="*/ 2171416 w 3780577"/>
                <a:gd name="connsiteY5" fmla="*/ 47597 h 198654"/>
                <a:gd name="connsiteX6" fmla="*/ 2183151 w 3780577"/>
                <a:gd name="connsiteY6" fmla="*/ 60242 h 198654"/>
                <a:gd name="connsiteX7" fmla="*/ 2184560 w 3780577"/>
                <a:gd name="connsiteY7" fmla="*/ 78126 h 198654"/>
                <a:gd name="connsiteX8" fmla="*/ 2173092 w 3780577"/>
                <a:gd name="connsiteY8" fmla="*/ 90493 h 198654"/>
                <a:gd name="connsiteX9" fmla="*/ 2166044 w 3780577"/>
                <a:gd name="connsiteY9" fmla="*/ 94497 h 198654"/>
                <a:gd name="connsiteX10" fmla="*/ 2158640 w 3780577"/>
                <a:gd name="connsiteY10" fmla="*/ 97608 h 198654"/>
                <a:gd name="connsiteX11" fmla="*/ 2158640 w 3780577"/>
                <a:gd name="connsiteY11" fmla="*/ 97608 h 198654"/>
                <a:gd name="connsiteX12" fmla="*/ 2158640 w 3780577"/>
                <a:gd name="connsiteY12" fmla="*/ 97608 h 198654"/>
                <a:gd name="connsiteX13" fmla="*/ 2146041 w 3780577"/>
                <a:gd name="connsiteY13" fmla="*/ 99895 h 198654"/>
                <a:gd name="connsiteX14" fmla="*/ 2122648 w 3780577"/>
                <a:gd name="connsiteY14" fmla="*/ 94571 h 198654"/>
                <a:gd name="connsiteX15" fmla="*/ 2103535 w 3780577"/>
                <a:gd name="connsiteY15" fmla="*/ 89249 h 198654"/>
                <a:gd name="connsiteX16" fmla="*/ 2089171 w 3780577"/>
                <a:gd name="connsiteY16" fmla="*/ 104389 h 198654"/>
                <a:gd name="connsiteX17" fmla="*/ 1978922 w 3780577"/>
                <a:gd name="connsiteY17" fmla="*/ 104389 h 198654"/>
                <a:gd name="connsiteX18" fmla="*/ 1970680 w 3780577"/>
                <a:gd name="connsiteY18" fmla="*/ 48534 h 198654"/>
                <a:gd name="connsiteX19" fmla="*/ 1839236 w 3780577"/>
                <a:gd name="connsiteY19" fmla="*/ 85835 h 198654"/>
                <a:gd name="connsiteX20" fmla="*/ 1831323 w 3780577"/>
                <a:gd name="connsiteY20" fmla="*/ 87333 h 198654"/>
                <a:gd name="connsiteX21" fmla="*/ 1757664 w 3780577"/>
                <a:gd name="connsiteY21" fmla="*/ 87040 h 198654"/>
                <a:gd name="connsiteX22" fmla="*/ 1757651 w 3780577"/>
                <a:gd name="connsiteY22" fmla="*/ 87040 h 198654"/>
                <a:gd name="connsiteX23" fmla="*/ 1757473 w 3780577"/>
                <a:gd name="connsiteY23" fmla="*/ 87040 h 198654"/>
                <a:gd name="connsiteX24" fmla="*/ 1734639 w 3780577"/>
                <a:gd name="connsiteY24" fmla="*/ 86951 h 198654"/>
                <a:gd name="connsiteX25" fmla="*/ 1685363 w 3780577"/>
                <a:gd name="connsiteY25" fmla="*/ 86763 h 198654"/>
                <a:gd name="connsiteX26" fmla="*/ 1685058 w 3780577"/>
                <a:gd name="connsiteY26" fmla="*/ 86748 h 198654"/>
                <a:gd name="connsiteX27" fmla="*/ 1611373 w 3780577"/>
                <a:gd name="connsiteY27" fmla="*/ 86456 h 198654"/>
                <a:gd name="connsiteX28" fmla="*/ 1603715 w 3780577"/>
                <a:gd name="connsiteY28" fmla="*/ 84957 h 198654"/>
                <a:gd name="connsiteX29" fmla="*/ 1399283 w 3780577"/>
                <a:gd name="connsiteY29" fmla="*/ 25153 h 198654"/>
                <a:gd name="connsiteX30" fmla="*/ 678054 w 3780577"/>
                <a:gd name="connsiteY30" fmla="*/ 54150 h 198654"/>
                <a:gd name="connsiteX31" fmla="*/ 386992 w 3780577"/>
                <a:gd name="connsiteY31" fmla="*/ 34197 h 198654"/>
                <a:gd name="connsiteX32" fmla="*/ -1498 w 3780577"/>
                <a:gd name="connsiteY32" fmla="*/ 93227 h 198654"/>
                <a:gd name="connsiteX33" fmla="*/ 280566 w 3780577"/>
                <a:gd name="connsiteY33" fmla="*/ 150005 h 198654"/>
                <a:gd name="connsiteX34" fmla="*/ 291093 w 3780577"/>
                <a:gd name="connsiteY34" fmla="*/ 146870 h 198654"/>
                <a:gd name="connsiteX35" fmla="*/ 302800 w 3780577"/>
                <a:gd name="connsiteY35" fmla="*/ 150857 h 198654"/>
                <a:gd name="connsiteX36" fmla="*/ 386992 w 3780577"/>
                <a:gd name="connsiteY36" fmla="*/ 152257 h 198654"/>
                <a:gd name="connsiteX37" fmla="*/ 484450 w 3780577"/>
                <a:gd name="connsiteY37" fmla="*/ 150377 h 198654"/>
                <a:gd name="connsiteX38" fmla="*/ 494228 w 3780577"/>
                <a:gd name="connsiteY38" fmla="*/ 147693 h 198654"/>
                <a:gd name="connsiteX39" fmla="*/ 502561 w 3780577"/>
                <a:gd name="connsiteY39" fmla="*/ 149598 h 198654"/>
                <a:gd name="connsiteX40" fmla="*/ 698955 w 3780577"/>
                <a:gd name="connsiteY40" fmla="*/ 128390 h 198654"/>
                <a:gd name="connsiteX41" fmla="*/ 692059 w 3780577"/>
                <a:gd name="connsiteY41" fmla="*/ 81187 h 198654"/>
                <a:gd name="connsiteX42" fmla="*/ 863598 w 3780577"/>
                <a:gd name="connsiteY42" fmla="*/ 81171 h 198654"/>
                <a:gd name="connsiteX43" fmla="*/ 868520 w 3780577"/>
                <a:gd name="connsiteY43" fmla="*/ 112277 h 198654"/>
                <a:gd name="connsiteX44" fmla="*/ 1019110 w 3780577"/>
                <a:gd name="connsiteY44" fmla="*/ 118677 h 198654"/>
                <a:gd name="connsiteX45" fmla="*/ 1167890 w 3780577"/>
                <a:gd name="connsiteY45" fmla="*/ 98798 h 198654"/>
                <a:gd name="connsiteX46" fmla="*/ 1236063 w 3780577"/>
                <a:gd name="connsiteY46" fmla="*/ 119386 h 198654"/>
                <a:gd name="connsiteX47" fmla="*/ 1186876 w 3780577"/>
                <a:gd name="connsiteY47" fmla="*/ 140584 h 198654"/>
                <a:gd name="connsiteX48" fmla="*/ 1575241 w 3780577"/>
                <a:gd name="connsiteY48" fmla="*/ 198115 h 198654"/>
                <a:gd name="connsiteX49" fmla="*/ 1963733 w 3780577"/>
                <a:gd name="connsiteY49" fmla="*/ 139086 h 198654"/>
                <a:gd name="connsiteX50" fmla="*/ 1963048 w 3780577"/>
                <a:gd name="connsiteY50" fmla="*/ 135692 h 198654"/>
                <a:gd name="connsiteX51" fmla="*/ 2165142 w 3780577"/>
                <a:gd name="connsiteY51" fmla="*/ 136148 h 198654"/>
                <a:gd name="connsiteX52" fmla="*/ 2772988 w 3780577"/>
                <a:gd name="connsiteY52" fmla="*/ 131818 h 198654"/>
                <a:gd name="connsiteX53" fmla="*/ 2773547 w 3780577"/>
                <a:gd name="connsiteY53" fmla="*/ 129105 h 198654"/>
                <a:gd name="connsiteX54" fmla="*/ 2791962 w 3780577"/>
                <a:gd name="connsiteY54" fmla="*/ 115184 h 198654"/>
                <a:gd name="connsiteX55" fmla="*/ 2797220 w 3780577"/>
                <a:gd name="connsiteY55" fmla="*/ 115908 h 198654"/>
                <a:gd name="connsiteX56" fmla="*/ 2848997 w 3780577"/>
                <a:gd name="connsiteY56" fmla="*/ 130612 h 198654"/>
                <a:gd name="connsiteX57" fmla="*/ 2982461 w 3780577"/>
                <a:gd name="connsiteY57" fmla="*/ 128038 h 198654"/>
                <a:gd name="connsiteX58" fmla="*/ 2986398 w 3780577"/>
                <a:gd name="connsiteY58" fmla="*/ 120884 h 198654"/>
                <a:gd name="connsiteX59" fmla="*/ 3000838 w 3780577"/>
                <a:gd name="connsiteY59" fmla="*/ 114345 h 198654"/>
                <a:gd name="connsiteX60" fmla="*/ 3013436 w 3780577"/>
                <a:gd name="connsiteY60" fmla="*/ 119058 h 198654"/>
                <a:gd name="connsiteX61" fmla="*/ 3022682 w 3780577"/>
                <a:gd name="connsiteY61" fmla="*/ 127145 h 198654"/>
                <a:gd name="connsiteX62" fmla="*/ 3186194 w 3780577"/>
                <a:gd name="connsiteY62" fmla="*/ 122844 h 198654"/>
                <a:gd name="connsiteX63" fmla="*/ 3191261 w 3780577"/>
                <a:gd name="connsiteY63" fmla="*/ 118344 h 198654"/>
                <a:gd name="connsiteX64" fmla="*/ 3203974 w 3780577"/>
                <a:gd name="connsiteY64" fmla="*/ 113517 h 198654"/>
                <a:gd name="connsiteX65" fmla="*/ 3218300 w 3780577"/>
                <a:gd name="connsiteY65" fmla="*/ 119956 h 198654"/>
                <a:gd name="connsiteX66" fmla="*/ 3219747 w 3780577"/>
                <a:gd name="connsiteY66" fmla="*/ 121811 h 198654"/>
                <a:gd name="connsiteX67" fmla="*/ 3401979 w 3780577"/>
                <a:gd name="connsiteY67" fmla="*/ 115045 h 198654"/>
                <a:gd name="connsiteX68" fmla="*/ 3407453 w 3780577"/>
                <a:gd name="connsiteY68" fmla="*/ 113443 h 198654"/>
                <a:gd name="connsiteX69" fmla="*/ 3412838 w 3780577"/>
                <a:gd name="connsiteY69" fmla="*/ 112669 h 198654"/>
                <a:gd name="connsiteX70" fmla="*/ 3420394 w 3780577"/>
                <a:gd name="connsiteY70" fmla="*/ 114232 h 198654"/>
                <a:gd name="connsiteX71" fmla="*/ 3471232 w 3780577"/>
                <a:gd name="connsiteY71" fmla="*/ 111805 h 198654"/>
                <a:gd name="connsiteX72" fmla="*/ 3476084 w 3780577"/>
                <a:gd name="connsiteY72" fmla="*/ 81171 h 198654"/>
                <a:gd name="connsiteX73" fmla="*/ 3647622 w 3780577"/>
                <a:gd name="connsiteY73" fmla="*/ 81187 h 198654"/>
                <a:gd name="connsiteX74" fmla="*/ 3644777 w 3780577"/>
                <a:gd name="connsiteY74" fmla="*/ 100733 h 198654"/>
                <a:gd name="connsiteX75" fmla="*/ 3779080 w 3780577"/>
                <a:gd name="connsiteY75" fmla="*/ 77124 h 198654"/>
                <a:gd name="connsiteX76" fmla="*/ 3487501 w 3780577"/>
                <a:gd name="connsiteY76" fmla="*/ 43276 h 198654"/>
                <a:gd name="connsiteX77" fmla="*/ 3112102 w 3780577"/>
                <a:gd name="connsiteY77" fmla="*/ -539 h 198654"/>
                <a:gd name="connsiteX78" fmla="*/ 1921226 w 3780577"/>
                <a:gd name="connsiteY78" fmla="*/ 18764 h 198654"/>
                <a:gd name="connsiteX79" fmla="*/ 1842791 w 3780577"/>
                <a:gd name="connsiteY79" fmla="*/ 19274 h 198654"/>
                <a:gd name="connsiteX80" fmla="*/ 1813188 w 3780577"/>
                <a:gd name="connsiteY80" fmla="*/ 45116 h 198654"/>
                <a:gd name="connsiteX81" fmla="*/ 1828136 w 3780577"/>
                <a:gd name="connsiteY81" fmla="*/ 45181 h 198654"/>
                <a:gd name="connsiteX82" fmla="*/ 1921226 w 3780577"/>
                <a:gd name="connsiteY82" fmla="*/ 18764 h 198654"/>
                <a:gd name="connsiteX83" fmla="*/ 1778111 w 3780577"/>
                <a:gd name="connsiteY83" fmla="*/ 19805 h 198654"/>
                <a:gd name="connsiteX84" fmla="*/ 1666960 w 3780577"/>
                <a:gd name="connsiteY84" fmla="*/ 20961 h 198654"/>
                <a:gd name="connsiteX85" fmla="*/ 1693630 w 3780577"/>
                <a:gd name="connsiteY85" fmla="*/ 44635 h 198654"/>
                <a:gd name="connsiteX86" fmla="*/ 1721342 w 3780577"/>
                <a:gd name="connsiteY86" fmla="*/ 44749 h 198654"/>
                <a:gd name="connsiteX87" fmla="*/ 1749434 w 3780577"/>
                <a:gd name="connsiteY87" fmla="*/ 44864 h 198654"/>
                <a:gd name="connsiteX88" fmla="*/ 1778111 w 3780577"/>
                <a:gd name="connsiteY88" fmla="*/ 19805 h 198654"/>
                <a:gd name="connsiteX89" fmla="*/ 1604362 w 3780577"/>
                <a:gd name="connsiteY89" fmla="*/ 21750 h 198654"/>
                <a:gd name="connsiteX90" fmla="*/ 1540901 w 3780577"/>
                <a:gd name="connsiteY90" fmla="*/ 22678 h 198654"/>
                <a:gd name="connsiteX91" fmla="*/ 1614929 w 3780577"/>
                <a:gd name="connsiteY91" fmla="*/ 44333 h 198654"/>
                <a:gd name="connsiteX92" fmla="*/ 1629864 w 3780577"/>
                <a:gd name="connsiteY92" fmla="*/ 44382 h 198654"/>
                <a:gd name="connsiteX93" fmla="*/ 1604362 w 3780577"/>
                <a:gd name="connsiteY93" fmla="*/ 21750 h 198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3780577" h="198654">
                  <a:moveTo>
                    <a:pt x="3112102" y="-539"/>
                  </a:moveTo>
                  <a:cubicBezTo>
                    <a:pt x="2985624" y="-539"/>
                    <a:pt x="2873280" y="8658"/>
                    <a:pt x="2802350" y="22866"/>
                  </a:cubicBezTo>
                  <a:cubicBezTo>
                    <a:pt x="2606847" y="19795"/>
                    <a:pt x="2391456" y="18093"/>
                    <a:pt x="2165142" y="18093"/>
                  </a:cubicBezTo>
                  <a:cubicBezTo>
                    <a:pt x="2140949" y="18093"/>
                    <a:pt x="2116870" y="18119"/>
                    <a:pt x="2092930" y="18153"/>
                  </a:cubicBezTo>
                  <a:cubicBezTo>
                    <a:pt x="2099178" y="19324"/>
                    <a:pt x="2105401" y="20659"/>
                    <a:pt x="2111586" y="22181"/>
                  </a:cubicBezTo>
                  <a:cubicBezTo>
                    <a:pt x="2132325" y="27693"/>
                    <a:pt x="2153306" y="34262"/>
                    <a:pt x="2171416" y="47597"/>
                  </a:cubicBezTo>
                  <a:cubicBezTo>
                    <a:pt x="2175785" y="51123"/>
                    <a:pt x="2180115" y="54998"/>
                    <a:pt x="2183151" y="60242"/>
                  </a:cubicBezTo>
                  <a:cubicBezTo>
                    <a:pt x="2186288" y="65322"/>
                    <a:pt x="2187240" y="72549"/>
                    <a:pt x="2184560" y="78126"/>
                  </a:cubicBezTo>
                  <a:cubicBezTo>
                    <a:pt x="2181982" y="83623"/>
                    <a:pt x="2177690" y="87601"/>
                    <a:pt x="2173092" y="90493"/>
                  </a:cubicBezTo>
                  <a:cubicBezTo>
                    <a:pt x="2170895" y="92120"/>
                    <a:pt x="2168368" y="93163"/>
                    <a:pt x="2166044" y="94497"/>
                  </a:cubicBezTo>
                  <a:cubicBezTo>
                    <a:pt x="2163593" y="95613"/>
                    <a:pt x="2161091" y="96575"/>
                    <a:pt x="2158640" y="97608"/>
                  </a:cubicBezTo>
                  <a:lnTo>
                    <a:pt x="2158640" y="97608"/>
                  </a:lnTo>
                  <a:lnTo>
                    <a:pt x="2158640" y="97608"/>
                  </a:lnTo>
                  <a:cubicBezTo>
                    <a:pt x="2154373" y="99230"/>
                    <a:pt x="2150156" y="99895"/>
                    <a:pt x="2146041" y="99895"/>
                  </a:cubicBezTo>
                  <a:cubicBezTo>
                    <a:pt x="2137736" y="99895"/>
                    <a:pt x="2129836" y="97225"/>
                    <a:pt x="2122648" y="94571"/>
                  </a:cubicBezTo>
                  <a:cubicBezTo>
                    <a:pt x="2115447" y="91903"/>
                    <a:pt x="2108970" y="89249"/>
                    <a:pt x="2103535" y="89249"/>
                  </a:cubicBezTo>
                  <a:cubicBezTo>
                    <a:pt x="2097172" y="89249"/>
                    <a:pt x="2092219" y="92880"/>
                    <a:pt x="2089171" y="104389"/>
                  </a:cubicBezTo>
                  <a:lnTo>
                    <a:pt x="1978922" y="104389"/>
                  </a:lnTo>
                  <a:cubicBezTo>
                    <a:pt x="1978922" y="104389"/>
                    <a:pt x="1971658" y="74162"/>
                    <a:pt x="1970680" y="48534"/>
                  </a:cubicBezTo>
                  <a:lnTo>
                    <a:pt x="1839236" y="85835"/>
                  </a:lnTo>
                  <a:cubicBezTo>
                    <a:pt x="1836797" y="86813"/>
                    <a:pt x="1833965" y="87229"/>
                    <a:pt x="1831323" y="87333"/>
                  </a:cubicBezTo>
                  <a:lnTo>
                    <a:pt x="1757664" y="87040"/>
                  </a:lnTo>
                  <a:cubicBezTo>
                    <a:pt x="1757651" y="87040"/>
                    <a:pt x="1757651" y="87040"/>
                    <a:pt x="1757651" y="87040"/>
                  </a:cubicBezTo>
                  <a:cubicBezTo>
                    <a:pt x="1757587" y="87040"/>
                    <a:pt x="1757537" y="87040"/>
                    <a:pt x="1757473" y="87040"/>
                  </a:cubicBezTo>
                  <a:lnTo>
                    <a:pt x="1734639" y="86951"/>
                  </a:lnTo>
                  <a:lnTo>
                    <a:pt x="1685363" y="86763"/>
                  </a:lnTo>
                  <a:cubicBezTo>
                    <a:pt x="1685261" y="86763"/>
                    <a:pt x="1685159" y="86748"/>
                    <a:pt x="1685058" y="86748"/>
                  </a:cubicBezTo>
                  <a:lnTo>
                    <a:pt x="1611373" y="86456"/>
                  </a:lnTo>
                  <a:cubicBezTo>
                    <a:pt x="1608718" y="86446"/>
                    <a:pt x="1606128" y="85925"/>
                    <a:pt x="1603715" y="84957"/>
                  </a:cubicBezTo>
                  <a:lnTo>
                    <a:pt x="1399283" y="25153"/>
                  </a:lnTo>
                  <a:cubicBezTo>
                    <a:pt x="1077542" y="31503"/>
                    <a:pt x="821485" y="41738"/>
                    <a:pt x="678054" y="54150"/>
                  </a:cubicBezTo>
                  <a:cubicBezTo>
                    <a:pt x="606870" y="41906"/>
                    <a:pt x="502899" y="34197"/>
                    <a:pt x="386992" y="34197"/>
                  </a:cubicBezTo>
                  <a:cubicBezTo>
                    <a:pt x="172437" y="34197"/>
                    <a:pt x="-1498" y="60624"/>
                    <a:pt x="-1498" y="93227"/>
                  </a:cubicBezTo>
                  <a:cubicBezTo>
                    <a:pt x="-1498" y="120215"/>
                    <a:pt x="117748" y="142985"/>
                    <a:pt x="280566" y="150005"/>
                  </a:cubicBezTo>
                  <a:cubicBezTo>
                    <a:pt x="283736" y="147926"/>
                    <a:pt x="287406" y="146870"/>
                    <a:pt x="291093" y="146870"/>
                  </a:cubicBezTo>
                  <a:cubicBezTo>
                    <a:pt x="295205" y="146870"/>
                    <a:pt x="299343" y="148189"/>
                    <a:pt x="302800" y="150857"/>
                  </a:cubicBezTo>
                  <a:cubicBezTo>
                    <a:pt x="329912" y="151771"/>
                    <a:pt x="358080" y="152257"/>
                    <a:pt x="386992" y="152257"/>
                  </a:cubicBezTo>
                  <a:cubicBezTo>
                    <a:pt x="420646" y="152257"/>
                    <a:pt x="453310" y="151593"/>
                    <a:pt x="484450" y="150377"/>
                  </a:cubicBezTo>
                  <a:cubicBezTo>
                    <a:pt x="487466" y="148585"/>
                    <a:pt x="490849" y="147693"/>
                    <a:pt x="494228" y="147693"/>
                  </a:cubicBezTo>
                  <a:cubicBezTo>
                    <a:pt x="497090" y="147693"/>
                    <a:pt x="499948" y="148328"/>
                    <a:pt x="502561" y="149598"/>
                  </a:cubicBezTo>
                  <a:cubicBezTo>
                    <a:pt x="581991" y="145842"/>
                    <a:pt x="650471" y="138312"/>
                    <a:pt x="698955" y="128390"/>
                  </a:cubicBezTo>
                  <a:lnTo>
                    <a:pt x="692059" y="81187"/>
                  </a:lnTo>
                  <a:lnTo>
                    <a:pt x="863598" y="81171"/>
                  </a:lnTo>
                  <a:lnTo>
                    <a:pt x="868520" y="112277"/>
                  </a:lnTo>
                  <a:cubicBezTo>
                    <a:pt x="914527" y="114549"/>
                    <a:pt x="964893" y="116682"/>
                    <a:pt x="1019110" y="118677"/>
                  </a:cubicBezTo>
                  <a:cubicBezTo>
                    <a:pt x="1053679" y="111131"/>
                    <a:pt x="1117776" y="98813"/>
                    <a:pt x="1167890" y="98798"/>
                  </a:cubicBezTo>
                  <a:cubicBezTo>
                    <a:pt x="1200643" y="98798"/>
                    <a:pt x="1227415" y="104072"/>
                    <a:pt x="1236063" y="119386"/>
                  </a:cubicBezTo>
                  <a:cubicBezTo>
                    <a:pt x="1234044" y="122600"/>
                    <a:pt x="1212987" y="130424"/>
                    <a:pt x="1186876" y="140584"/>
                  </a:cubicBezTo>
                  <a:cubicBezTo>
                    <a:pt x="1192147" y="172498"/>
                    <a:pt x="1364015" y="198115"/>
                    <a:pt x="1575241" y="198115"/>
                  </a:cubicBezTo>
                  <a:cubicBezTo>
                    <a:pt x="1789794" y="198115"/>
                    <a:pt x="1963733" y="171684"/>
                    <a:pt x="1963733" y="139086"/>
                  </a:cubicBezTo>
                  <a:lnTo>
                    <a:pt x="1963048" y="135692"/>
                  </a:lnTo>
                  <a:cubicBezTo>
                    <a:pt x="2029278" y="136000"/>
                    <a:pt x="2096677" y="136148"/>
                    <a:pt x="2165142" y="136148"/>
                  </a:cubicBezTo>
                  <a:cubicBezTo>
                    <a:pt x="2380153" y="136148"/>
                    <a:pt x="2585397" y="134615"/>
                    <a:pt x="2772988" y="131818"/>
                  </a:cubicBezTo>
                  <a:cubicBezTo>
                    <a:pt x="2773102" y="130920"/>
                    <a:pt x="2773293" y="130017"/>
                    <a:pt x="2773547" y="129105"/>
                  </a:cubicBezTo>
                  <a:cubicBezTo>
                    <a:pt x="2775947" y="120681"/>
                    <a:pt x="2783605" y="115184"/>
                    <a:pt x="2791962" y="115184"/>
                  </a:cubicBezTo>
                  <a:cubicBezTo>
                    <a:pt x="2793702" y="115184"/>
                    <a:pt x="2795467" y="115412"/>
                    <a:pt x="2797220" y="115908"/>
                  </a:cubicBezTo>
                  <a:lnTo>
                    <a:pt x="2848997" y="130612"/>
                  </a:lnTo>
                  <a:cubicBezTo>
                    <a:pt x="2894704" y="129829"/>
                    <a:pt x="2939218" y="128960"/>
                    <a:pt x="2982461" y="128038"/>
                  </a:cubicBezTo>
                  <a:cubicBezTo>
                    <a:pt x="2983223" y="125468"/>
                    <a:pt x="2984531" y="123032"/>
                    <a:pt x="2986398" y="120884"/>
                  </a:cubicBezTo>
                  <a:cubicBezTo>
                    <a:pt x="2990183" y="116554"/>
                    <a:pt x="2995492" y="114345"/>
                    <a:pt x="3000838" y="114345"/>
                  </a:cubicBezTo>
                  <a:cubicBezTo>
                    <a:pt x="3005309" y="114345"/>
                    <a:pt x="3009804" y="115893"/>
                    <a:pt x="3013436" y="119058"/>
                  </a:cubicBezTo>
                  <a:lnTo>
                    <a:pt x="3022682" y="127145"/>
                  </a:lnTo>
                  <a:cubicBezTo>
                    <a:pt x="3079654" y="125826"/>
                    <a:pt x="3134315" y="124392"/>
                    <a:pt x="3186194" y="122844"/>
                  </a:cubicBezTo>
                  <a:lnTo>
                    <a:pt x="3191261" y="118344"/>
                  </a:lnTo>
                  <a:cubicBezTo>
                    <a:pt x="3194907" y="115104"/>
                    <a:pt x="3199440" y="113517"/>
                    <a:pt x="3203974" y="113517"/>
                  </a:cubicBezTo>
                  <a:cubicBezTo>
                    <a:pt x="3209257" y="113517"/>
                    <a:pt x="3214515" y="115690"/>
                    <a:pt x="3218300" y="119956"/>
                  </a:cubicBezTo>
                  <a:cubicBezTo>
                    <a:pt x="3218820" y="120557"/>
                    <a:pt x="3219316" y="121167"/>
                    <a:pt x="3219747" y="121811"/>
                  </a:cubicBezTo>
                  <a:cubicBezTo>
                    <a:pt x="3285330" y="119729"/>
                    <a:pt x="3346265" y="117470"/>
                    <a:pt x="3401979" y="115045"/>
                  </a:cubicBezTo>
                  <a:lnTo>
                    <a:pt x="3407453" y="113443"/>
                  </a:lnTo>
                  <a:cubicBezTo>
                    <a:pt x="3409244" y="112912"/>
                    <a:pt x="3411060" y="112669"/>
                    <a:pt x="3412838" y="112669"/>
                  </a:cubicBezTo>
                  <a:cubicBezTo>
                    <a:pt x="3415467" y="112669"/>
                    <a:pt x="3418045" y="113215"/>
                    <a:pt x="3420394" y="114232"/>
                  </a:cubicBezTo>
                  <a:cubicBezTo>
                    <a:pt x="3437895" y="113443"/>
                    <a:pt x="3454849" y="112629"/>
                    <a:pt x="3471232" y="111805"/>
                  </a:cubicBezTo>
                  <a:lnTo>
                    <a:pt x="3476084" y="81171"/>
                  </a:lnTo>
                  <a:lnTo>
                    <a:pt x="3647622" y="81187"/>
                  </a:lnTo>
                  <a:lnTo>
                    <a:pt x="3644777" y="100733"/>
                  </a:lnTo>
                  <a:cubicBezTo>
                    <a:pt x="3731150" y="93504"/>
                    <a:pt x="3779080" y="85517"/>
                    <a:pt x="3779080" y="77124"/>
                  </a:cubicBezTo>
                  <a:cubicBezTo>
                    <a:pt x="3779080" y="64538"/>
                    <a:pt x="3671206" y="52864"/>
                    <a:pt x="3487501" y="43276"/>
                  </a:cubicBezTo>
                  <a:cubicBezTo>
                    <a:pt x="3443330" y="18039"/>
                    <a:pt x="3292023" y="-539"/>
                    <a:pt x="3112102" y="-539"/>
                  </a:cubicBezTo>
                  <a:moveTo>
                    <a:pt x="1921226" y="18764"/>
                  </a:moveTo>
                  <a:cubicBezTo>
                    <a:pt x="1894849" y="18917"/>
                    <a:pt x="1868738" y="19081"/>
                    <a:pt x="1842791" y="19274"/>
                  </a:cubicBezTo>
                  <a:lnTo>
                    <a:pt x="1813188" y="45116"/>
                  </a:lnTo>
                  <a:lnTo>
                    <a:pt x="1828136" y="45181"/>
                  </a:lnTo>
                  <a:lnTo>
                    <a:pt x="1921226" y="18764"/>
                  </a:lnTo>
                  <a:moveTo>
                    <a:pt x="1778111" y="19805"/>
                  </a:moveTo>
                  <a:cubicBezTo>
                    <a:pt x="1740531" y="20138"/>
                    <a:pt x="1703447" y="20529"/>
                    <a:pt x="1666960" y="20961"/>
                  </a:cubicBezTo>
                  <a:lnTo>
                    <a:pt x="1693630" y="44635"/>
                  </a:lnTo>
                  <a:lnTo>
                    <a:pt x="1721342" y="44749"/>
                  </a:lnTo>
                  <a:lnTo>
                    <a:pt x="1749434" y="44864"/>
                  </a:lnTo>
                  <a:lnTo>
                    <a:pt x="1778111" y="19805"/>
                  </a:lnTo>
                  <a:moveTo>
                    <a:pt x="1604362" y="21750"/>
                  </a:moveTo>
                  <a:cubicBezTo>
                    <a:pt x="1583001" y="22043"/>
                    <a:pt x="1561830" y="22345"/>
                    <a:pt x="1540901" y="22678"/>
                  </a:cubicBezTo>
                  <a:lnTo>
                    <a:pt x="1614929" y="44333"/>
                  </a:lnTo>
                  <a:lnTo>
                    <a:pt x="1629864" y="44382"/>
                  </a:lnTo>
                  <a:lnTo>
                    <a:pt x="1604362" y="21750"/>
                  </a:ln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602A1008-8E83-435C-B300-0D5976D238EB}"/>
                </a:ext>
              </a:extLst>
            </p:cNvPr>
            <p:cNvSpPr/>
            <p:nvPr/>
          </p:nvSpPr>
          <p:spPr>
            <a:xfrm flipV="1">
              <a:off x="5627999" y="2625998"/>
              <a:ext cx="311720" cy="443851"/>
            </a:xfrm>
            <a:custGeom>
              <a:avLst/>
              <a:gdLst>
                <a:gd name="connsiteX0" fmla="*/ 33511 w 311720"/>
                <a:gd name="connsiteY0" fmla="*/ 442007 h 443851"/>
                <a:gd name="connsiteX1" fmla="*/ 177351 w 311720"/>
                <a:gd name="connsiteY1" fmla="*/ 103756 h 443851"/>
                <a:gd name="connsiteX2" fmla="*/ 310218 w 311720"/>
                <a:gd name="connsiteY2" fmla="*/ 37678 h 443851"/>
                <a:gd name="connsiteX3" fmla="*/ 284246 w 311720"/>
                <a:gd name="connsiteY3" fmla="*/ -1845 h 443851"/>
                <a:gd name="connsiteX4" fmla="*/ 107679 w 311720"/>
                <a:gd name="connsiteY4" fmla="*/ 47838 h 443851"/>
                <a:gd name="connsiteX5" fmla="*/ -1503 w 311720"/>
                <a:gd name="connsiteY5" fmla="*/ 287270 h 443851"/>
                <a:gd name="connsiteX6" fmla="*/ 33511 w 311720"/>
                <a:gd name="connsiteY6" fmla="*/ 442007 h 44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720" h="443851">
                  <a:moveTo>
                    <a:pt x="33511" y="442007"/>
                  </a:moveTo>
                  <a:lnTo>
                    <a:pt x="177351" y="103756"/>
                  </a:lnTo>
                  <a:lnTo>
                    <a:pt x="310218" y="37678"/>
                  </a:lnTo>
                  <a:lnTo>
                    <a:pt x="284246" y="-1845"/>
                  </a:lnTo>
                  <a:lnTo>
                    <a:pt x="107679" y="47838"/>
                  </a:lnTo>
                  <a:lnTo>
                    <a:pt x="-1503" y="287270"/>
                  </a:lnTo>
                  <a:lnTo>
                    <a:pt x="33511" y="442007"/>
                  </a:ln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FDED9435-5EEF-43B8-8D1D-1D86A2A6DAAF}"/>
                </a:ext>
              </a:extLst>
            </p:cNvPr>
            <p:cNvSpPr/>
            <p:nvPr/>
          </p:nvSpPr>
          <p:spPr>
            <a:xfrm flipV="1">
              <a:off x="5627999" y="2618086"/>
              <a:ext cx="216204" cy="428408"/>
            </a:xfrm>
            <a:custGeom>
              <a:avLst/>
              <a:gdLst>
                <a:gd name="connsiteX0" fmla="*/ 45977 w 216204"/>
                <a:gd name="connsiteY0" fmla="*/ 426550 h 428408"/>
                <a:gd name="connsiteX1" fmla="*/ 189804 w 216204"/>
                <a:gd name="connsiteY1" fmla="*/ 88286 h 428408"/>
                <a:gd name="connsiteX2" fmla="*/ 214734 w 216204"/>
                <a:gd name="connsiteY2" fmla="*/ 65299 h 428408"/>
                <a:gd name="connsiteX3" fmla="*/ 181092 w 216204"/>
                <a:gd name="connsiteY3" fmla="*/ 1926 h 428408"/>
                <a:gd name="connsiteX4" fmla="*/ 179263 w 216204"/>
                <a:gd name="connsiteY4" fmla="*/ -1859 h 428408"/>
                <a:gd name="connsiteX5" fmla="*/ 107711 w 216204"/>
                <a:gd name="connsiteY5" fmla="*/ 24469 h 428408"/>
                <a:gd name="connsiteX6" fmla="*/ -1470 w 216204"/>
                <a:gd name="connsiteY6" fmla="*/ 263914 h 428408"/>
                <a:gd name="connsiteX7" fmla="*/ 45977 w 216204"/>
                <a:gd name="connsiteY7" fmla="*/ 426550 h 42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204" h="428408">
                  <a:moveTo>
                    <a:pt x="45977" y="426550"/>
                  </a:moveTo>
                  <a:lnTo>
                    <a:pt x="189804" y="88286"/>
                  </a:lnTo>
                  <a:lnTo>
                    <a:pt x="214734" y="65299"/>
                  </a:lnTo>
                  <a:cubicBezTo>
                    <a:pt x="201983" y="45144"/>
                    <a:pt x="191366" y="23478"/>
                    <a:pt x="181092" y="1926"/>
                  </a:cubicBezTo>
                  <a:cubicBezTo>
                    <a:pt x="180482" y="669"/>
                    <a:pt x="179872" y="-589"/>
                    <a:pt x="179263" y="-1859"/>
                  </a:cubicBezTo>
                  <a:lnTo>
                    <a:pt x="107711" y="24469"/>
                  </a:lnTo>
                  <a:lnTo>
                    <a:pt x="-1470" y="263914"/>
                  </a:lnTo>
                  <a:lnTo>
                    <a:pt x="45977" y="426550"/>
                  </a:ln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F7E6FD53-CE55-4FF9-B446-27FFB008F5F9}"/>
                </a:ext>
              </a:extLst>
            </p:cNvPr>
            <p:cNvSpPr/>
            <p:nvPr/>
          </p:nvSpPr>
          <p:spPr>
            <a:xfrm flipV="1">
              <a:off x="5910166" y="2937014"/>
              <a:ext cx="221914" cy="161769"/>
            </a:xfrm>
            <a:custGeom>
              <a:avLst/>
              <a:gdLst>
                <a:gd name="connsiteX0" fmla="*/ -660 w 221914"/>
                <a:gd name="connsiteY0" fmla="*/ 28612 h 161769"/>
                <a:gd name="connsiteX1" fmla="*/ 30023 w 221914"/>
                <a:gd name="connsiteY1" fmla="*/ 21958 h 161769"/>
                <a:gd name="connsiteX2" fmla="*/ 169723 w 221914"/>
                <a:gd name="connsiteY2" fmla="*/ -394 h 161769"/>
                <a:gd name="connsiteX3" fmla="*/ 125527 w 221914"/>
                <a:gd name="connsiteY3" fmla="*/ 30860 h 161769"/>
                <a:gd name="connsiteX4" fmla="*/ 190538 w 221914"/>
                <a:gd name="connsiteY4" fmla="*/ 21196 h 161769"/>
                <a:gd name="connsiteX5" fmla="*/ 132093 w 221914"/>
                <a:gd name="connsiteY5" fmla="*/ 54914 h 161769"/>
                <a:gd name="connsiteX6" fmla="*/ 205765 w 221914"/>
                <a:gd name="connsiteY6" fmla="*/ 46786 h 161769"/>
                <a:gd name="connsiteX7" fmla="*/ 138341 w 221914"/>
                <a:gd name="connsiteY7" fmla="*/ 78295 h 161769"/>
                <a:gd name="connsiteX8" fmla="*/ 219659 w 221914"/>
                <a:gd name="connsiteY8" fmla="*/ 69697 h 161769"/>
                <a:gd name="connsiteX9" fmla="*/ 95136 w 221914"/>
                <a:gd name="connsiteY9" fmla="*/ 99288 h 161769"/>
                <a:gd name="connsiteX10" fmla="*/ 132918 w 221914"/>
                <a:gd name="connsiteY10" fmla="*/ 160057 h 161769"/>
                <a:gd name="connsiteX11" fmla="*/ -1206 w 221914"/>
                <a:gd name="connsiteY11" fmla="*/ 64007 h 161769"/>
                <a:gd name="connsiteX12" fmla="*/ -660 w 221914"/>
                <a:gd name="connsiteY12" fmla="*/ 28612 h 161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1914" h="161769">
                  <a:moveTo>
                    <a:pt x="-660" y="28612"/>
                  </a:moveTo>
                  <a:cubicBezTo>
                    <a:pt x="1220" y="29755"/>
                    <a:pt x="30023" y="21958"/>
                    <a:pt x="30023" y="21958"/>
                  </a:cubicBezTo>
                  <a:cubicBezTo>
                    <a:pt x="30023" y="21958"/>
                    <a:pt x="167183" y="-8230"/>
                    <a:pt x="169723" y="-394"/>
                  </a:cubicBezTo>
                  <a:cubicBezTo>
                    <a:pt x="172263" y="7454"/>
                    <a:pt x="125527" y="30860"/>
                    <a:pt x="125527" y="30860"/>
                  </a:cubicBezTo>
                  <a:cubicBezTo>
                    <a:pt x="125527" y="30860"/>
                    <a:pt x="188036" y="12090"/>
                    <a:pt x="190538" y="21196"/>
                  </a:cubicBezTo>
                  <a:cubicBezTo>
                    <a:pt x="193040" y="30301"/>
                    <a:pt x="132093" y="54914"/>
                    <a:pt x="132093" y="54914"/>
                  </a:cubicBezTo>
                  <a:cubicBezTo>
                    <a:pt x="132093" y="54914"/>
                    <a:pt x="209563" y="35813"/>
                    <a:pt x="205765" y="46786"/>
                  </a:cubicBezTo>
                  <a:cubicBezTo>
                    <a:pt x="201943" y="57759"/>
                    <a:pt x="138341" y="78295"/>
                    <a:pt x="138341" y="78295"/>
                  </a:cubicBezTo>
                  <a:cubicBezTo>
                    <a:pt x="138341" y="78295"/>
                    <a:pt x="228346" y="55917"/>
                    <a:pt x="219659" y="69697"/>
                  </a:cubicBezTo>
                  <a:cubicBezTo>
                    <a:pt x="210985" y="83476"/>
                    <a:pt x="95136" y="99288"/>
                    <a:pt x="95136" y="99288"/>
                  </a:cubicBezTo>
                  <a:cubicBezTo>
                    <a:pt x="95136" y="99288"/>
                    <a:pt x="149581" y="158482"/>
                    <a:pt x="132918" y="160057"/>
                  </a:cubicBezTo>
                  <a:cubicBezTo>
                    <a:pt x="116269" y="161645"/>
                    <a:pt x="-1206" y="64007"/>
                    <a:pt x="-1206" y="64007"/>
                  </a:cubicBezTo>
                  <a:cubicBezTo>
                    <a:pt x="-1206" y="64007"/>
                    <a:pt x="-2540" y="27469"/>
                    <a:pt x="-660" y="28612"/>
                  </a:cubicBez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C4E01DC2-2097-4CA0-B572-B44DD4A4DE42}"/>
                </a:ext>
              </a:extLst>
            </p:cNvPr>
            <p:cNvSpPr/>
            <p:nvPr/>
          </p:nvSpPr>
          <p:spPr>
            <a:xfrm flipV="1">
              <a:off x="5306180" y="2221758"/>
              <a:ext cx="349805" cy="472149"/>
            </a:xfrm>
            <a:custGeom>
              <a:avLst/>
              <a:gdLst>
                <a:gd name="connsiteX0" fmla="*/ 57074 w 349805"/>
                <a:gd name="connsiteY0" fmla="*/ 438004 h 472149"/>
                <a:gd name="connsiteX1" fmla="*/ 420 w 349805"/>
                <a:gd name="connsiteY1" fmla="*/ 174251 h 472149"/>
                <a:gd name="connsiteX2" fmla="*/ 128918 w 349805"/>
                <a:gd name="connsiteY2" fmla="*/ 2014 h 472149"/>
                <a:gd name="connsiteX3" fmla="*/ 342011 w 349805"/>
                <a:gd name="connsiteY3" fmla="*/ 136685 h 472149"/>
                <a:gd name="connsiteX4" fmla="*/ 331318 w 349805"/>
                <a:gd name="connsiteY4" fmla="*/ 412058 h 472149"/>
                <a:gd name="connsiteX5" fmla="*/ 129147 w 349805"/>
                <a:gd name="connsiteY5" fmla="*/ 469957 h 472149"/>
                <a:gd name="connsiteX6" fmla="*/ 57074 w 349805"/>
                <a:gd name="connsiteY6" fmla="*/ 438004 h 472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9805" h="472149">
                  <a:moveTo>
                    <a:pt x="57074" y="438004"/>
                  </a:moveTo>
                  <a:cubicBezTo>
                    <a:pt x="57074" y="438004"/>
                    <a:pt x="19584" y="348546"/>
                    <a:pt x="420" y="174251"/>
                  </a:cubicBezTo>
                  <a:cubicBezTo>
                    <a:pt x="-18744" y="-43"/>
                    <a:pt x="128918" y="2014"/>
                    <a:pt x="128918" y="2014"/>
                  </a:cubicBezTo>
                  <a:cubicBezTo>
                    <a:pt x="128918" y="2014"/>
                    <a:pt x="322669" y="-39248"/>
                    <a:pt x="342011" y="136685"/>
                  </a:cubicBezTo>
                  <a:cubicBezTo>
                    <a:pt x="361366" y="312617"/>
                    <a:pt x="331318" y="412058"/>
                    <a:pt x="331318" y="412058"/>
                  </a:cubicBezTo>
                  <a:cubicBezTo>
                    <a:pt x="256108" y="422434"/>
                    <a:pt x="198869" y="443338"/>
                    <a:pt x="129147" y="469957"/>
                  </a:cubicBezTo>
                  <a:cubicBezTo>
                    <a:pt x="112103" y="452558"/>
                    <a:pt x="74702" y="453003"/>
                    <a:pt x="57074" y="438004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97F2E8CD-6C2D-45FF-AC11-792BB8D429DF}"/>
                </a:ext>
              </a:extLst>
            </p:cNvPr>
            <p:cNvSpPr/>
            <p:nvPr/>
          </p:nvSpPr>
          <p:spPr>
            <a:xfrm flipV="1">
              <a:off x="5334536" y="2221758"/>
              <a:ext cx="308131" cy="472112"/>
            </a:xfrm>
            <a:custGeom>
              <a:avLst/>
              <a:gdLst>
                <a:gd name="connsiteX0" fmla="*/ -1297 w 308131"/>
                <a:gd name="connsiteY0" fmla="*/ 195283 h 472112"/>
                <a:gd name="connsiteX1" fmla="*/ 95744 w 308131"/>
                <a:gd name="connsiteY1" fmla="*/ 434093 h 472112"/>
                <a:gd name="connsiteX2" fmla="*/ 100786 w 308131"/>
                <a:gd name="connsiteY2" fmla="*/ 469920 h 472112"/>
                <a:gd name="connsiteX3" fmla="*/ 302956 w 308131"/>
                <a:gd name="connsiteY3" fmla="*/ 412020 h 472112"/>
                <a:gd name="connsiteX4" fmla="*/ 306830 w 308131"/>
                <a:gd name="connsiteY4" fmla="*/ 396184 h 472112"/>
                <a:gd name="connsiteX5" fmla="*/ 257795 w 308131"/>
                <a:gd name="connsiteY5" fmla="*/ 182710 h 472112"/>
                <a:gd name="connsiteX6" fmla="*/ 207237 w 308131"/>
                <a:gd name="connsiteY6" fmla="*/ 54072 h 472112"/>
                <a:gd name="connsiteX7" fmla="*/ 178357 w 308131"/>
                <a:gd name="connsiteY7" fmla="*/ -373 h 472112"/>
                <a:gd name="connsiteX8" fmla="*/ 100557 w 308131"/>
                <a:gd name="connsiteY8" fmla="*/ 1976 h 472112"/>
                <a:gd name="connsiteX9" fmla="*/ 41591 w 308131"/>
                <a:gd name="connsiteY9" fmla="*/ 15997 h 472112"/>
                <a:gd name="connsiteX10" fmla="*/ -1297 w 308131"/>
                <a:gd name="connsiteY10" fmla="*/ 195283 h 472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131" h="472112">
                  <a:moveTo>
                    <a:pt x="-1297" y="195283"/>
                  </a:moveTo>
                  <a:cubicBezTo>
                    <a:pt x="-1932" y="279953"/>
                    <a:pt x="59231" y="356179"/>
                    <a:pt x="95744" y="434093"/>
                  </a:cubicBezTo>
                  <a:cubicBezTo>
                    <a:pt x="108749" y="437878"/>
                    <a:pt x="92670" y="461652"/>
                    <a:pt x="100786" y="469920"/>
                  </a:cubicBezTo>
                  <a:cubicBezTo>
                    <a:pt x="170508" y="443300"/>
                    <a:pt x="227747" y="422396"/>
                    <a:pt x="302956" y="412020"/>
                  </a:cubicBezTo>
                  <a:cubicBezTo>
                    <a:pt x="302956" y="412020"/>
                    <a:pt x="304582" y="406598"/>
                    <a:pt x="306830" y="396184"/>
                  </a:cubicBezTo>
                  <a:cubicBezTo>
                    <a:pt x="300048" y="323375"/>
                    <a:pt x="281290" y="251785"/>
                    <a:pt x="257795" y="182710"/>
                  </a:cubicBezTo>
                  <a:cubicBezTo>
                    <a:pt x="243038" y="139301"/>
                    <a:pt x="227239" y="95372"/>
                    <a:pt x="207237" y="54072"/>
                  </a:cubicBezTo>
                  <a:cubicBezTo>
                    <a:pt x="198271" y="35568"/>
                    <a:pt x="188314" y="17597"/>
                    <a:pt x="178357" y="-373"/>
                  </a:cubicBezTo>
                  <a:cubicBezTo>
                    <a:pt x="136168" y="-5555"/>
                    <a:pt x="100557" y="1976"/>
                    <a:pt x="100557" y="1976"/>
                  </a:cubicBezTo>
                  <a:cubicBezTo>
                    <a:pt x="100557" y="1976"/>
                    <a:pt x="71982" y="1596"/>
                    <a:pt x="41591" y="15997"/>
                  </a:cubicBezTo>
                  <a:cubicBezTo>
                    <a:pt x="27024" y="75827"/>
                    <a:pt x="-852" y="135479"/>
                    <a:pt x="-1297" y="195283"/>
                  </a:cubicBezTo>
                </a:path>
              </a:pathLst>
            </a:custGeom>
            <a:solidFill>
              <a:srgbClr val="3A241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B10A9598-A237-4814-9885-F14CC04122BD}"/>
                </a:ext>
              </a:extLst>
            </p:cNvPr>
            <p:cNvSpPr/>
            <p:nvPr/>
          </p:nvSpPr>
          <p:spPr>
            <a:xfrm flipV="1">
              <a:off x="4881900" y="3017476"/>
              <a:ext cx="213912" cy="160861"/>
            </a:xfrm>
            <a:custGeom>
              <a:avLst/>
              <a:gdLst>
                <a:gd name="connsiteX0" fmla="*/ 212769 w 213912"/>
                <a:gd name="connsiteY0" fmla="*/ 104441 h 160861"/>
                <a:gd name="connsiteX1" fmla="*/ 188842 w 213912"/>
                <a:gd name="connsiteY1" fmla="*/ 84134 h 160861"/>
                <a:gd name="connsiteX2" fmla="*/ 76130 w 213912"/>
                <a:gd name="connsiteY2" fmla="*/ -1363 h 160861"/>
                <a:gd name="connsiteX3" fmla="*/ 100400 w 213912"/>
                <a:gd name="connsiteY3" fmla="*/ 47012 h 160861"/>
                <a:gd name="connsiteX4" fmla="*/ 47593 w 213912"/>
                <a:gd name="connsiteY4" fmla="*/ 7870 h 160861"/>
                <a:gd name="connsiteX5" fmla="*/ 83280 w 213912"/>
                <a:gd name="connsiteY5" fmla="*/ 65134 h 160861"/>
                <a:gd name="connsiteX6" fmla="*/ 22117 w 213912"/>
                <a:gd name="connsiteY6" fmla="*/ 23275 h 160861"/>
                <a:gd name="connsiteX7" fmla="*/ 66758 w 213912"/>
                <a:gd name="connsiteY7" fmla="*/ 82826 h 160861"/>
                <a:gd name="connsiteX8" fmla="*/ -946 w 213912"/>
                <a:gd name="connsiteY8" fmla="*/ 36941 h 160861"/>
                <a:gd name="connsiteX9" fmla="*/ 95002 w 213912"/>
                <a:gd name="connsiteY9" fmla="*/ 121687 h 160861"/>
                <a:gd name="connsiteX10" fmla="*/ 33039 w 213912"/>
                <a:gd name="connsiteY10" fmla="*/ 157514 h 160861"/>
                <a:gd name="connsiteX11" fmla="*/ 196602 w 213912"/>
                <a:gd name="connsiteY11" fmla="*/ 135924 h 160861"/>
                <a:gd name="connsiteX12" fmla="*/ 212769 w 213912"/>
                <a:gd name="connsiteY12" fmla="*/ 104441 h 160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3912" h="160861">
                  <a:moveTo>
                    <a:pt x="212769" y="104441"/>
                  </a:moveTo>
                  <a:cubicBezTo>
                    <a:pt x="210585" y="104568"/>
                    <a:pt x="188842" y="84134"/>
                    <a:pt x="188842" y="84134"/>
                  </a:cubicBezTo>
                  <a:cubicBezTo>
                    <a:pt x="188842" y="84134"/>
                    <a:pt x="82061" y="-7090"/>
                    <a:pt x="76130" y="-1363"/>
                  </a:cubicBezTo>
                  <a:cubicBezTo>
                    <a:pt x="70187" y="4352"/>
                    <a:pt x="100400" y="47012"/>
                    <a:pt x="100400" y="47012"/>
                  </a:cubicBezTo>
                  <a:cubicBezTo>
                    <a:pt x="100400" y="47012"/>
                    <a:pt x="54083" y="1025"/>
                    <a:pt x="47593" y="7870"/>
                  </a:cubicBezTo>
                  <a:cubicBezTo>
                    <a:pt x="41091" y="14728"/>
                    <a:pt x="83280" y="65134"/>
                    <a:pt x="83280" y="65134"/>
                  </a:cubicBezTo>
                  <a:cubicBezTo>
                    <a:pt x="83280" y="65134"/>
                    <a:pt x="23921" y="11795"/>
                    <a:pt x="22117" y="23275"/>
                  </a:cubicBezTo>
                  <a:cubicBezTo>
                    <a:pt x="20327" y="34756"/>
                    <a:pt x="66758" y="82826"/>
                    <a:pt x="66758" y="82826"/>
                  </a:cubicBezTo>
                  <a:cubicBezTo>
                    <a:pt x="66758" y="82826"/>
                    <a:pt x="-2114" y="20697"/>
                    <a:pt x="-946" y="36941"/>
                  </a:cubicBezTo>
                  <a:cubicBezTo>
                    <a:pt x="235" y="53197"/>
                    <a:pt x="95002" y="121687"/>
                    <a:pt x="95002" y="121687"/>
                  </a:cubicBezTo>
                  <a:cubicBezTo>
                    <a:pt x="95002" y="121687"/>
                    <a:pt x="19082" y="148256"/>
                    <a:pt x="33039" y="157514"/>
                  </a:cubicBezTo>
                  <a:cubicBezTo>
                    <a:pt x="46984" y="166747"/>
                    <a:pt x="196602" y="135924"/>
                    <a:pt x="196602" y="135924"/>
                  </a:cubicBezTo>
                  <a:cubicBezTo>
                    <a:pt x="196602" y="135924"/>
                    <a:pt x="214966" y="104314"/>
                    <a:pt x="212769" y="104441"/>
                  </a:cubicBez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990AA450-8A12-4555-8F4F-26B81354A350}"/>
                </a:ext>
              </a:extLst>
            </p:cNvPr>
            <p:cNvSpPr/>
            <p:nvPr/>
          </p:nvSpPr>
          <p:spPr>
            <a:xfrm flipV="1">
              <a:off x="5273658" y="3162153"/>
              <a:ext cx="472032" cy="1170778"/>
            </a:xfrm>
            <a:custGeom>
              <a:avLst/>
              <a:gdLst>
                <a:gd name="connsiteX0" fmla="*/ 19703 w 472032"/>
                <a:gd name="connsiteY0" fmla="*/ 1154535 h 1170778"/>
                <a:gd name="connsiteX1" fmla="*/ -1316 w 472032"/>
                <a:gd name="connsiteY1" fmla="*/ 76449 h 1170778"/>
                <a:gd name="connsiteX2" fmla="*/ 182796 w 472032"/>
                <a:gd name="connsiteY2" fmla="*/ 1837 h 1170778"/>
                <a:gd name="connsiteX3" fmla="*/ 98531 w 472032"/>
                <a:gd name="connsiteY3" fmla="*/ 129457 h 1170778"/>
                <a:gd name="connsiteX4" fmla="*/ 211764 w 472032"/>
                <a:gd name="connsiteY4" fmla="*/ 995950 h 1170778"/>
                <a:gd name="connsiteX5" fmla="*/ 219880 w 472032"/>
                <a:gd name="connsiteY5" fmla="*/ 102950 h 1170778"/>
                <a:gd name="connsiteX6" fmla="*/ 470717 w 472032"/>
                <a:gd name="connsiteY6" fmla="*/ 63203 h 1170778"/>
                <a:gd name="connsiteX7" fmla="*/ 323778 w 472032"/>
                <a:gd name="connsiteY7" fmla="*/ 160368 h 1170778"/>
                <a:gd name="connsiteX8" fmla="*/ 396435 w 472032"/>
                <a:gd name="connsiteY8" fmla="*/ 1169736 h 1170778"/>
                <a:gd name="connsiteX9" fmla="*/ 41889 w 472032"/>
                <a:gd name="connsiteY9" fmla="*/ 1169736 h 1170778"/>
                <a:gd name="connsiteX10" fmla="*/ 19703 w 472032"/>
                <a:gd name="connsiteY10" fmla="*/ 1154535 h 1170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2032" h="1170778">
                  <a:moveTo>
                    <a:pt x="19703" y="1154535"/>
                  </a:moveTo>
                  <a:cubicBezTo>
                    <a:pt x="44150" y="1002351"/>
                    <a:pt x="28999" y="103382"/>
                    <a:pt x="-1316" y="76449"/>
                  </a:cubicBezTo>
                  <a:cubicBezTo>
                    <a:pt x="-1316" y="76449"/>
                    <a:pt x="31691" y="-18597"/>
                    <a:pt x="182796" y="1837"/>
                  </a:cubicBezTo>
                  <a:cubicBezTo>
                    <a:pt x="204779" y="4809"/>
                    <a:pt x="98531" y="129457"/>
                    <a:pt x="98531" y="129457"/>
                  </a:cubicBezTo>
                  <a:cubicBezTo>
                    <a:pt x="98531" y="129457"/>
                    <a:pt x="167835" y="933911"/>
                    <a:pt x="211764" y="995950"/>
                  </a:cubicBezTo>
                  <a:cubicBezTo>
                    <a:pt x="226979" y="1017426"/>
                    <a:pt x="219880" y="102950"/>
                    <a:pt x="219880" y="102950"/>
                  </a:cubicBezTo>
                  <a:cubicBezTo>
                    <a:pt x="219880" y="102950"/>
                    <a:pt x="434890" y="16070"/>
                    <a:pt x="470717" y="63203"/>
                  </a:cubicBezTo>
                  <a:cubicBezTo>
                    <a:pt x="466742" y="72029"/>
                    <a:pt x="349889" y="125037"/>
                    <a:pt x="323778" y="160368"/>
                  </a:cubicBezTo>
                  <a:cubicBezTo>
                    <a:pt x="297654" y="195715"/>
                    <a:pt x="396435" y="1169736"/>
                    <a:pt x="396435" y="1169736"/>
                  </a:cubicBezTo>
                  <a:cubicBezTo>
                    <a:pt x="396435" y="1169736"/>
                    <a:pt x="134701" y="1169736"/>
                    <a:pt x="41889" y="1169736"/>
                  </a:cubicBezTo>
                  <a:cubicBezTo>
                    <a:pt x="17175" y="1169736"/>
                    <a:pt x="17429" y="1168746"/>
                    <a:pt x="19703" y="1154535"/>
                  </a:cubicBezTo>
                </a:path>
              </a:pathLst>
            </a:custGeom>
            <a:solidFill>
              <a:srgbClr val="1418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8B601F8A-3068-4CFF-9FAC-99097C239B3A}"/>
                </a:ext>
              </a:extLst>
            </p:cNvPr>
            <p:cNvSpPr/>
            <p:nvPr/>
          </p:nvSpPr>
          <p:spPr>
            <a:xfrm flipV="1">
              <a:off x="5293705" y="3162153"/>
              <a:ext cx="377702" cy="179234"/>
            </a:xfrm>
            <a:custGeom>
              <a:avLst/>
              <a:gdLst>
                <a:gd name="connsiteX0" fmla="*/ 336146 w 377702"/>
                <a:gd name="connsiteY0" fmla="*/ 139727 h 179234"/>
                <a:gd name="connsiteX1" fmla="*/ 268887 w 377702"/>
                <a:gd name="connsiteY1" fmla="*/ 123915 h 179234"/>
                <a:gd name="connsiteX2" fmla="*/ 189220 w 377702"/>
                <a:gd name="connsiteY2" fmla="*/ 115686 h 179234"/>
                <a:gd name="connsiteX3" fmla="*/ 119078 w 377702"/>
                <a:gd name="connsiteY3" fmla="*/ 120321 h 179234"/>
                <a:gd name="connsiteX4" fmla="*/ 73511 w 377702"/>
                <a:gd name="connsiteY4" fmla="*/ 111571 h 179234"/>
                <a:gd name="connsiteX5" fmla="*/ 53889 w 377702"/>
                <a:gd name="connsiteY5" fmla="*/ 81536 h 179234"/>
                <a:gd name="connsiteX6" fmla="*/ 9681 w 377702"/>
                <a:gd name="connsiteY6" fmla="*/ -1484 h 179234"/>
                <a:gd name="connsiteX7" fmla="*/ -327 w 377702"/>
                <a:gd name="connsiteY7" fmla="*/ 162549 h 179234"/>
                <a:gd name="connsiteX8" fmla="*/ 21860 w 377702"/>
                <a:gd name="connsiteY8" fmla="*/ 177751 h 179234"/>
                <a:gd name="connsiteX9" fmla="*/ 376405 w 377702"/>
                <a:gd name="connsiteY9" fmla="*/ 177751 h 179234"/>
                <a:gd name="connsiteX10" fmla="*/ 374348 w 377702"/>
                <a:gd name="connsiteY10" fmla="*/ 157215 h 179234"/>
                <a:gd name="connsiteX11" fmla="*/ 336146 w 377702"/>
                <a:gd name="connsiteY11" fmla="*/ 139727 h 179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7702" h="179234">
                  <a:moveTo>
                    <a:pt x="336146" y="139727"/>
                  </a:moveTo>
                  <a:cubicBezTo>
                    <a:pt x="314340" y="132374"/>
                    <a:pt x="291557" y="127700"/>
                    <a:pt x="268887" y="123915"/>
                  </a:cubicBezTo>
                  <a:cubicBezTo>
                    <a:pt x="242840" y="119572"/>
                    <a:pt x="215700" y="114822"/>
                    <a:pt x="189220" y="115686"/>
                  </a:cubicBezTo>
                  <a:cubicBezTo>
                    <a:pt x="165789" y="116460"/>
                    <a:pt x="142535" y="120270"/>
                    <a:pt x="119078" y="120321"/>
                  </a:cubicBezTo>
                  <a:cubicBezTo>
                    <a:pt x="104448" y="120359"/>
                    <a:pt x="86046" y="120359"/>
                    <a:pt x="73511" y="111571"/>
                  </a:cubicBezTo>
                  <a:cubicBezTo>
                    <a:pt x="63414" y="104497"/>
                    <a:pt x="58766" y="92369"/>
                    <a:pt x="53889" y="81536"/>
                  </a:cubicBezTo>
                  <a:cubicBezTo>
                    <a:pt x="40999" y="52884"/>
                    <a:pt x="24895" y="25935"/>
                    <a:pt x="9681" y="-1484"/>
                  </a:cubicBezTo>
                  <a:cubicBezTo>
                    <a:pt x="7750" y="73827"/>
                    <a:pt x="4486" y="132640"/>
                    <a:pt x="-327" y="162549"/>
                  </a:cubicBezTo>
                  <a:cubicBezTo>
                    <a:pt x="-2600" y="176760"/>
                    <a:pt x="-2854" y="177751"/>
                    <a:pt x="21860" y="177751"/>
                  </a:cubicBezTo>
                  <a:cubicBezTo>
                    <a:pt x="114671" y="177751"/>
                    <a:pt x="376405" y="177751"/>
                    <a:pt x="376405" y="177751"/>
                  </a:cubicBezTo>
                  <a:cubicBezTo>
                    <a:pt x="376405" y="177751"/>
                    <a:pt x="375656" y="170397"/>
                    <a:pt x="374348" y="157215"/>
                  </a:cubicBezTo>
                  <a:cubicBezTo>
                    <a:pt x="361825" y="150903"/>
                    <a:pt x="349481" y="144223"/>
                    <a:pt x="336146" y="139727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B6E27FD5-2E93-4054-9CDE-C0DBCC0ECCD2}"/>
                </a:ext>
              </a:extLst>
            </p:cNvPr>
            <p:cNvSpPr/>
            <p:nvPr/>
          </p:nvSpPr>
          <p:spPr>
            <a:xfrm flipV="1">
              <a:off x="5341018" y="2443246"/>
              <a:ext cx="267245" cy="213778"/>
            </a:xfrm>
            <a:custGeom>
              <a:avLst/>
              <a:gdLst>
                <a:gd name="connsiteX0" fmla="*/ 89792 w 267245"/>
                <a:gd name="connsiteY0" fmla="*/ 211668 h 213778"/>
                <a:gd name="connsiteX1" fmla="*/ 73016 w 267245"/>
                <a:gd name="connsiteY1" fmla="*/ 92238 h 213778"/>
                <a:gd name="connsiteX2" fmla="*/ -1292 w 267245"/>
                <a:gd name="connsiteY2" fmla="*/ 58659 h 213778"/>
                <a:gd name="connsiteX3" fmla="*/ 84280 w 267245"/>
                <a:gd name="connsiteY3" fmla="*/ -2110 h 213778"/>
                <a:gd name="connsiteX4" fmla="*/ 213579 w 267245"/>
                <a:gd name="connsiteY4" fmla="*/ 3782 h 213778"/>
                <a:gd name="connsiteX5" fmla="*/ 265953 w 267245"/>
                <a:gd name="connsiteY5" fmla="*/ 66965 h 213778"/>
                <a:gd name="connsiteX6" fmla="*/ 214481 w 267245"/>
                <a:gd name="connsiteY6" fmla="*/ 92238 h 213778"/>
                <a:gd name="connsiteX7" fmla="*/ 194237 w 267245"/>
                <a:gd name="connsiteY7" fmla="*/ 198117 h 213778"/>
                <a:gd name="connsiteX8" fmla="*/ 89792 w 267245"/>
                <a:gd name="connsiteY8" fmla="*/ 211668 h 213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45" h="213778">
                  <a:moveTo>
                    <a:pt x="89792" y="211668"/>
                  </a:moveTo>
                  <a:cubicBezTo>
                    <a:pt x="89792" y="211668"/>
                    <a:pt x="114595" y="105179"/>
                    <a:pt x="73016" y="92238"/>
                  </a:cubicBezTo>
                  <a:cubicBezTo>
                    <a:pt x="59477" y="88021"/>
                    <a:pt x="-1292" y="58659"/>
                    <a:pt x="-1292" y="58659"/>
                  </a:cubicBezTo>
                  <a:lnTo>
                    <a:pt x="84280" y="-2110"/>
                  </a:lnTo>
                  <a:lnTo>
                    <a:pt x="213579" y="3782"/>
                  </a:lnTo>
                  <a:lnTo>
                    <a:pt x="265953" y="66965"/>
                  </a:lnTo>
                  <a:lnTo>
                    <a:pt x="214481" y="92238"/>
                  </a:lnTo>
                  <a:lnTo>
                    <a:pt x="194237" y="198117"/>
                  </a:lnTo>
                  <a:lnTo>
                    <a:pt x="89792" y="211668"/>
                  </a:ln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3C87B9F8-B3F6-4C87-A498-A53E24F23698}"/>
                </a:ext>
              </a:extLst>
            </p:cNvPr>
            <p:cNvSpPr/>
            <p:nvPr/>
          </p:nvSpPr>
          <p:spPr>
            <a:xfrm flipV="1">
              <a:off x="5432102" y="2443246"/>
              <a:ext cx="111658" cy="132218"/>
            </a:xfrm>
            <a:custGeom>
              <a:avLst/>
              <a:gdLst>
                <a:gd name="connsiteX0" fmla="*/ 110357 w 111658"/>
                <a:gd name="connsiteY0" fmla="*/ 26211 h 132218"/>
                <a:gd name="connsiteX1" fmla="*/ 89339 w 111658"/>
                <a:gd name="connsiteY1" fmla="*/ 2234 h 132218"/>
                <a:gd name="connsiteX2" fmla="*/ 28684 w 111658"/>
                <a:gd name="connsiteY2" fmla="*/ 15010 h 132218"/>
                <a:gd name="connsiteX3" fmla="*/ 1798 w 111658"/>
                <a:gd name="connsiteY3" fmla="*/ 33908 h 132218"/>
                <a:gd name="connsiteX4" fmla="*/ -1301 w 111658"/>
                <a:gd name="connsiteY4" fmla="*/ 130072 h 132218"/>
                <a:gd name="connsiteX5" fmla="*/ 103143 w 111658"/>
                <a:gd name="connsiteY5" fmla="*/ 116521 h 132218"/>
                <a:gd name="connsiteX6" fmla="*/ 110357 w 111658"/>
                <a:gd name="connsiteY6" fmla="*/ 26211 h 13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658" h="132218">
                  <a:moveTo>
                    <a:pt x="110357" y="26211"/>
                  </a:moveTo>
                  <a:cubicBezTo>
                    <a:pt x="104528" y="16991"/>
                    <a:pt x="98521" y="7733"/>
                    <a:pt x="89339" y="2234"/>
                  </a:cubicBezTo>
                  <a:cubicBezTo>
                    <a:pt x="69616" y="-9577"/>
                    <a:pt x="46273" y="5168"/>
                    <a:pt x="28684" y="15010"/>
                  </a:cubicBezTo>
                  <a:cubicBezTo>
                    <a:pt x="19044" y="20420"/>
                    <a:pt x="10218" y="26910"/>
                    <a:pt x="1798" y="33908"/>
                  </a:cubicBezTo>
                  <a:cubicBezTo>
                    <a:pt x="12859" y="69201"/>
                    <a:pt x="-1301" y="130072"/>
                    <a:pt x="-1301" y="130072"/>
                  </a:cubicBezTo>
                  <a:lnTo>
                    <a:pt x="103143" y="116521"/>
                  </a:lnTo>
                  <a:cubicBezTo>
                    <a:pt x="103143" y="116521"/>
                    <a:pt x="97644" y="56437"/>
                    <a:pt x="110357" y="26211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4168AACD-5437-4D70-8FC5-4D70DC075423}"/>
                </a:ext>
              </a:extLst>
            </p:cNvPr>
            <p:cNvSpPr/>
            <p:nvPr/>
          </p:nvSpPr>
          <p:spPr>
            <a:xfrm flipV="1">
              <a:off x="5283538" y="2585701"/>
              <a:ext cx="396277" cy="604696"/>
            </a:xfrm>
            <a:custGeom>
              <a:avLst/>
              <a:gdLst>
                <a:gd name="connsiteX0" fmla="*/ 31456 w 396277"/>
                <a:gd name="connsiteY0" fmla="*/ 335579 h 604696"/>
                <a:gd name="connsiteX1" fmla="*/ -1297 w 396277"/>
                <a:gd name="connsiteY1" fmla="*/ 569372 h 604696"/>
                <a:gd name="connsiteX2" fmla="*/ 58114 w 396277"/>
                <a:gd name="connsiteY2" fmla="*/ 594861 h 604696"/>
                <a:gd name="connsiteX3" fmla="*/ 212278 w 396277"/>
                <a:gd name="connsiteY3" fmla="*/ 559568 h 604696"/>
                <a:gd name="connsiteX4" fmla="*/ 321257 w 396277"/>
                <a:gd name="connsiteY4" fmla="*/ 602888 h 604696"/>
                <a:gd name="connsiteX5" fmla="*/ 390612 w 396277"/>
                <a:gd name="connsiteY5" fmla="*/ 570503 h 604696"/>
                <a:gd name="connsiteX6" fmla="*/ 384173 w 396277"/>
                <a:gd name="connsiteY6" fmla="*/ 495370 h 604696"/>
                <a:gd name="connsiteX7" fmla="*/ 394980 w 396277"/>
                <a:gd name="connsiteY7" fmla="*/ 365258 h 604696"/>
                <a:gd name="connsiteX8" fmla="*/ 347063 w 396277"/>
                <a:gd name="connsiteY8" fmla="*/ 251365 h 604696"/>
                <a:gd name="connsiteX9" fmla="*/ 388681 w 396277"/>
                <a:gd name="connsiteY9" fmla="*/ 29789 h 604696"/>
                <a:gd name="connsiteX10" fmla="*/ 223035 w 396277"/>
                <a:gd name="connsiteY10" fmla="*/ -1809 h 604696"/>
                <a:gd name="connsiteX11" fmla="*/ 6984 w 396277"/>
                <a:gd name="connsiteY11" fmla="*/ 22093 h 604696"/>
                <a:gd name="connsiteX12" fmla="*/ 78751 w 396277"/>
                <a:gd name="connsiteY12" fmla="*/ 202597 h 604696"/>
                <a:gd name="connsiteX13" fmla="*/ 31456 w 396277"/>
                <a:gd name="connsiteY13" fmla="*/ 335579 h 60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6277" h="604696">
                  <a:moveTo>
                    <a:pt x="31456" y="335579"/>
                  </a:moveTo>
                  <a:lnTo>
                    <a:pt x="-1297" y="569372"/>
                  </a:lnTo>
                  <a:lnTo>
                    <a:pt x="58114" y="594861"/>
                  </a:lnTo>
                  <a:cubicBezTo>
                    <a:pt x="99896" y="577500"/>
                    <a:pt x="161415" y="559568"/>
                    <a:pt x="212278" y="559568"/>
                  </a:cubicBezTo>
                  <a:cubicBezTo>
                    <a:pt x="261453" y="559568"/>
                    <a:pt x="312532" y="589375"/>
                    <a:pt x="321257" y="602888"/>
                  </a:cubicBezTo>
                  <a:lnTo>
                    <a:pt x="390612" y="570503"/>
                  </a:lnTo>
                  <a:cubicBezTo>
                    <a:pt x="390612" y="570503"/>
                    <a:pt x="391424" y="548430"/>
                    <a:pt x="384173" y="495370"/>
                  </a:cubicBezTo>
                  <a:cubicBezTo>
                    <a:pt x="379436" y="460635"/>
                    <a:pt x="394980" y="365258"/>
                    <a:pt x="394980" y="365258"/>
                  </a:cubicBezTo>
                  <a:lnTo>
                    <a:pt x="347063" y="251365"/>
                  </a:lnTo>
                  <a:cubicBezTo>
                    <a:pt x="351254" y="133941"/>
                    <a:pt x="388681" y="29789"/>
                    <a:pt x="388681" y="29789"/>
                  </a:cubicBezTo>
                  <a:cubicBezTo>
                    <a:pt x="388681" y="29789"/>
                    <a:pt x="323543" y="-1809"/>
                    <a:pt x="223035" y="-1809"/>
                  </a:cubicBezTo>
                  <a:cubicBezTo>
                    <a:pt x="174217" y="-1809"/>
                    <a:pt x="40816" y="15590"/>
                    <a:pt x="6984" y="22093"/>
                  </a:cubicBezTo>
                  <a:lnTo>
                    <a:pt x="78751" y="202597"/>
                  </a:lnTo>
                  <a:lnTo>
                    <a:pt x="31456" y="335579"/>
                  </a:ln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B2CD185F-EAA0-477C-B6B5-A404F940E8B7}"/>
                </a:ext>
              </a:extLst>
            </p:cNvPr>
            <p:cNvSpPr/>
            <p:nvPr/>
          </p:nvSpPr>
          <p:spPr>
            <a:xfrm flipV="1">
              <a:off x="5291819" y="2755982"/>
              <a:ext cx="135083" cy="423454"/>
            </a:xfrm>
            <a:custGeom>
              <a:avLst/>
              <a:gdLst>
                <a:gd name="connsiteX0" fmla="*/ 23260 w 135083"/>
                <a:gd name="connsiteY0" fmla="*/ 324690 h 423454"/>
                <a:gd name="connsiteX1" fmla="*/ 9670 w 135083"/>
                <a:gd name="connsiteY1" fmla="*/ 421717 h 423454"/>
                <a:gd name="connsiteX2" fmla="*/ 20250 w 135083"/>
                <a:gd name="connsiteY2" fmla="*/ 385726 h 423454"/>
                <a:gd name="connsiteX3" fmla="*/ 83559 w 135083"/>
                <a:gd name="connsiteY3" fmla="*/ 212587 h 423454"/>
                <a:gd name="connsiteX4" fmla="*/ 123615 w 135083"/>
                <a:gd name="connsiteY4" fmla="*/ 150979 h 423454"/>
                <a:gd name="connsiteX5" fmla="*/ 132695 w 135083"/>
                <a:gd name="connsiteY5" fmla="*/ 115775 h 423454"/>
                <a:gd name="connsiteX6" fmla="*/ 121964 w 135083"/>
                <a:gd name="connsiteY6" fmla="*/ 84140 h 423454"/>
                <a:gd name="connsiteX7" fmla="*/ 98291 w 135083"/>
                <a:gd name="connsiteY7" fmla="*/ 28857 h 423454"/>
                <a:gd name="connsiteX8" fmla="*/ 89223 w 135083"/>
                <a:gd name="connsiteY8" fmla="*/ -1738 h 423454"/>
                <a:gd name="connsiteX9" fmla="*/ -1213 w 135083"/>
                <a:gd name="connsiteY9" fmla="*/ 11204 h 423454"/>
                <a:gd name="connsiteX10" fmla="*/ 70554 w 135083"/>
                <a:gd name="connsiteY10" fmla="*/ 191708 h 423454"/>
                <a:gd name="connsiteX11" fmla="*/ 23260 w 135083"/>
                <a:gd name="connsiteY11" fmla="*/ 324690 h 42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083" h="423454">
                  <a:moveTo>
                    <a:pt x="23260" y="324690"/>
                  </a:moveTo>
                  <a:lnTo>
                    <a:pt x="9670" y="421717"/>
                  </a:lnTo>
                  <a:cubicBezTo>
                    <a:pt x="12947" y="409678"/>
                    <a:pt x="16427" y="397676"/>
                    <a:pt x="20250" y="385726"/>
                  </a:cubicBezTo>
                  <a:cubicBezTo>
                    <a:pt x="39223" y="326430"/>
                    <a:pt x="55022" y="268302"/>
                    <a:pt x="83559" y="212587"/>
                  </a:cubicBezTo>
                  <a:cubicBezTo>
                    <a:pt x="95129" y="189981"/>
                    <a:pt x="107803" y="170575"/>
                    <a:pt x="123615" y="150979"/>
                  </a:cubicBezTo>
                  <a:cubicBezTo>
                    <a:pt x="132911" y="139448"/>
                    <a:pt x="135743" y="130304"/>
                    <a:pt x="132695" y="115775"/>
                  </a:cubicBezTo>
                  <a:cubicBezTo>
                    <a:pt x="130396" y="104879"/>
                    <a:pt x="126231" y="94376"/>
                    <a:pt x="121964" y="84140"/>
                  </a:cubicBezTo>
                  <a:cubicBezTo>
                    <a:pt x="114293" y="65699"/>
                    <a:pt x="104387" y="47906"/>
                    <a:pt x="98291" y="28857"/>
                  </a:cubicBezTo>
                  <a:cubicBezTo>
                    <a:pt x="95052" y="18735"/>
                    <a:pt x="92093" y="8511"/>
                    <a:pt x="89223" y="-1738"/>
                  </a:cubicBezTo>
                  <a:cubicBezTo>
                    <a:pt x="50044" y="3050"/>
                    <a:pt x="14154" y="8245"/>
                    <a:pt x="-1213" y="11204"/>
                  </a:cubicBezTo>
                  <a:lnTo>
                    <a:pt x="70554" y="191708"/>
                  </a:lnTo>
                  <a:lnTo>
                    <a:pt x="23260" y="324690"/>
                  </a:ln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3AE68DE3-17A9-458E-8E32-4E5A326ACABB}"/>
                </a:ext>
              </a:extLst>
            </p:cNvPr>
            <p:cNvSpPr/>
            <p:nvPr/>
          </p:nvSpPr>
          <p:spPr>
            <a:xfrm flipV="1">
              <a:off x="5065670" y="2619216"/>
              <a:ext cx="264172" cy="466444"/>
            </a:xfrm>
            <a:custGeom>
              <a:avLst/>
              <a:gdLst>
                <a:gd name="connsiteX0" fmla="*/ 216765 w 264172"/>
                <a:gd name="connsiteY0" fmla="*/ 464604 h 466444"/>
                <a:gd name="connsiteX1" fmla="*/ 133098 w 264172"/>
                <a:gd name="connsiteY1" fmla="*/ 99238 h 466444"/>
                <a:gd name="connsiteX2" fmla="*/ -1103 w 264172"/>
                <a:gd name="connsiteY2" fmla="*/ 45022 h 466444"/>
                <a:gd name="connsiteX3" fmla="*/ 8955 w 264172"/>
                <a:gd name="connsiteY3" fmla="*/ -1841 h 466444"/>
                <a:gd name="connsiteX4" fmla="*/ 202770 w 264172"/>
                <a:gd name="connsiteY4" fmla="*/ 43333 h 466444"/>
                <a:gd name="connsiteX5" fmla="*/ 263069 w 264172"/>
                <a:gd name="connsiteY5" fmla="*/ 275997 h 466444"/>
                <a:gd name="connsiteX6" fmla="*/ 216765 w 264172"/>
                <a:gd name="connsiteY6" fmla="*/ 464604 h 466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172" h="466444">
                  <a:moveTo>
                    <a:pt x="216765" y="464604"/>
                  </a:moveTo>
                  <a:lnTo>
                    <a:pt x="133098" y="99238"/>
                  </a:lnTo>
                  <a:lnTo>
                    <a:pt x="-1103" y="45022"/>
                  </a:lnTo>
                  <a:lnTo>
                    <a:pt x="8955" y="-1841"/>
                  </a:lnTo>
                  <a:lnTo>
                    <a:pt x="202770" y="43333"/>
                  </a:lnTo>
                  <a:lnTo>
                    <a:pt x="263069" y="275997"/>
                  </a:lnTo>
                  <a:lnTo>
                    <a:pt x="216765" y="464604"/>
                  </a:ln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8B0EB42E-07E7-4A8C-BA65-8E5D211EE5CC}"/>
                </a:ext>
              </a:extLst>
            </p:cNvPr>
            <p:cNvSpPr/>
            <p:nvPr/>
          </p:nvSpPr>
          <p:spPr>
            <a:xfrm flipV="1">
              <a:off x="5165936" y="2619216"/>
              <a:ext cx="163905" cy="437526"/>
            </a:xfrm>
            <a:custGeom>
              <a:avLst/>
              <a:gdLst>
                <a:gd name="connsiteX0" fmla="*/ -1137 w 163905"/>
                <a:gd name="connsiteY0" fmla="*/ 56592 h 437526"/>
                <a:gd name="connsiteX1" fmla="*/ 32797 w 163905"/>
                <a:gd name="connsiteY1" fmla="*/ 70308 h 437526"/>
                <a:gd name="connsiteX2" fmla="*/ 116464 w 163905"/>
                <a:gd name="connsiteY2" fmla="*/ 435673 h 437526"/>
                <a:gd name="connsiteX3" fmla="*/ 162768 w 163905"/>
                <a:gd name="connsiteY3" fmla="*/ 247066 h 437526"/>
                <a:gd name="connsiteX4" fmla="*/ 102469 w 163905"/>
                <a:gd name="connsiteY4" fmla="*/ 14403 h 437526"/>
                <a:gd name="connsiteX5" fmla="*/ 32746 w 163905"/>
                <a:gd name="connsiteY5" fmla="*/ -1853 h 437526"/>
                <a:gd name="connsiteX6" fmla="*/ -1137 w 163905"/>
                <a:gd name="connsiteY6" fmla="*/ 56592 h 43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905" h="437526">
                  <a:moveTo>
                    <a:pt x="-1137" y="56592"/>
                  </a:moveTo>
                  <a:lnTo>
                    <a:pt x="32797" y="70308"/>
                  </a:lnTo>
                  <a:lnTo>
                    <a:pt x="116464" y="435673"/>
                  </a:lnTo>
                  <a:lnTo>
                    <a:pt x="162768" y="247066"/>
                  </a:lnTo>
                  <a:lnTo>
                    <a:pt x="102469" y="14403"/>
                  </a:lnTo>
                  <a:lnTo>
                    <a:pt x="32746" y="-1853"/>
                  </a:lnTo>
                  <a:cubicBezTo>
                    <a:pt x="20059" y="16790"/>
                    <a:pt x="9073" y="36462"/>
                    <a:pt x="-1137" y="56592"/>
                  </a:cubicBez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26847A31-3B4D-4E58-8A26-28956817ED66}"/>
                </a:ext>
              </a:extLst>
            </p:cNvPr>
            <p:cNvSpPr/>
            <p:nvPr/>
          </p:nvSpPr>
          <p:spPr>
            <a:xfrm flipV="1">
              <a:off x="5377915" y="2336513"/>
              <a:ext cx="31040" cy="76474"/>
            </a:xfrm>
            <a:custGeom>
              <a:avLst/>
              <a:gdLst>
                <a:gd name="connsiteX0" fmla="*/ 29050 w 31040"/>
                <a:gd name="connsiteY0" fmla="*/ 43484 h 76474"/>
                <a:gd name="connsiteX1" fmla="*/ 8438 w 31040"/>
                <a:gd name="connsiteY1" fmla="*/ 73647 h 76474"/>
                <a:gd name="connsiteX2" fmla="*/ -8 w 31040"/>
                <a:gd name="connsiteY2" fmla="*/ 30695 h 76474"/>
                <a:gd name="connsiteX3" fmla="*/ 7396 w 31040"/>
                <a:gd name="connsiteY3" fmla="*/ 10744 h 76474"/>
                <a:gd name="connsiteX4" fmla="*/ 16490 w 31040"/>
                <a:gd name="connsiteY4" fmla="*/ -2248 h 76474"/>
                <a:gd name="connsiteX5" fmla="*/ 29050 w 31040"/>
                <a:gd name="connsiteY5" fmla="*/ 43484 h 7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40" h="76474">
                  <a:moveTo>
                    <a:pt x="29050" y="43484"/>
                  </a:moveTo>
                  <a:cubicBezTo>
                    <a:pt x="25697" y="63677"/>
                    <a:pt x="16464" y="77177"/>
                    <a:pt x="8438" y="73647"/>
                  </a:cubicBezTo>
                  <a:cubicBezTo>
                    <a:pt x="412" y="70116"/>
                    <a:pt x="-3373" y="50888"/>
                    <a:pt x="-8" y="30695"/>
                  </a:cubicBezTo>
                  <a:cubicBezTo>
                    <a:pt x="1580" y="21158"/>
                    <a:pt x="3942" y="16217"/>
                    <a:pt x="7396" y="10744"/>
                  </a:cubicBezTo>
                  <a:cubicBezTo>
                    <a:pt x="11270" y="4648"/>
                    <a:pt x="12197" y="-1779"/>
                    <a:pt x="16490" y="-2248"/>
                  </a:cubicBezTo>
                  <a:cubicBezTo>
                    <a:pt x="23856" y="-3061"/>
                    <a:pt x="32415" y="23291"/>
                    <a:pt x="29050" y="43484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6A4EE723-0389-462C-BB2C-F91791AFD4D6}"/>
                </a:ext>
              </a:extLst>
            </p:cNvPr>
            <p:cNvSpPr/>
            <p:nvPr/>
          </p:nvSpPr>
          <p:spPr>
            <a:xfrm flipV="1">
              <a:off x="5402867" y="2204512"/>
              <a:ext cx="233569" cy="325643"/>
            </a:xfrm>
            <a:custGeom>
              <a:avLst/>
              <a:gdLst>
                <a:gd name="connsiteX0" fmla="*/ 129042 w 233569"/>
                <a:gd name="connsiteY0" fmla="*/ 322393 h 325643"/>
                <a:gd name="connsiteX1" fmla="*/ 887 w 233569"/>
                <a:gd name="connsiteY1" fmla="*/ 219803 h 325643"/>
                <a:gd name="connsiteX2" fmla="*/ 3287 w 233569"/>
                <a:gd name="connsiteY2" fmla="*/ 80700 h 325643"/>
                <a:gd name="connsiteX3" fmla="*/ 103414 w 233569"/>
                <a:gd name="connsiteY3" fmla="*/ -2040 h 325643"/>
                <a:gd name="connsiteX4" fmla="*/ 199260 w 233569"/>
                <a:gd name="connsiteY4" fmla="*/ 59161 h 325643"/>
                <a:gd name="connsiteX5" fmla="*/ 231836 w 233569"/>
                <a:gd name="connsiteY5" fmla="*/ 194403 h 325643"/>
                <a:gd name="connsiteX6" fmla="*/ 129042 w 233569"/>
                <a:gd name="connsiteY6" fmla="*/ 322393 h 3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569" h="325643">
                  <a:moveTo>
                    <a:pt x="129042" y="322393"/>
                  </a:moveTo>
                  <a:cubicBezTo>
                    <a:pt x="13561" y="335093"/>
                    <a:pt x="887" y="219803"/>
                    <a:pt x="887" y="219803"/>
                  </a:cubicBezTo>
                  <a:cubicBezTo>
                    <a:pt x="887" y="219803"/>
                    <a:pt x="-5425" y="103103"/>
                    <a:pt x="3287" y="80700"/>
                  </a:cubicBezTo>
                  <a:cubicBezTo>
                    <a:pt x="12012" y="58323"/>
                    <a:pt x="68298" y="1821"/>
                    <a:pt x="103414" y="-2040"/>
                  </a:cubicBezTo>
                  <a:cubicBezTo>
                    <a:pt x="138529" y="-5901"/>
                    <a:pt x="185887" y="39196"/>
                    <a:pt x="199260" y="59161"/>
                  </a:cubicBezTo>
                  <a:cubicBezTo>
                    <a:pt x="212633" y="79113"/>
                    <a:pt x="231836" y="194403"/>
                    <a:pt x="231836" y="194403"/>
                  </a:cubicBezTo>
                  <a:cubicBezTo>
                    <a:pt x="231836" y="194403"/>
                    <a:pt x="244510" y="309693"/>
                    <a:pt x="129042" y="322393"/>
                  </a:cubicBezTo>
                </a:path>
              </a:pathLst>
            </a:custGeom>
            <a:solidFill>
              <a:srgbClr val="FAB76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A5B0541E-57C2-4273-B7B1-E6DB7083C88D}"/>
                </a:ext>
              </a:extLst>
            </p:cNvPr>
            <p:cNvSpPr/>
            <p:nvPr/>
          </p:nvSpPr>
          <p:spPr>
            <a:xfrm flipV="1">
              <a:off x="5403070" y="2204512"/>
              <a:ext cx="233366" cy="176909"/>
            </a:xfrm>
            <a:custGeom>
              <a:avLst/>
              <a:gdLst>
                <a:gd name="connsiteX0" fmla="*/ 222819 w 233366"/>
                <a:gd name="connsiteY0" fmla="*/ -2340 h 176909"/>
                <a:gd name="connsiteX1" fmla="*/ 166850 w 233366"/>
                <a:gd name="connsiteY1" fmla="*/ 30375 h 176909"/>
                <a:gd name="connsiteX2" fmla="*/ 78179 w 233366"/>
                <a:gd name="connsiteY2" fmla="*/ 91030 h 176909"/>
                <a:gd name="connsiteX3" fmla="*/ 60437 w 233366"/>
                <a:gd name="connsiteY3" fmla="*/ 100327 h 176909"/>
                <a:gd name="connsiteX4" fmla="*/ 46010 w 233366"/>
                <a:gd name="connsiteY4" fmla="*/ 81899 h 176909"/>
                <a:gd name="connsiteX5" fmla="*/ -1323 w 233366"/>
                <a:gd name="connsiteY5" fmla="*/ 13675 h 176909"/>
                <a:gd name="connsiteX6" fmla="*/ 684 w 233366"/>
                <a:gd name="connsiteY6" fmla="*/ 71003 h 176909"/>
                <a:gd name="connsiteX7" fmla="*/ 128839 w 233366"/>
                <a:gd name="connsiteY7" fmla="*/ 173593 h 176909"/>
                <a:gd name="connsiteX8" fmla="*/ 231633 w 233366"/>
                <a:gd name="connsiteY8" fmla="*/ 45603 h 176909"/>
                <a:gd name="connsiteX9" fmla="*/ 222819 w 233366"/>
                <a:gd name="connsiteY9" fmla="*/ -2340 h 176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366" h="176909">
                  <a:moveTo>
                    <a:pt x="222819" y="-2340"/>
                  </a:moveTo>
                  <a:cubicBezTo>
                    <a:pt x="203744" y="7807"/>
                    <a:pt x="184948" y="18412"/>
                    <a:pt x="166850" y="30375"/>
                  </a:cubicBezTo>
                  <a:cubicBezTo>
                    <a:pt x="136955" y="50111"/>
                    <a:pt x="104722" y="66659"/>
                    <a:pt x="78179" y="91030"/>
                  </a:cubicBezTo>
                  <a:cubicBezTo>
                    <a:pt x="73772" y="95069"/>
                    <a:pt x="67371" y="102346"/>
                    <a:pt x="60437" y="100327"/>
                  </a:cubicBezTo>
                  <a:cubicBezTo>
                    <a:pt x="53643" y="98358"/>
                    <a:pt x="49096" y="87296"/>
                    <a:pt x="46010" y="81899"/>
                  </a:cubicBezTo>
                  <a:cubicBezTo>
                    <a:pt x="32396" y="58099"/>
                    <a:pt x="15441" y="35684"/>
                    <a:pt x="-1323" y="13675"/>
                  </a:cubicBezTo>
                  <a:cubicBezTo>
                    <a:pt x="-777" y="44116"/>
                    <a:pt x="684" y="71003"/>
                    <a:pt x="684" y="71003"/>
                  </a:cubicBezTo>
                  <a:cubicBezTo>
                    <a:pt x="684" y="71003"/>
                    <a:pt x="13358" y="186293"/>
                    <a:pt x="128839" y="173593"/>
                  </a:cubicBezTo>
                  <a:cubicBezTo>
                    <a:pt x="244307" y="160893"/>
                    <a:pt x="231633" y="45603"/>
                    <a:pt x="231633" y="45603"/>
                  </a:cubicBezTo>
                  <a:cubicBezTo>
                    <a:pt x="231633" y="45603"/>
                    <a:pt x="228013" y="23873"/>
                    <a:pt x="222819" y="-2340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B411ABC3-B9F8-4F7F-9CA7-B2E27F1E20A9}"/>
                </a:ext>
              </a:extLst>
            </p:cNvPr>
            <p:cNvSpPr/>
            <p:nvPr/>
          </p:nvSpPr>
          <p:spPr>
            <a:xfrm flipV="1">
              <a:off x="5461908" y="2342985"/>
              <a:ext cx="25732" cy="41567"/>
            </a:xfrm>
            <a:custGeom>
              <a:avLst/>
              <a:gdLst>
                <a:gd name="connsiteX0" fmla="*/ 15968 w 25732"/>
                <a:gd name="connsiteY0" fmla="*/ 38929 h 41567"/>
                <a:gd name="connsiteX1" fmla="*/ -516 w 25732"/>
                <a:gd name="connsiteY1" fmla="*/ 22355 h 41567"/>
                <a:gd name="connsiteX2" fmla="*/ 7180 w 25732"/>
                <a:gd name="connsiteY2" fmla="*/ -1915 h 41567"/>
                <a:gd name="connsiteX3" fmla="*/ 23664 w 25732"/>
                <a:gd name="connsiteY3" fmla="*/ 14659 h 41567"/>
                <a:gd name="connsiteX4" fmla="*/ 15968 w 25732"/>
                <a:gd name="connsiteY4" fmla="*/ 38929 h 4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32" h="41567">
                  <a:moveTo>
                    <a:pt x="15968" y="38929"/>
                  </a:moveTo>
                  <a:cubicBezTo>
                    <a:pt x="9288" y="41049"/>
                    <a:pt x="1909" y="33645"/>
                    <a:pt x="-516" y="22355"/>
                  </a:cubicBezTo>
                  <a:cubicBezTo>
                    <a:pt x="-2942" y="11090"/>
                    <a:pt x="512" y="219"/>
                    <a:pt x="7180" y="-1915"/>
                  </a:cubicBezTo>
                  <a:cubicBezTo>
                    <a:pt x="13860" y="-4035"/>
                    <a:pt x="21239" y="3381"/>
                    <a:pt x="23664" y="14659"/>
                  </a:cubicBezTo>
                  <a:cubicBezTo>
                    <a:pt x="26090" y="25924"/>
                    <a:pt x="22636" y="36795"/>
                    <a:pt x="15968" y="38929"/>
                  </a:cubicBezTo>
                </a:path>
              </a:pathLst>
            </a:custGeom>
            <a:solidFill>
              <a:srgbClr val="5F30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B7824AA7-BC00-44D2-BF23-CDEA57A9B85C}"/>
                </a:ext>
              </a:extLst>
            </p:cNvPr>
            <p:cNvSpPr/>
            <p:nvPr/>
          </p:nvSpPr>
          <p:spPr>
            <a:xfrm flipV="1">
              <a:off x="5474770" y="2362690"/>
              <a:ext cx="6896" cy="9587"/>
            </a:xfrm>
            <a:custGeom>
              <a:avLst/>
              <a:gdLst>
                <a:gd name="connsiteX0" fmla="*/ 2901 w 6896"/>
                <a:gd name="connsiteY0" fmla="*/ 7264 h 9587"/>
                <a:gd name="connsiteX1" fmla="*/ 5517 w 6896"/>
                <a:gd name="connsiteY1" fmla="*/ 1841 h 9587"/>
                <a:gd name="connsiteX2" fmla="*/ 1402 w 6896"/>
                <a:gd name="connsiteY2" fmla="*/ -2223 h 9587"/>
                <a:gd name="connsiteX3" fmla="*/ -1214 w 6896"/>
                <a:gd name="connsiteY3" fmla="*/ 3200 h 9587"/>
                <a:gd name="connsiteX4" fmla="*/ 2901 w 6896"/>
                <a:gd name="connsiteY4" fmla="*/ 7264 h 9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6" h="9587">
                  <a:moveTo>
                    <a:pt x="2901" y="7264"/>
                  </a:moveTo>
                  <a:cubicBezTo>
                    <a:pt x="4755" y="6883"/>
                    <a:pt x="5936" y="4457"/>
                    <a:pt x="5517" y="1841"/>
                  </a:cubicBezTo>
                  <a:cubicBezTo>
                    <a:pt x="5111" y="-775"/>
                    <a:pt x="3269" y="-2604"/>
                    <a:pt x="1402" y="-2223"/>
                  </a:cubicBezTo>
                  <a:cubicBezTo>
                    <a:pt x="-452" y="-1842"/>
                    <a:pt x="-1620" y="584"/>
                    <a:pt x="-1214" y="3200"/>
                  </a:cubicBezTo>
                  <a:cubicBezTo>
                    <a:pt x="-795" y="5829"/>
                    <a:pt x="1047" y="7645"/>
                    <a:pt x="2901" y="7264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FC05FFBB-CAEF-49D4-B55B-DD388C8381AD}"/>
                </a:ext>
              </a:extLst>
            </p:cNvPr>
            <p:cNvSpPr/>
            <p:nvPr/>
          </p:nvSpPr>
          <p:spPr>
            <a:xfrm flipV="1">
              <a:off x="5562903" y="2354094"/>
              <a:ext cx="25727" cy="41562"/>
            </a:xfrm>
            <a:custGeom>
              <a:avLst/>
              <a:gdLst>
                <a:gd name="connsiteX0" fmla="*/ 15894 w 25727"/>
                <a:gd name="connsiteY0" fmla="*/ 38930 h 41562"/>
                <a:gd name="connsiteX1" fmla="*/ -590 w 25727"/>
                <a:gd name="connsiteY1" fmla="*/ 22369 h 41562"/>
                <a:gd name="connsiteX2" fmla="*/ 7106 w 25727"/>
                <a:gd name="connsiteY2" fmla="*/ -1901 h 41562"/>
                <a:gd name="connsiteX3" fmla="*/ 23590 w 25727"/>
                <a:gd name="connsiteY3" fmla="*/ 14660 h 41562"/>
                <a:gd name="connsiteX4" fmla="*/ 15894 w 25727"/>
                <a:gd name="connsiteY4" fmla="*/ 38930 h 4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27" h="41562">
                  <a:moveTo>
                    <a:pt x="15894" y="38930"/>
                  </a:moveTo>
                  <a:cubicBezTo>
                    <a:pt x="9214" y="41063"/>
                    <a:pt x="1835" y="33646"/>
                    <a:pt x="-590" y="22369"/>
                  </a:cubicBezTo>
                  <a:cubicBezTo>
                    <a:pt x="-3003" y="11091"/>
                    <a:pt x="438" y="233"/>
                    <a:pt x="7106" y="-1901"/>
                  </a:cubicBezTo>
                  <a:cubicBezTo>
                    <a:pt x="13786" y="-4034"/>
                    <a:pt x="21165" y="3383"/>
                    <a:pt x="23590" y="14660"/>
                  </a:cubicBezTo>
                  <a:cubicBezTo>
                    <a:pt x="26016" y="25938"/>
                    <a:pt x="22562" y="36796"/>
                    <a:pt x="15894" y="38930"/>
                  </a:cubicBezTo>
                </a:path>
              </a:pathLst>
            </a:custGeom>
            <a:solidFill>
              <a:srgbClr val="5F30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EC90F3A4-43B1-4D21-824C-B2A88D960DDD}"/>
                </a:ext>
              </a:extLst>
            </p:cNvPr>
            <p:cNvSpPr/>
            <p:nvPr/>
          </p:nvSpPr>
          <p:spPr>
            <a:xfrm flipV="1">
              <a:off x="5575761" y="2373793"/>
              <a:ext cx="6891" cy="9594"/>
            </a:xfrm>
            <a:custGeom>
              <a:avLst/>
              <a:gdLst>
                <a:gd name="connsiteX0" fmla="*/ 2832 w 6891"/>
                <a:gd name="connsiteY0" fmla="*/ 7284 h 9594"/>
                <a:gd name="connsiteX1" fmla="*/ 5448 w 6891"/>
                <a:gd name="connsiteY1" fmla="*/ 1848 h 9594"/>
                <a:gd name="connsiteX2" fmla="*/ 1346 w 6891"/>
                <a:gd name="connsiteY2" fmla="*/ -2216 h 9594"/>
                <a:gd name="connsiteX3" fmla="*/ -1283 w 6891"/>
                <a:gd name="connsiteY3" fmla="*/ 3219 h 9594"/>
                <a:gd name="connsiteX4" fmla="*/ 2832 w 6891"/>
                <a:gd name="connsiteY4" fmla="*/ 7284 h 9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91" h="9594">
                  <a:moveTo>
                    <a:pt x="2832" y="7284"/>
                  </a:moveTo>
                  <a:cubicBezTo>
                    <a:pt x="4686" y="6903"/>
                    <a:pt x="5854" y="4464"/>
                    <a:pt x="5448" y="1848"/>
                  </a:cubicBezTo>
                  <a:cubicBezTo>
                    <a:pt x="5041" y="-768"/>
                    <a:pt x="3200" y="-2584"/>
                    <a:pt x="1346" y="-2216"/>
                  </a:cubicBezTo>
                  <a:cubicBezTo>
                    <a:pt x="-509" y="-1835"/>
                    <a:pt x="-1690" y="603"/>
                    <a:pt x="-1283" y="3219"/>
                  </a:cubicBezTo>
                  <a:cubicBezTo>
                    <a:pt x="-864" y="5836"/>
                    <a:pt x="977" y="7652"/>
                    <a:pt x="2832" y="7284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508DFB1E-A829-4168-B45A-45BF3AC3D8EF}"/>
                </a:ext>
              </a:extLst>
            </p:cNvPr>
            <p:cNvSpPr/>
            <p:nvPr/>
          </p:nvSpPr>
          <p:spPr>
            <a:xfrm flipV="1">
              <a:off x="5524572" y="2399304"/>
              <a:ext cx="19486" cy="34806"/>
            </a:xfrm>
            <a:custGeom>
              <a:avLst/>
              <a:gdLst>
                <a:gd name="connsiteX0" fmla="*/ 3759 w 19486"/>
                <a:gd name="connsiteY0" fmla="*/ 9083 h 34806"/>
                <a:gd name="connsiteX1" fmla="*/ 3746 w 19486"/>
                <a:gd name="connsiteY1" fmla="*/ 4155 h 34806"/>
                <a:gd name="connsiteX2" fmla="*/ -851 w 19486"/>
                <a:gd name="connsiteY2" fmla="*/ 116 h 34806"/>
                <a:gd name="connsiteX3" fmla="*/ 10236 w 19486"/>
                <a:gd name="connsiteY3" fmla="*/ -1001 h 34806"/>
                <a:gd name="connsiteX4" fmla="*/ 17716 w 19486"/>
                <a:gd name="connsiteY4" fmla="*/ 5679 h 34806"/>
                <a:gd name="connsiteX5" fmla="*/ 15189 w 19486"/>
                <a:gd name="connsiteY5" fmla="*/ 11864 h 34806"/>
                <a:gd name="connsiteX6" fmla="*/ 5448 w 19486"/>
                <a:gd name="connsiteY6" fmla="*/ 32171 h 34806"/>
                <a:gd name="connsiteX7" fmla="*/ 3759 w 19486"/>
                <a:gd name="connsiteY7" fmla="*/ 9083 h 3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86" h="34806">
                  <a:moveTo>
                    <a:pt x="3759" y="9083"/>
                  </a:moveTo>
                  <a:cubicBezTo>
                    <a:pt x="5283" y="5806"/>
                    <a:pt x="5232" y="6352"/>
                    <a:pt x="3746" y="4155"/>
                  </a:cubicBezTo>
                  <a:cubicBezTo>
                    <a:pt x="2718" y="2631"/>
                    <a:pt x="508" y="1310"/>
                    <a:pt x="-851" y="116"/>
                  </a:cubicBezTo>
                  <a:cubicBezTo>
                    <a:pt x="-3836" y="-2500"/>
                    <a:pt x="7937" y="-3008"/>
                    <a:pt x="10236" y="-1001"/>
                  </a:cubicBezTo>
                  <a:cubicBezTo>
                    <a:pt x="12141" y="675"/>
                    <a:pt x="16611" y="3279"/>
                    <a:pt x="17716" y="5679"/>
                  </a:cubicBezTo>
                  <a:cubicBezTo>
                    <a:pt x="19050" y="8524"/>
                    <a:pt x="17081" y="9870"/>
                    <a:pt x="15189" y="11864"/>
                  </a:cubicBezTo>
                  <a:cubicBezTo>
                    <a:pt x="9791" y="17604"/>
                    <a:pt x="6591" y="24411"/>
                    <a:pt x="5448" y="32171"/>
                  </a:cubicBezTo>
                  <a:cubicBezTo>
                    <a:pt x="4991" y="35244"/>
                    <a:pt x="-1448" y="20208"/>
                    <a:pt x="3759" y="9083"/>
                  </a:cubicBezTo>
                </a:path>
              </a:pathLst>
            </a:custGeom>
            <a:solidFill>
              <a:srgbClr val="E86D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092A1317-23C5-4192-B4D9-9A77FDE0B97E}"/>
                </a:ext>
              </a:extLst>
            </p:cNvPr>
            <p:cNvSpPr/>
            <p:nvPr/>
          </p:nvSpPr>
          <p:spPr>
            <a:xfrm flipV="1">
              <a:off x="5362386" y="2219705"/>
              <a:ext cx="111067" cy="130296"/>
            </a:xfrm>
            <a:custGeom>
              <a:avLst/>
              <a:gdLst>
                <a:gd name="connsiteX0" fmla="*/ 109814 w 111067"/>
                <a:gd name="connsiteY0" fmla="*/ 108206 h 130296"/>
                <a:gd name="connsiteX1" fmla="*/ 39786 w 111067"/>
                <a:gd name="connsiteY1" fmla="*/ -2347 h 130296"/>
                <a:gd name="connsiteX2" fmla="*/ 6614 w 111067"/>
                <a:gd name="connsiteY2" fmla="*/ 101437 h 130296"/>
                <a:gd name="connsiteX3" fmla="*/ 109814 w 111067"/>
                <a:gd name="connsiteY3" fmla="*/ 108206 h 13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067" h="130296">
                  <a:moveTo>
                    <a:pt x="109814" y="108206"/>
                  </a:moveTo>
                  <a:lnTo>
                    <a:pt x="39786" y="-2347"/>
                  </a:lnTo>
                  <a:cubicBezTo>
                    <a:pt x="39786" y="-2347"/>
                    <a:pt x="-22812" y="46027"/>
                    <a:pt x="6614" y="101437"/>
                  </a:cubicBezTo>
                  <a:cubicBezTo>
                    <a:pt x="36040" y="156847"/>
                    <a:pt x="109814" y="108206"/>
                    <a:pt x="109814" y="108206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5869975F-6543-4C21-9EEA-866453A63C0B}"/>
                </a:ext>
              </a:extLst>
            </p:cNvPr>
            <p:cNvSpPr/>
            <p:nvPr/>
          </p:nvSpPr>
          <p:spPr>
            <a:xfrm flipV="1">
              <a:off x="5410335" y="2162915"/>
              <a:ext cx="232412" cy="212169"/>
            </a:xfrm>
            <a:custGeom>
              <a:avLst/>
              <a:gdLst>
                <a:gd name="connsiteX0" fmla="*/ 219779 w 232412"/>
                <a:gd name="connsiteY0" fmla="*/ -2361 h 212169"/>
                <a:gd name="connsiteX1" fmla="*/ -1327 w 232412"/>
                <a:gd name="connsiteY1" fmla="*/ 155080 h 212169"/>
                <a:gd name="connsiteX2" fmla="*/ 129736 w 232412"/>
                <a:gd name="connsiteY2" fmla="*/ 198311 h 212169"/>
                <a:gd name="connsiteX3" fmla="*/ 219779 w 232412"/>
                <a:gd name="connsiteY3" fmla="*/ -2361 h 21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412" h="212169">
                  <a:moveTo>
                    <a:pt x="219779" y="-2361"/>
                  </a:moveTo>
                  <a:cubicBezTo>
                    <a:pt x="200780" y="6160"/>
                    <a:pt x="26790" y="123064"/>
                    <a:pt x="-1327" y="155080"/>
                  </a:cubicBezTo>
                  <a:cubicBezTo>
                    <a:pt x="-1327" y="155080"/>
                    <a:pt x="24657" y="239954"/>
                    <a:pt x="129736" y="198311"/>
                  </a:cubicBezTo>
                  <a:cubicBezTo>
                    <a:pt x="278123" y="139497"/>
                    <a:pt x="219779" y="-2361"/>
                    <a:pt x="219779" y="-2361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8ED575A9-45FE-49AA-BE26-B9FEB3745B04}"/>
                </a:ext>
              </a:extLst>
            </p:cNvPr>
            <p:cNvSpPr/>
            <p:nvPr/>
          </p:nvSpPr>
          <p:spPr>
            <a:xfrm flipV="1">
              <a:off x="5431585" y="2303991"/>
              <a:ext cx="75504" cy="18583"/>
            </a:xfrm>
            <a:custGeom>
              <a:avLst/>
              <a:gdLst>
                <a:gd name="connsiteX0" fmla="*/ 72609 w 75504"/>
                <a:gd name="connsiteY0" fmla="*/ 4401 h 18583"/>
                <a:gd name="connsiteX1" fmla="*/ 70552 w 75504"/>
                <a:gd name="connsiteY1" fmla="*/ 5023 h 18583"/>
                <a:gd name="connsiteX2" fmla="*/ 6493 w 75504"/>
                <a:gd name="connsiteY2" fmla="*/ -108 h 18583"/>
                <a:gd name="connsiteX3" fmla="*/ -238 w 75504"/>
                <a:gd name="connsiteY3" fmla="*/ -2266 h 18583"/>
                <a:gd name="connsiteX4" fmla="*/ 524 w 75504"/>
                <a:gd name="connsiteY4" fmla="*/ 1264 h 18583"/>
                <a:gd name="connsiteX5" fmla="*/ 71365 w 75504"/>
                <a:gd name="connsiteY5" fmla="*/ 11754 h 18583"/>
                <a:gd name="connsiteX6" fmla="*/ 72609 w 75504"/>
                <a:gd name="connsiteY6" fmla="*/ 4401 h 1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504" h="18583">
                  <a:moveTo>
                    <a:pt x="72609" y="4401"/>
                  </a:moveTo>
                  <a:lnTo>
                    <a:pt x="70552" y="5023"/>
                  </a:lnTo>
                  <a:cubicBezTo>
                    <a:pt x="29594" y="18727"/>
                    <a:pt x="5820" y="-1047"/>
                    <a:pt x="6493" y="-108"/>
                  </a:cubicBezTo>
                  <a:cubicBezTo>
                    <a:pt x="4321" y="-1581"/>
                    <a:pt x="1375" y="-2571"/>
                    <a:pt x="-238" y="-2266"/>
                  </a:cubicBezTo>
                  <a:cubicBezTo>
                    <a:pt x="-1864" y="-1974"/>
                    <a:pt x="-1597" y="-374"/>
                    <a:pt x="524" y="1264"/>
                  </a:cubicBezTo>
                  <a:cubicBezTo>
                    <a:pt x="460" y="223"/>
                    <a:pt x="22216" y="26512"/>
                    <a:pt x="71365" y="11754"/>
                  </a:cubicBezTo>
                  <a:cubicBezTo>
                    <a:pt x="74705" y="10573"/>
                    <a:pt x="75098" y="3728"/>
                    <a:pt x="72609" y="4401"/>
                  </a:cubicBezTo>
                </a:path>
              </a:pathLst>
            </a:custGeom>
            <a:solidFill>
              <a:srgbClr val="63241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6B3497A3-1D73-4935-A27C-BB89DBF2EE31}"/>
                </a:ext>
              </a:extLst>
            </p:cNvPr>
            <p:cNvSpPr/>
            <p:nvPr/>
          </p:nvSpPr>
          <p:spPr>
            <a:xfrm flipV="1">
              <a:off x="5556906" y="2323448"/>
              <a:ext cx="69545" cy="26530"/>
            </a:xfrm>
            <a:custGeom>
              <a:avLst/>
              <a:gdLst>
                <a:gd name="connsiteX0" fmla="*/ -65 w 69545"/>
                <a:gd name="connsiteY0" fmla="*/ 16750 h 26530"/>
                <a:gd name="connsiteX1" fmla="*/ 1866 w 69545"/>
                <a:gd name="connsiteY1" fmla="*/ 16928 h 26530"/>
                <a:gd name="connsiteX2" fmla="*/ 60679 w 69545"/>
                <a:gd name="connsiteY2" fmla="*/ 901 h 26530"/>
                <a:gd name="connsiteX3" fmla="*/ 66991 w 69545"/>
                <a:gd name="connsiteY3" fmla="*/ -2299 h 26530"/>
                <a:gd name="connsiteX4" fmla="*/ 66712 w 69545"/>
                <a:gd name="connsiteY4" fmla="*/ 1320 h 26530"/>
                <a:gd name="connsiteX5" fmla="*/ 1624 w 69545"/>
                <a:gd name="connsiteY5" fmla="*/ 23520 h 26530"/>
                <a:gd name="connsiteX6" fmla="*/ -65 w 69545"/>
                <a:gd name="connsiteY6" fmla="*/ 16750 h 26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45" h="26530">
                  <a:moveTo>
                    <a:pt x="-65" y="16750"/>
                  </a:moveTo>
                  <a:lnTo>
                    <a:pt x="1866" y="16928"/>
                  </a:lnTo>
                  <a:cubicBezTo>
                    <a:pt x="40410" y="22478"/>
                    <a:pt x="61314" y="126"/>
                    <a:pt x="60679" y="901"/>
                  </a:cubicBezTo>
                  <a:cubicBezTo>
                    <a:pt x="62584" y="-902"/>
                    <a:pt x="65340" y="-2350"/>
                    <a:pt x="66991" y="-2299"/>
                  </a:cubicBezTo>
                  <a:cubicBezTo>
                    <a:pt x="68629" y="-2261"/>
                    <a:pt x="68591" y="-648"/>
                    <a:pt x="66712" y="1320"/>
                  </a:cubicBezTo>
                  <a:cubicBezTo>
                    <a:pt x="66839" y="609"/>
                    <a:pt x="48068" y="29032"/>
                    <a:pt x="1624" y="23520"/>
                  </a:cubicBezTo>
                  <a:cubicBezTo>
                    <a:pt x="-1525" y="23012"/>
                    <a:pt x="-2363" y="16611"/>
                    <a:pt x="-65" y="16750"/>
                  </a:cubicBezTo>
                </a:path>
              </a:pathLst>
            </a:custGeom>
            <a:solidFill>
              <a:srgbClr val="63241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4B7ED7EC-310F-4498-A0D0-EBCA3C65A529}"/>
                </a:ext>
              </a:extLst>
            </p:cNvPr>
            <p:cNvSpPr/>
            <p:nvPr/>
          </p:nvSpPr>
          <p:spPr>
            <a:xfrm flipV="1">
              <a:off x="5487728" y="2448300"/>
              <a:ext cx="66700" cy="26062"/>
            </a:xfrm>
            <a:custGeom>
              <a:avLst/>
              <a:gdLst>
                <a:gd name="connsiteX0" fmla="*/ 65376 w 66700"/>
                <a:gd name="connsiteY0" fmla="*/ 12595 h 26062"/>
                <a:gd name="connsiteX1" fmla="*/ 28636 w 66700"/>
                <a:gd name="connsiteY1" fmla="*/ -1819 h 26062"/>
                <a:gd name="connsiteX2" fmla="*/ -1324 w 66700"/>
                <a:gd name="connsiteY2" fmla="*/ 23873 h 26062"/>
                <a:gd name="connsiteX3" fmla="*/ 65376 w 66700"/>
                <a:gd name="connsiteY3" fmla="*/ 12595 h 2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700" h="26062">
                  <a:moveTo>
                    <a:pt x="65376" y="12595"/>
                  </a:moveTo>
                  <a:cubicBezTo>
                    <a:pt x="65376" y="12595"/>
                    <a:pt x="47063" y="-4931"/>
                    <a:pt x="28636" y="-1819"/>
                  </a:cubicBezTo>
                  <a:cubicBezTo>
                    <a:pt x="10221" y="1292"/>
                    <a:pt x="-1324" y="23873"/>
                    <a:pt x="-1324" y="23873"/>
                  </a:cubicBezTo>
                  <a:lnTo>
                    <a:pt x="65376" y="12595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8BEB1A7A-8843-439A-8331-4793E2BED1B9}"/>
                </a:ext>
              </a:extLst>
            </p:cNvPr>
            <p:cNvSpPr/>
            <p:nvPr/>
          </p:nvSpPr>
          <p:spPr>
            <a:xfrm flipV="1">
              <a:off x="5405323" y="2880528"/>
              <a:ext cx="242437" cy="58133"/>
            </a:xfrm>
            <a:custGeom>
              <a:avLst/>
              <a:gdLst>
                <a:gd name="connsiteX0" fmla="*/ 1018 w 242437"/>
                <a:gd name="connsiteY0" fmla="*/ 42917 h 58133"/>
                <a:gd name="connsiteX1" fmla="*/ 46369 w 242437"/>
                <a:gd name="connsiteY1" fmla="*/ 54716 h 58133"/>
                <a:gd name="connsiteX2" fmla="*/ 155995 w 242437"/>
                <a:gd name="connsiteY2" fmla="*/ 54855 h 58133"/>
                <a:gd name="connsiteX3" fmla="*/ 202934 w 242437"/>
                <a:gd name="connsiteY3" fmla="*/ 56163 h 58133"/>
                <a:gd name="connsiteX4" fmla="*/ 210326 w 242437"/>
                <a:gd name="connsiteY4" fmla="*/ 56125 h 58133"/>
                <a:gd name="connsiteX5" fmla="*/ 241111 w 242437"/>
                <a:gd name="connsiteY5" fmla="*/ 49356 h 58133"/>
                <a:gd name="connsiteX6" fmla="*/ 223673 w 242437"/>
                <a:gd name="connsiteY6" fmla="*/ 17936 h 58133"/>
                <a:gd name="connsiteX7" fmla="*/ 221426 w 242437"/>
                <a:gd name="connsiteY7" fmla="*/ 17022 h 58133"/>
                <a:gd name="connsiteX8" fmla="*/ 188939 w 242437"/>
                <a:gd name="connsiteY8" fmla="*/ 5884 h 58133"/>
                <a:gd name="connsiteX9" fmla="*/ 125947 w 242437"/>
                <a:gd name="connsiteY9" fmla="*/ -1025 h 58133"/>
                <a:gd name="connsiteX10" fmla="*/ 63959 w 242437"/>
                <a:gd name="connsiteY10" fmla="*/ 11866 h 58133"/>
                <a:gd name="connsiteX11" fmla="*/ 19420 w 242437"/>
                <a:gd name="connsiteY11" fmla="*/ 26788 h 58133"/>
                <a:gd name="connsiteX12" fmla="*/ 1018 w 242437"/>
                <a:gd name="connsiteY12" fmla="*/ 42917 h 58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2437" h="58133">
                  <a:moveTo>
                    <a:pt x="1018" y="42917"/>
                  </a:moveTo>
                  <a:cubicBezTo>
                    <a:pt x="7812" y="47172"/>
                    <a:pt x="24868" y="51807"/>
                    <a:pt x="46369" y="54716"/>
                  </a:cubicBezTo>
                  <a:cubicBezTo>
                    <a:pt x="71337" y="58081"/>
                    <a:pt x="125731" y="55249"/>
                    <a:pt x="155995" y="54855"/>
                  </a:cubicBezTo>
                  <a:cubicBezTo>
                    <a:pt x="171794" y="54652"/>
                    <a:pt x="187098" y="56112"/>
                    <a:pt x="202934" y="56163"/>
                  </a:cubicBezTo>
                  <a:cubicBezTo>
                    <a:pt x="205474" y="56163"/>
                    <a:pt x="207926" y="56163"/>
                    <a:pt x="210326" y="56125"/>
                  </a:cubicBezTo>
                  <a:cubicBezTo>
                    <a:pt x="223470" y="54639"/>
                    <a:pt x="233757" y="52239"/>
                    <a:pt x="241111" y="49356"/>
                  </a:cubicBezTo>
                  <a:cubicBezTo>
                    <a:pt x="235116" y="38993"/>
                    <a:pt x="229388" y="28465"/>
                    <a:pt x="223673" y="17936"/>
                  </a:cubicBezTo>
                  <a:lnTo>
                    <a:pt x="221426" y="17022"/>
                  </a:lnTo>
                  <a:cubicBezTo>
                    <a:pt x="211355" y="13250"/>
                    <a:pt x="200941" y="9466"/>
                    <a:pt x="188939" y="5884"/>
                  </a:cubicBezTo>
                  <a:cubicBezTo>
                    <a:pt x="176379" y="2125"/>
                    <a:pt x="155144" y="-3933"/>
                    <a:pt x="125947" y="-1025"/>
                  </a:cubicBezTo>
                  <a:cubicBezTo>
                    <a:pt x="90400" y="2544"/>
                    <a:pt x="74461" y="6405"/>
                    <a:pt x="63959" y="11866"/>
                  </a:cubicBezTo>
                  <a:cubicBezTo>
                    <a:pt x="54561" y="16768"/>
                    <a:pt x="28958" y="21899"/>
                    <a:pt x="19420" y="26788"/>
                  </a:cubicBezTo>
                  <a:cubicBezTo>
                    <a:pt x="9501" y="31868"/>
                    <a:pt x="-7580" y="37533"/>
                    <a:pt x="1018" y="42917"/>
                  </a:cubicBez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2E6BA702-A512-4177-8DD6-26CEA9BABBEE}"/>
                </a:ext>
              </a:extLst>
            </p:cNvPr>
            <p:cNvSpPr/>
            <p:nvPr/>
          </p:nvSpPr>
          <p:spPr>
            <a:xfrm flipV="1">
              <a:off x="5481899" y="4172157"/>
              <a:ext cx="273361" cy="128293"/>
            </a:xfrm>
            <a:custGeom>
              <a:avLst/>
              <a:gdLst>
                <a:gd name="connsiteX0" fmla="*/ 96 w 273361"/>
                <a:gd name="connsiteY0" fmla="*/ 93881 h 128293"/>
                <a:gd name="connsiteX1" fmla="*/ 83 w 273361"/>
                <a:gd name="connsiteY1" fmla="*/ 93881 h 128293"/>
                <a:gd name="connsiteX2" fmla="*/ 108 w 273361"/>
                <a:gd name="connsiteY2" fmla="*/ 93970 h 128293"/>
                <a:gd name="connsiteX3" fmla="*/ 1366 w 273361"/>
                <a:gd name="connsiteY3" fmla="*/ 99432 h 128293"/>
                <a:gd name="connsiteX4" fmla="*/ 1632 w 273361"/>
                <a:gd name="connsiteY4" fmla="*/ 100434 h 128293"/>
                <a:gd name="connsiteX5" fmla="*/ 2813 w 273361"/>
                <a:gd name="connsiteY5" fmla="*/ 104626 h 128293"/>
                <a:gd name="connsiteX6" fmla="*/ 3321 w 273361"/>
                <a:gd name="connsiteY6" fmla="*/ 106277 h 128293"/>
                <a:gd name="connsiteX7" fmla="*/ 4363 w 273361"/>
                <a:gd name="connsiteY7" fmla="*/ 109543 h 128293"/>
                <a:gd name="connsiteX8" fmla="*/ 4922 w 273361"/>
                <a:gd name="connsiteY8" fmla="*/ 111180 h 128293"/>
                <a:gd name="connsiteX9" fmla="*/ 5899 w 273361"/>
                <a:gd name="connsiteY9" fmla="*/ 113962 h 128293"/>
                <a:gd name="connsiteX10" fmla="*/ 6446 w 273361"/>
                <a:gd name="connsiteY10" fmla="*/ 115435 h 128293"/>
                <a:gd name="connsiteX11" fmla="*/ 7334 w 273361"/>
                <a:gd name="connsiteY11" fmla="*/ 117772 h 128293"/>
                <a:gd name="connsiteX12" fmla="*/ 7792 w 273361"/>
                <a:gd name="connsiteY12" fmla="*/ 118977 h 128293"/>
                <a:gd name="connsiteX13" fmla="*/ 8554 w 273361"/>
                <a:gd name="connsiteY13" fmla="*/ 120858 h 128293"/>
                <a:gd name="connsiteX14" fmla="*/ 8884 w 273361"/>
                <a:gd name="connsiteY14" fmla="*/ 121657 h 128293"/>
                <a:gd name="connsiteX15" fmla="*/ 9443 w 273361"/>
                <a:gd name="connsiteY15" fmla="*/ 122992 h 128293"/>
                <a:gd name="connsiteX16" fmla="*/ 9608 w 273361"/>
                <a:gd name="connsiteY16" fmla="*/ 123373 h 128293"/>
                <a:gd name="connsiteX17" fmla="*/ 9874 w 273361"/>
                <a:gd name="connsiteY17" fmla="*/ 123953 h 128293"/>
                <a:gd name="connsiteX18" fmla="*/ 48597 w 273361"/>
                <a:gd name="connsiteY18" fmla="*/ 99164 h 128293"/>
                <a:gd name="connsiteX19" fmla="*/ 68523 w 273361"/>
                <a:gd name="connsiteY19" fmla="*/ 93121 h 128293"/>
                <a:gd name="connsiteX20" fmla="*/ 71673 w 273361"/>
                <a:gd name="connsiteY20" fmla="*/ 92879 h 128293"/>
                <a:gd name="connsiteX21" fmla="*/ 90011 w 273361"/>
                <a:gd name="connsiteY21" fmla="*/ 100473 h 128293"/>
                <a:gd name="connsiteX22" fmla="*/ 92640 w 273361"/>
                <a:gd name="connsiteY22" fmla="*/ 104080 h 128293"/>
                <a:gd name="connsiteX23" fmla="*/ 94113 w 273361"/>
                <a:gd name="connsiteY23" fmla="*/ 106115 h 128293"/>
                <a:gd name="connsiteX24" fmla="*/ 131388 w 273361"/>
                <a:gd name="connsiteY24" fmla="*/ 122838 h 128293"/>
                <a:gd name="connsiteX25" fmla="*/ 153194 w 273361"/>
                <a:gd name="connsiteY25" fmla="*/ 106636 h 128293"/>
                <a:gd name="connsiteX26" fmla="*/ 157855 w 273361"/>
                <a:gd name="connsiteY26" fmla="*/ 103430 h 128293"/>
                <a:gd name="connsiteX27" fmla="*/ 168357 w 273361"/>
                <a:gd name="connsiteY27" fmla="*/ 96435 h 128293"/>
                <a:gd name="connsiteX28" fmla="*/ 170923 w 273361"/>
                <a:gd name="connsiteY28" fmla="*/ 94784 h 128293"/>
                <a:gd name="connsiteX29" fmla="*/ 179927 w 273361"/>
                <a:gd name="connsiteY29" fmla="*/ 89069 h 128293"/>
                <a:gd name="connsiteX30" fmla="*/ 184448 w 273361"/>
                <a:gd name="connsiteY30" fmla="*/ 86275 h 128293"/>
                <a:gd name="connsiteX31" fmla="*/ 194164 w 273361"/>
                <a:gd name="connsiteY31" fmla="*/ 80397 h 128293"/>
                <a:gd name="connsiteX32" fmla="*/ 198647 w 273361"/>
                <a:gd name="connsiteY32" fmla="*/ 77728 h 128293"/>
                <a:gd name="connsiteX33" fmla="*/ 231070 w 273361"/>
                <a:gd name="connsiteY33" fmla="*/ 58842 h 128293"/>
                <a:gd name="connsiteX34" fmla="*/ 231794 w 273361"/>
                <a:gd name="connsiteY34" fmla="*/ 58410 h 128293"/>
                <a:gd name="connsiteX35" fmla="*/ 235172 w 273361"/>
                <a:gd name="connsiteY35" fmla="*/ 56440 h 128293"/>
                <a:gd name="connsiteX36" fmla="*/ 236607 w 273361"/>
                <a:gd name="connsiteY36" fmla="*/ 55592 h 128293"/>
                <a:gd name="connsiteX37" fmla="*/ 239503 w 273361"/>
                <a:gd name="connsiteY37" fmla="*/ 53876 h 128293"/>
                <a:gd name="connsiteX38" fmla="*/ 241001 w 273361"/>
                <a:gd name="connsiteY38" fmla="*/ 52988 h 128293"/>
                <a:gd name="connsiteX39" fmla="*/ 243656 w 273361"/>
                <a:gd name="connsiteY39" fmla="*/ 51391 h 128293"/>
                <a:gd name="connsiteX40" fmla="*/ 245205 w 273361"/>
                <a:gd name="connsiteY40" fmla="*/ 50423 h 128293"/>
                <a:gd name="connsiteX41" fmla="*/ 247554 w 273361"/>
                <a:gd name="connsiteY41" fmla="*/ 48974 h 128293"/>
                <a:gd name="connsiteX42" fmla="*/ 249167 w 273361"/>
                <a:gd name="connsiteY42" fmla="*/ 47972 h 128293"/>
                <a:gd name="connsiteX43" fmla="*/ 251276 w 273361"/>
                <a:gd name="connsiteY43" fmla="*/ 46638 h 128293"/>
                <a:gd name="connsiteX44" fmla="*/ 252812 w 273361"/>
                <a:gd name="connsiteY44" fmla="*/ 45621 h 128293"/>
                <a:gd name="connsiteX45" fmla="*/ 254717 w 273361"/>
                <a:gd name="connsiteY45" fmla="*/ 44365 h 128293"/>
                <a:gd name="connsiteX46" fmla="*/ 256203 w 273361"/>
                <a:gd name="connsiteY46" fmla="*/ 43363 h 128293"/>
                <a:gd name="connsiteX47" fmla="*/ 257892 w 273361"/>
                <a:gd name="connsiteY47" fmla="*/ 42183 h 128293"/>
                <a:gd name="connsiteX48" fmla="*/ 259276 w 273361"/>
                <a:gd name="connsiteY48" fmla="*/ 41190 h 128293"/>
                <a:gd name="connsiteX49" fmla="*/ 260775 w 273361"/>
                <a:gd name="connsiteY49" fmla="*/ 40084 h 128293"/>
                <a:gd name="connsiteX50" fmla="*/ 262045 w 273361"/>
                <a:gd name="connsiteY50" fmla="*/ 39107 h 128293"/>
                <a:gd name="connsiteX51" fmla="*/ 263341 w 273361"/>
                <a:gd name="connsiteY51" fmla="*/ 38080 h 128293"/>
                <a:gd name="connsiteX52" fmla="*/ 264471 w 273361"/>
                <a:gd name="connsiteY52" fmla="*/ 37113 h 128293"/>
                <a:gd name="connsiteX53" fmla="*/ 265576 w 273361"/>
                <a:gd name="connsiteY53" fmla="*/ 36135 h 128293"/>
                <a:gd name="connsiteX54" fmla="*/ 266554 w 273361"/>
                <a:gd name="connsiteY54" fmla="*/ 35198 h 128293"/>
                <a:gd name="connsiteX55" fmla="*/ 267455 w 273361"/>
                <a:gd name="connsiteY55" fmla="*/ 34305 h 128293"/>
                <a:gd name="connsiteX56" fmla="*/ 268281 w 273361"/>
                <a:gd name="connsiteY56" fmla="*/ 33367 h 128293"/>
                <a:gd name="connsiteX57" fmla="*/ 268967 w 273361"/>
                <a:gd name="connsiteY57" fmla="*/ 32544 h 128293"/>
                <a:gd name="connsiteX58" fmla="*/ 269589 w 273361"/>
                <a:gd name="connsiteY58" fmla="*/ 31641 h 128293"/>
                <a:gd name="connsiteX59" fmla="*/ 271646 w 273361"/>
                <a:gd name="connsiteY59" fmla="*/ 22444 h 128293"/>
                <a:gd name="connsiteX60" fmla="*/ 244291 w 273361"/>
                <a:gd name="connsiteY60" fmla="*/ 2431 h 128293"/>
                <a:gd name="connsiteX61" fmla="*/ 215957 w 273361"/>
                <a:gd name="connsiteY61" fmla="*/ -606 h 128293"/>
                <a:gd name="connsiteX62" fmla="*/ 1302 w 273361"/>
                <a:gd name="connsiteY62" fmla="*/ 61382 h 128293"/>
                <a:gd name="connsiteX63" fmla="*/ 718 w 273361"/>
                <a:gd name="connsiteY63" fmla="*/ 67682 h 128293"/>
                <a:gd name="connsiteX64" fmla="*/ 1378 w 273361"/>
                <a:gd name="connsiteY64" fmla="*/ 68218 h 128293"/>
                <a:gd name="connsiteX65" fmla="*/ 96 w 273361"/>
                <a:gd name="connsiteY65" fmla="*/ 93881 h 128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73361" h="128293">
                  <a:moveTo>
                    <a:pt x="96" y="93881"/>
                  </a:moveTo>
                  <a:lnTo>
                    <a:pt x="83" y="93881"/>
                  </a:lnTo>
                  <a:lnTo>
                    <a:pt x="108" y="93970"/>
                  </a:lnTo>
                  <a:cubicBezTo>
                    <a:pt x="477" y="95810"/>
                    <a:pt x="908" y="97631"/>
                    <a:pt x="1366" y="99432"/>
                  </a:cubicBezTo>
                  <a:lnTo>
                    <a:pt x="1632" y="100434"/>
                  </a:lnTo>
                  <a:cubicBezTo>
                    <a:pt x="2013" y="101858"/>
                    <a:pt x="2394" y="103257"/>
                    <a:pt x="2813" y="104626"/>
                  </a:cubicBezTo>
                  <a:lnTo>
                    <a:pt x="3321" y="106277"/>
                  </a:lnTo>
                  <a:lnTo>
                    <a:pt x="4363" y="109543"/>
                  </a:lnTo>
                  <a:lnTo>
                    <a:pt x="4922" y="111180"/>
                  </a:lnTo>
                  <a:lnTo>
                    <a:pt x="5899" y="113962"/>
                  </a:lnTo>
                  <a:lnTo>
                    <a:pt x="6446" y="115435"/>
                  </a:lnTo>
                  <a:lnTo>
                    <a:pt x="7334" y="117772"/>
                  </a:lnTo>
                  <a:lnTo>
                    <a:pt x="7792" y="118977"/>
                  </a:lnTo>
                  <a:lnTo>
                    <a:pt x="8554" y="120858"/>
                  </a:lnTo>
                  <a:lnTo>
                    <a:pt x="8884" y="121657"/>
                  </a:lnTo>
                  <a:lnTo>
                    <a:pt x="9443" y="122992"/>
                  </a:lnTo>
                  <a:lnTo>
                    <a:pt x="9608" y="123373"/>
                  </a:lnTo>
                  <a:lnTo>
                    <a:pt x="9874" y="123953"/>
                  </a:lnTo>
                  <a:cubicBezTo>
                    <a:pt x="9874" y="123953"/>
                    <a:pt x="28505" y="108257"/>
                    <a:pt x="48597" y="99164"/>
                  </a:cubicBezTo>
                  <a:cubicBezTo>
                    <a:pt x="55290" y="96143"/>
                    <a:pt x="62135" y="93845"/>
                    <a:pt x="68523" y="93121"/>
                  </a:cubicBezTo>
                  <a:lnTo>
                    <a:pt x="71673" y="92879"/>
                  </a:lnTo>
                  <a:cubicBezTo>
                    <a:pt x="78911" y="92666"/>
                    <a:pt x="85363" y="94758"/>
                    <a:pt x="90011" y="100473"/>
                  </a:cubicBezTo>
                  <a:lnTo>
                    <a:pt x="92640" y="104080"/>
                  </a:lnTo>
                  <a:lnTo>
                    <a:pt x="94113" y="106115"/>
                  </a:lnTo>
                  <a:cubicBezTo>
                    <a:pt x="94113" y="106115"/>
                    <a:pt x="106382" y="139997"/>
                    <a:pt x="131388" y="122838"/>
                  </a:cubicBezTo>
                  <a:cubicBezTo>
                    <a:pt x="138462" y="117202"/>
                    <a:pt x="145790" y="111804"/>
                    <a:pt x="153194" y="106636"/>
                  </a:cubicBezTo>
                  <a:cubicBezTo>
                    <a:pt x="155315" y="106392"/>
                    <a:pt x="159061" y="104358"/>
                    <a:pt x="157855" y="103430"/>
                  </a:cubicBezTo>
                  <a:cubicBezTo>
                    <a:pt x="161347" y="101059"/>
                    <a:pt x="164852" y="98722"/>
                    <a:pt x="168357" y="96435"/>
                  </a:cubicBezTo>
                  <a:lnTo>
                    <a:pt x="170923" y="94784"/>
                  </a:lnTo>
                  <a:cubicBezTo>
                    <a:pt x="173933" y="92838"/>
                    <a:pt x="176943" y="90948"/>
                    <a:pt x="179927" y="89069"/>
                  </a:cubicBezTo>
                  <a:cubicBezTo>
                    <a:pt x="181819" y="88726"/>
                    <a:pt x="184588" y="87227"/>
                    <a:pt x="184448" y="86275"/>
                  </a:cubicBezTo>
                  <a:cubicBezTo>
                    <a:pt x="187725" y="84257"/>
                    <a:pt x="190951" y="82311"/>
                    <a:pt x="194164" y="80397"/>
                  </a:cubicBezTo>
                  <a:cubicBezTo>
                    <a:pt x="195980" y="80025"/>
                    <a:pt x="198545" y="78665"/>
                    <a:pt x="198647" y="77728"/>
                  </a:cubicBezTo>
                  <a:cubicBezTo>
                    <a:pt x="210255" y="70847"/>
                    <a:pt x="221278" y="64557"/>
                    <a:pt x="231070" y="58842"/>
                  </a:cubicBezTo>
                  <a:lnTo>
                    <a:pt x="231794" y="58410"/>
                  </a:lnTo>
                  <a:lnTo>
                    <a:pt x="235172" y="56440"/>
                  </a:lnTo>
                  <a:lnTo>
                    <a:pt x="236607" y="55592"/>
                  </a:lnTo>
                  <a:lnTo>
                    <a:pt x="239503" y="53876"/>
                  </a:lnTo>
                  <a:lnTo>
                    <a:pt x="241001" y="52988"/>
                  </a:lnTo>
                  <a:lnTo>
                    <a:pt x="243656" y="51391"/>
                  </a:lnTo>
                  <a:lnTo>
                    <a:pt x="245205" y="50423"/>
                  </a:lnTo>
                  <a:lnTo>
                    <a:pt x="247554" y="48974"/>
                  </a:lnTo>
                  <a:lnTo>
                    <a:pt x="249167" y="47972"/>
                  </a:lnTo>
                  <a:lnTo>
                    <a:pt x="251276" y="46638"/>
                  </a:lnTo>
                  <a:lnTo>
                    <a:pt x="252812" y="45621"/>
                  </a:lnTo>
                  <a:lnTo>
                    <a:pt x="254717" y="44365"/>
                  </a:lnTo>
                  <a:lnTo>
                    <a:pt x="256203" y="43363"/>
                  </a:lnTo>
                  <a:lnTo>
                    <a:pt x="257892" y="42183"/>
                  </a:lnTo>
                  <a:lnTo>
                    <a:pt x="259276" y="41190"/>
                  </a:lnTo>
                  <a:lnTo>
                    <a:pt x="260775" y="40084"/>
                  </a:lnTo>
                  <a:lnTo>
                    <a:pt x="262045" y="39107"/>
                  </a:lnTo>
                  <a:lnTo>
                    <a:pt x="263341" y="38080"/>
                  </a:lnTo>
                  <a:lnTo>
                    <a:pt x="264471" y="37113"/>
                  </a:lnTo>
                  <a:lnTo>
                    <a:pt x="265576" y="36135"/>
                  </a:lnTo>
                  <a:lnTo>
                    <a:pt x="266554" y="35198"/>
                  </a:lnTo>
                  <a:lnTo>
                    <a:pt x="267455" y="34305"/>
                  </a:lnTo>
                  <a:lnTo>
                    <a:pt x="268281" y="33367"/>
                  </a:lnTo>
                  <a:lnTo>
                    <a:pt x="268967" y="32544"/>
                  </a:lnTo>
                  <a:lnTo>
                    <a:pt x="269589" y="31641"/>
                  </a:lnTo>
                  <a:cubicBezTo>
                    <a:pt x="271596" y="30168"/>
                    <a:pt x="272510" y="24591"/>
                    <a:pt x="271646" y="22444"/>
                  </a:cubicBezTo>
                  <a:cubicBezTo>
                    <a:pt x="266871" y="10710"/>
                    <a:pt x="260089" y="6405"/>
                    <a:pt x="244291" y="2431"/>
                  </a:cubicBezTo>
                  <a:cubicBezTo>
                    <a:pt x="235934" y="323"/>
                    <a:pt x="226358" y="-606"/>
                    <a:pt x="215957" y="-606"/>
                  </a:cubicBezTo>
                  <a:cubicBezTo>
                    <a:pt x="137573" y="-606"/>
                    <a:pt x="11970" y="52507"/>
                    <a:pt x="1302" y="61382"/>
                  </a:cubicBezTo>
                  <a:cubicBezTo>
                    <a:pt x="-603" y="62959"/>
                    <a:pt x="-870" y="65767"/>
                    <a:pt x="718" y="67682"/>
                  </a:cubicBezTo>
                  <a:lnTo>
                    <a:pt x="1378" y="68218"/>
                  </a:lnTo>
                  <a:cubicBezTo>
                    <a:pt x="-2292" y="74423"/>
                    <a:pt x="-1873" y="84207"/>
                    <a:pt x="96" y="93881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7832D844-1C6D-441D-816A-228F6CE95305}"/>
                </a:ext>
              </a:extLst>
            </p:cNvPr>
            <p:cNvSpPr/>
            <p:nvPr/>
          </p:nvSpPr>
          <p:spPr>
            <a:xfrm flipV="1">
              <a:off x="5264300" y="4197180"/>
              <a:ext cx="202107" cy="151833"/>
            </a:xfrm>
            <a:custGeom>
              <a:avLst/>
              <a:gdLst>
                <a:gd name="connsiteX0" fmla="*/ 215 w 202107"/>
                <a:gd name="connsiteY0" fmla="*/ 94979 h 151833"/>
                <a:gd name="connsiteX1" fmla="*/ 571 w 202107"/>
                <a:gd name="connsiteY1" fmla="*/ 94434 h 151833"/>
                <a:gd name="connsiteX2" fmla="*/ 3860 w 202107"/>
                <a:gd name="connsiteY2" fmla="*/ 119476 h 151833"/>
                <a:gd name="connsiteX3" fmla="*/ 3834 w 202107"/>
                <a:gd name="connsiteY3" fmla="*/ 119467 h 151833"/>
                <a:gd name="connsiteX4" fmla="*/ 13994 w 202107"/>
                <a:gd name="connsiteY4" fmla="*/ 146846 h 151833"/>
                <a:gd name="connsiteX5" fmla="*/ 43103 w 202107"/>
                <a:gd name="connsiteY5" fmla="*/ 115806 h 151833"/>
                <a:gd name="connsiteX6" fmla="*/ 45681 w 202107"/>
                <a:gd name="connsiteY6" fmla="*/ 115567 h 151833"/>
                <a:gd name="connsiteX7" fmla="*/ 45681 w 202107"/>
                <a:gd name="connsiteY7" fmla="*/ 115553 h 151833"/>
                <a:gd name="connsiteX8" fmla="*/ 59587 w 202107"/>
                <a:gd name="connsiteY8" fmla="*/ 121168 h 151833"/>
                <a:gd name="connsiteX9" fmla="*/ 70751 w 202107"/>
                <a:gd name="connsiteY9" fmla="*/ 131492 h 151833"/>
                <a:gd name="connsiteX10" fmla="*/ 110857 w 202107"/>
                <a:gd name="connsiteY10" fmla="*/ 144063 h 151833"/>
                <a:gd name="connsiteX11" fmla="*/ 189749 w 202107"/>
                <a:gd name="connsiteY11" fmla="*/ 47583 h 151833"/>
                <a:gd name="connsiteX12" fmla="*/ 190422 w 202107"/>
                <a:gd name="connsiteY12" fmla="*/ 46615 h 151833"/>
                <a:gd name="connsiteX13" fmla="*/ 193661 w 202107"/>
                <a:gd name="connsiteY13" fmla="*/ 41714 h 151833"/>
                <a:gd name="connsiteX14" fmla="*/ 193953 w 202107"/>
                <a:gd name="connsiteY14" fmla="*/ 41258 h 151833"/>
                <a:gd name="connsiteX15" fmla="*/ 196798 w 202107"/>
                <a:gd name="connsiteY15" fmla="*/ 36128 h 151833"/>
                <a:gd name="connsiteX16" fmla="*/ 197153 w 202107"/>
                <a:gd name="connsiteY16" fmla="*/ 35354 h 151833"/>
                <a:gd name="connsiteX17" fmla="*/ 198804 w 202107"/>
                <a:gd name="connsiteY17" fmla="*/ 31375 h 151833"/>
                <a:gd name="connsiteX18" fmla="*/ 199211 w 202107"/>
                <a:gd name="connsiteY18" fmla="*/ 30225 h 151833"/>
                <a:gd name="connsiteX19" fmla="*/ 200201 w 202107"/>
                <a:gd name="connsiteY19" fmla="*/ 26246 h 151833"/>
                <a:gd name="connsiteX20" fmla="*/ 200290 w 202107"/>
                <a:gd name="connsiteY20" fmla="*/ 25814 h 151833"/>
                <a:gd name="connsiteX21" fmla="*/ 200417 w 202107"/>
                <a:gd name="connsiteY21" fmla="*/ 21801 h 151833"/>
                <a:gd name="connsiteX22" fmla="*/ 200265 w 202107"/>
                <a:gd name="connsiteY22" fmla="*/ 20824 h 151833"/>
                <a:gd name="connsiteX23" fmla="*/ 200151 w 202107"/>
                <a:gd name="connsiteY23" fmla="*/ 20025 h 151833"/>
                <a:gd name="connsiteX24" fmla="*/ 198690 w 202107"/>
                <a:gd name="connsiteY24" fmla="*/ 9662 h 151833"/>
                <a:gd name="connsiteX25" fmla="*/ 144182 w 202107"/>
                <a:gd name="connsiteY25" fmla="*/ -573 h 151833"/>
                <a:gd name="connsiteX26" fmla="*/ -522 w 202107"/>
                <a:gd name="connsiteY26" fmla="*/ 82964 h 151833"/>
                <a:gd name="connsiteX27" fmla="*/ 215 w 202107"/>
                <a:gd name="connsiteY27" fmla="*/ 94979 h 151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2107" h="151833">
                  <a:moveTo>
                    <a:pt x="215" y="94979"/>
                  </a:moveTo>
                  <a:lnTo>
                    <a:pt x="571" y="94434"/>
                  </a:lnTo>
                  <a:cubicBezTo>
                    <a:pt x="-153" y="101850"/>
                    <a:pt x="1472" y="110929"/>
                    <a:pt x="3860" y="119476"/>
                  </a:cubicBezTo>
                  <a:lnTo>
                    <a:pt x="3834" y="119467"/>
                  </a:lnTo>
                  <a:cubicBezTo>
                    <a:pt x="6908" y="133729"/>
                    <a:pt x="13994" y="146846"/>
                    <a:pt x="13994" y="146846"/>
                  </a:cubicBezTo>
                  <a:cubicBezTo>
                    <a:pt x="13994" y="146846"/>
                    <a:pt x="25780" y="118614"/>
                    <a:pt x="43103" y="115806"/>
                  </a:cubicBezTo>
                  <a:lnTo>
                    <a:pt x="45681" y="115567"/>
                  </a:lnTo>
                  <a:lnTo>
                    <a:pt x="45681" y="115553"/>
                  </a:lnTo>
                  <a:cubicBezTo>
                    <a:pt x="50024" y="115502"/>
                    <a:pt x="54698" y="117115"/>
                    <a:pt x="59587" y="121168"/>
                  </a:cubicBezTo>
                  <a:lnTo>
                    <a:pt x="70751" y="131492"/>
                  </a:lnTo>
                  <a:cubicBezTo>
                    <a:pt x="70751" y="131492"/>
                    <a:pt x="89661" y="165758"/>
                    <a:pt x="110857" y="144063"/>
                  </a:cubicBezTo>
                  <a:cubicBezTo>
                    <a:pt x="114845" y="121764"/>
                    <a:pt x="166826" y="79780"/>
                    <a:pt x="189749" y="47583"/>
                  </a:cubicBezTo>
                  <a:lnTo>
                    <a:pt x="190422" y="46615"/>
                  </a:lnTo>
                  <a:cubicBezTo>
                    <a:pt x="191578" y="44954"/>
                    <a:pt x="192670" y="43326"/>
                    <a:pt x="193661" y="41714"/>
                  </a:cubicBezTo>
                  <a:lnTo>
                    <a:pt x="193953" y="41258"/>
                  </a:lnTo>
                  <a:cubicBezTo>
                    <a:pt x="195020" y="39507"/>
                    <a:pt x="195972" y="37790"/>
                    <a:pt x="196798" y="36128"/>
                  </a:cubicBezTo>
                  <a:lnTo>
                    <a:pt x="197153" y="35354"/>
                  </a:lnTo>
                  <a:cubicBezTo>
                    <a:pt x="197788" y="33995"/>
                    <a:pt x="198347" y="32676"/>
                    <a:pt x="198804" y="31375"/>
                  </a:cubicBezTo>
                  <a:lnTo>
                    <a:pt x="199211" y="30225"/>
                  </a:lnTo>
                  <a:cubicBezTo>
                    <a:pt x="199655" y="28866"/>
                    <a:pt x="199985" y="27531"/>
                    <a:pt x="200201" y="26246"/>
                  </a:cubicBezTo>
                  <a:lnTo>
                    <a:pt x="200290" y="25814"/>
                  </a:lnTo>
                  <a:cubicBezTo>
                    <a:pt x="200493" y="24421"/>
                    <a:pt x="200519" y="23086"/>
                    <a:pt x="200417" y="21801"/>
                  </a:cubicBezTo>
                  <a:lnTo>
                    <a:pt x="200265" y="20824"/>
                  </a:lnTo>
                  <a:lnTo>
                    <a:pt x="200151" y="20025"/>
                  </a:lnTo>
                  <a:cubicBezTo>
                    <a:pt x="201636" y="18879"/>
                    <a:pt x="200747" y="10461"/>
                    <a:pt x="198690" y="9662"/>
                  </a:cubicBezTo>
                  <a:cubicBezTo>
                    <a:pt x="180326" y="2612"/>
                    <a:pt x="162000" y="-573"/>
                    <a:pt x="144182" y="-573"/>
                  </a:cubicBezTo>
                  <a:cubicBezTo>
                    <a:pt x="83349" y="-573"/>
                    <a:pt x="28574" y="36535"/>
                    <a:pt x="-522" y="82964"/>
                  </a:cubicBezTo>
                  <a:cubicBezTo>
                    <a:pt x="-1842" y="85063"/>
                    <a:pt x="-1106" y="97074"/>
                    <a:pt x="215" y="94979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96250EC9-7524-4A79-BF8A-3F737D38C952}"/>
                </a:ext>
              </a:extLst>
            </p:cNvPr>
            <p:cNvSpPr/>
            <p:nvPr/>
          </p:nvSpPr>
          <p:spPr>
            <a:xfrm flipV="1">
              <a:off x="5381963" y="2399304"/>
              <a:ext cx="17398" cy="17398"/>
            </a:xfrm>
            <a:custGeom>
              <a:avLst/>
              <a:gdLst>
                <a:gd name="connsiteX0" fmla="*/ -1235 w 17398"/>
                <a:gd name="connsiteY0" fmla="*/ 6462 h 17398"/>
                <a:gd name="connsiteX1" fmla="*/ 7477 w 17398"/>
                <a:gd name="connsiteY1" fmla="*/ -2237 h 17398"/>
                <a:gd name="connsiteX2" fmla="*/ 16164 w 17398"/>
                <a:gd name="connsiteY2" fmla="*/ 6462 h 17398"/>
                <a:gd name="connsiteX3" fmla="*/ 7477 w 17398"/>
                <a:gd name="connsiteY3" fmla="*/ 15162 h 17398"/>
                <a:gd name="connsiteX4" fmla="*/ -1235 w 17398"/>
                <a:gd name="connsiteY4" fmla="*/ 6462 h 1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98" h="17398">
                  <a:moveTo>
                    <a:pt x="-1235" y="6462"/>
                  </a:moveTo>
                  <a:cubicBezTo>
                    <a:pt x="-1235" y="1662"/>
                    <a:pt x="2664" y="-2237"/>
                    <a:pt x="7477" y="-2237"/>
                  </a:cubicBezTo>
                  <a:cubicBezTo>
                    <a:pt x="12278" y="-2237"/>
                    <a:pt x="16164" y="1662"/>
                    <a:pt x="16164" y="6462"/>
                  </a:cubicBezTo>
                  <a:cubicBezTo>
                    <a:pt x="16164" y="11263"/>
                    <a:pt x="12278" y="15162"/>
                    <a:pt x="7477" y="15162"/>
                  </a:cubicBezTo>
                  <a:cubicBezTo>
                    <a:pt x="2664" y="15162"/>
                    <a:pt x="-1235" y="11263"/>
                    <a:pt x="-1235" y="6462"/>
                  </a:cubicBezTo>
                </a:path>
              </a:pathLst>
            </a:custGeom>
            <a:solidFill>
              <a:srgbClr val="E8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272F9A56-53A3-43AF-AB15-0CE04C968B32}"/>
                </a:ext>
              </a:extLst>
            </p:cNvPr>
            <p:cNvSpPr/>
            <p:nvPr/>
          </p:nvSpPr>
          <p:spPr>
            <a:xfrm flipV="1">
              <a:off x="5412087" y="2561254"/>
              <a:ext cx="151066" cy="346112"/>
            </a:xfrm>
            <a:custGeom>
              <a:avLst/>
              <a:gdLst>
                <a:gd name="connsiteX0" fmla="*/ 134411 w 151066"/>
                <a:gd name="connsiteY0" fmla="*/ -1946 h 346112"/>
                <a:gd name="connsiteX1" fmla="*/ 149765 w 151066"/>
                <a:gd name="connsiteY1" fmla="*/ 340852 h 346112"/>
                <a:gd name="connsiteX2" fmla="*/ 144025 w 151066"/>
                <a:gd name="connsiteY2" fmla="*/ 342947 h 346112"/>
                <a:gd name="connsiteX3" fmla="*/ 129052 w 151066"/>
                <a:gd name="connsiteY3" fmla="*/ 29321 h 346112"/>
                <a:gd name="connsiteX4" fmla="*/ 4859 w 151066"/>
                <a:gd name="connsiteY4" fmla="*/ 344166 h 346112"/>
                <a:gd name="connsiteX5" fmla="*/ -1301 w 151066"/>
                <a:gd name="connsiteY5" fmla="*/ 342122 h 346112"/>
                <a:gd name="connsiteX6" fmla="*/ 134411 w 151066"/>
                <a:gd name="connsiteY6" fmla="*/ -1946 h 346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066" h="346112">
                  <a:moveTo>
                    <a:pt x="134411" y="-1946"/>
                  </a:moveTo>
                  <a:lnTo>
                    <a:pt x="149765" y="340852"/>
                  </a:lnTo>
                  <a:lnTo>
                    <a:pt x="144025" y="342947"/>
                  </a:lnTo>
                  <a:lnTo>
                    <a:pt x="129052" y="29321"/>
                  </a:lnTo>
                  <a:lnTo>
                    <a:pt x="4859" y="344166"/>
                  </a:lnTo>
                  <a:lnTo>
                    <a:pt x="-1301" y="342122"/>
                  </a:lnTo>
                  <a:lnTo>
                    <a:pt x="134411" y="-1946"/>
                  </a:lnTo>
                </a:path>
              </a:pathLst>
            </a:custGeom>
            <a:solidFill>
              <a:srgbClr val="3A72C1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33B43F6D-EBCC-42C6-BAE2-60AD6337B948}"/>
                </a:ext>
              </a:extLst>
            </p:cNvPr>
            <p:cNvSpPr/>
            <p:nvPr/>
          </p:nvSpPr>
          <p:spPr>
            <a:xfrm flipV="1">
              <a:off x="5452740" y="2172850"/>
              <a:ext cx="175259" cy="140436"/>
            </a:xfrm>
            <a:custGeom>
              <a:avLst/>
              <a:gdLst>
                <a:gd name="connsiteX0" fmla="*/ -1337 w 175259"/>
                <a:gd name="connsiteY0" fmla="*/ 126177 h 140436"/>
                <a:gd name="connsiteX1" fmla="*/ 50466 w 175259"/>
                <a:gd name="connsiteY1" fmla="*/ 138052 h 140436"/>
                <a:gd name="connsiteX2" fmla="*/ 142211 w 175259"/>
                <a:gd name="connsiteY2" fmla="*/ 91202 h 140436"/>
                <a:gd name="connsiteX3" fmla="*/ 173923 w 175259"/>
                <a:gd name="connsiteY3" fmla="*/ -2384 h 140436"/>
                <a:gd name="connsiteX4" fmla="*/ 134553 w 175259"/>
                <a:gd name="connsiteY4" fmla="*/ 80026 h 140436"/>
                <a:gd name="connsiteX5" fmla="*/ 43177 w 175259"/>
                <a:gd name="connsiteY5" fmla="*/ 123752 h 140436"/>
                <a:gd name="connsiteX6" fmla="*/ -1337 w 175259"/>
                <a:gd name="connsiteY6" fmla="*/ 126177 h 14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5259" h="140436">
                  <a:moveTo>
                    <a:pt x="-1337" y="126177"/>
                  </a:moveTo>
                  <a:cubicBezTo>
                    <a:pt x="-1337" y="126177"/>
                    <a:pt x="35366" y="138052"/>
                    <a:pt x="50466" y="138052"/>
                  </a:cubicBezTo>
                  <a:cubicBezTo>
                    <a:pt x="65567" y="138052"/>
                    <a:pt x="119008" y="111268"/>
                    <a:pt x="142211" y="91202"/>
                  </a:cubicBezTo>
                  <a:cubicBezTo>
                    <a:pt x="165427" y="71123"/>
                    <a:pt x="173923" y="-2384"/>
                    <a:pt x="173923" y="-2384"/>
                  </a:cubicBezTo>
                  <a:cubicBezTo>
                    <a:pt x="173923" y="-2384"/>
                    <a:pt x="148104" y="65650"/>
                    <a:pt x="134553" y="80026"/>
                  </a:cubicBezTo>
                  <a:cubicBezTo>
                    <a:pt x="120989" y="94402"/>
                    <a:pt x="52092" y="123256"/>
                    <a:pt x="43177" y="123752"/>
                  </a:cubicBezTo>
                  <a:cubicBezTo>
                    <a:pt x="34274" y="124234"/>
                    <a:pt x="-1337" y="126177"/>
                    <a:pt x="-1337" y="126177"/>
                  </a:cubicBezTo>
                </a:path>
              </a:pathLst>
            </a:custGeom>
            <a:solidFill>
              <a:srgbClr val="7056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5DE5315E-76A0-4DC1-A08E-702E48D2AC0B}"/>
                </a:ext>
              </a:extLst>
            </p:cNvPr>
            <p:cNvSpPr/>
            <p:nvPr/>
          </p:nvSpPr>
          <p:spPr>
            <a:xfrm flipV="1">
              <a:off x="5534680" y="2871768"/>
              <a:ext cx="18097" cy="34531"/>
            </a:xfrm>
            <a:custGeom>
              <a:avLst/>
              <a:gdLst>
                <a:gd name="connsiteX0" fmla="*/ -1339 w 18097"/>
                <a:gd name="connsiteY0" fmla="*/ -1808 h 34531"/>
                <a:gd name="connsiteX1" fmla="*/ 16758 w 18097"/>
                <a:gd name="connsiteY1" fmla="*/ -1808 h 34531"/>
                <a:gd name="connsiteX2" fmla="*/ 16758 w 18097"/>
                <a:gd name="connsiteY2" fmla="*/ 32723 h 34531"/>
                <a:gd name="connsiteX3" fmla="*/ -1339 w 18097"/>
                <a:gd name="connsiteY3" fmla="*/ 32723 h 3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" h="34531">
                  <a:moveTo>
                    <a:pt x="-1339" y="-1808"/>
                  </a:moveTo>
                  <a:lnTo>
                    <a:pt x="16758" y="-1808"/>
                  </a:lnTo>
                  <a:lnTo>
                    <a:pt x="16758" y="32723"/>
                  </a:lnTo>
                  <a:lnTo>
                    <a:pt x="-1339" y="32723"/>
                  </a:lnTo>
                  <a:close/>
                </a:path>
              </a:pathLst>
            </a:custGeom>
            <a:solidFill>
              <a:srgbClr val="2C3A9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E108041B-96C4-4839-A171-0443F2066879}"/>
                </a:ext>
              </a:extLst>
            </p:cNvPr>
            <p:cNvSpPr/>
            <p:nvPr/>
          </p:nvSpPr>
          <p:spPr>
            <a:xfrm flipV="1">
              <a:off x="5508289" y="2897676"/>
              <a:ext cx="70878" cy="135318"/>
            </a:xfrm>
            <a:custGeom>
              <a:avLst/>
              <a:gdLst>
                <a:gd name="connsiteX0" fmla="*/ -1339 w 70878"/>
                <a:gd name="connsiteY0" fmla="*/ -1740 h 135318"/>
                <a:gd name="connsiteX1" fmla="*/ 69539 w 70878"/>
                <a:gd name="connsiteY1" fmla="*/ -1740 h 135318"/>
                <a:gd name="connsiteX2" fmla="*/ 69539 w 70878"/>
                <a:gd name="connsiteY2" fmla="*/ 133578 h 135318"/>
                <a:gd name="connsiteX3" fmla="*/ -1339 w 70878"/>
                <a:gd name="connsiteY3" fmla="*/ 133578 h 135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78" h="135318">
                  <a:moveTo>
                    <a:pt x="-1339" y="-1740"/>
                  </a:moveTo>
                  <a:lnTo>
                    <a:pt x="69539" y="-1740"/>
                  </a:lnTo>
                  <a:lnTo>
                    <a:pt x="69539" y="133578"/>
                  </a:lnTo>
                  <a:lnTo>
                    <a:pt x="-1339" y="133578"/>
                  </a:lnTo>
                  <a:close/>
                </a:path>
              </a:pathLst>
            </a:custGeom>
            <a:solidFill>
              <a:srgbClr val="66686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DB35C2DF-4191-40EB-9107-C6A6CF447F56}"/>
                </a:ext>
              </a:extLst>
            </p:cNvPr>
            <p:cNvSpPr/>
            <p:nvPr/>
          </p:nvSpPr>
          <p:spPr>
            <a:xfrm flipV="1">
              <a:off x="5513458" y="2902438"/>
              <a:ext cx="60654" cy="122059"/>
            </a:xfrm>
            <a:custGeom>
              <a:avLst/>
              <a:gdLst>
                <a:gd name="connsiteX0" fmla="*/ 59316 w 60654"/>
                <a:gd name="connsiteY0" fmla="*/ 697 h 122059"/>
                <a:gd name="connsiteX1" fmla="*/ -1339 w 60654"/>
                <a:gd name="connsiteY1" fmla="*/ -1741 h 122059"/>
                <a:gd name="connsiteX2" fmla="*/ -1339 w 60654"/>
                <a:gd name="connsiteY2" fmla="*/ 120318 h 122059"/>
                <a:gd name="connsiteX3" fmla="*/ 58313 w 60654"/>
                <a:gd name="connsiteY3" fmla="*/ 116457 h 122059"/>
                <a:gd name="connsiteX4" fmla="*/ 59316 w 60654"/>
                <a:gd name="connsiteY4" fmla="*/ 697 h 12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54" h="122059">
                  <a:moveTo>
                    <a:pt x="59316" y="697"/>
                  </a:moveTo>
                  <a:lnTo>
                    <a:pt x="-1339" y="-1741"/>
                  </a:lnTo>
                  <a:lnTo>
                    <a:pt x="-1339" y="120318"/>
                  </a:lnTo>
                  <a:lnTo>
                    <a:pt x="58313" y="116457"/>
                  </a:lnTo>
                  <a:lnTo>
                    <a:pt x="59316" y="697"/>
                  </a:lnTo>
                </a:path>
              </a:pathLst>
            </a:custGeom>
            <a:solidFill>
              <a:srgbClr val="E8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6D1709B2-F35A-42F5-B8A7-58D78F832D02}"/>
                </a:ext>
              </a:extLst>
            </p:cNvPr>
            <p:cNvSpPr/>
            <p:nvPr/>
          </p:nvSpPr>
          <p:spPr>
            <a:xfrm flipV="1">
              <a:off x="5501813" y="2891199"/>
              <a:ext cx="83832" cy="148272"/>
            </a:xfrm>
            <a:custGeom>
              <a:avLst/>
              <a:gdLst>
                <a:gd name="connsiteX0" fmla="*/ 5138 w 83832"/>
                <a:gd name="connsiteY0" fmla="*/ 140055 h 148272"/>
                <a:gd name="connsiteX1" fmla="*/ 76016 w 83832"/>
                <a:gd name="connsiteY1" fmla="*/ 140055 h 148272"/>
                <a:gd name="connsiteX2" fmla="*/ 76016 w 83832"/>
                <a:gd name="connsiteY2" fmla="*/ 4737 h 148272"/>
                <a:gd name="connsiteX3" fmla="*/ 5138 w 83832"/>
                <a:gd name="connsiteY3" fmla="*/ 4737 h 148272"/>
                <a:gd name="connsiteX4" fmla="*/ 5138 w 83832"/>
                <a:gd name="connsiteY4" fmla="*/ 140055 h 148272"/>
                <a:gd name="connsiteX5" fmla="*/ -1339 w 83832"/>
                <a:gd name="connsiteY5" fmla="*/ 140055 h 148272"/>
                <a:gd name="connsiteX6" fmla="*/ -1339 w 83832"/>
                <a:gd name="connsiteY6" fmla="*/ 4737 h 148272"/>
                <a:gd name="connsiteX7" fmla="*/ 5138 w 83832"/>
                <a:gd name="connsiteY7" fmla="*/ -1740 h 148272"/>
                <a:gd name="connsiteX8" fmla="*/ 76016 w 83832"/>
                <a:gd name="connsiteY8" fmla="*/ -1740 h 148272"/>
                <a:gd name="connsiteX9" fmla="*/ 82493 w 83832"/>
                <a:gd name="connsiteY9" fmla="*/ 4737 h 148272"/>
                <a:gd name="connsiteX10" fmla="*/ 82493 w 83832"/>
                <a:gd name="connsiteY10" fmla="*/ 140055 h 148272"/>
                <a:gd name="connsiteX11" fmla="*/ 76016 w 83832"/>
                <a:gd name="connsiteY11" fmla="*/ 146532 h 148272"/>
                <a:gd name="connsiteX12" fmla="*/ 5138 w 83832"/>
                <a:gd name="connsiteY12" fmla="*/ 146532 h 148272"/>
                <a:gd name="connsiteX13" fmla="*/ -1339 w 83832"/>
                <a:gd name="connsiteY13" fmla="*/ 140055 h 148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3832" h="148272">
                  <a:moveTo>
                    <a:pt x="5138" y="140055"/>
                  </a:moveTo>
                  <a:lnTo>
                    <a:pt x="76016" y="140055"/>
                  </a:lnTo>
                  <a:lnTo>
                    <a:pt x="76016" y="4737"/>
                  </a:lnTo>
                  <a:lnTo>
                    <a:pt x="5138" y="4737"/>
                  </a:lnTo>
                  <a:lnTo>
                    <a:pt x="5138" y="140055"/>
                  </a:lnTo>
                  <a:moveTo>
                    <a:pt x="-1339" y="140055"/>
                  </a:moveTo>
                  <a:lnTo>
                    <a:pt x="-1339" y="4737"/>
                  </a:lnTo>
                  <a:cubicBezTo>
                    <a:pt x="-1339" y="1156"/>
                    <a:pt x="1557" y="-1740"/>
                    <a:pt x="5138" y="-1740"/>
                  </a:cubicBezTo>
                  <a:lnTo>
                    <a:pt x="76016" y="-1740"/>
                  </a:lnTo>
                  <a:cubicBezTo>
                    <a:pt x="79585" y="-1740"/>
                    <a:pt x="82493" y="1156"/>
                    <a:pt x="82493" y="4737"/>
                  </a:cubicBezTo>
                  <a:lnTo>
                    <a:pt x="82493" y="140055"/>
                  </a:lnTo>
                  <a:cubicBezTo>
                    <a:pt x="82493" y="143637"/>
                    <a:pt x="79585" y="146532"/>
                    <a:pt x="76016" y="146532"/>
                  </a:cubicBezTo>
                  <a:lnTo>
                    <a:pt x="5138" y="146532"/>
                  </a:lnTo>
                  <a:cubicBezTo>
                    <a:pt x="1557" y="146532"/>
                    <a:pt x="-1339" y="143637"/>
                    <a:pt x="-1339" y="140055"/>
                  </a:cubicBezTo>
                </a:path>
              </a:pathLst>
            </a:custGeom>
            <a:solidFill>
              <a:srgbClr val="2C3A9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9A824E94-25DB-4698-BADA-A28A5E536FA9}"/>
                </a:ext>
              </a:extLst>
            </p:cNvPr>
            <p:cNvSpPr/>
            <p:nvPr/>
          </p:nvSpPr>
          <p:spPr>
            <a:xfrm flipV="1">
              <a:off x="5528432" y="2909601"/>
              <a:ext cx="30594" cy="46469"/>
            </a:xfrm>
            <a:custGeom>
              <a:avLst/>
              <a:gdLst>
                <a:gd name="connsiteX0" fmla="*/ -1339 w 30594"/>
                <a:gd name="connsiteY0" fmla="*/ -1769 h 46469"/>
                <a:gd name="connsiteX1" fmla="*/ 29255 w 30594"/>
                <a:gd name="connsiteY1" fmla="*/ -1769 h 46469"/>
                <a:gd name="connsiteX2" fmla="*/ 29255 w 30594"/>
                <a:gd name="connsiteY2" fmla="*/ 44700 h 46469"/>
                <a:gd name="connsiteX3" fmla="*/ -1339 w 30594"/>
                <a:gd name="connsiteY3" fmla="*/ 44700 h 46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94" h="46469">
                  <a:moveTo>
                    <a:pt x="-1339" y="-1769"/>
                  </a:moveTo>
                  <a:lnTo>
                    <a:pt x="29255" y="-1769"/>
                  </a:lnTo>
                  <a:lnTo>
                    <a:pt x="29255" y="44700"/>
                  </a:lnTo>
                  <a:lnTo>
                    <a:pt x="-1339" y="44700"/>
                  </a:lnTo>
                  <a:close/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1659ADF1-A358-4A7C-B77F-009684FE093E}"/>
                </a:ext>
              </a:extLst>
            </p:cNvPr>
            <p:cNvSpPr/>
            <p:nvPr/>
          </p:nvSpPr>
          <p:spPr>
            <a:xfrm flipV="1">
              <a:off x="5508289" y="3006896"/>
              <a:ext cx="10020" cy="26098"/>
            </a:xfrm>
            <a:custGeom>
              <a:avLst/>
              <a:gdLst>
                <a:gd name="connsiteX0" fmla="*/ 8702 w 10020"/>
                <a:gd name="connsiteY0" fmla="*/ -1691 h 26098"/>
                <a:gd name="connsiteX1" fmla="*/ -1318 w 10020"/>
                <a:gd name="connsiteY1" fmla="*/ -1691 h 26098"/>
                <a:gd name="connsiteX2" fmla="*/ -1318 w 10020"/>
                <a:gd name="connsiteY2" fmla="*/ 24407 h 26098"/>
                <a:gd name="connsiteX3" fmla="*/ 3851 w 10020"/>
                <a:gd name="connsiteY3" fmla="*/ 10920 h 26098"/>
                <a:gd name="connsiteX4" fmla="*/ 3851 w 10020"/>
                <a:gd name="connsiteY4" fmla="*/ 6805 h 26098"/>
                <a:gd name="connsiteX5" fmla="*/ 5413 w 10020"/>
                <a:gd name="connsiteY5" fmla="*/ 6869 h 26098"/>
                <a:gd name="connsiteX6" fmla="*/ 8702 w 10020"/>
                <a:gd name="connsiteY6" fmla="*/ -1691 h 26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20" h="26098">
                  <a:moveTo>
                    <a:pt x="8702" y="-1691"/>
                  </a:moveTo>
                  <a:lnTo>
                    <a:pt x="-1318" y="-1691"/>
                  </a:lnTo>
                  <a:lnTo>
                    <a:pt x="-1318" y="24407"/>
                  </a:lnTo>
                  <a:lnTo>
                    <a:pt x="3851" y="10920"/>
                  </a:lnTo>
                  <a:lnTo>
                    <a:pt x="3851" y="6805"/>
                  </a:lnTo>
                  <a:lnTo>
                    <a:pt x="5413" y="6869"/>
                  </a:lnTo>
                  <a:lnTo>
                    <a:pt x="8702" y="-1691"/>
                  </a:lnTo>
                </a:path>
              </a:pathLst>
            </a:custGeom>
            <a:solidFill>
              <a:srgbClr val="A9A5A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408C6F16-48CE-42CF-9645-9439766B6E05}"/>
                </a:ext>
              </a:extLst>
            </p:cNvPr>
            <p:cNvSpPr/>
            <p:nvPr/>
          </p:nvSpPr>
          <p:spPr>
            <a:xfrm flipV="1">
              <a:off x="5513458" y="3020383"/>
              <a:ext cx="1562" cy="4114"/>
            </a:xfrm>
            <a:custGeom>
              <a:avLst/>
              <a:gdLst>
                <a:gd name="connsiteX0" fmla="*/ -1319 w 1562"/>
                <a:gd name="connsiteY0" fmla="*/ -1689 h 4114"/>
                <a:gd name="connsiteX1" fmla="*/ -1319 w 1562"/>
                <a:gd name="connsiteY1" fmla="*/ 2426 h 4114"/>
                <a:gd name="connsiteX2" fmla="*/ 243 w 1562"/>
                <a:gd name="connsiteY2" fmla="*/ -1625 h 4114"/>
                <a:gd name="connsiteX3" fmla="*/ -1319 w 1562"/>
                <a:gd name="connsiteY3" fmla="*/ -1689 h 4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2" h="4114">
                  <a:moveTo>
                    <a:pt x="-1319" y="-1689"/>
                  </a:moveTo>
                  <a:lnTo>
                    <a:pt x="-1319" y="2426"/>
                  </a:lnTo>
                  <a:lnTo>
                    <a:pt x="243" y="-1625"/>
                  </a:lnTo>
                  <a:lnTo>
                    <a:pt x="-1319" y="-1689"/>
                  </a:lnTo>
                </a:path>
              </a:pathLst>
            </a:custGeom>
            <a:solidFill>
              <a:srgbClr val="F4F4F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81C6B3EF-C036-4EC6-81E1-F2E90ED320F4}"/>
                </a:ext>
              </a:extLst>
            </p:cNvPr>
            <p:cNvSpPr/>
            <p:nvPr/>
          </p:nvSpPr>
          <p:spPr>
            <a:xfrm flipV="1">
              <a:off x="5538058" y="2877699"/>
              <a:ext cx="11328" cy="11328"/>
            </a:xfrm>
            <a:custGeom>
              <a:avLst/>
              <a:gdLst>
                <a:gd name="connsiteX0" fmla="*/ -1339 w 11328"/>
                <a:gd name="connsiteY0" fmla="*/ 3851 h 11328"/>
                <a:gd name="connsiteX1" fmla="*/ 4338 w 11328"/>
                <a:gd name="connsiteY1" fmla="*/ -1813 h 11328"/>
                <a:gd name="connsiteX2" fmla="*/ 9989 w 11328"/>
                <a:gd name="connsiteY2" fmla="*/ 3851 h 11328"/>
                <a:gd name="connsiteX3" fmla="*/ 4338 w 11328"/>
                <a:gd name="connsiteY3" fmla="*/ 9515 h 11328"/>
                <a:gd name="connsiteX4" fmla="*/ -1339 w 11328"/>
                <a:gd name="connsiteY4" fmla="*/ 3851 h 1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8" h="11328">
                  <a:moveTo>
                    <a:pt x="-1339" y="3851"/>
                  </a:moveTo>
                  <a:cubicBezTo>
                    <a:pt x="-1339" y="714"/>
                    <a:pt x="1201" y="-1813"/>
                    <a:pt x="4338" y="-1813"/>
                  </a:cubicBezTo>
                  <a:cubicBezTo>
                    <a:pt x="7462" y="-1813"/>
                    <a:pt x="9989" y="714"/>
                    <a:pt x="9989" y="3851"/>
                  </a:cubicBezTo>
                  <a:cubicBezTo>
                    <a:pt x="9989" y="6975"/>
                    <a:pt x="7462" y="9515"/>
                    <a:pt x="4338" y="9515"/>
                  </a:cubicBezTo>
                  <a:cubicBezTo>
                    <a:pt x="1201" y="9515"/>
                    <a:pt x="-1339" y="6975"/>
                    <a:pt x="-1339" y="3851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DC179585-293B-420D-A213-37306CED53CD}"/>
                </a:ext>
              </a:extLst>
            </p:cNvPr>
            <p:cNvSpPr/>
            <p:nvPr/>
          </p:nvSpPr>
          <p:spPr>
            <a:xfrm flipV="1">
              <a:off x="6004775" y="2937014"/>
              <a:ext cx="43036" cy="61816"/>
            </a:xfrm>
            <a:custGeom>
              <a:avLst/>
              <a:gdLst>
                <a:gd name="connsiteX0" fmla="*/ -367 w 43036"/>
                <a:gd name="connsiteY0" fmla="*/ -1688 h 61816"/>
                <a:gd name="connsiteX1" fmla="*/ 38305 w 43036"/>
                <a:gd name="connsiteY1" fmla="*/ 60060 h 61816"/>
                <a:gd name="connsiteX2" fmla="*/ 1805 w 43036"/>
                <a:gd name="connsiteY2" fmla="*/ 39854 h 61816"/>
                <a:gd name="connsiteX3" fmla="*/ -367 w 43036"/>
                <a:gd name="connsiteY3" fmla="*/ -1688 h 6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" h="61816">
                  <a:moveTo>
                    <a:pt x="-367" y="-1688"/>
                  </a:moveTo>
                  <a:cubicBezTo>
                    <a:pt x="7126" y="6593"/>
                    <a:pt x="53583" y="58612"/>
                    <a:pt x="38305" y="60060"/>
                  </a:cubicBezTo>
                  <a:cubicBezTo>
                    <a:pt x="33301" y="60542"/>
                    <a:pt x="19115" y="51970"/>
                    <a:pt x="1805" y="39854"/>
                  </a:cubicBezTo>
                  <a:cubicBezTo>
                    <a:pt x="1450" y="34177"/>
                    <a:pt x="-4138" y="-3288"/>
                    <a:pt x="-367" y="-1688"/>
                  </a:cubicBez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9C36BACE-A3D8-463E-9190-EAF4D79DF5AF}"/>
                </a:ext>
              </a:extLst>
            </p:cNvPr>
            <p:cNvSpPr/>
            <p:nvPr/>
          </p:nvSpPr>
          <p:spPr>
            <a:xfrm flipV="1">
              <a:off x="6141954" y="3071259"/>
              <a:ext cx="255243" cy="365085"/>
            </a:xfrm>
            <a:custGeom>
              <a:avLst/>
              <a:gdLst>
                <a:gd name="connsiteX0" fmla="*/ 238754 w 255243"/>
                <a:gd name="connsiteY0" fmla="*/ 363604 h 365085"/>
                <a:gd name="connsiteX1" fmla="*/ 165285 w 255243"/>
                <a:gd name="connsiteY1" fmla="*/ 97044 h 365085"/>
                <a:gd name="connsiteX2" fmla="*/ -1834 w 255243"/>
                <a:gd name="connsiteY2" fmla="*/ 48086 h 365085"/>
                <a:gd name="connsiteX3" fmla="*/ 6383 w 255243"/>
                <a:gd name="connsiteY3" fmla="*/ -1482 h 365085"/>
                <a:gd name="connsiteX4" fmla="*/ 199625 w 255243"/>
                <a:gd name="connsiteY4" fmla="*/ 20082 h 365085"/>
                <a:gd name="connsiteX5" fmla="*/ 253409 w 255243"/>
                <a:gd name="connsiteY5" fmla="*/ 138459 h 365085"/>
                <a:gd name="connsiteX6" fmla="*/ 238754 w 255243"/>
                <a:gd name="connsiteY6" fmla="*/ 363604 h 36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5243" h="365085">
                  <a:moveTo>
                    <a:pt x="238754" y="363604"/>
                  </a:moveTo>
                  <a:lnTo>
                    <a:pt x="165285" y="97044"/>
                  </a:lnTo>
                  <a:lnTo>
                    <a:pt x="-1834" y="48086"/>
                  </a:lnTo>
                  <a:lnTo>
                    <a:pt x="6383" y="-1482"/>
                  </a:lnTo>
                  <a:lnTo>
                    <a:pt x="199625" y="20082"/>
                  </a:lnTo>
                  <a:lnTo>
                    <a:pt x="253409" y="138459"/>
                  </a:lnTo>
                  <a:lnTo>
                    <a:pt x="238754" y="363604"/>
                  </a:ln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AB3FB0D9-9819-431C-B46A-1AA258BA167F}"/>
                </a:ext>
              </a:extLst>
            </p:cNvPr>
            <p:cNvSpPr/>
            <p:nvPr/>
          </p:nvSpPr>
          <p:spPr>
            <a:xfrm flipV="1">
              <a:off x="6227057" y="4160091"/>
              <a:ext cx="709902" cy="111239"/>
            </a:xfrm>
            <a:custGeom>
              <a:avLst/>
              <a:gdLst>
                <a:gd name="connsiteX0" fmla="*/ 363965 w 709902"/>
                <a:gd name="connsiteY0" fmla="*/ -624 h 111239"/>
                <a:gd name="connsiteX1" fmla="*/ -2048 w 709902"/>
                <a:gd name="connsiteY1" fmla="*/ 55003 h 111239"/>
                <a:gd name="connsiteX2" fmla="*/ 255076 w 709902"/>
                <a:gd name="connsiteY2" fmla="*/ 108099 h 111239"/>
                <a:gd name="connsiteX3" fmla="*/ 262950 w 709902"/>
                <a:gd name="connsiteY3" fmla="*/ 106308 h 111239"/>
                <a:gd name="connsiteX4" fmla="*/ 272170 w 709902"/>
                <a:gd name="connsiteY4" fmla="*/ 108848 h 111239"/>
                <a:gd name="connsiteX5" fmla="*/ 363965 w 709902"/>
                <a:gd name="connsiteY5" fmla="*/ 110615 h 111239"/>
                <a:gd name="connsiteX6" fmla="*/ 434476 w 709902"/>
                <a:gd name="connsiteY6" fmla="*/ 109574 h 111239"/>
                <a:gd name="connsiteX7" fmla="*/ 430323 w 709902"/>
                <a:gd name="connsiteY7" fmla="*/ 90524 h 111239"/>
                <a:gd name="connsiteX8" fmla="*/ 279143 w 709902"/>
                <a:gd name="connsiteY8" fmla="*/ 30566 h 111239"/>
                <a:gd name="connsiteX9" fmla="*/ 396884 w 709902"/>
                <a:gd name="connsiteY9" fmla="*/ 1867 h 111239"/>
                <a:gd name="connsiteX10" fmla="*/ 432939 w 709902"/>
                <a:gd name="connsiteY10" fmla="*/ 2705 h 111239"/>
                <a:gd name="connsiteX11" fmla="*/ 432101 w 709902"/>
                <a:gd name="connsiteY11" fmla="*/ 329 h 111239"/>
                <a:gd name="connsiteX12" fmla="*/ 363965 w 709902"/>
                <a:gd name="connsiteY12" fmla="*/ -624 h 111239"/>
                <a:gd name="connsiteX13" fmla="*/ 569019 w 709902"/>
                <a:gd name="connsiteY13" fmla="*/ 8916 h 111239"/>
                <a:gd name="connsiteX14" fmla="*/ 664244 w 709902"/>
                <a:gd name="connsiteY14" fmla="*/ 35938 h 111239"/>
                <a:gd name="connsiteX15" fmla="*/ 677820 w 709902"/>
                <a:gd name="connsiteY15" fmla="*/ 35873 h 111239"/>
                <a:gd name="connsiteX16" fmla="*/ 662961 w 709902"/>
                <a:gd name="connsiteY16" fmla="*/ 22910 h 111239"/>
                <a:gd name="connsiteX17" fmla="*/ 569019 w 709902"/>
                <a:gd name="connsiteY17" fmla="*/ 8916 h 111239"/>
                <a:gd name="connsiteX18" fmla="*/ 524125 w 709902"/>
                <a:gd name="connsiteY18" fmla="*/ 36003 h 111239"/>
                <a:gd name="connsiteX19" fmla="*/ 532888 w 709902"/>
                <a:gd name="connsiteY19" fmla="*/ 104339 h 111239"/>
                <a:gd name="connsiteX20" fmla="*/ 610700 w 709902"/>
                <a:gd name="connsiteY20" fmla="*/ 96075 h 111239"/>
                <a:gd name="connsiteX21" fmla="*/ 608135 w 709902"/>
                <a:gd name="connsiteY21" fmla="*/ 82358 h 111239"/>
                <a:gd name="connsiteX22" fmla="*/ 614345 w 709902"/>
                <a:gd name="connsiteY22" fmla="*/ 61621 h 111239"/>
                <a:gd name="connsiteX23" fmla="*/ 524125 w 709902"/>
                <a:gd name="connsiteY23" fmla="*/ 36003 h 111239"/>
                <a:gd name="connsiteX24" fmla="*/ 707855 w 709902"/>
                <a:gd name="connsiteY24" fmla="*/ 74077 h 111239"/>
                <a:gd name="connsiteX25" fmla="*/ 682798 w 709902"/>
                <a:gd name="connsiteY25" fmla="*/ 74176 h 111239"/>
                <a:gd name="connsiteX26" fmla="*/ 683687 w 709902"/>
                <a:gd name="connsiteY26" fmla="*/ 82090 h 111239"/>
                <a:gd name="connsiteX27" fmla="*/ 707855 w 709902"/>
                <a:gd name="connsiteY27" fmla="*/ 74077 h 111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09902" h="111239">
                  <a:moveTo>
                    <a:pt x="363965" y="-624"/>
                  </a:moveTo>
                  <a:cubicBezTo>
                    <a:pt x="161820" y="-624"/>
                    <a:pt x="-2048" y="24279"/>
                    <a:pt x="-2048" y="55003"/>
                  </a:cubicBezTo>
                  <a:cubicBezTo>
                    <a:pt x="-2048" y="79946"/>
                    <a:pt x="106118" y="101065"/>
                    <a:pt x="255076" y="108099"/>
                  </a:cubicBezTo>
                  <a:cubicBezTo>
                    <a:pt x="257540" y="106909"/>
                    <a:pt x="260245" y="106308"/>
                    <a:pt x="262950" y="106308"/>
                  </a:cubicBezTo>
                  <a:cubicBezTo>
                    <a:pt x="266125" y="106308"/>
                    <a:pt x="269325" y="107147"/>
                    <a:pt x="272170" y="108848"/>
                  </a:cubicBezTo>
                  <a:cubicBezTo>
                    <a:pt x="301507" y="109995"/>
                    <a:pt x="332266" y="110615"/>
                    <a:pt x="363965" y="110615"/>
                  </a:cubicBezTo>
                  <a:cubicBezTo>
                    <a:pt x="388083" y="110615"/>
                    <a:pt x="411654" y="110258"/>
                    <a:pt x="434476" y="109574"/>
                  </a:cubicBezTo>
                  <a:cubicBezTo>
                    <a:pt x="434234" y="99771"/>
                    <a:pt x="432926" y="93192"/>
                    <a:pt x="430323" y="90524"/>
                  </a:cubicBezTo>
                  <a:cubicBezTo>
                    <a:pt x="401100" y="60564"/>
                    <a:pt x="284045" y="38389"/>
                    <a:pt x="279143" y="30566"/>
                  </a:cubicBezTo>
                  <a:cubicBezTo>
                    <a:pt x="291906" y="7964"/>
                    <a:pt x="344192" y="1867"/>
                    <a:pt x="396884" y="1867"/>
                  </a:cubicBezTo>
                  <a:cubicBezTo>
                    <a:pt x="409050" y="1867"/>
                    <a:pt x="421217" y="2184"/>
                    <a:pt x="432939" y="2705"/>
                  </a:cubicBezTo>
                  <a:cubicBezTo>
                    <a:pt x="432609" y="1941"/>
                    <a:pt x="432329" y="1143"/>
                    <a:pt x="432101" y="329"/>
                  </a:cubicBezTo>
                  <a:cubicBezTo>
                    <a:pt x="410028" y="-291"/>
                    <a:pt x="387245" y="-624"/>
                    <a:pt x="363965" y="-624"/>
                  </a:cubicBezTo>
                  <a:moveTo>
                    <a:pt x="569019" y="8916"/>
                  </a:moveTo>
                  <a:lnTo>
                    <a:pt x="664244" y="35938"/>
                  </a:lnTo>
                  <a:lnTo>
                    <a:pt x="677820" y="35873"/>
                  </a:lnTo>
                  <a:lnTo>
                    <a:pt x="662961" y="22910"/>
                  </a:lnTo>
                  <a:cubicBezTo>
                    <a:pt x="637459" y="17424"/>
                    <a:pt x="605608" y="12686"/>
                    <a:pt x="569019" y="8916"/>
                  </a:cubicBezTo>
                  <a:moveTo>
                    <a:pt x="524125" y="36003"/>
                  </a:moveTo>
                  <a:cubicBezTo>
                    <a:pt x="526207" y="52473"/>
                    <a:pt x="529218" y="76047"/>
                    <a:pt x="532888" y="104339"/>
                  </a:cubicBezTo>
                  <a:cubicBezTo>
                    <a:pt x="561209" y="102107"/>
                    <a:pt x="587333" y="99313"/>
                    <a:pt x="610700" y="96075"/>
                  </a:cubicBezTo>
                  <a:cubicBezTo>
                    <a:pt x="609049" y="91818"/>
                    <a:pt x="608135" y="87194"/>
                    <a:pt x="608135" y="82358"/>
                  </a:cubicBezTo>
                  <a:cubicBezTo>
                    <a:pt x="608135" y="74698"/>
                    <a:pt x="610421" y="67574"/>
                    <a:pt x="614345" y="61621"/>
                  </a:cubicBezTo>
                  <a:lnTo>
                    <a:pt x="524125" y="36003"/>
                  </a:lnTo>
                  <a:moveTo>
                    <a:pt x="707855" y="74077"/>
                  </a:moveTo>
                  <a:lnTo>
                    <a:pt x="682798" y="74176"/>
                  </a:lnTo>
                  <a:cubicBezTo>
                    <a:pt x="683357" y="76732"/>
                    <a:pt x="683662" y="79371"/>
                    <a:pt x="683687" y="82090"/>
                  </a:cubicBezTo>
                  <a:cubicBezTo>
                    <a:pt x="693073" y="79539"/>
                    <a:pt x="701175" y="76861"/>
                    <a:pt x="707855" y="74077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65AF8B02-06AF-400A-A69D-A29E08CA77A6}"/>
                </a:ext>
              </a:extLst>
            </p:cNvPr>
            <p:cNvSpPr/>
            <p:nvPr/>
          </p:nvSpPr>
          <p:spPr>
            <a:xfrm flipV="1">
              <a:off x="6848504" y="4161842"/>
              <a:ext cx="52996" cy="52998"/>
            </a:xfrm>
            <a:custGeom>
              <a:avLst/>
              <a:gdLst>
                <a:gd name="connsiteX0" fmla="*/ -2248 w 52996"/>
                <a:gd name="connsiteY0" fmla="*/ 25844 h 52998"/>
                <a:gd name="connsiteX1" fmla="*/ 24257 w 52996"/>
                <a:gd name="connsiteY1" fmla="*/ -648 h 52998"/>
                <a:gd name="connsiteX2" fmla="*/ 50749 w 52996"/>
                <a:gd name="connsiteY2" fmla="*/ 25844 h 52998"/>
                <a:gd name="connsiteX3" fmla="*/ 24257 w 52996"/>
                <a:gd name="connsiteY3" fmla="*/ 52350 h 52998"/>
                <a:gd name="connsiteX4" fmla="*/ -2248 w 52996"/>
                <a:gd name="connsiteY4" fmla="*/ 25844 h 5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96" h="52998">
                  <a:moveTo>
                    <a:pt x="-2248" y="25844"/>
                  </a:moveTo>
                  <a:cubicBezTo>
                    <a:pt x="-2248" y="11229"/>
                    <a:pt x="9627" y="-648"/>
                    <a:pt x="24257" y="-648"/>
                  </a:cubicBezTo>
                  <a:cubicBezTo>
                    <a:pt x="38900" y="-648"/>
                    <a:pt x="50749" y="11229"/>
                    <a:pt x="50749" y="25844"/>
                  </a:cubicBezTo>
                  <a:cubicBezTo>
                    <a:pt x="50749" y="40473"/>
                    <a:pt x="38900" y="52350"/>
                    <a:pt x="24257" y="52350"/>
                  </a:cubicBezTo>
                  <a:cubicBezTo>
                    <a:pt x="9627" y="52350"/>
                    <a:pt x="-2248" y="40473"/>
                    <a:pt x="-2248" y="2584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083D9C2C-A858-4C93-93C7-D2EBF501C3F3}"/>
                </a:ext>
              </a:extLst>
            </p:cNvPr>
            <p:cNvSpPr/>
            <p:nvPr/>
          </p:nvSpPr>
          <p:spPr>
            <a:xfrm flipV="1">
              <a:off x="6837239" y="4150566"/>
              <a:ext cx="75552" cy="75564"/>
            </a:xfrm>
            <a:custGeom>
              <a:avLst/>
              <a:gdLst>
                <a:gd name="connsiteX0" fmla="*/ 20308 w 75552"/>
                <a:gd name="connsiteY0" fmla="*/ 37134 h 75564"/>
                <a:gd name="connsiteX1" fmla="*/ 35522 w 75552"/>
                <a:gd name="connsiteY1" fmla="*/ 21918 h 75564"/>
                <a:gd name="connsiteX2" fmla="*/ 50749 w 75552"/>
                <a:gd name="connsiteY2" fmla="*/ 37134 h 75564"/>
                <a:gd name="connsiteX3" fmla="*/ 35522 w 75552"/>
                <a:gd name="connsiteY3" fmla="*/ 52349 h 75564"/>
                <a:gd name="connsiteX4" fmla="*/ 20308 w 75552"/>
                <a:gd name="connsiteY4" fmla="*/ 37134 h 75564"/>
                <a:gd name="connsiteX5" fmla="*/ -2248 w 75552"/>
                <a:gd name="connsiteY5" fmla="*/ 37134 h 75564"/>
                <a:gd name="connsiteX6" fmla="*/ 35522 w 75552"/>
                <a:gd name="connsiteY6" fmla="*/ 74916 h 75564"/>
                <a:gd name="connsiteX7" fmla="*/ 73304 w 75552"/>
                <a:gd name="connsiteY7" fmla="*/ 37134 h 75564"/>
                <a:gd name="connsiteX8" fmla="*/ 35522 w 75552"/>
                <a:gd name="connsiteY8" fmla="*/ -648 h 75564"/>
                <a:gd name="connsiteX9" fmla="*/ -2248 w 75552"/>
                <a:gd name="connsiteY9" fmla="*/ 37134 h 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552" h="75564">
                  <a:moveTo>
                    <a:pt x="20308" y="37134"/>
                  </a:moveTo>
                  <a:cubicBezTo>
                    <a:pt x="20308" y="28749"/>
                    <a:pt x="27128" y="21918"/>
                    <a:pt x="35522" y="21918"/>
                  </a:cubicBezTo>
                  <a:cubicBezTo>
                    <a:pt x="43904" y="21918"/>
                    <a:pt x="50749" y="28749"/>
                    <a:pt x="50749" y="37134"/>
                  </a:cubicBezTo>
                  <a:cubicBezTo>
                    <a:pt x="50749" y="45527"/>
                    <a:pt x="43904" y="52349"/>
                    <a:pt x="35522" y="52349"/>
                  </a:cubicBezTo>
                  <a:cubicBezTo>
                    <a:pt x="27128" y="52349"/>
                    <a:pt x="20308" y="45527"/>
                    <a:pt x="20308" y="37134"/>
                  </a:cubicBezTo>
                  <a:moveTo>
                    <a:pt x="-2248" y="37134"/>
                  </a:moveTo>
                  <a:cubicBezTo>
                    <a:pt x="-2248" y="57975"/>
                    <a:pt x="14694" y="74916"/>
                    <a:pt x="35522" y="74916"/>
                  </a:cubicBezTo>
                  <a:cubicBezTo>
                    <a:pt x="56350" y="74916"/>
                    <a:pt x="73304" y="57975"/>
                    <a:pt x="73304" y="37134"/>
                  </a:cubicBezTo>
                  <a:cubicBezTo>
                    <a:pt x="73304" y="16307"/>
                    <a:pt x="56350" y="-648"/>
                    <a:pt x="35522" y="-648"/>
                  </a:cubicBezTo>
                  <a:cubicBezTo>
                    <a:pt x="14694" y="-648"/>
                    <a:pt x="-2248" y="16307"/>
                    <a:pt x="-2248" y="3713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EE41E75D-2EE4-4957-87C9-8611AEB2DBF1}"/>
                </a:ext>
              </a:extLst>
            </p:cNvPr>
            <p:cNvSpPr/>
            <p:nvPr/>
          </p:nvSpPr>
          <p:spPr>
            <a:xfrm flipV="1">
              <a:off x="6833823" y="4147162"/>
              <a:ext cx="82372" cy="41185"/>
            </a:xfrm>
            <a:custGeom>
              <a:avLst/>
              <a:gdLst>
                <a:gd name="connsiteX0" fmla="*/ -2248 w 82372"/>
                <a:gd name="connsiteY0" fmla="*/ -667 h 41185"/>
                <a:gd name="connsiteX1" fmla="*/ -2248 w 82372"/>
                <a:gd name="connsiteY1" fmla="*/ -667 h 41185"/>
                <a:gd name="connsiteX2" fmla="*/ 38938 w 82372"/>
                <a:gd name="connsiteY2" fmla="*/ 40519 h 41185"/>
                <a:gd name="connsiteX3" fmla="*/ 80125 w 82372"/>
                <a:gd name="connsiteY3" fmla="*/ -667 h 41185"/>
                <a:gd name="connsiteX4" fmla="*/ -2248 w 82372"/>
                <a:gd name="connsiteY4" fmla="*/ -667 h 4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72" h="41185">
                  <a:moveTo>
                    <a:pt x="-2248" y="-667"/>
                  </a:moveTo>
                  <a:lnTo>
                    <a:pt x="-2248" y="-667"/>
                  </a:lnTo>
                  <a:cubicBezTo>
                    <a:pt x="-2248" y="22053"/>
                    <a:pt x="16231" y="40519"/>
                    <a:pt x="38938" y="40519"/>
                  </a:cubicBezTo>
                  <a:cubicBezTo>
                    <a:pt x="61646" y="40519"/>
                    <a:pt x="80125" y="22053"/>
                    <a:pt x="80125" y="-667"/>
                  </a:cubicBezTo>
                  <a:lnTo>
                    <a:pt x="-2248" y="-667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3E6FFB1F-6D9D-49E9-AE7D-E16A4847392C}"/>
                </a:ext>
              </a:extLst>
            </p:cNvPr>
            <p:cNvSpPr/>
            <p:nvPr/>
          </p:nvSpPr>
          <p:spPr>
            <a:xfrm flipV="1">
              <a:off x="6264928" y="4161842"/>
              <a:ext cx="52996" cy="52998"/>
            </a:xfrm>
            <a:custGeom>
              <a:avLst/>
              <a:gdLst>
                <a:gd name="connsiteX0" fmla="*/ -1849 w 52996"/>
                <a:gd name="connsiteY0" fmla="*/ 25844 h 52998"/>
                <a:gd name="connsiteX1" fmla="*/ 24655 w 52996"/>
                <a:gd name="connsiteY1" fmla="*/ -648 h 52998"/>
                <a:gd name="connsiteX2" fmla="*/ 51148 w 52996"/>
                <a:gd name="connsiteY2" fmla="*/ 25844 h 52998"/>
                <a:gd name="connsiteX3" fmla="*/ 24655 w 52996"/>
                <a:gd name="connsiteY3" fmla="*/ 52350 h 52998"/>
                <a:gd name="connsiteX4" fmla="*/ -1849 w 52996"/>
                <a:gd name="connsiteY4" fmla="*/ 25844 h 5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96" h="52998">
                  <a:moveTo>
                    <a:pt x="-1849" y="25844"/>
                  </a:moveTo>
                  <a:cubicBezTo>
                    <a:pt x="-1849" y="11229"/>
                    <a:pt x="10025" y="-648"/>
                    <a:pt x="24655" y="-648"/>
                  </a:cubicBezTo>
                  <a:cubicBezTo>
                    <a:pt x="39286" y="-648"/>
                    <a:pt x="51148" y="11229"/>
                    <a:pt x="51148" y="25844"/>
                  </a:cubicBezTo>
                  <a:cubicBezTo>
                    <a:pt x="51148" y="40473"/>
                    <a:pt x="39286" y="52350"/>
                    <a:pt x="24655" y="52350"/>
                  </a:cubicBezTo>
                  <a:cubicBezTo>
                    <a:pt x="10025" y="52350"/>
                    <a:pt x="-1849" y="40473"/>
                    <a:pt x="-1849" y="2584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58457CA3-0F05-4835-9911-FFDBBC593BD9}"/>
                </a:ext>
              </a:extLst>
            </p:cNvPr>
            <p:cNvSpPr/>
            <p:nvPr/>
          </p:nvSpPr>
          <p:spPr>
            <a:xfrm flipV="1">
              <a:off x="6253663" y="4150566"/>
              <a:ext cx="75552" cy="75564"/>
            </a:xfrm>
            <a:custGeom>
              <a:avLst/>
              <a:gdLst>
                <a:gd name="connsiteX0" fmla="*/ 20706 w 75552"/>
                <a:gd name="connsiteY0" fmla="*/ 37134 h 75564"/>
                <a:gd name="connsiteX1" fmla="*/ 35908 w 75552"/>
                <a:gd name="connsiteY1" fmla="*/ 21918 h 75564"/>
                <a:gd name="connsiteX2" fmla="*/ 51122 w 75552"/>
                <a:gd name="connsiteY2" fmla="*/ 37134 h 75564"/>
                <a:gd name="connsiteX3" fmla="*/ 35908 w 75552"/>
                <a:gd name="connsiteY3" fmla="*/ 52349 h 75564"/>
                <a:gd name="connsiteX4" fmla="*/ 20706 w 75552"/>
                <a:gd name="connsiteY4" fmla="*/ 37134 h 75564"/>
                <a:gd name="connsiteX5" fmla="*/ -1849 w 75552"/>
                <a:gd name="connsiteY5" fmla="*/ 37134 h 75564"/>
                <a:gd name="connsiteX6" fmla="*/ 35908 w 75552"/>
                <a:gd name="connsiteY6" fmla="*/ 74916 h 75564"/>
                <a:gd name="connsiteX7" fmla="*/ 73703 w 75552"/>
                <a:gd name="connsiteY7" fmla="*/ 37134 h 75564"/>
                <a:gd name="connsiteX8" fmla="*/ 35908 w 75552"/>
                <a:gd name="connsiteY8" fmla="*/ -648 h 75564"/>
                <a:gd name="connsiteX9" fmla="*/ -1849 w 75552"/>
                <a:gd name="connsiteY9" fmla="*/ 37134 h 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552" h="75564">
                  <a:moveTo>
                    <a:pt x="20706" y="37134"/>
                  </a:moveTo>
                  <a:cubicBezTo>
                    <a:pt x="20706" y="28749"/>
                    <a:pt x="27526" y="21918"/>
                    <a:pt x="35908" y="21918"/>
                  </a:cubicBezTo>
                  <a:cubicBezTo>
                    <a:pt x="44302" y="21918"/>
                    <a:pt x="51122" y="28749"/>
                    <a:pt x="51122" y="37134"/>
                  </a:cubicBezTo>
                  <a:cubicBezTo>
                    <a:pt x="51122" y="45527"/>
                    <a:pt x="44302" y="52349"/>
                    <a:pt x="35908" y="52349"/>
                  </a:cubicBezTo>
                  <a:cubicBezTo>
                    <a:pt x="27526" y="52349"/>
                    <a:pt x="20706" y="45527"/>
                    <a:pt x="20706" y="37134"/>
                  </a:cubicBezTo>
                  <a:close/>
                  <a:moveTo>
                    <a:pt x="-1849" y="37134"/>
                  </a:moveTo>
                  <a:cubicBezTo>
                    <a:pt x="-1849" y="57975"/>
                    <a:pt x="15092" y="74916"/>
                    <a:pt x="35908" y="74916"/>
                  </a:cubicBezTo>
                  <a:cubicBezTo>
                    <a:pt x="56748" y="74916"/>
                    <a:pt x="73703" y="57975"/>
                    <a:pt x="73703" y="37134"/>
                  </a:cubicBezTo>
                  <a:cubicBezTo>
                    <a:pt x="73703" y="16307"/>
                    <a:pt x="56748" y="-648"/>
                    <a:pt x="35908" y="-648"/>
                  </a:cubicBezTo>
                  <a:cubicBezTo>
                    <a:pt x="15092" y="-648"/>
                    <a:pt x="-1849" y="16307"/>
                    <a:pt x="-1849" y="3713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58116C17-17C2-4851-8B67-BE0E6AABC405}"/>
                </a:ext>
              </a:extLst>
            </p:cNvPr>
            <p:cNvSpPr/>
            <p:nvPr/>
          </p:nvSpPr>
          <p:spPr>
            <a:xfrm flipV="1">
              <a:off x="6250247" y="4147162"/>
              <a:ext cx="82359" cy="41185"/>
            </a:xfrm>
            <a:custGeom>
              <a:avLst/>
              <a:gdLst>
                <a:gd name="connsiteX0" fmla="*/ -1849 w 82359"/>
                <a:gd name="connsiteY0" fmla="*/ -667 h 41185"/>
                <a:gd name="connsiteX1" fmla="*/ -1849 w 82359"/>
                <a:gd name="connsiteY1" fmla="*/ -667 h 41185"/>
                <a:gd name="connsiteX2" fmla="*/ 39337 w 82359"/>
                <a:gd name="connsiteY2" fmla="*/ 40519 h 41185"/>
                <a:gd name="connsiteX3" fmla="*/ 80510 w 82359"/>
                <a:gd name="connsiteY3" fmla="*/ -667 h 41185"/>
                <a:gd name="connsiteX4" fmla="*/ -1849 w 82359"/>
                <a:gd name="connsiteY4" fmla="*/ -667 h 4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59" h="41185">
                  <a:moveTo>
                    <a:pt x="-1849" y="-667"/>
                  </a:moveTo>
                  <a:lnTo>
                    <a:pt x="-1849" y="-667"/>
                  </a:lnTo>
                  <a:cubicBezTo>
                    <a:pt x="-1849" y="22053"/>
                    <a:pt x="16629" y="40519"/>
                    <a:pt x="39337" y="40519"/>
                  </a:cubicBezTo>
                  <a:cubicBezTo>
                    <a:pt x="62044" y="40519"/>
                    <a:pt x="80510" y="22053"/>
                    <a:pt x="80510" y="-667"/>
                  </a:cubicBezTo>
                  <a:lnTo>
                    <a:pt x="-1849" y="-667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E39B2935-8558-4016-A8AF-DDC1D176538B}"/>
                </a:ext>
              </a:extLst>
            </p:cNvPr>
            <p:cNvSpPr/>
            <p:nvPr/>
          </p:nvSpPr>
          <p:spPr>
            <a:xfrm flipV="1">
              <a:off x="6447033" y="4161842"/>
              <a:ext cx="52984" cy="52998"/>
            </a:xfrm>
            <a:custGeom>
              <a:avLst/>
              <a:gdLst>
                <a:gd name="connsiteX0" fmla="*/ -1974 w 52984"/>
                <a:gd name="connsiteY0" fmla="*/ 25844 h 52998"/>
                <a:gd name="connsiteX1" fmla="*/ 24519 w 52984"/>
                <a:gd name="connsiteY1" fmla="*/ -648 h 52998"/>
                <a:gd name="connsiteX2" fmla="*/ 51011 w 52984"/>
                <a:gd name="connsiteY2" fmla="*/ 25844 h 52998"/>
                <a:gd name="connsiteX3" fmla="*/ 24519 w 52984"/>
                <a:gd name="connsiteY3" fmla="*/ 52350 h 52998"/>
                <a:gd name="connsiteX4" fmla="*/ -1974 w 52984"/>
                <a:gd name="connsiteY4" fmla="*/ 25844 h 5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84" h="52998">
                  <a:moveTo>
                    <a:pt x="-1974" y="25844"/>
                  </a:moveTo>
                  <a:cubicBezTo>
                    <a:pt x="-1974" y="11229"/>
                    <a:pt x="9888" y="-648"/>
                    <a:pt x="24519" y="-648"/>
                  </a:cubicBezTo>
                  <a:cubicBezTo>
                    <a:pt x="39149" y="-648"/>
                    <a:pt x="51011" y="11229"/>
                    <a:pt x="51011" y="25844"/>
                  </a:cubicBezTo>
                  <a:cubicBezTo>
                    <a:pt x="51011" y="40473"/>
                    <a:pt x="39149" y="52350"/>
                    <a:pt x="24519" y="52350"/>
                  </a:cubicBezTo>
                  <a:cubicBezTo>
                    <a:pt x="9888" y="52350"/>
                    <a:pt x="-1974" y="40473"/>
                    <a:pt x="-1974" y="2584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7560E757-15F2-4D68-8D80-6141F04ACA21}"/>
                </a:ext>
              </a:extLst>
            </p:cNvPr>
            <p:cNvSpPr/>
            <p:nvPr/>
          </p:nvSpPr>
          <p:spPr>
            <a:xfrm flipV="1">
              <a:off x="6435743" y="4150566"/>
              <a:ext cx="75564" cy="75564"/>
            </a:xfrm>
            <a:custGeom>
              <a:avLst/>
              <a:gdLst>
                <a:gd name="connsiteX0" fmla="*/ 20594 w 75564"/>
                <a:gd name="connsiteY0" fmla="*/ 37134 h 75564"/>
                <a:gd name="connsiteX1" fmla="*/ 35809 w 75564"/>
                <a:gd name="connsiteY1" fmla="*/ 21918 h 75564"/>
                <a:gd name="connsiteX2" fmla="*/ 51023 w 75564"/>
                <a:gd name="connsiteY2" fmla="*/ 37134 h 75564"/>
                <a:gd name="connsiteX3" fmla="*/ 35809 w 75564"/>
                <a:gd name="connsiteY3" fmla="*/ 52349 h 75564"/>
                <a:gd name="connsiteX4" fmla="*/ 20594 w 75564"/>
                <a:gd name="connsiteY4" fmla="*/ 37134 h 75564"/>
                <a:gd name="connsiteX5" fmla="*/ -1974 w 75564"/>
                <a:gd name="connsiteY5" fmla="*/ 37134 h 75564"/>
                <a:gd name="connsiteX6" fmla="*/ 35809 w 75564"/>
                <a:gd name="connsiteY6" fmla="*/ 74916 h 75564"/>
                <a:gd name="connsiteX7" fmla="*/ 73591 w 75564"/>
                <a:gd name="connsiteY7" fmla="*/ 37134 h 75564"/>
                <a:gd name="connsiteX8" fmla="*/ 35809 w 75564"/>
                <a:gd name="connsiteY8" fmla="*/ -648 h 75564"/>
                <a:gd name="connsiteX9" fmla="*/ -1974 w 75564"/>
                <a:gd name="connsiteY9" fmla="*/ 37134 h 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564" h="75564">
                  <a:moveTo>
                    <a:pt x="20594" y="37134"/>
                  </a:moveTo>
                  <a:cubicBezTo>
                    <a:pt x="20594" y="28749"/>
                    <a:pt x="27414" y="21918"/>
                    <a:pt x="35809" y="21918"/>
                  </a:cubicBezTo>
                  <a:cubicBezTo>
                    <a:pt x="44191" y="21918"/>
                    <a:pt x="51023" y="28749"/>
                    <a:pt x="51023" y="37134"/>
                  </a:cubicBezTo>
                  <a:cubicBezTo>
                    <a:pt x="51023" y="45527"/>
                    <a:pt x="44191" y="52349"/>
                    <a:pt x="35809" y="52349"/>
                  </a:cubicBezTo>
                  <a:cubicBezTo>
                    <a:pt x="27414" y="52349"/>
                    <a:pt x="20594" y="45527"/>
                    <a:pt x="20594" y="37134"/>
                  </a:cubicBezTo>
                  <a:close/>
                  <a:moveTo>
                    <a:pt x="-1974" y="37134"/>
                  </a:moveTo>
                  <a:cubicBezTo>
                    <a:pt x="-1974" y="57975"/>
                    <a:pt x="14968" y="74916"/>
                    <a:pt x="35809" y="74916"/>
                  </a:cubicBezTo>
                  <a:cubicBezTo>
                    <a:pt x="56637" y="74916"/>
                    <a:pt x="73591" y="57975"/>
                    <a:pt x="73591" y="37134"/>
                  </a:cubicBezTo>
                  <a:cubicBezTo>
                    <a:pt x="73591" y="16307"/>
                    <a:pt x="56637" y="-648"/>
                    <a:pt x="35809" y="-648"/>
                  </a:cubicBezTo>
                  <a:cubicBezTo>
                    <a:pt x="14968" y="-648"/>
                    <a:pt x="-1974" y="16307"/>
                    <a:pt x="-1974" y="3713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F187D221-0DE8-4533-9FCB-C8E45A2C3F69}"/>
                </a:ext>
              </a:extLst>
            </p:cNvPr>
            <p:cNvSpPr/>
            <p:nvPr/>
          </p:nvSpPr>
          <p:spPr>
            <a:xfrm flipV="1">
              <a:off x="6432339" y="4147162"/>
              <a:ext cx="82371" cy="41185"/>
            </a:xfrm>
            <a:custGeom>
              <a:avLst/>
              <a:gdLst>
                <a:gd name="connsiteX0" fmla="*/ -1974 w 82371"/>
                <a:gd name="connsiteY0" fmla="*/ -667 h 41185"/>
                <a:gd name="connsiteX1" fmla="*/ -1974 w 82371"/>
                <a:gd name="connsiteY1" fmla="*/ -667 h 41185"/>
                <a:gd name="connsiteX2" fmla="*/ 39212 w 82371"/>
                <a:gd name="connsiteY2" fmla="*/ 40519 h 41185"/>
                <a:gd name="connsiteX3" fmla="*/ 80398 w 82371"/>
                <a:gd name="connsiteY3" fmla="*/ -667 h 41185"/>
                <a:gd name="connsiteX4" fmla="*/ -1974 w 82371"/>
                <a:gd name="connsiteY4" fmla="*/ -667 h 4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71" h="41185">
                  <a:moveTo>
                    <a:pt x="-1974" y="-667"/>
                  </a:moveTo>
                  <a:lnTo>
                    <a:pt x="-1974" y="-667"/>
                  </a:lnTo>
                  <a:cubicBezTo>
                    <a:pt x="-1974" y="22053"/>
                    <a:pt x="16505" y="40519"/>
                    <a:pt x="39212" y="40519"/>
                  </a:cubicBezTo>
                  <a:cubicBezTo>
                    <a:pt x="61920" y="40519"/>
                    <a:pt x="80398" y="22053"/>
                    <a:pt x="80398" y="-667"/>
                  </a:cubicBezTo>
                  <a:lnTo>
                    <a:pt x="-1974" y="-667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36B79F6-081C-4325-BFBA-7571C485B10D}"/>
                </a:ext>
              </a:extLst>
            </p:cNvPr>
            <p:cNvSpPr/>
            <p:nvPr/>
          </p:nvSpPr>
          <p:spPr>
            <a:xfrm flipV="1">
              <a:off x="6675442" y="4161842"/>
              <a:ext cx="52984" cy="52998"/>
            </a:xfrm>
            <a:custGeom>
              <a:avLst/>
              <a:gdLst>
                <a:gd name="connsiteX0" fmla="*/ -2130 w 52984"/>
                <a:gd name="connsiteY0" fmla="*/ 25844 h 52998"/>
                <a:gd name="connsiteX1" fmla="*/ 24363 w 52984"/>
                <a:gd name="connsiteY1" fmla="*/ -648 h 52998"/>
                <a:gd name="connsiteX2" fmla="*/ 50855 w 52984"/>
                <a:gd name="connsiteY2" fmla="*/ 25844 h 52998"/>
                <a:gd name="connsiteX3" fmla="*/ 24363 w 52984"/>
                <a:gd name="connsiteY3" fmla="*/ 52350 h 52998"/>
                <a:gd name="connsiteX4" fmla="*/ -2130 w 52984"/>
                <a:gd name="connsiteY4" fmla="*/ 25844 h 5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84" h="52998">
                  <a:moveTo>
                    <a:pt x="-2130" y="25844"/>
                  </a:moveTo>
                  <a:cubicBezTo>
                    <a:pt x="-2130" y="11229"/>
                    <a:pt x="9732" y="-648"/>
                    <a:pt x="24363" y="-648"/>
                  </a:cubicBezTo>
                  <a:cubicBezTo>
                    <a:pt x="39006" y="-648"/>
                    <a:pt x="50855" y="11229"/>
                    <a:pt x="50855" y="25844"/>
                  </a:cubicBezTo>
                  <a:cubicBezTo>
                    <a:pt x="50855" y="40473"/>
                    <a:pt x="39006" y="52350"/>
                    <a:pt x="24363" y="52350"/>
                  </a:cubicBezTo>
                  <a:cubicBezTo>
                    <a:pt x="9732" y="52350"/>
                    <a:pt x="-2130" y="40473"/>
                    <a:pt x="-2130" y="2584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76D6CAE4-9E92-42DF-B2C5-2B9556ED7170}"/>
                </a:ext>
              </a:extLst>
            </p:cNvPr>
            <p:cNvSpPr/>
            <p:nvPr/>
          </p:nvSpPr>
          <p:spPr>
            <a:xfrm flipV="1">
              <a:off x="6664164" y="4150566"/>
              <a:ext cx="75552" cy="75564"/>
            </a:xfrm>
            <a:custGeom>
              <a:avLst/>
              <a:gdLst>
                <a:gd name="connsiteX0" fmla="*/ 20426 w 75552"/>
                <a:gd name="connsiteY0" fmla="*/ 37134 h 75564"/>
                <a:gd name="connsiteX1" fmla="*/ 35640 w 75552"/>
                <a:gd name="connsiteY1" fmla="*/ 21918 h 75564"/>
                <a:gd name="connsiteX2" fmla="*/ 50868 w 75552"/>
                <a:gd name="connsiteY2" fmla="*/ 37134 h 75564"/>
                <a:gd name="connsiteX3" fmla="*/ 35640 w 75552"/>
                <a:gd name="connsiteY3" fmla="*/ 52349 h 75564"/>
                <a:gd name="connsiteX4" fmla="*/ 20426 w 75552"/>
                <a:gd name="connsiteY4" fmla="*/ 37134 h 75564"/>
                <a:gd name="connsiteX5" fmla="*/ -2130 w 75552"/>
                <a:gd name="connsiteY5" fmla="*/ 37134 h 75564"/>
                <a:gd name="connsiteX6" fmla="*/ 35640 w 75552"/>
                <a:gd name="connsiteY6" fmla="*/ 74916 h 75564"/>
                <a:gd name="connsiteX7" fmla="*/ 73423 w 75552"/>
                <a:gd name="connsiteY7" fmla="*/ 37134 h 75564"/>
                <a:gd name="connsiteX8" fmla="*/ 35640 w 75552"/>
                <a:gd name="connsiteY8" fmla="*/ -648 h 75564"/>
                <a:gd name="connsiteX9" fmla="*/ -2130 w 75552"/>
                <a:gd name="connsiteY9" fmla="*/ 37134 h 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552" h="75564">
                  <a:moveTo>
                    <a:pt x="20426" y="37134"/>
                  </a:moveTo>
                  <a:cubicBezTo>
                    <a:pt x="20426" y="28749"/>
                    <a:pt x="27258" y="21918"/>
                    <a:pt x="35640" y="21918"/>
                  </a:cubicBezTo>
                  <a:cubicBezTo>
                    <a:pt x="44048" y="21918"/>
                    <a:pt x="50868" y="28749"/>
                    <a:pt x="50868" y="37134"/>
                  </a:cubicBezTo>
                  <a:cubicBezTo>
                    <a:pt x="50868" y="45527"/>
                    <a:pt x="44048" y="52349"/>
                    <a:pt x="35640" y="52349"/>
                  </a:cubicBezTo>
                  <a:cubicBezTo>
                    <a:pt x="27258" y="52349"/>
                    <a:pt x="20426" y="45527"/>
                    <a:pt x="20426" y="37134"/>
                  </a:cubicBezTo>
                  <a:close/>
                  <a:moveTo>
                    <a:pt x="-2130" y="37134"/>
                  </a:moveTo>
                  <a:cubicBezTo>
                    <a:pt x="-2130" y="57975"/>
                    <a:pt x="14825" y="74916"/>
                    <a:pt x="35640" y="74916"/>
                  </a:cubicBezTo>
                  <a:cubicBezTo>
                    <a:pt x="56481" y="74916"/>
                    <a:pt x="73423" y="57975"/>
                    <a:pt x="73423" y="37134"/>
                  </a:cubicBezTo>
                  <a:cubicBezTo>
                    <a:pt x="73423" y="16307"/>
                    <a:pt x="56481" y="-648"/>
                    <a:pt x="35640" y="-648"/>
                  </a:cubicBezTo>
                  <a:cubicBezTo>
                    <a:pt x="14825" y="-648"/>
                    <a:pt x="-2130" y="16307"/>
                    <a:pt x="-2130" y="3713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8EB46FA2-79EB-4808-B2CB-C5784A730B24}"/>
                </a:ext>
              </a:extLst>
            </p:cNvPr>
            <p:cNvSpPr/>
            <p:nvPr/>
          </p:nvSpPr>
          <p:spPr>
            <a:xfrm flipV="1">
              <a:off x="6660748" y="4147162"/>
              <a:ext cx="82384" cy="41185"/>
            </a:xfrm>
            <a:custGeom>
              <a:avLst/>
              <a:gdLst>
                <a:gd name="connsiteX0" fmla="*/ -2130 w 82384"/>
                <a:gd name="connsiteY0" fmla="*/ -667 h 41185"/>
                <a:gd name="connsiteX1" fmla="*/ -2130 w 82384"/>
                <a:gd name="connsiteY1" fmla="*/ -667 h 41185"/>
                <a:gd name="connsiteX2" fmla="*/ 39057 w 82384"/>
                <a:gd name="connsiteY2" fmla="*/ 40519 h 41185"/>
                <a:gd name="connsiteX3" fmla="*/ 80255 w 82384"/>
                <a:gd name="connsiteY3" fmla="*/ -667 h 41185"/>
                <a:gd name="connsiteX4" fmla="*/ -2130 w 82384"/>
                <a:gd name="connsiteY4" fmla="*/ -667 h 41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" h="41185">
                  <a:moveTo>
                    <a:pt x="-2130" y="-667"/>
                  </a:moveTo>
                  <a:lnTo>
                    <a:pt x="-2130" y="-667"/>
                  </a:lnTo>
                  <a:cubicBezTo>
                    <a:pt x="-2130" y="22053"/>
                    <a:pt x="16349" y="40519"/>
                    <a:pt x="39057" y="40519"/>
                  </a:cubicBezTo>
                  <a:cubicBezTo>
                    <a:pt x="61764" y="40519"/>
                    <a:pt x="80255" y="22053"/>
                    <a:pt x="80255" y="-667"/>
                  </a:cubicBezTo>
                  <a:lnTo>
                    <a:pt x="-2130" y="-667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8394233C-E50A-4B37-B9FF-D54A5121736B}"/>
                </a:ext>
              </a:extLst>
            </p:cNvPr>
            <p:cNvSpPr/>
            <p:nvPr/>
          </p:nvSpPr>
          <p:spPr>
            <a:xfrm flipV="1">
              <a:off x="6565739" y="3758124"/>
              <a:ext cx="30924" cy="331570"/>
            </a:xfrm>
            <a:custGeom>
              <a:avLst/>
              <a:gdLst>
                <a:gd name="connsiteX0" fmla="*/ -2047 w 30924"/>
                <a:gd name="connsiteY0" fmla="*/ -884 h 331570"/>
                <a:gd name="connsiteX1" fmla="*/ 28877 w 30924"/>
                <a:gd name="connsiteY1" fmla="*/ -884 h 331570"/>
                <a:gd name="connsiteX2" fmla="*/ 28877 w 30924"/>
                <a:gd name="connsiteY2" fmla="*/ 330686 h 331570"/>
                <a:gd name="connsiteX3" fmla="*/ -2047 w 30924"/>
                <a:gd name="connsiteY3" fmla="*/ 330686 h 331570"/>
                <a:gd name="connsiteX4" fmla="*/ -2047 w 30924"/>
                <a:gd name="connsiteY4" fmla="*/ -884 h 33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24" h="331570">
                  <a:moveTo>
                    <a:pt x="-2047" y="-884"/>
                  </a:moveTo>
                  <a:lnTo>
                    <a:pt x="28877" y="-884"/>
                  </a:lnTo>
                  <a:lnTo>
                    <a:pt x="28877" y="330686"/>
                  </a:lnTo>
                  <a:lnTo>
                    <a:pt x="-2047" y="330686"/>
                  </a:lnTo>
                  <a:lnTo>
                    <a:pt x="-2047" y="-884"/>
                  </a:lnTo>
                </a:path>
              </a:pathLst>
            </a:custGeom>
            <a:solidFill>
              <a:srgbClr val="A5A5A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D67ED58B-1D2D-4D1C-A9A5-C4A143CB6EE3}"/>
                </a:ext>
              </a:extLst>
            </p:cNvPr>
            <p:cNvSpPr/>
            <p:nvPr/>
          </p:nvSpPr>
          <p:spPr>
            <a:xfrm flipV="1">
              <a:off x="6586301" y="3758124"/>
              <a:ext cx="6768" cy="331570"/>
            </a:xfrm>
            <a:custGeom>
              <a:avLst/>
              <a:gdLst>
                <a:gd name="connsiteX0" fmla="*/ -2053 w 6768"/>
                <a:gd name="connsiteY0" fmla="*/ -884 h 331570"/>
                <a:gd name="connsiteX1" fmla="*/ 4716 w 6768"/>
                <a:gd name="connsiteY1" fmla="*/ -884 h 331570"/>
                <a:gd name="connsiteX2" fmla="*/ 4716 w 6768"/>
                <a:gd name="connsiteY2" fmla="*/ 330686 h 331570"/>
                <a:gd name="connsiteX3" fmla="*/ -2053 w 6768"/>
                <a:gd name="connsiteY3" fmla="*/ 330686 h 331570"/>
                <a:gd name="connsiteX4" fmla="*/ -2053 w 6768"/>
                <a:gd name="connsiteY4" fmla="*/ -884 h 33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8" h="331570">
                  <a:moveTo>
                    <a:pt x="-2053" y="-884"/>
                  </a:moveTo>
                  <a:lnTo>
                    <a:pt x="4716" y="-884"/>
                  </a:lnTo>
                  <a:lnTo>
                    <a:pt x="4716" y="330686"/>
                  </a:lnTo>
                  <a:lnTo>
                    <a:pt x="-2053" y="330686"/>
                  </a:lnTo>
                  <a:lnTo>
                    <a:pt x="-2053" y="-884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1DD00B2-9111-44D2-87D2-A987C5B518DB}"/>
                </a:ext>
              </a:extLst>
            </p:cNvPr>
            <p:cNvSpPr/>
            <p:nvPr/>
          </p:nvSpPr>
          <p:spPr>
            <a:xfrm flipV="1">
              <a:off x="6548887" y="3758124"/>
              <a:ext cx="66090" cy="126618"/>
            </a:xfrm>
            <a:custGeom>
              <a:avLst/>
              <a:gdLst>
                <a:gd name="connsiteX0" fmla="*/ -2048 w 66090"/>
                <a:gd name="connsiteY0" fmla="*/ -976 h 126618"/>
                <a:gd name="connsiteX1" fmla="*/ 64043 w 66090"/>
                <a:gd name="connsiteY1" fmla="*/ -976 h 126618"/>
                <a:gd name="connsiteX2" fmla="*/ 64043 w 66090"/>
                <a:gd name="connsiteY2" fmla="*/ 125643 h 126618"/>
                <a:gd name="connsiteX3" fmla="*/ -2048 w 66090"/>
                <a:gd name="connsiteY3" fmla="*/ 125643 h 126618"/>
                <a:gd name="connsiteX4" fmla="*/ -2048 w 66090"/>
                <a:gd name="connsiteY4" fmla="*/ -976 h 126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90" h="126618">
                  <a:moveTo>
                    <a:pt x="-2048" y="-976"/>
                  </a:moveTo>
                  <a:lnTo>
                    <a:pt x="64043" y="-976"/>
                  </a:lnTo>
                  <a:lnTo>
                    <a:pt x="64043" y="125643"/>
                  </a:lnTo>
                  <a:lnTo>
                    <a:pt x="-2048" y="125643"/>
                  </a:lnTo>
                  <a:lnTo>
                    <a:pt x="-2048" y="-976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3522C4B9-55ED-4969-942C-24E287F08144}"/>
                </a:ext>
              </a:extLst>
            </p:cNvPr>
            <p:cNvSpPr/>
            <p:nvPr/>
          </p:nvSpPr>
          <p:spPr>
            <a:xfrm flipV="1">
              <a:off x="6589234" y="3758124"/>
              <a:ext cx="14846" cy="126618"/>
            </a:xfrm>
            <a:custGeom>
              <a:avLst/>
              <a:gdLst>
                <a:gd name="connsiteX0" fmla="*/ -2058 w 14846"/>
                <a:gd name="connsiteY0" fmla="*/ -976 h 126618"/>
                <a:gd name="connsiteX1" fmla="*/ 12789 w 14846"/>
                <a:gd name="connsiteY1" fmla="*/ -976 h 126618"/>
                <a:gd name="connsiteX2" fmla="*/ 12789 w 14846"/>
                <a:gd name="connsiteY2" fmla="*/ 125643 h 126618"/>
                <a:gd name="connsiteX3" fmla="*/ -2058 w 14846"/>
                <a:gd name="connsiteY3" fmla="*/ 125643 h 126618"/>
                <a:gd name="connsiteX4" fmla="*/ -2058 w 14846"/>
                <a:gd name="connsiteY4" fmla="*/ -976 h 126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6" h="126618">
                  <a:moveTo>
                    <a:pt x="-2058" y="-976"/>
                  </a:moveTo>
                  <a:lnTo>
                    <a:pt x="12789" y="-976"/>
                  </a:lnTo>
                  <a:lnTo>
                    <a:pt x="12789" y="125643"/>
                  </a:lnTo>
                  <a:lnTo>
                    <a:pt x="-2058" y="125643"/>
                  </a:lnTo>
                  <a:lnTo>
                    <a:pt x="-2058" y="-976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9A904074-C40E-4783-92A5-060BB3BEFBCE}"/>
                </a:ext>
              </a:extLst>
            </p:cNvPr>
            <p:cNvSpPr/>
            <p:nvPr/>
          </p:nvSpPr>
          <p:spPr>
            <a:xfrm flipV="1">
              <a:off x="6533596" y="3758124"/>
              <a:ext cx="99250" cy="63309"/>
            </a:xfrm>
            <a:custGeom>
              <a:avLst/>
              <a:gdLst>
                <a:gd name="connsiteX0" fmla="*/ -2048 w 99250"/>
                <a:gd name="connsiteY0" fmla="*/ -1004 h 63309"/>
                <a:gd name="connsiteX1" fmla="*/ 97202 w 99250"/>
                <a:gd name="connsiteY1" fmla="*/ -1004 h 63309"/>
                <a:gd name="connsiteX2" fmla="*/ 97202 w 99250"/>
                <a:gd name="connsiteY2" fmla="*/ 62305 h 63309"/>
                <a:gd name="connsiteX3" fmla="*/ -2048 w 99250"/>
                <a:gd name="connsiteY3" fmla="*/ 62305 h 63309"/>
                <a:gd name="connsiteX4" fmla="*/ -2048 w 99250"/>
                <a:gd name="connsiteY4" fmla="*/ -1004 h 6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250" h="63309">
                  <a:moveTo>
                    <a:pt x="-2048" y="-1004"/>
                  </a:moveTo>
                  <a:lnTo>
                    <a:pt x="97202" y="-1004"/>
                  </a:lnTo>
                  <a:lnTo>
                    <a:pt x="97202" y="62305"/>
                  </a:lnTo>
                  <a:lnTo>
                    <a:pt x="-2048" y="62305"/>
                  </a:lnTo>
                  <a:lnTo>
                    <a:pt x="-2048" y="-1004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9F8FE3EE-8F4F-4313-830E-28C6FE8F9FAC}"/>
                </a:ext>
              </a:extLst>
            </p:cNvPr>
            <p:cNvSpPr/>
            <p:nvPr/>
          </p:nvSpPr>
          <p:spPr>
            <a:xfrm flipV="1">
              <a:off x="6594213" y="3758124"/>
              <a:ext cx="22288" cy="63309"/>
            </a:xfrm>
            <a:custGeom>
              <a:avLst/>
              <a:gdLst>
                <a:gd name="connsiteX0" fmla="*/ -2064 w 22288"/>
                <a:gd name="connsiteY0" fmla="*/ -1004 h 63309"/>
                <a:gd name="connsiteX1" fmla="*/ 20225 w 22288"/>
                <a:gd name="connsiteY1" fmla="*/ -1004 h 63309"/>
                <a:gd name="connsiteX2" fmla="*/ 20225 w 22288"/>
                <a:gd name="connsiteY2" fmla="*/ 62305 h 63309"/>
                <a:gd name="connsiteX3" fmla="*/ -2064 w 22288"/>
                <a:gd name="connsiteY3" fmla="*/ 62305 h 63309"/>
                <a:gd name="connsiteX4" fmla="*/ -2064 w 22288"/>
                <a:gd name="connsiteY4" fmla="*/ -1004 h 6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8" h="63309">
                  <a:moveTo>
                    <a:pt x="-2064" y="-1004"/>
                  </a:moveTo>
                  <a:lnTo>
                    <a:pt x="20225" y="-1004"/>
                  </a:lnTo>
                  <a:lnTo>
                    <a:pt x="20225" y="62305"/>
                  </a:lnTo>
                  <a:lnTo>
                    <a:pt x="-2064" y="62305"/>
                  </a:lnTo>
                  <a:lnTo>
                    <a:pt x="-2064" y="-1004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A978984D-ADB1-4C0D-892B-60480F51D6FF}"/>
                </a:ext>
              </a:extLst>
            </p:cNvPr>
            <p:cNvSpPr/>
            <p:nvPr/>
          </p:nvSpPr>
          <p:spPr>
            <a:xfrm flipV="1">
              <a:off x="6548887" y="3935873"/>
              <a:ext cx="66090" cy="153822"/>
            </a:xfrm>
            <a:custGeom>
              <a:avLst/>
              <a:gdLst>
                <a:gd name="connsiteX0" fmla="*/ -2048 w 66090"/>
                <a:gd name="connsiteY0" fmla="*/ 153017 h 153822"/>
                <a:gd name="connsiteX1" fmla="*/ 64043 w 66090"/>
                <a:gd name="connsiteY1" fmla="*/ 153017 h 153822"/>
                <a:gd name="connsiteX2" fmla="*/ 64043 w 66090"/>
                <a:gd name="connsiteY2" fmla="*/ -805 h 153822"/>
                <a:gd name="connsiteX3" fmla="*/ -2048 w 66090"/>
                <a:gd name="connsiteY3" fmla="*/ -805 h 153822"/>
                <a:gd name="connsiteX4" fmla="*/ -2048 w 66090"/>
                <a:gd name="connsiteY4" fmla="*/ 153017 h 15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90" h="153822">
                  <a:moveTo>
                    <a:pt x="-2048" y="153017"/>
                  </a:moveTo>
                  <a:lnTo>
                    <a:pt x="64043" y="153017"/>
                  </a:lnTo>
                  <a:lnTo>
                    <a:pt x="64043" y="-805"/>
                  </a:lnTo>
                  <a:lnTo>
                    <a:pt x="-2048" y="-805"/>
                  </a:lnTo>
                  <a:lnTo>
                    <a:pt x="-2048" y="153017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E618AD2E-C0B1-43B6-9167-6FA6FD460039}"/>
                </a:ext>
              </a:extLst>
            </p:cNvPr>
            <p:cNvSpPr/>
            <p:nvPr/>
          </p:nvSpPr>
          <p:spPr>
            <a:xfrm flipV="1">
              <a:off x="6589234" y="3935873"/>
              <a:ext cx="14846" cy="153822"/>
            </a:xfrm>
            <a:custGeom>
              <a:avLst/>
              <a:gdLst>
                <a:gd name="connsiteX0" fmla="*/ -2058 w 14846"/>
                <a:gd name="connsiteY0" fmla="*/ 153017 h 153822"/>
                <a:gd name="connsiteX1" fmla="*/ 12789 w 14846"/>
                <a:gd name="connsiteY1" fmla="*/ 153017 h 153822"/>
                <a:gd name="connsiteX2" fmla="*/ 12789 w 14846"/>
                <a:gd name="connsiteY2" fmla="*/ -805 h 153822"/>
                <a:gd name="connsiteX3" fmla="*/ -2058 w 14846"/>
                <a:gd name="connsiteY3" fmla="*/ -805 h 153822"/>
                <a:gd name="connsiteX4" fmla="*/ -2058 w 14846"/>
                <a:gd name="connsiteY4" fmla="*/ 153017 h 15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6" h="153822">
                  <a:moveTo>
                    <a:pt x="-2058" y="153017"/>
                  </a:moveTo>
                  <a:lnTo>
                    <a:pt x="12789" y="153017"/>
                  </a:lnTo>
                  <a:lnTo>
                    <a:pt x="12789" y="-805"/>
                  </a:lnTo>
                  <a:lnTo>
                    <a:pt x="-2058" y="-805"/>
                  </a:lnTo>
                  <a:lnTo>
                    <a:pt x="-2058" y="153017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7619433E-7A75-426A-AF3D-6201A2BB0E69}"/>
                </a:ext>
              </a:extLst>
            </p:cNvPr>
            <p:cNvSpPr/>
            <p:nvPr/>
          </p:nvSpPr>
          <p:spPr>
            <a:xfrm flipV="1">
              <a:off x="6277218" y="4071077"/>
              <a:ext cx="621036" cy="94882"/>
            </a:xfrm>
            <a:custGeom>
              <a:avLst/>
              <a:gdLst>
                <a:gd name="connsiteX0" fmla="*/ 600934 w 621036"/>
                <a:gd name="connsiteY0" fmla="*/ -711 h 94882"/>
                <a:gd name="connsiteX1" fmla="*/ 618256 w 621036"/>
                <a:gd name="connsiteY1" fmla="*/ 12271 h 94882"/>
                <a:gd name="connsiteX2" fmla="*/ 606001 w 621036"/>
                <a:gd name="connsiteY2" fmla="*/ 34660 h 94882"/>
                <a:gd name="connsiteX3" fmla="*/ 409520 w 621036"/>
                <a:gd name="connsiteY3" fmla="*/ 92127 h 94882"/>
                <a:gd name="connsiteX4" fmla="*/ 402967 w 621036"/>
                <a:gd name="connsiteY4" fmla="*/ 93423 h 94882"/>
                <a:gd name="connsiteX5" fmla="*/ 214575 w 621036"/>
                <a:gd name="connsiteY5" fmla="*/ 94172 h 94882"/>
                <a:gd name="connsiteX6" fmla="*/ 207793 w 621036"/>
                <a:gd name="connsiteY6" fmla="*/ 92889 h 94882"/>
                <a:gd name="connsiteX7" fmla="*/ 11071 w 621036"/>
                <a:gd name="connsiteY7" fmla="*/ 37062 h 94882"/>
                <a:gd name="connsiteX8" fmla="*/ -1362 w 621036"/>
                <a:gd name="connsiteY8" fmla="*/ 14772 h 94882"/>
                <a:gd name="connsiteX9" fmla="*/ 20939 w 621036"/>
                <a:gd name="connsiteY9" fmla="*/ 2340 h 94882"/>
                <a:gd name="connsiteX10" fmla="*/ 217305 w 621036"/>
                <a:gd name="connsiteY10" fmla="*/ 58066 h 94882"/>
                <a:gd name="connsiteX11" fmla="*/ 399906 w 621036"/>
                <a:gd name="connsiteY11" fmla="*/ 57332 h 94882"/>
                <a:gd name="connsiteX12" fmla="*/ 595854 w 621036"/>
                <a:gd name="connsiteY12" fmla="*/ 3 h 94882"/>
                <a:gd name="connsiteX13" fmla="*/ 600934 w 621036"/>
                <a:gd name="connsiteY13" fmla="*/ -711 h 9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1036" h="94882">
                  <a:moveTo>
                    <a:pt x="600934" y="-711"/>
                  </a:moveTo>
                  <a:cubicBezTo>
                    <a:pt x="608757" y="-711"/>
                    <a:pt x="615945" y="4393"/>
                    <a:pt x="618256" y="12271"/>
                  </a:cubicBezTo>
                  <a:cubicBezTo>
                    <a:pt x="621050" y="21832"/>
                    <a:pt x="615564" y="31852"/>
                    <a:pt x="606001" y="34660"/>
                  </a:cubicBezTo>
                  <a:lnTo>
                    <a:pt x="409520" y="92127"/>
                  </a:lnTo>
                  <a:cubicBezTo>
                    <a:pt x="407449" y="92966"/>
                    <a:pt x="405227" y="93410"/>
                    <a:pt x="402967" y="93423"/>
                  </a:cubicBezTo>
                  <a:lnTo>
                    <a:pt x="214575" y="94172"/>
                  </a:lnTo>
                  <a:cubicBezTo>
                    <a:pt x="212314" y="94070"/>
                    <a:pt x="209889" y="93728"/>
                    <a:pt x="207793" y="92889"/>
                  </a:cubicBezTo>
                  <a:lnTo>
                    <a:pt x="11071" y="37062"/>
                  </a:lnTo>
                  <a:cubicBezTo>
                    <a:pt x="1482" y="34329"/>
                    <a:pt x="-4080" y="24362"/>
                    <a:pt x="-1362" y="14772"/>
                  </a:cubicBezTo>
                  <a:cubicBezTo>
                    <a:pt x="1368" y="5182"/>
                    <a:pt x="11325" y="-393"/>
                    <a:pt x="20939" y="2340"/>
                  </a:cubicBezTo>
                  <a:lnTo>
                    <a:pt x="217305" y="58066"/>
                  </a:lnTo>
                  <a:lnTo>
                    <a:pt x="399906" y="57332"/>
                  </a:lnTo>
                  <a:lnTo>
                    <a:pt x="595854" y="3"/>
                  </a:lnTo>
                  <a:cubicBezTo>
                    <a:pt x="597555" y="-492"/>
                    <a:pt x="599257" y="-711"/>
                    <a:pt x="600934" y="-711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983BE8D8-ED23-44AC-A6B6-0C21ABFFBE6B}"/>
                </a:ext>
              </a:extLst>
            </p:cNvPr>
            <p:cNvSpPr/>
            <p:nvPr/>
          </p:nvSpPr>
          <p:spPr>
            <a:xfrm flipV="1">
              <a:off x="6473991" y="4071329"/>
              <a:ext cx="227492" cy="93842"/>
            </a:xfrm>
            <a:custGeom>
              <a:avLst/>
              <a:gdLst>
                <a:gd name="connsiteX0" fmla="*/ 207375 w 227492"/>
                <a:gd name="connsiteY0" fmla="*/ -711 h 93842"/>
                <a:gd name="connsiteX1" fmla="*/ 220888 w 227492"/>
                <a:gd name="connsiteY1" fmla="*/ 5361 h 93842"/>
                <a:gd name="connsiteX2" fmla="*/ 219377 w 227492"/>
                <a:gd name="connsiteY2" fmla="*/ 30836 h 93842"/>
                <a:gd name="connsiteX3" fmla="*/ 155572 w 227492"/>
                <a:gd name="connsiteY3" fmla="*/ 87478 h 93842"/>
                <a:gd name="connsiteX4" fmla="*/ 142809 w 227492"/>
                <a:gd name="connsiteY4" fmla="*/ 92888 h 93842"/>
                <a:gd name="connsiteX5" fmla="*/ 81176 w 227492"/>
                <a:gd name="connsiteY5" fmla="*/ 93129 h 93842"/>
                <a:gd name="connsiteX6" fmla="*/ 68361 w 227492"/>
                <a:gd name="connsiteY6" fmla="*/ 87871 h 93842"/>
                <a:gd name="connsiteX7" fmla="*/ 68057 w 227492"/>
                <a:gd name="connsiteY7" fmla="*/ 87554 h 93842"/>
                <a:gd name="connsiteX8" fmla="*/ 4112 w 227492"/>
                <a:gd name="connsiteY8" fmla="*/ 31713 h 93842"/>
                <a:gd name="connsiteX9" fmla="*/ 2410 w 227492"/>
                <a:gd name="connsiteY9" fmla="*/ 6235 h 93842"/>
                <a:gd name="connsiteX10" fmla="*/ 27874 w 227492"/>
                <a:gd name="connsiteY10" fmla="*/ 4507 h 93842"/>
                <a:gd name="connsiteX11" fmla="*/ 87957 w 227492"/>
                <a:gd name="connsiteY11" fmla="*/ 57009 h 93842"/>
                <a:gd name="connsiteX12" fmla="*/ 135747 w 227492"/>
                <a:gd name="connsiteY12" fmla="*/ 56806 h 93842"/>
                <a:gd name="connsiteX13" fmla="*/ 195399 w 227492"/>
                <a:gd name="connsiteY13" fmla="*/ 3838 h 93842"/>
                <a:gd name="connsiteX14" fmla="*/ 207375 w 227492"/>
                <a:gd name="connsiteY14" fmla="*/ -711 h 9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7492" h="93842">
                  <a:moveTo>
                    <a:pt x="207375" y="-711"/>
                  </a:moveTo>
                  <a:cubicBezTo>
                    <a:pt x="212366" y="-711"/>
                    <a:pt x="217319" y="1332"/>
                    <a:pt x="220888" y="5361"/>
                  </a:cubicBezTo>
                  <a:cubicBezTo>
                    <a:pt x="227505" y="12812"/>
                    <a:pt x="226832" y="24218"/>
                    <a:pt x="219377" y="30836"/>
                  </a:cubicBezTo>
                  <a:lnTo>
                    <a:pt x="155572" y="87478"/>
                  </a:lnTo>
                  <a:cubicBezTo>
                    <a:pt x="152308" y="90792"/>
                    <a:pt x="147812" y="92862"/>
                    <a:pt x="142809" y="92888"/>
                  </a:cubicBezTo>
                  <a:lnTo>
                    <a:pt x="81176" y="93129"/>
                  </a:lnTo>
                  <a:cubicBezTo>
                    <a:pt x="76337" y="93205"/>
                    <a:pt x="71778" y="91250"/>
                    <a:pt x="68361" y="87871"/>
                  </a:cubicBezTo>
                  <a:lnTo>
                    <a:pt x="68057" y="87554"/>
                  </a:lnTo>
                  <a:lnTo>
                    <a:pt x="4112" y="31713"/>
                  </a:lnTo>
                  <a:cubicBezTo>
                    <a:pt x="-3381" y="25145"/>
                    <a:pt x="-4155" y="13740"/>
                    <a:pt x="2410" y="6235"/>
                  </a:cubicBezTo>
                  <a:cubicBezTo>
                    <a:pt x="8951" y="-1272"/>
                    <a:pt x="20368" y="-2030"/>
                    <a:pt x="27874" y="4507"/>
                  </a:cubicBezTo>
                  <a:lnTo>
                    <a:pt x="87957" y="57009"/>
                  </a:lnTo>
                  <a:lnTo>
                    <a:pt x="135747" y="56806"/>
                  </a:lnTo>
                  <a:lnTo>
                    <a:pt x="195399" y="3838"/>
                  </a:lnTo>
                  <a:cubicBezTo>
                    <a:pt x="198841" y="788"/>
                    <a:pt x="203108" y="-711"/>
                    <a:pt x="207375" y="-711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0973CFDF-E159-46A4-BB16-A93E6B9CFBC1}"/>
                </a:ext>
              </a:extLst>
            </p:cNvPr>
            <p:cNvSpPr/>
            <p:nvPr/>
          </p:nvSpPr>
          <p:spPr>
            <a:xfrm flipV="1">
              <a:off x="6625854" y="4091130"/>
              <a:ext cx="35414" cy="30478"/>
            </a:xfrm>
            <a:custGeom>
              <a:avLst/>
              <a:gdLst>
                <a:gd name="connsiteX0" fmla="*/ 33325 w 35414"/>
                <a:gd name="connsiteY0" fmla="*/ -722 h 30478"/>
                <a:gd name="connsiteX1" fmla="*/ -1841 w 35414"/>
                <a:gd name="connsiteY1" fmla="*/ 26379 h 30478"/>
                <a:gd name="connsiteX2" fmla="*/ 11303 w 35414"/>
                <a:gd name="connsiteY2" fmla="*/ 29757 h 30478"/>
                <a:gd name="connsiteX3" fmla="*/ 17691 w 35414"/>
                <a:gd name="connsiteY3" fmla="*/ 28576 h 30478"/>
                <a:gd name="connsiteX4" fmla="*/ 31788 w 35414"/>
                <a:gd name="connsiteY4" fmla="*/ 12509 h 30478"/>
                <a:gd name="connsiteX5" fmla="*/ 33325 w 35414"/>
                <a:gd name="connsiteY5" fmla="*/ -722 h 3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414" h="30478">
                  <a:moveTo>
                    <a:pt x="33325" y="-722"/>
                  </a:moveTo>
                  <a:lnTo>
                    <a:pt x="-1841" y="26379"/>
                  </a:lnTo>
                  <a:cubicBezTo>
                    <a:pt x="-3657" y="28157"/>
                    <a:pt x="4864" y="29757"/>
                    <a:pt x="11303" y="29757"/>
                  </a:cubicBezTo>
                  <a:cubicBezTo>
                    <a:pt x="14301" y="29757"/>
                    <a:pt x="16841" y="29414"/>
                    <a:pt x="17691" y="28576"/>
                  </a:cubicBezTo>
                  <a:cubicBezTo>
                    <a:pt x="17691" y="28576"/>
                    <a:pt x="24181" y="21235"/>
                    <a:pt x="31788" y="12509"/>
                  </a:cubicBezTo>
                  <a:cubicBezTo>
                    <a:pt x="32360" y="7925"/>
                    <a:pt x="32868" y="3505"/>
                    <a:pt x="33325" y="-722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C6758938-A730-48EE-9353-9C1E04DA4D97}"/>
                </a:ext>
              </a:extLst>
            </p:cNvPr>
            <p:cNvSpPr/>
            <p:nvPr/>
          </p:nvSpPr>
          <p:spPr>
            <a:xfrm flipV="1">
              <a:off x="6625854" y="4091130"/>
              <a:ext cx="35414" cy="30478"/>
            </a:xfrm>
            <a:custGeom>
              <a:avLst/>
              <a:gdLst>
                <a:gd name="connsiteX0" fmla="*/ 33325 w 35414"/>
                <a:gd name="connsiteY0" fmla="*/ -722 h 30478"/>
                <a:gd name="connsiteX1" fmla="*/ -1841 w 35414"/>
                <a:gd name="connsiteY1" fmla="*/ 26379 h 30478"/>
                <a:gd name="connsiteX2" fmla="*/ 11303 w 35414"/>
                <a:gd name="connsiteY2" fmla="*/ 29757 h 30478"/>
                <a:gd name="connsiteX3" fmla="*/ 17691 w 35414"/>
                <a:gd name="connsiteY3" fmla="*/ 28576 h 30478"/>
                <a:gd name="connsiteX4" fmla="*/ 31788 w 35414"/>
                <a:gd name="connsiteY4" fmla="*/ 12509 h 30478"/>
                <a:gd name="connsiteX5" fmla="*/ 33325 w 35414"/>
                <a:gd name="connsiteY5" fmla="*/ -722 h 3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414" h="30478">
                  <a:moveTo>
                    <a:pt x="33325" y="-722"/>
                  </a:moveTo>
                  <a:lnTo>
                    <a:pt x="-1841" y="26379"/>
                  </a:lnTo>
                  <a:cubicBezTo>
                    <a:pt x="-3657" y="28157"/>
                    <a:pt x="4864" y="29757"/>
                    <a:pt x="11303" y="29757"/>
                  </a:cubicBezTo>
                  <a:cubicBezTo>
                    <a:pt x="14301" y="29757"/>
                    <a:pt x="16841" y="29414"/>
                    <a:pt x="17691" y="28576"/>
                  </a:cubicBezTo>
                  <a:cubicBezTo>
                    <a:pt x="17691" y="28576"/>
                    <a:pt x="24181" y="21235"/>
                    <a:pt x="31788" y="12509"/>
                  </a:cubicBezTo>
                  <a:cubicBezTo>
                    <a:pt x="32360" y="7925"/>
                    <a:pt x="32868" y="3505"/>
                    <a:pt x="33325" y="-722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2F4D366F-DBB2-4232-BCE5-F26A789EF49E}"/>
                </a:ext>
              </a:extLst>
            </p:cNvPr>
            <p:cNvSpPr/>
            <p:nvPr/>
          </p:nvSpPr>
          <p:spPr>
            <a:xfrm flipV="1">
              <a:off x="6303307" y="4079827"/>
              <a:ext cx="184761" cy="50483"/>
            </a:xfrm>
            <a:custGeom>
              <a:avLst/>
              <a:gdLst>
                <a:gd name="connsiteX0" fmla="*/ -1908 w 184761"/>
                <a:gd name="connsiteY0" fmla="*/ -723 h 50483"/>
                <a:gd name="connsiteX1" fmla="*/ -1870 w 184761"/>
                <a:gd name="connsiteY1" fmla="*/ -697 h 50483"/>
                <a:gd name="connsiteX2" fmla="*/ 171891 w 184761"/>
                <a:gd name="connsiteY2" fmla="*/ 49697 h 50483"/>
                <a:gd name="connsiteX3" fmla="*/ 172348 w 184761"/>
                <a:gd name="connsiteY3" fmla="*/ 49761 h 50483"/>
                <a:gd name="connsiteX4" fmla="*/ 182089 w 184761"/>
                <a:gd name="connsiteY4" fmla="*/ 36540 h 50483"/>
                <a:gd name="connsiteX5" fmla="*/ -1908 w 184761"/>
                <a:gd name="connsiteY5" fmla="*/ -723 h 5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761" h="50483">
                  <a:moveTo>
                    <a:pt x="-1908" y="-723"/>
                  </a:moveTo>
                  <a:cubicBezTo>
                    <a:pt x="-1933" y="-723"/>
                    <a:pt x="-1921" y="-707"/>
                    <a:pt x="-1870" y="-697"/>
                  </a:cubicBezTo>
                  <a:lnTo>
                    <a:pt x="171891" y="49697"/>
                  </a:lnTo>
                  <a:cubicBezTo>
                    <a:pt x="172031" y="49736"/>
                    <a:pt x="172183" y="49761"/>
                    <a:pt x="172348" y="49761"/>
                  </a:cubicBezTo>
                  <a:cubicBezTo>
                    <a:pt x="176260" y="49761"/>
                    <a:pt x="185531" y="37556"/>
                    <a:pt x="182089" y="36540"/>
                  </a:cubicBezTo>
                  <a:cubicBezTo>
                    <a:pt x="182089" y="36540"/>
                    <a:pt x="-295" y="-723"/>
                    <a:pt x="-1908" y="-723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56F638DB-99E4-43B3-83FE-BDC55F260D16}"/>
                </a:ext>
              </a:extLst>
            </p:cNvPr>
            <p:cNvSpPr/>
            <p:nvPr/>
          </p:nvSpPr>
          <p:spPr>
            <a:xfrm flipV="1">
              <a:off x="6303307" y="4079827"/>
              <a:ext cx="184761" cy="50483"/>
            </a:xfrm>
            <a:custGeom>
              <a:avLst/>
              <a:gdLst>
                <a:gd name="connsiteX0" fmla="*/ -1908 w 184761"/>
                <a:gd name="connsiteY0" fmla="*/ -723 h 50483"/>
                <a:gd name="connsiteX1" fmla="*/ -1870 w 184761"/>
                <a:gd name="connsiteY1" fmla="*/ -697 h 50483"/>
                <a:gd name="connsiteX2" fmla="*/ 171891 w 184761"/>
                <a:gd name="connsiteY2" fmla="*/ 49697 h 50483"/>
                <a:gd name="connsiteX3" fmla="*/ 172348 w 184761"/>
                <a:gd name="connsiteY3" fmla="*/ 49761 h 50483"/>
                <a:gd name="connsiteX4" fmla="*/ 182089 w 184761"/>
                <a:gd name="connsiteY4" fmla="*/ 36540 h 50483"/>
                <a:gd name="connsiteX5" fmla="*/ -1908 w 184761"/>
                <a:gd name="connsiteY5" fmla="*/ -723 h 50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761" h="50483">
                  <a:moveTo>
                    <a:pt x="-1908" y="-723"/>
                  </a:moveTo>
                  <a:cubicBezTo>
                    <a:pt x="-1933" y="-723"/>
                    <a:pt x="-1921" y="-707"/>
                    <a:pt x="-1870" y="-697"/>
                  </a:cubicBezTo>
                  <a:lnTo>
                    <a:pt x="171891" y="49697"/>
                  </a:lnTo>
                  <a:cubicBezTo>
                    <a:pt x="172031" y="49736"/>
                    <a:pt x="172183" y="49761"/>
                    <a:pt x="172348" y="49761"/>
                  </a:cubicBezTo>
                  <a:cubicBezTo>
                    <a:pt x="176260" y="49761"/>
                    <a:pt x="185531" y="37556"/>
                    <a:pt x="182089" y="36540"/>
                  </a:cubicBezTo>
                  <a:cubicBezTo>
                    <a:pt x="182089" y="36540"/>
                    <a:pt x="-295" y="-723"/>
                    <a:pt x="-1908" y="-723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604F3043-0D38-4A34-98C9-C3E5CD5A6A13}"/>
                </a:ext>
              </a:extLst>
            </p:cNvPr>
            <p:cNvSpPr/>
            <p:nvPr/>
          </p:nvSpPr>
          <p:spPr>
            <a:xfrm flipV="1">
              <a:off x="6171075" y="3542704"/>
              <a:ext cx="481417" cy="226600"/>
            </a:xfrm>
            <a:custGeom>
              <a:avLst/>
              <a:gdLst>
                <a:gd name="connsiteX0" fmla="*/ -1017 w 481417"/>
                <a:gd name="connsiteY0" fmla="*/ 201941 h 226600"/>
                <a:gd name="connsiteX1" fmla="*/ 570 w 481417"/>
                <a:gd name="connsiteY1" fmla="*/ 203706 h 226600"/>
                <a:gd name="connsiteX2" fmla="*/ 5790 w 481417"/>
                <a:gd name="connsiteY2" fmla="*/ 204659 h 226600"/>
                <a:gd name="connsiteX3" fmla="*/ 20560 w 481417"/>
                <a:gd name="connsiteY3" fmla="*/ 207237 h 226600"/>
                <a:gd name="connsiteX4" fmla="*/ 457668 w 481417"/>
                <a:gd name="connsiteY4" fmla="*/ 207122 h 226600"/>
                <a:gd name="connsiteX5" fmla="*/ 471752 w 481417"/>
                <a:gd name="connsiteY5" fmla="*/ 204659 h 226600"/>
                <a:gd name="connsiteX6" fmla="*/ 477073 w 481417"/>
                <a:gd name="connsiteY6" fmla="*/ 203693 h 226600"/>
                <a:gd name="connsiteX7" fmla="*/ 478610 w 481417"/>
                <a:gd name="connsiteY7" fmla="*/ 201903 h 226600"/>
                <a:gd name="connsiteX8" fmla="*/ 479486 w 481417"/>
                <a:gd name="connsiteY8" fmla="*/ 200353 h 226600"/>
                <a:gd name="connsiteX9" fmla="*/ 478686 w 481417"/>
                <a:gd name="connsiteY9" fmla="*/ 196912 h 226600"/>
                <a:gd name="connsiteX10" fmla="*/ 475892 w 481417"/>
                <a:gd name="connsiteY10" fmla="*/ 184643 h 226600"/>
                <a:gd name="connsiteX11" fmla="*/ 454607 w 481417"/>
                <a:gd name="connsiteY11" fmla="*/ 91718 h 226600"/>
                <a:gd name="connsiteX12" fmla="*/ 450480 w 481417"/>
                <a:gd name="connsiteY12" fmla="*/ 85990 h 226600"/>
                <a:gd name="connsiteX13" fmla="*/ 433233 w 481417"/>
                <a:gd name="connsiteY13" fmla="*/ 89051 h 226600"/>
                <a:gd name="connsiteX14" fmla="*/ 431798 w 481417"/>
                <a:gd name="connsiteY14" fmla="*/ 95744 h 226600"/>
                <a:gd name="connsiteX15" fmla="*/ 433830 w 481417"/>
                <a:gd name="connsiteY15" fmla="*/ 188936 h 226600"/>
                <a:gd name="connsiteX16" fmla="*/ 44487 w 481417"/>
                <a:gd name="connsiteY16" fmla="*/ 189050 h 226600"/>
                <a:gd name="connsiteX17" fmla="*/ 64223 w 481417"/>
                <a:gd name="connsiteY17" fmla="*/ 8419 h 226600"/>
                <a:gd name="connsiteX18" fmla="*/ 62953 w 481417"/>
                <a:gd name="connsiteY18" fmla="*/ 1751 h 226600"/>
                <a:gd name="connsiteX19" fmla="*/ 46836 w 481417"/>
                <a:gd name="connsiteY19" fmla="*/ -1106 h 226600"/>
                <a:gd name="connsiteX20" fmla="*/ 42887 w 481417"/>
                <a:gd name="connsiteY20" fmla="*/ 4647 h 226600"/>
                <a:gd name="connsiteX21" fmla="*/ 1663 w 481417"/>
                <a:gd name="connsiteY21" fmla="*/ 184643 h 226600"/>
                <a:gd name="connsiteX22" fmla="*/ -1144 w 481417"/>
                <a:gd name="connsiteY22" fmla="*/ 196912 h 226600"/>
                <a:gd name="connsiteX23" fmla="*/ -1932 w 481417"/>
                <a:gd name="connsiteY23" fmla="*/ 200353 h 226600"/>
                <a:gd name="connsiteX24" fmla="*/ -1017 w 481417"/>
                <a:gd name="connsiteY24" fmla="*/ 201941 h 22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1417" h="226600">
                  <a:moveTo>
                    <a:pt x="-1017" y="201941"/>
                  </a:moveTo>
                  <a:lnTo>
                    <a:pt x="570" y="203706"/>
                  </a:lnTo>
                  <a:cubicBezTo>
                    <a:pt x="2310" y="204024"/>
                    <a:pt x="4037" y="204354"/>
                    <a:pt x="5790" y="204659"/>
                  </a:cubicBezTo>
                  <a:cubicBezTo>
                    <a:pt x="10718" y="205548"/>
                    <a:pt x="15632" y="206411"/>
                    <a:pt x="20560" y="207237"/>
                  </a:cubicBezTo>
                  <a:cubicBezTo>
                    <a:pt x="165022" y="231595"/>
                    <a:pt x="313231" y="231557"/>
                    <a:pt x="457668" y="207122"/>
                  </a:cubicBezTo>
                  <a:cubicBezTo>
                    <a:pt x="462379" y="206322"/>
                    <a:pt x="467066" y="205510"/>
                    <a:pt x="471752" y="204659"/>
                  </a:cubicBezTo>
                  <a:cubicBezTo>
                    <a:pt x="473530" y="204341"/>
                    <a:pt x="475308" y="204011"/>
                    <a:pt x="477073" y="203693"/>
                  </a:cubicBezTo>
                  <a:lnTo>
                    <a:pt x="478610" y="201903"/>
                  </a:lnTo>
                  <a:lnTo>
                    <a:pt x="479486" y="200353"/>
                  </a:lnTo>
                  <a:cubicBezTo>
                    <a:pt x="479219" y="199198"/>
                    <a:pt x="478966" y="198067"/>
                    <a:pt x="478686" y="196912"/>
                  </a:cubicBezTo>
                  <a:cubicBezTo>
                    <a:pt x="477759" y="192822"/>
                    <a:pt x="476819" y="188720"/>
                    <a:pt x="475892" y="184643"/>
                  </a:cubicBezTo>
                  <a:cubicBezTo>
                    <a:pt x="468793" y="153668"/>
                    <a:pt x="461693" y="122680"/>
                    <a:pt x="454607" y="91718"/>
                  </a:cubicBezTo>
                  <a:cubicBezTo>
                    <a:pt x="453807" y="88276"/>
                    <a:pt x="451965" y="85724"/>
                    <a:pt x="450480" y="85990"/>
                  </a:cubicBezTo>
                  <a:cubicBezTo>
                    <a:pt x="444739" y="87044"/>
                    <a:pt x="438986" y="88060"/>
                    <a:pt x="433233" y="89051"/>
                  </a:cubicBezTo>
                  <a:cubicBezTo>
                    <a:pt x="431747" y="89292"/>
                    <a:pt x="431099" y="92289"/>
                    <a:pt x="431798" y="95744"/>
                  </a:cubicBezTo>
                  <a:cubicBezTo>
                    <a:pt x="432966" y="126757"/>
                    <a:pt x="433627" y="157834"/>
                    <a:pt x="433830" y="188936"/>
                  </a:cubicBezTo>
                  <a:cubicBezTo>
                    <a:pt x="304976" y="208697"/>
                    <a:pt x="173353" y="208735"/>
                    <a:pt x="44487" y="189050"/>
                  </a:cubicBezTo>
                  <a:cubicBezTo>
                    <a:pt x="50113" y="128726"/>
                    <a:pt x="56692" y="68502"/>
                    <a:pt x="64223" y="8419"/>
                  </a:cubicBezTo>
                  <a:cubicBezTo>
                    <a:pt x="64921" y="4977"/>
                    <a:pt x="64350" y="1980"/>
                    <a:pt x="62953" y="1751"/>
                  </a:cubicBezTo>
                  <a:cubicBezTo>
                    <a:pt x="57581" y="837"/>
                    <a:pt x="52208" y="-116"/>
                    <a:pt x="46836" y="-1106"/>
                  </a:cubicBezTo>
                  <a:cubicBezTo>
                    <a:pt x="45439" y="-1360"/>
                    <a:pt x="43674" y="1218"/>
                    <a:pt x="42887" y="4647"/>
                  </a:cubicBezTo>
                  <a:cubicBezTo>
                    <a:pt x="29145" y="64654"/>
                    <a:pt x="15404" y="124636"/>
                    <a:pt x="1663" y="184643"/>
                  </a:cubicBezTo>
                  <a:cubicBezTo>
                    <a:pt x="735" y="188720"/>
                    <a:pt x="-217" y="192822"/>
                    <a:pt x="-1144" y="196912"/>
                  </a:cubicBezTo>
                  <a:cubicBezTo>
                    <a:pt x="-1398" y="198067"/>
                    <a:pt x="-1678" y="199198"/>
                    <a:pt x="-1932" y="200353"/>
                  </a:cubicBezTo>
                  <a:lnTo>
                    <a:pt x="-1017" y="201941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45F7A07-834E-4B67-B47C-0CBD64D3810F}"/>
                </a:ext>
              </a:extLst>
            </p:cNvPr>
            <p:cNvSpPr/>
            <p:nvPr/>
          </p:nvSpPr>
          <p:spPr>
            <a:xfrm flipV="1">
              <a:off x="6290493" y="3223074"/>
              <a:ext cx="645399" cy="579639"/>
            </a:xfrm>
            <a:custGeom>
              <a:avLst/>
              <a:gdLst>
                <a:gd name="connsiteX0" fmla="*/ 30811 w 645399"/>
                <a:gd name="connsiteY0" fmla="*/ 93135 h 579639"/>
                <a:gd name="connsiteX1" fmla="*/ 290665 w 645399"/>
                <a:gd name="connsiteY1" fmla="*/ 100107 h 579639"/>
                <a:gd name="connsiteX2" fmla="*/ 348654 w 645399"/>
                <a:gd name="connsiteY2" fmla="*/ 553903 h 579639"/>
                <a:gd name="connsiteX3" fmla="*/ 565404 w 645399"/>
                <a:gd name="connsiteY3" fmla="*/ 578388 h 579639"/>
                <a:gd name="connsiteX4" fmla="*/ 610438 w 645399"/>
                <a:gd name="connsiteY4" fmla="*/ 578388 h 579639"/>
                <a:gd name="connsiteX5" fmla="*/ 643331 w 645399"/>
                <a:gd name="connsiteY5" fmla="*/ 545495 h 579639"/>
                <a:gd name="connsiteX6" fmla="*/ 577571 w 645399"/>
                <a:gd name="connsiteY6" fmla="*/ 31642 h 579639"/>
                <a:gd name="connsiteX7" fmla="*/ 544677 w 645399"/>
                <a:gd name="connsiteY7" fmla="*/ -1251 h 579639"/>
                <a:gd name="connsiteX8" fmla="*/ 425628 w 645399"/>
                <a:gd name="connsiteY8" fmla="*/ -1251 h 579639"/>
                <a:gd name="connsiteX9" fmla="*/ 30811 w 645399"/>
                <a:gd name="connsiteY9" fmla="*/ -1251 h 579639"/>
                <a:gd name="connsiteX10" fmla="*/ -2069 w 645399"/>
                <a:gd name="connsiteY10" fmla="*/ 31642 h 579639"/>
                <a:gd name="connsiteX11" fmla="*/ -2069 w 645399"/>
                <a:gd name="connsiteY11" fmla="*/ 60255 h 579639"/>
                <a:gd name="connsiteX12" fmla="*/ 30811 w 645399"/>
                <a:gd name="connsiteY12" fmla="*/ 93135 h 579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5399" h="579639">
                  <a:moveTo>
                    <a:pt x="30811" y="93135"/>
                  </a:moveTo>
                  <a:lnTo>
                    <a:pt x="290665" y="100107"/>
                  </a:lnTo>
                  <a:lnTo>
                    <a:pt x="348654" y="553903"/>
                  </a:lnTo>
                  <a:cubicBezTo>
                    <a:pt x="348654" y="572064"/>
                    <a:pt x="547230" y="578388"/>
                    <a:pt x="565404" y="578388"/>
                  </a:cubicBezTo>
                  <a:lnTo>
                    <a:pt x="610438" y="578388"/>
                  </a:lnTo>
                  <a:cubicBezTo>
                    <a:pt x="628612" y="578388"/>
                    <a:pt x="643331" y="563669"/>
                    <a:pt x="643331" y="545495"/>
                  </a:cubicBezTo>
                  <a:lnTo>
                    <a:pt x="577571" y="31642"/>
                  </a:lnTo>
                  <a:cubicBezTo>
                    <a:pt x="577571" y="13468"/>
                    <a:pt x="562826" y="-1251"/>
                    <a:pt x="544677" y="-1251"/>
                  </a:cubicBezTo>
                  <a:lnTo>
                    <a:pt x="425628" y="-1251"/>
                  </a:lnTo>
                  <a:lnTo>
                    <a:pt x="30811" y="-1251"/>
                  </a:lnTo>
                  <a:cubicBezTo>
                    <a:pt x="12650" y="-1251"/>
                    <a:pt x="-2069" y="13468"/>
                    <a:pt x="-2069" y="31642"/>
                  </a:cubicBezTo>
                  <a:lnTo>
                    <a:pt x="-2069" y="60255"/>
                  </a:lnTo>
                  <a:cubicBezTo>
                    <a:pt x="-2069" y="78416"/>
                    <a:pt x="12650" y="93135"/>
                    <a:pt x="30811" y="93135"/>
                  </a:cubicBezTo>
                </a:path>
              </a:pathLst>
            </a:custGeom>
            <a:solidFill>
              <a:srgbClr val="4181C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7F3894A6-200C-4202-9A1B-8D6B22E3078E}"/>
                </a:ext>
              </a:extLst>
            </p:cNvPr>
            <p:cNvSpPr/>
            <p:nvPr/>
          </p:nvSpPr>
          <p:spPr>
            <a:xfrm flipV="1">
              <a:off x="6110332" y="3232371"/>
              <a:ext cx="620482" cy="567828"/>
            </a:xfrm>
            <a:custGeom>
              <a:avLst/>
              <a:gdLst>
                <a:gd name="connsiteX0" fmla="*/ 29685 w 620482"/>
                <a:gd name="connsiteY0" fmla="*/ 100072 h 567828"/>
                <a:gd name="connsiteX1" fmla="*/ 448759 w 620482"/>
                <a:gd name="connsiteY1" fmla="*/ 100072 h 567828"/>
                <a:gd name="connsiteX2" fmla="*/ 511992 w 620482"/>
                <a:gd name="connsiteY2" fmla="*/ 534957 h 567828"/>
                <a:gd name="connsiteX3" fmla="*/ 586935 w 620482"/>
                <a:gd name="connsiteY3" fmla="*/ 566580 h 567828"/>
                <a:gd name="connsiteX4" fmla="*/ 618545 w 620482"/>
                <a:gd name="connsiteY4" fmla="*/ 534957 h 567828"/>
                <a:gd name="connsiteX5" fmla="*/ 555299 w 620482"/>
                <a:gd name="connsiteY5" fmla="*/ 40954 h 567828"/>
                <a:gd name="connsiteX6" fmla="*/ 523689 w 620482"/>
                <a:gd name="connsiteY6" fmla="*/ 9331 h 567828"/>
                <a:gd name="connsiteX7" fmla="*/ 198481 w 620482"/>
                <a:gd name="connsiteY7" fmla="*/ -1248 h 567828"/>
                <a:gd name="connsiteX8" fmla="*/ 29685 w 620482"/>
                <a:gd name="connsiteY8" fmla="*/ 9331 h 567828"/>
                <a:gd name="connsiteX9" fmla="*/ -1937 w 620482"/>
                <a:gd name="connsiteY9" fmla="*/ 40954 h 567828"/>
                <a:gd name="connsiteX10" fmla="*/ -1937 w 620482"/>
                <a:gd name="connsiteY10" fmla="*/ 68462 h 567828"/>
                <a:gd name="connsiteX11" fmla="*/ 29685 w 620482"/>
                <a:gd name="connsiteY11" fmla="*/ 100072 h 56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0482" h="567828">
                  <a:moveTo>
                    <a:pt x="29685" y="100072"/>
                  </a:moveTo>
                  <a:lnTo>
                    <a:pt x="448759" y="100072"/>
                  </a:lnTo>
                  <a:lnTo>
                    <a:pt x="511992" y="534957"/>
                  </a:lnTo>
                  <a:cubicBezTo>
                    <a:pt x="513681" y="562300"/>
                    <a:pt x="586935" y="566580"/>
                    <a:pt x="586935" y="566580"/>
                  </a:cubicBezTo>
                  <a:cubicBezTo>
                    <a:pt x="604397" y="566580"/>
                    <a:pt x="618545" y="552420"/>
                    <a:pt x="618545" y="534957"/>
                  </a:cubicBezTo>
                  <a:lnTo>
                    <a:pt x="555299" y="40954"/>
                  </a:lnTo>
                  <a:cubicBezTo>
                    <a:pt x="555299" y="23491"/>
                    <a:pt x="541151" y="9331"/>
                    <a:pt x="523689" y="9331"/>
                  </a:cubicBezTo>
                  <a:lnTo>
                    <a:pt x="198481" y="-1248"/>
                  </a:lnTo>
                  <a:lnTo>
                    <a:pt x="29685" y="9331"/>
                  </a:lnTo>
                  <a:cubicBezTo>
                    <a:pt x="12223" y="9331"/>
                    <a:pt x="-1937" y="23491"/>
                    <a:pt x="-1937" y="40954"/>
                  </a:cubicBezTo>
                  <a:lnTo>
                    <a:pt x="-1937" y="68462"/>
                  </a:lnTo>
                  <a:cubicBezTo>
                    <a:pt x="-1937" y="85924"/>
                    <a:pt x="12223" y="100072"/>
                    <a:pt x="29685" y="100072"/>
                  </a:cubicBez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AD00C716-7975-493D-9981-73E3E03AF794}"/>
                </a:ext>
              </a:extLst>
            </p:cNvPr>
            <p:cNvSpPr/>
            <p:nvPr/>
          </p:nvSpPr>
          <p:spPr>
            <a:xfrm flipV="1">
              <a:off x="6290493" y="3232371"/>
              <a:ext cx="628534" cy="570342"/>
            </a:xfrm>
            <a:custGeom>
              <a:avLst/>
              <a:gdLst>
                <a:gd name="connsiteX0" fmla="*/ 30817 w 628534"/>
                <a:gd name="connsiteY0" fmla="*/ 93139 h 570342"/>
                <a:gd name="connsiteX1" fmla="*/ 491064 w 628534"/>
                <a:gd name="connsiteY1" fmla="*/ 69327 h 570342"/>
                <a:gd name="connsiteX2" fmla="*/ 532517 w 628534"/>
                <a:gd name="connsiteY2" fmla="*/ 545499 h 570342"/>
                <a:gd name="connsiteX3" fmla="*/ 598836 w 628534"/>
                <a:gd name="connsiteY3" fmla="*/ 569096 h 570342"/>
                <a:gd name="connsiteX4" fmla="*/ 626471 w 628534"/>
                <a:gd name="connsiteY4" fmla="*/ 545499 h 570342"/>
                <a:gd name="connsiteX5" fmla="*/ 565054 w 628534"/>
                <a:gd name="connsiteY5" fmla="*/ 35926 h 570342"/>
                <a:gd name="connsiteX6" fmla="*/ 520350 w 628534"/>
                <a:gd name="connsiteY6" fmla="*/ -1247 h 570342"/>
                <a:gd name="connsiteX7" fmla="*/ 425634 w 628534"/>
                <a:gd name="connsiteY7" fmla="*/ -1247 h 570342"/>
                <a:gd name="connsiteX8" fmla="*/ 30817 w 628534"/>
                <a:gd name="connsiteY8" fmla="*/ -1247 h 570342"/>
                <a:gd name="connsiteX9" fmla="*/ -2063 w 628534"/>
                <a:gd name="connsiteY9" fmla="*/ 31646 h 570342"/>
                <a:gd name="connsiteX10" fmla="*/ -2063 w 628534"/>
                <a:gd name="connsiteY10" fmla="*/ 60259 h 570342"/>
                <a:gd name="connsiteX11" fmla="*/ 30817 w 628534"/>
                <a:gd name="connsiteY11" fmla="*/ 93139 h 57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8534" h="570342">
                  <a:moveTo>
                    <a:pt x="30817" y="93139"/>
                  </a:moveTo>
                  <a:lnTo>
                    <a:pt x="491064" y="69327"/>
                  </a:lnTo>
                  <a:lnTo>
                    <a:pt x="532517" y="545499"/>
                  </a:lnTo>
                  <a:lnTo>
                    <a:pt x="598836" y="569096"/>
                  </a:lnTo>
                  <a:lnTo>
                    <a:pt x="626471" y="545499"/>
                  </a:lnTo>
                  <a:lnTo>
                    <a:pt x="565054" y="35926"/>
                  </a:lnTo>
                  <a:lnTo>
                    <a:pt x="520350" y="-1247"/>
                  </a:lnTo>
                  <a:lnTo>
                    <a:pt x="425634" y="-1247"/>
                  </a:lnTo>
                  <a:lnTo>
                    <a:pt x="30817" y="-1247"/>
                  </a:lnTo>
                  <a:cubicBezTo>
                    <a:pt x="12656" y="-1247"/>
                    <a:pt x="-2063" y="13472"/>
                    <a:pt x="-2063" y="31646"/>
                  </a:cubicBezTo>
                  <a:lnTo>
                    <a:pt x="-2063" y="60259"/>
                  </a:lnTo>
                  <a:cubicBezTo>
                    <a:pt x="-2063" y="78420"/>
                    <a:pt x="12656" y="93139"/>
                    <a:pt x="30817" y="93139"/>
                  </a:cubicBez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655E9FC4-6DB1-468A-8E45-A8856C975662}"/>
                </a:ext>
              </a:extLst>
            </p:cNvPr>
            <p:cNvSpPr/>
            <p:nvPr/>
          </p:nvSpPr>
          <p:spPr>
            <a:xfrm flipV="1">
              <a:off x="6290569" y="3770634"/>
              <a:ext cx="490853" cy="32080"/>
            </a:xfrm>
            <a:custGeom>
              <a:avLst/>
              <a:gdLst>
                <a:gd name="connsiteX0" fmla="*/ 488838 w 490853"/>
                <a:gd name="connsiteY0" fmla="*/ -1007 h 32080"/>
                <a:gd name="connsiteX1" fmla="*/ 30788 w 490853"/>
                <a:gd name="connsiteY1" fmla="*/ -1007 h 32080"/>
                <a:gd name="connsiteX2" fmla="*/ -2016 w 490853"/>
                <a:gd name="connsiteY2" fmla="*/ 31073 h 32080"/>
                <a:gd name="connsiteX3" fmla="*/ 488838 w 490853"/>
                <a:gd name="connsiteY3" fmla="*/ -1007 h 3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0853" h="32080">
                  <a:moveTo>
                    <a:pt x="488838" y="-1007"/>
                  </a:moveTo>
                  <a:lnTo>
                    <a:pt x="30788" y="-1007"/>
                  </a:lnTo>
                  <a:cubicBezTo>
                    <a:pt x="12919" y="-1007"/>
                    <a:pt x="-1572" y="13281"/>
                    <a:pt x="-2016" y="31073"/>
                  </a:cubicBezTo>
                  <a:cubicBezTo>
                    <a:pt x="-2016" y="31073"/>
                    <a:pt x="475744" y="352"/>
                    <a:pt x="488838" y="-1007"/>
                  </a:cubicBez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71C6F7EC-0CEE-4EE7-AB92-C6C97D705C6A}"/>
                </a:ext>
              </a:extLst>
            </p:cNvPr>
            <p:cNvSpPr/>
            <p:nvPr/>
          </p:nvSpPr>
          <p:spPr>
            <a:xfrm flipV="1">
              <a:off x="6141954" y="3255967"/>
              <a:ext cx="683118" cy="476172"/>
            </a:xfrm>
            <a:custGeom>
              <a:avLst/>
              <a:gdLst>
                <a:gd name="connsiteX0" fmla="*/ -1980 w 683118"/>
                <a:gd name="connsiteY0" fmla="*/ 31993 h 476172"/>
                <a:gd name="connsiteX1" fmla="*/ 417093 w 683118"/>
                <a:gd name="connsiteY1" fmla="*/ 31993 h 476172"/>
                <a:gd name="connsiteX2" fmla="*/ 480326 w 683118"/>
                <a:gd name="connsiteY2" fmla="*/ 466878 h 476172"/>
                <a:gd name="connsiteX3" fmla="*/ 681138 w 683118"/>
                <a:gd name="connsiteY3" fmla="*/ 474905 h 476172"/>
                <a:gd name="connsiteX4" fmla="*/ 639685 w 683118"/>
                <a:gd name="connsiteY4" fmla="*/ -1268 h 476172"/>
                <a:gd name="connsiteX5" fmla="*/ 179439 w 683118"/>
                <a:gd name="connsiteY5" fmla="*/ 22544 h 476172"/>
                <a:gd name="connsiteX6" fmla="*/ -1980 w 683118"/>
                <a:gd name="connsiteY6" fmla="*/ 31993 h 476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3118" h="476172">
                  <a:moveTo>
                    <a:pt x="-1980" y="31993"/>
                  </a:moveTo>
                  <a:lnTo>
                    <a:pt x="417093" y="31993"/>
                  </a:lnTo>
                  <a:lnTo>
                    <a:pt x="480326" y="466878"/>
                  </a:lnTo>
                  <a:lnTo>
                    <a:pt x="681138" y="474905"/>
                  </a:lnTo>
                  <a:lnTo>
                    <a:pt x="639685" y="-1268"/>
                  </a:lnTo>
                  <a:lnTo>
                    <a:pt x="179439" y="22544"/>
                  </a:lnTo>
                  <a:lnTo>
                    <a:pt x="-1980" y="31993"/>
                  </a:ln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D0C5F53C-4603-481E-9CA1-F203EBCCD1D3}"/>
                </a:ext>
              </a:extLst>
            </p:cNvPr>
            <p:cNvSpPr/>
            <p:nvPr/>
          </p:nvSpPr>
          <p:spPr>
            <a:xfrm flipV="1">
              <a:off x="6110420" y="3759851"/>
              <a:ext cx="205053" cy="40347"/>
            </a:xfrm>
            <a:custGeom>
              <a:avLst/>
              <a:gdLst>
                <a:gd name="connsiteX0" fmla="*/ 178366 w 205053"/>
                <a:gd name="connsiteY0" fmla="*/ 28553 h 40347"/>
                <a:gd name="connsiteX1" fmla="*/ 203258 w 205053"/>
                <a:gd name="connsiteY1" fmla="*/ -848 h 40347"/>
                <a:gd name="connsiteX2" fmla="*/ 198534 w 205053"/>
                <a:gd name="connsiteY2" fmla="*/ -1013 h 40347"/>
                <a:gd name="connsiteX3" fmla="*/ 29738 w 205053"/>
                <a:gd name="connsiteY3" fmla="*/ 9566 h 40347"/>
                <a:gd name="connsiteX4" fmla="*/ -1796 w 205053"/>
                <a:gd name="connsiteY4" fmla="*/ 39335 h 40347"/>
                <a:gd name="connsiteX5" fmla="*/ 178366 w 205053"/>
                <a:gd name="connsiteY5" fmla="*/ 28553 h 4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053" h="40347">
                  <a:moveTo>
                    <a:pt x="178366" y="28553"/>
                  </a:moveTo>
                  <a:lnTo>
                    <a:pt x="203258" y="-848"/>
                  </a:lnTo>
                  <a:lnTo>
                    <a:pt x="198534" y="-1013"/>
                  </a:lnTo>
                  <a:lnTo>
                    <a:pt x="29738" y="9566"/>
                  </a:lnTo>
                  <a:cubicBezTo>
                    <a:pt x="12885" y="9566"/>
                    <a:pt x="-831" y="22749"/>
                    <a:pt x="-1796" y="39335"/>
                  </a:cubicBezTo>
                  <a:lnTo>
                    <a:pt x="178366" y="28553"/>
                  </a:ln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7E22B37E-320F-4F4B-865B-32358A4DF84F}"/>
                </a:ext>
              </a:extLst>
            </p:cNvPr>
            <p:cNvSpPr/>
            <p:nvPr/>
          </p:nvSpPr>
          <p:spPr>
            <a:xfrm flipV="1">
              <a:off x="5892693" y="3470305"/>
              <a:ext cx="364681" cy="464981"/>
            </a:xfrm>
            <a:custGeom>
              <a:avLst/>
              <a:gdLst>
                <a:gd name="connsiteX0" fmla="*/ 115251 w 364681"/>
                <a:gd name="connsiteY0" fmla="*/ 106344 h 464981"/>
                <a:gd name="connsiteX1" fmla="*/ 262850 w 364681"/>
                <a:gd name="connsiteY1" fmla="*/ 463899 h 464981"/>
                <a:gd name="connsiteX2" fmla="*/ 362761 w 364681"/>
                <a:gd name="connsiteY2" fmla="*/ 400603 h 464981"/>
                <a:gd name="connsiteX3" fmla="*/ 351725 w 364681"/>
                <a:gd name="connsiteY3" fmla="*/ 345904 h 464981"/>
                <a:gd name="connsiteX4" fmla="*/ 177875 w 364681"/>
                <a:gd name="connsiteY4" fmla="*/ 26614 h 464981"/>
                <a:gd name="connsiteX5" fmla="*/ -204 w 364681"/>
                <a:gd name="connsiteY5" fmla="*/ 32304 h 464981"/>
                <a:gd name="connsiteX6" fmla="*/ 115251 w 364681"/>
                <a:gd name="connsiteY6" fmla="*/ 106344 h 464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681" h="464981">
                  <a:moveTo>
                    <a:pt x="115251" y="106344"/>
                  </a:moveTo>
                  <a:cubicBezTo>
                    <a:pt x="115251" y="106344"/>
                    <a:pt x="213752" y="269247"/>
                    <a:pt x="262850" y="463899"/>
                  </a:cubicBezTo>
                  <a:cubicBezTo>
                    <a:pt x="299439" y="439058"/>
                    <a:pt x="340561" y="436290"/>
                    <a:pt x="362761" y="400603"/>
                  </a:cubicBezTo>
                  <a:cubicBezTo>
                    <a:pt x="364983" y="397021"/>
                    <a:pt x="349489" y="349473"/>
                    <a:pt x="351725" y="345904"/>
                  </a:cubicBezTo>
                  <a:cubicBezTo>
                    <a:pt x="254176" y="118613"/>
                    <a:pt x="169442" y="45131"/>
                    <a:pt x="177875" y="26614"/>
                  </a:cubicBezTo>
                  <a:cubicBezTo>
                    <a:pt x="177875" y="26614"/>
                    <a:pt x="116293" y="-39337"/>
                    <a:pt x="-204" y="32304"/>
                  </a:cubicBezTo>
                  <a:cubicBezTo>
                    <a:pt x="-17146" y="42718"/>
                    <a:pt x="115251" y="106344"/>
                    <a:pt x="115251" y="10634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80A3CCB6-8D29-4221-8DE1-EB368E448956}"/>
                </a:ext>
              </a:extLst>
            </p:cNvPr>
            <p:cNvSpPr/>
            <p:nvPr/>
          </p:nvSpPr>
          <p:spPr>
            <a:xfrm flipV="1">
              <a:off x="5793137" y="3533607"/>
              <a:ext cx="871776" cy="676848"/>
            </a:xfrm>
            <a:custGeom>
              <a:avLst/>
              <a:gdLst>
                <a:gd name="connsiteX0" fmla="*/ 140611 w 871776"/>
                <a:gd name="connsiteY0" fmla="*/ 86899 h 676848"/>
                <a:gd name="connsiteX1" fmla="*/ 173173 w 871776"/>
                <a:gd name="connsiteY1" fmla="*/ 675059 h 676848"/>
                <a:gd name="connsiteX2" fmla="*/ 702622 w 871776"/>
                <a:gd name="connsiteY2" fmla="*/ 639462 h 676848"/>
                <a:gd name="connsiteX3" fmla="*/ 869741 w 871776"/>
                <a:gd name="connsiteY3" fmla="*/ 500321 h 676848"/>
                <a:gd name="connsiteX4" fmla="*/ 298611 w 871776"/>
                <a:gd name="connsiteY4" fmla="*/ 536655 h 676848"/>
                <a:gd name="connsiteX5" fmla="*/ 225916 w 871776"/>
                <a:gd name="connsiteY5" fmla="*/ 23209 h 676848"/>
                <a:gd name="connsiteX6" fmla="*/ -1807 w 871776"/>
                <a:gd name="connsiteY6" fmla="*/ 18457 h 676848"/>
                <a:gd name="connsiteX7" fmla="*/ 140611 w 871776"/>
                <a:gd name="connsiteY7" fmla="*/ 86899 h 676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1776" h="676848">
                  <a:moveTo>
                    <a:pt x="140611" y="86899"/>
                  </a:moveTo>
                  <a:cubicBezTo>
                    <a:pt x="168131" y="115105"/>
                    <a:pt x="173173" y="675059"/>
                    <a:pt x="173173" y="675059"/>
                  </a:cubicBezTo>
                  <a:cubicBezTo>
                    <a:pt x="173173" y="675059"/>
                    <a:pt x="610929" y="684686"/>
                    <a:pt x="702622" y="639462"/>
                  </a:cubicBezTo>
                  <a:cubicBezTo>
                    <a:pt x="693186" y="611839"/>
                    <a:pt x="877336" y="528578"/>
                    <a:pt x="869741" y="500321"/>
                  </a:cubicBezTo>
                  <a:cubicBezTo>
                    <a:pt x="856330" y="450473"/>
                    <a:pt x="283727" y="587925"/>
                    <a:pt x="298611" y="536655"/>
                  </a:cubicBezTo>
                  <a:cubicBezTo>
                    <a:pt x="271738" y="390440"/>
                    <a:pt x="225916" y="23209"/>
                    <a:pt x="225916" y="23209"/>
                  </a:cubicBezTo>
                  <a:cubicBezTo>
                    <a:pt x="225916" y="23209"/>
                    <a:pt x="24292" y="-27783"/>
                    <a:pt x="-1807" y="18457"/>
                  </a:cubicBezTo>
                  <a:cubicBezTo>
                    <a:pt x="2803" y="25824"/>
                    <a:pt x="113090" y="58680"/>
                    <a:pt x="140611" y="86899"/>
                  </a:cubicBezTo>
                </a:path>
              </a:pathLst>
            </a:custGeom>
            <a:solidFill>
              <a:srgbClr val="1418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0E40740C-4C89-414E-8F78-170C192F7536}"/>
                </a:ext>
              </a:extLst>
            </p:cNvPr>
            <p:cNvSpPr/>
            <p:nvPr/>
          </p:nvSpPr>
          <p:spPr>
            <a:xfrm flipV="1">
              <a:off x="5759476" y="4105064"/>
              <a:ext cx="274401" cy="112336"/>
            </a:xfrm>
            <a:custGeom>
              <a:avLst/>
              <a:gdLst>
                <a:gd name="connsiteX0" fmla="*/ 158776 w 274401"/>
                <a:gd name="connsiteY0" fmla="*/ 109813 h 112336"/>
                <a:gd name="connsiteX1" fmla="*/ 197688 w 274401"/>
                <a:gd name="connsiteY1" fmla="*/ 86154 h 112336"/>
                <a:gd name="connsiteX2" fmla="*/ 205232 w 274401"/>
                <a:gd name="connsiteY2" fmla="*/ 74139 h 112336"/>
                <a:gd name="connsiteX3" fmla="*/ 272821 w 274401"/>
                <a:gd name="connsiteY3" fmla="*/ 77720 h 112336"/>
                <a:gd name="connsiteX4" fmla="*/ 251104 w 274401"/>
                <a:gd name="connsiteY4" fmla="*/ 26490 h 112336"/>
                <a:gd name="connsiteX5" fmla="*/ -711 w 274401"/>
                <a:gd name="connsiteY5" fmla="*/ 35900 h 112336"/>
                <a:gd name="connsiteX6" fmla="*/ 158776 w 274401"/>
                <a:gd name="connsiteY6" fmla="*/ 109813 h 11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401" h="112336">
                  <a:moveTo>
                    <a:pt x="158776" y="109813"/>
                  </a:moveTo>
                  <a:cubicBezTo>
                    <a:pt x="193002" y="119794"/>
                    <a:pt x="197688" y="86154"/>
                    <a:pt x="197688" y="86154"/>
                  </a:cubicBezTo>
                  <a:lnTo>
                    <a:pt x="205232" y="74139"/>
                  </a:lnTo>
                  <a:cubicBezTo>
                    <a:pt x="223926" y="48228"/>
                    <a:pt x="272821" y="77720"/>
                    <a:pt x="272821" y="77720"/>
                  </a:cubicBezTo>
                  <a:cubicBezTo>
                    <a:pt x="272821" y="77720"/>
                    <a:pt x="271031" y="36242"/>
                    <a:pt x="251104" y="26490"/>
                  </a:cubicBezTo>
                  <a:cubicBezTo>
                    <a:pt x="185242" y="-5722"/>
                    <a:pt x="75692" y="-16859"/>
                    <a:pt x="-711" y="35900"/>
                  </a:cubicBezTo>
                  <a:cubicBezTo>
                    <a:pt x="-14363" y="64624"/>
                    <a:pt x="136982" y="86443"/>
                    <a:pt x="158776" y="109813"/>
                  </a:cubicBezTo>
                </a:path>
              </a:pathLst>
            </a:custGeom>
            <a:solidFill>
              <a:srgbClr val="5933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997B8D03-0DA0-4507-B060-41D5089AA348}"/>
                </a:ext>
              </a:extLst>
            </p:cNvPr>
            <p:cNvSpPr/>
            <p:nvPr/>
          </p:nvSpPr>
          <p:spPr>
            <a:xfrm flipV="1">
              <a:off x="5754891" y="4176970"/>
              <a:ext cx="262734" cy="44231"/>
            </a:xfrm>
            <a:custGeom>
              <a:avLst/>
              <a:gdLst>
                <a:gd name="connsiteX0" fmla="*/ 56244 w 262734"/>
                <a:gd name="connsiteY0" fmla="*/ 10242 h 44231"/>
                <a:gd name="connsiteX1" fmla="*/ 72 w 262734"/>
                <a:gd name="connsiteY1" fmla="*/ 36962 h 44231"/>
                <a:gd name="connsiteX2" fmla="*/ -17 w 262734"/>
                <a:gd name="connsiteY2" fmla="*/ 42439 h 44231"/>
                <a:gd name="connsiteX3" fmla="*/ 7705 w 262734"/>
                <a:gd name="connsiteY3" fmla="*/ 42489 h 44231"/>
                <a:gd name="connsiteX4" fmla="*/ 252586 w 262734"/>
                <a:gd name="connsiteY4" fmla="*/ 33500 h 44231"/>
                <a:gd name="connsiteX5" fmla="*/ 260193 w 262734"/>
                <a:gd name="connsiteY5" fmla="*/ 32522 h 44231"/>
                <a:gd name="connsiteX6" fmla="*/ 258809 w 262734"/>
                <a:gd name="connsiteY6" fmla="*/ 27150 h 44231"/>
                <a:gd name="connsiteX7" fmla="*/ 56244 w 262734"/>
                <a:gd name="connsiteY7" fmla="*/ 10242 h 44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734" h="44231">
                  <a:moveTo>
                    <a:pt x="56244" y="10242"/>
                  </a:moveTo>
                  <a:cubicBezTo>
                    <a:pt x="36267" y="16324"/>
                    <a:pt x="17268" y="25090"/>
                    <a:pt x="72" y="36962"/>
                  </a:cubicBezTo>
                  <a:cubicBezTo>
                    <a:pt x="-2087" y="38465"/>
                    <a:pt x="-2125" y="40901"/>
                    <a:pt x="-17" y="42439"/>
                  </a:cubicBezTo>
                  <a:cubicBezTo>
                    <a:pt x="2079" y="43952"/>
                    <a:pt x="5520" y="43986"/>
                    <a:pt x="7705" y="42489"/>
                  </a:cubicBezTo>
                  <a:cubicBezTo>
                    <a:pt x="79345" y="-6978"/>
                    <a:pt x="185136" y="514"/>
                    <a:pt x="252586" y="33500"/>
                  </a:cubicBezTo>
                  <a:cubicBezTo>
                    <a:pt x="255088" y="34715"/>
                    <a:pt x="258466" y="34273"/>
                    <a:pt x="260193" y="32522"/>
                  </a:cubicBezTo>
                  <a:cubicBezTo>
                    <a:pt x="261907" y="30781"/>
                    <a:pt x="261285" y="28365"/>
                    <a:pt x="258809" y="27150"/>
                  </a:cubicBezTo>
                  <a:cubicBezTo>
                    <a:pt x="203780" y="236"/>
                    <a:pt x="124456" y="-10509"/>
                    <a:pt x="56244" y="10242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A796E4A-AC36-4CF3-A55C-57D810EB1D45}"/>
                </a:ext>
              </a:extLst>
            </p:cNvPr>
            <p:cNvSpPr/>
            <p:nvPr/>
          </p:nvSpPr>
          <p:spPr>
            <a:xfrm flipV="1">
              <a:off x="6447262" y="2930721"/>
              <a:ext cx="246328" cy="198106"/>
            </a:xfrm>
            <a:custGeom>
              <a:avLst/>
              <a:gdLst>
                <a:gd name="connsiteX0" fmla="*/ 173347 w 246328"/>
                <a:gd name="connsiteY0" fmla="*/ 196425 h 198106"/>
                <a:gd name="connsiteX1" fmla="*/ 178503 w 246328"/>
                <a:gd name="connsiteY1" fmla="*/ 84576 h 198106"/>
                <a:gd name="connsiteX2" fmla="*/ 244289 w 246328"/>
                <a:gd name="connsiteY2" fmla="*/ 47098 h 198106"/>
                <a:gd name="connsiteX3" fmla="*/ 159923 w 246328"/>
                <a:gd name="connsiteY3" fmla="*/ -1682 h 198106"/>
                <a:gd name="connsiteX4" fmla="*/ 40899 w 246328"/>
                <a:gd name="connsiteY4" fmla="*/ 14980 h 198106"/>
                <a:gd name="connsiteX5" fmla="*/ -2040 w 246328"/>
                <a:gd name="connsiteY5" fmla="*/ 77934 h 198106"/>
                <a:gd name="connsiteX6" fmla="*/ 47731 w 246328"/>
                <a:gd name="connsiteY6" fmla="*/ 96831 h 198106"/>
                <a:gd name="connsiteX7" fmla="*/ 75620 w 246328"/>
                <a:gd name="connsiteY7" fmla="*/ 192957 h 198106"/>
                <a:gd name="connsiteX8" fmla="*/ 173347 w 246328"/>
                <a:gd name="connsiteY8" fmla="*/ 196425 h 19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6328" h="198106">
                  <a:moveTo>
                    <a:pt x="173347" y="196425"/>
                  </a:moveTo>
                  <a:cubicBezTo>
                    <a:pt x="173347" y="196425"/>
                    <a:pt x="141191" y="100133"/>
                    <a:pt x="178503" y="84576"/>
                  </a:cubicBezTo>
                  <a:cubicBezTo>
                    <a:pt x="190657" y="79509"/>
                    <a:pt x="244289" y="47098"/>
                    <a:pt x="244289" y="47098"/>
                  </a:cubicBezTo>
                  <a:lnTo>
                    <a:pt x="159923" y="-1682"/>
                  </a:lnTo>
                  <a:lnTo>
                    <a:pt x="40899" y="14980"/>
                  </a:lnTo>
                  <a:lnTo>
                    <a:pt x="-2040" y="77934"/>
                  </a:lnTo>
                  <a:lnTo>
                    <a:pt x="47731" y="96831"/>
                  </a:lnTo>
                  <a:lnTo>
                    <a:pt x="75620" y="192957"/>
                  </a:lnTo>
                  <a:lnTo>
                    <a:pt x="173347" y="196425"/>
                  </a:ln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2B30D26E-4BDA-421A-BF0B-E5260AC9BCA5}"/>
                </a:ext>
              </a:extLst>
            </p:cNvPr>
            <p:cNvSpPr/>
            <p:nvPr/>
          </p:nvSpPr>
          <p:spPr>
            <a:xfrm flipV="1">
              <a:off x="6510431" y="2930721"/>
              <a:ext cx="112216" cy="115913"/>
            </a:xfrm>
            <a:custGeom>
              <a:avLst/>
              <a:gdLst>
                <a:gd name="connsiteX0" fmla="*/ -2037 w 112216"/>
                <a:gd name="connsiteY0" fmla="*/ 27873 h 115913"/>
                <a:gd name="connsiteX1" fmla="*/ 15311 w 112216"/>
                <a:gd name="connsiteY1" fmla="*/ 3882 h 115913"/>
                <a:gd name="connsiteX2" fmla="*/ 72474 w 112216"/>
                <a:gd name="connsiteY2" fmla="*/ 10436 h 115913"/>
                <a:gd name="connsiteX3" fmla="*/ 98978 w 112216"/>
                <a:gd name="connsiteY3" fmla="*/ 25574 h 115913"/>
                <a:gd name="connsiteX4" fmla="*/ 110180 w 112216"/>
                <a:gd name="connsiteY4" fmla="*/ 114194 h 115913"/>
                <a:gd name="connsiteX5" fmla="*/ 12453 w 112216"/>
                <a:gd name="connsiteY5" fmla="*/ 110727 h 115913"/>
                <a:gd name="connsiteX6" fmla="*/ -2037 w 112216"/>
                <a:gd name="connsiteY6" fmla="*/ 27873 h 115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216" h="115913">
                  <a:moveTo>
                    <a:pt x="-2037" y="27873"/>
                  </a:moveTo>
                  <a:cubicBezTo>
                    <a:pt x="2547" y="18843"/>
                    <a:pt x="7310" y="9762"/>
                    <a:pt x="15311" y="3882"/>
                  </a:cubicBezTo>
                  <a:cubicBezTo>
                    <a:pt x="32519" y="-8741"/>
                    <a:pt x="55379" y="2866"/>
                    <a:pt x="72474" y="10436"/>
                  </a:cubicBezTo>
                  <a:cubicBezTo>
                    <a:pt x="81871" y="14601"/>
                    <a:pt x="90584" y="19821"/>
                    <a:pt x="98978" y="25574"/>
                  </a:cubicBezTo>
                  <a:cubicBezTo>
                    <a:pt x="91816" y="59153"/>
                    <a:pt x="110180" y="114194"/>
                    <a:pt x="110180" y="114194"/>
                  </a:cubicBezTo>
                  <a:lnTo>
                    <a:pt x="12453" y="110727"/>
                  </a:lnTo>
                  <a:cubicBezTo>
                    <a:pt x="12453" y="110727"/>
                    <a:pt x="12339" y="54708"/>
                    <a:pt x="-2037" y="27873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659F0930-8272-429F-B10D-CA7DCF455B29}"/>
                </a:ext>
              </a:extLst>
            </p:cNvPr>
            <p:cNvSpPr/>
            <p:nvPr/>
          </p:nvSpPr>
          <p:spPr>
            <a:xfrm flipV="1">
              <a:off x="6337445" y="3047319"/>
              <a:ext cx="407300" cy="569239"/>
            </a:xfrm>
            <a:custGeom>
              <a:avLst/>
              <a:gdLst>
                <a:gd name="connsiteX0" fmla="*/ 354722 w 407300"/>
                <a:gd name="connsiteY0" fmla="*/ 295590 h 569239"/>
                <a:gd name="connsiteX1" fmla="*/ 405281 w 407300"/>
                <a:gd name="connsiteY1" fmla="*/ 508873 h 569239"/>
                <a:gd name="connsiteX2" fmla="*/ 352563 w 407300"/>
                <a:gd name="connsiteY2" fmla="*/ 537588 h 569239"/>
                <a:gd name="connsiteX3" fmla="*/ 206983 w 407300"/>
                <a:gd name="connsiteY3" fmla="*/ 518335 h 569239"/>
                <a:gd name="connsiteX4" fmla="*/ 109994 w 407300"/>
                <a:gd name="connsiteY4" fmla="*/ 567826 h 569239"/>
                <a:gd name="connsiteX5" fmla="*/ 43078 w 407300"/>
                <a:gd name="connsiteY5" fmla="*/ 543887 h 569239"/>
                <a:gd name="connsiteX6" fmla="*/ 42506 w 407300"/>
                <a:gd name="connsiteY6" fmla="*/ 473885 h 569239"/>
                <a:gd name="connsiteX7" fmla="*/ 21246 w 407300"/>
                <a:gd name="connsiteY7" fmla="*/ 354543 h 569239"/>
                <a:gd name="connsiteX8" fmla="*/ 55663 w 407300"/>
                <a:gd name="connsiteY8" fmla="*/ 245108 h 569239"/>
                <a:gd name="connsiteX9" fmla="*/ -2020 w 407300"/>
                <a:gd name="connsiteY9" fmla="*/ 43889 h 569239"/>
                <a:gd name="connsiteX10" fmla="*/ 148373 w 407300"/>
                <a:gd name="connsiteY10" fmla="*/ 316 h 569239"/>
                <a:gd name="connsiteX11" fmla="*/ 350176 w 407300"/>
                <a:gd name="connsiteY11" fmla="*/ 3681 h 569239"/>
                <a:gd name="connsiteX12" fmla="*/ 299477 w 407300"/>
                <a:gd name="connsiteY12" fmla="*/ 176769 h 569239"/>
                <a:gd name="connsiteX13" fmla="*/ 354722 w 407300"/>
                <a:gd name="connsiteY13" fmla="*/ 295590 h 56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7300" h="569239">
                  <a:moveTo>
                    <a:pt x="354722" y="295590"/>
                  </a:moveTo>
                  <a:lnTo>
                    <a:pt x="405281" y="508873"/>
                  </a:lnTo>
                  <a:lnTo>
                    <a:pt x="352563" y="537588"/>
                  </a:lnTo>
                  <a:cubicBezTo>
                    <a:pt x="312431" y="525167"/>
                    <a:pt x="253999" y="513928"/>
                    <a:pt x="206983" y="518335"/>
                  </a:cubicBezTo>
                  <a:cubicBezTo>
                    <a:pt x="161530" y="522602"/>
                    <a:pt x="116890" y="554580"/>
                    <a:pt x="109994" y="567826"/>
                  </a:cubicBezTo>
                  <a:lnTo>
                    <a:pt x="43078" y="543887"/>
                  </a:lnTo>
                  <a:cubicBezTo>
                    <a:pt x="43078" y="543887"/>
                    <a:pt x="40411" y="523567"/>
                    <a:pt x="42506" y="473885"/>
                  </a:cubicBezTo>
                  <a:cubicBezTo>
                    <a:pt x="43878" y="441360"/>
                    <a:pt x="21246" y="354543"/>
                    <a:pt x="21246" y="354543"/>
                  </a:cubicBezTo>
                  <a:lnTo>
                    <a:pt x="55663" y="245108"/>
                  </a:lnTo>
                  <a:cubicBezTo>
                    <a:pt x="41604" y="136916"/>
                    <a:pt x="-2020" y="43889"/>
                    <a:pt x="-2020" y="43889"/>
                  </a:cubicBezTo>
                  <a:cubicBezTo>
                    <a:pt x="-2020" y="43889"/>
                    <a:pt x="55460" y="9028"/>
                    <a:pt x="148373" y="316"/>
                  </a:cubicBezTo>
                  <a:cubicBezTo>
                    <a:pt x="193509" y="-3926"/>
                    <a:pt x="318324" y="595"/>
                    <a:pt x="350176" y="3681"/>
                  </a:cubicBezTo>
                  <a:lnTo>
                    <a:pt x="299477" y="176769"/>
                  </a:lnTo>
                  <a:lnTo>
                    <a:pt x="354722" y="295590"/>
                  </a:ln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BA343C61-BD72-4FCB-8F01-BB3BC4F8DD0C}"/>
                </a:ext>
              </a:extLst>
            </p:cNvPr>
            <p:cNvSpPr/>
            <p:nvPr/>
          </p:nvSpPr>
          <p:spPr>
            <a:xfrm flipV="1">
              <a:off x="6574542" y="3231050"/>
              <a:ext cx="140612" cy="384542"/>
            </a:xfrm>
            <a:custGeom>
              <a:avLst/>
              <a:gdLst>
                <a:gd name="connsiteX0" fmla="*/ 117555 w 140612"/>
                <a:gd name="connsiteY0" fmla="*/ 294705 h 384542"/>
                <a:gd name="connsiteX1" fmla="*/ 138522 w 140612"/>
                <a:gd name="connsiteY1" fmla="*/ 383211 h 384542"/>
                <a:gd name="connsiteX2" fmla="*/ 125632 w 140612"/>
                <a:gd name="connsiteY2" fmla="*/ 350865 h 384542"/>
                <a:gd name="connsiteX3" fmla="*/ 52099 w 140612"/>
                <a:gd name="connsiteY3" fmla="*/ 196306 h 384542"/>
                <a:gd name="connsiteX4" fmla="*/ 9719 w 140612"/>
                <a:gd name="connsiteY4" fmla="*/ 142826 h 384542"/>
                <a:gd name="connsiteX5" fmla="*/ -1723 w 140612"/>
                <a:gd name="connsiteY5" fmla="*/ 111064 h 384542"/>
                <a:gd name="connsiteX6" fmla="*/ 5452 w 140612"/>
                <a:gd name="connsiteY6" fmla="*/ 80889 h 384542"/>
                <a:gd name="connsiteX7" fmla="*/ 22546 w 140612"/>
                <a:gd name="connsiteY7" fmla="*/ 27739 h 384542"/>
                <a:gd name="connsiteX8" fmla="*/ 28287 w 140612"/>
                <a:gd name="connsiteY8" fmla="*/ -1331 h 384542"/>
                <a:gd name="connsiteX9" fmla="*/ 113008 w 140612"/>
                <a:gd name="connsiteY9" fmla="*/ 2796 h 384542"/>
                <a:gd name="connsiteX10" fmla="*/ 62310 w 140612"/>
                <a:gd name="connsiteY10" fmla="*/ 175884 h 384542"/>
                <a:gd name="connsiteX11" fmla="*/ 117555 w 140612"/>
                <a:gd name="connsiteY11" fmla="*/ 294705 h 38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0612" h="384542">
                  <a:moveTo>
                    <a:pt x="117555" y="294705"/>
                  </a:moveTo>
                  <a:lnTo>
                    <a:pt x="138522" y="383211"/>
                  </a:lnTo>
                  <a:cubicBezTo>
                    <a:pt x="134459" y="372378"/>
                    <a:pt x="130204" y="361583"/>
                    <a:pt x="125632" y="350865"/>
                  </a:cubicBezTo>
                  <a:cubicBezTo>
                    <a:pt x="102950" y="297690"/>
                    <a:pt x="83303" y="245328"/>
                    <a:pt x="52099" y="196306"/>
                  </a:cubicBezTo>
                  <a:cubicBezTo>
                    <a:pt x="39437" y="176405"/>
                    <a:pt x="26039" y="159565"/>
                    <a:pt x="9719" y="142826"/>
                  </a:cubicBezTo>
                  <a:cubicBezTo>
                    <a:pt x="131" y="132984"/>
                    <a:pt x="-3298" y="124767"/>
                    <a:pt x="-1723" y="111064"/>
                  </a:cubicBezTo>
                  <a:cubicBezTo>
                    <a:pt x="-542" y="100802"/>
                    <a:pt x="2404" y="90731"/>
                    <a:pt x="5452" y="80889"/>
                  </a:cubicBezTo>
                  <a:cubicBezTo>
                    <a:pt x="10951" y="63185"/>
                    <a:pt x="18559" y="45875"/>
                    <a:pt x="22546" y="27739"/>
                  </a:cubicBezTo>
                  <a:cubicBezTo>
                    <a:pt x="24655" y="18100"/>
                    <a:pt x="26509" y="8384"/>
                    <a:pt x="28287" y="-1331"/>
                  </a:cubicBezTo>
                  <a:cubicBezTo>
                    <a:pt x="64913" y="-302"/>
                    <a:pt x="98543" y="1387"/>
                    <a:pt x="113008" y="2796"/>
                  </a:cubicBezTo>
                  <a:lnTo>
                    <a:pt x="62310" y="175884"/>
                  </a:lnTo>
                  <a:lnTo>
                    <a:pt x="117555" y="294705"/>
                  </a:lnTo>
                </a:path>
              </a:pathLst>
            </a:custGeom>
            <a:solidFill>
              <a:srgbClr val="928DA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13904342-3782-4297-8EF0-9A2BEA353A88}"/>
                </a:ext>
              </a:extLst>
            </p:cNvPr>
            <p:cNvSpPr/>
            <p:nvPr/>
          </p:nvSpPr>
          <p:spPr>
            <a:xfrm flipV="1">
              <a:off x="6384778" y="3319124"/>
              <a:ext cx="223286" cy="60149"/>
            </a:xfrm>
            <a:custGeom>
              <a:avLst/>
              <a:gdLst>
                <a:gd name="connsiteX0" fmla="*/ 219384 w 223286"/>
                <a:gd name="connsiteY0" fmla="*/ 28400 h 60149"/>
                <a:gd name="connsiteX1" fmla="*/ 178490 w 223286"/>
                <a:gd name="connsiteY1" fmla="*/ 43220 h 60149"/>
                <a:gd name="connsiteX2" fmla="*/ 77170 w 223286"/>
                <a:gd name="connsiteY2" fmla="*/ 52860 h 60149"/>
                <a:gd name="connsiteX3" fmla="*/ 33888 w 223286"/>
                <a:gd name="connsiteY3" fmla="*/ 58143 h 60149"/>
                <a:gd name="connsiteX4" fmla="*/ 27056 w 223286"/>
                <a:gd name="connsiteY4" fmla="*/ 58753 h 60149"/>
                <a:gd name="connsiteX5" fmla="*/ -1989 w 223286"/>
                <a:gd name="connsiteY5" fmla="*/ 55158 h 60149"/>
                <a:gd name="connsiteX6" fmla="*/ 11397 w 223286"/>
                <a:gd name="connsiteY6" fmla="*/ 24590 h 60149"/>
                <a:gd name="connsiteX7" fmla="*/ 13403 w 223286"/>
                <a:gd name="connsiteY7" fmla="*/ 23561 h 60149"/>
                <a:gd name="connsiteX8" fmla="*/ 42473 w 223286"/>
                <a:gd name="connsiteY8" fmla="*/ 10454 h 60149"/>
                <a:gd name="connsiteX9" fmla="*/ 100106 w 223286"/>
                <a:gd name="connsiteY9" fmla="*/ -1395 h 60149"/>
                <a:gd name="connsiteX10" fmla="*/ 158513 w 223286"/>
                <a:gd name="connsiteY10" fmla="*/ 5159 h 60149"/>
                <a:gd name="connsiteX11" fmla="*/ 200982 w 223286"/>
                <a:gd name="connsiteY11" fmla="*/ 15077 h 60149"/>
                <a:gd name="connsiteX12" fmla="*/ 219384 w 223286"/>
                <a:gd name="connsiteY12" fmla="*/ 28400 h 6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3286" h="60149">
                  <a:moveTo>
                    <a:pt x="219384" y="28400"/>
                  </a:moveTo>
                  <a:cubicBezTo>
                    <a:pt x="213491" y="32921"/>
                    <a:pt x="198124" y="38674"/>
                    <a:pt x="178490" y="43220"/>
                  </a:cubicBezTo>
                  <a:cubicBezTo>
                    <a:pt x="155706" y="48504"/>
                    <a:pt x="105186" y="50612"/>
                    <a:pt x="77170" y="52860"/>
                  </a:cubicBezTo>
                  <a:cubicBezTo>
                    <a:pt x="62552" y="54041"/>
                    <a:pt x="48519" y="56733"/>
                    <a:pt x="33888" y="58143"/>
                  </a:cubicBezTo>
                  <a:cubicBezTo>
                    <a:pt x="31539" y="58371"/>
                    <a:pt x="29278" y="58575"/>
                    <a:pt x="27056" y="58753"/>
                  </a:cubicBezTo>
                  <a:cubicBezTo>
                    <a:pt x="14775" y="58511"/>
                    <a:pt x="5047" y="57190"/>
                    <a:pt x="-1989" y="55158"/>
                  </a:cubicBezTo>
                  <a:cubicBezTo>
                    <a:pt x="2659" y="45062"/>
                    <a:pt x="7041" y="34838"/>
                    <a:pt x="11397" y="24590"/>
                  </a:cubicBezTo>
                  <a:lnTo>
                    <a:pt x="13403" y="23561"/>
                  </a:lnTo>
                  <a:cubicBezTo>
                    <a:pt x="22382" y="19205"/>
                    <a:pt x="31678" y="14798"/>
                    <a:pt x="42473" y="10454"/>
                  </a:cubicBezTo>
                  <a:cubicBezTo>
                    <a:pt x="53751" y="5883"/>
                    <a:pt x="72865" y="-1560"/>
                    <a:pt x="100106" y="-1395"/>
                  </a:cubicBezTo>
                  <a:cubicBezTo>
                    <a:pt x="133265" y="-1179"/>
                    <a:pt x="148340" y="1006"/>
                    <a:pt x="158513" y="5159"/>
                  </a:cubicBezTo>
                  <a:cubicBezTo>
                    <a:pt x="167632" y="8854"/>
                    <a:pt x="191749" y="11382"/>
                    <a:pt x="200982" y="15077"/>
                  </a:cubicBezTo>
                  <a:cubicBezTo>
                    <a:pt x="210596" y="18913"/>
                    <a:pt x="226877" y="22672"/>
                    <a:pt x="219384" y="28400"/>
                  </a:cubicBez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583B6717-5499-4FCD-9436-B5CE16ACCD96}"/>
                </a:ext>
              </a:extLst>
            </p:cNvPr>
            <p:cNvSpPr/>
            <p:nvPr/>
          </p:nvSpPr>
          <p:spPr>
            <a:xfrm flipV="1">
              <a:off x="6475456" y="3030060"/>
              <a:ext cx="155295" cy="319670"/>
            </a:xfrm>
            <a:custGeom>
              <a:avLst/>
              <a:gdLst>
                <a:gd name="connsiteX0" fmla="*/ -2028 w 155295"/>
                <a:gd name="connsiteY0" fmla="*/ -1539 h 319670"/>
                <a:gd name="connsiteX1" fmla="*/ 13504 w 155295"/>
                <a:gd name="connsiteY1" fmla="*/ 316684 h 319670"/>
                <a:gd name="connsiteX2" fmla="*/ 18991 w 155295"/>
                <a:gd name="connsiteY2" fmla="*/ 318131 h 319670"/>
                <a:gd name="connsiteX3" fmla="*/ 5656 w 155295"/>
                <a:gd name="connsiteY3" fmla="*/ 26896 h 319670"/>
                <a:gd name="connsiteX4" fmla="*/ 147743 w 155295"/>
                <a:gd name="connsiteY4" fmla="*/ 307184 h 319670"/>
                <a:gd name="connsiteX5" fmla="*/ 153267 w 155295"/>
                <a:gd name="connsiteY5" fmla="*/ 304771 h 319670"/>
                <a:gd name="connsiteX6" fmla="*/ -2028 w 155295"/>
                <a:gd name="connsiteY6" fmla="*/ -1539 h 31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295" h="319670">
                  <a:moveTo>
                    <a:pt x="-2028" y="-1539"/>
                  </a:moveTo>
                  <a:lnTo>
                    <a:pt x="13504" y="316684"/>
                  </a:lnTo>
                  <a:lnTo>
                    <a:pt x="18991" y="318131"/>
                  </a:lnTo>
                  <a:lnTo>
                    <a:pt x="5656" y="26896"/>
                  </a:lnTo>
                  <a:lnTo>
                    <a:pt x="147743" y="307184"/>
                  </a:lnTo>
                  <a:lnTo>
                    <a:pt x="153267" y="304771"/>
                  </a:lnTo>
                  <a:lnTo>
                    <a:pt x="-2028" y="-1539"/>
                  </a:lnTo>
                </a:path>
              </a:pathLst>
            </a:custGeom>
            <a:solidFill>
              <a:srgbClr val="3A72C1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C4FEDE96-3A82-4CAA-98F0-951065403A09}"/>
                </a:ext>
              </a:extLst>
            </p:cNvPr>
            <p:cNvSpPr/>
            <p:nvPr/>
          </p:nvSpPr>
          <p:spPr>
            <a:xfrm flipV="1">
              <a:off x="6470960" y="3316394"/>
              <a:ext cx="19710" cy="33489"/>
            </a:xfrm>
            <a:custGeom>
              <a:avLst/>
              <a:gdLst>
                <a:gd name="connsiteX0" fmla="*/ 14734 w 19710"/>
                <a:gd name="connsiteY0" fmla="*/ -1412 h 33489"/>
                <a:gd name="connsiteX1" fmla="*/ -1979 w 19710"/>
                <a:gd name="connsiteY1" fmla="*/ 151 h 33489"/>
                <a:gd name="connsiteX2" fmla="*/ 1006 w 19710"/>
                <a:gd name="connsiteY2" fmla="*/ 32078 h 33489"/>
                <a:gd name="connsiteX3" fmla="*/ 17732 w 19710"/>
                <a:gd name="connsiteY3" fmla="*/ 30516 h 33489"/>
                <a:gd name="connsiteX4" fmla="*/ 14734 w 19710"/>
                <a:gd name="connsiteY4" fmla="*/ -1412 h 3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10" h="33489">
                  <a:moveTo>
                    <a:pt x="14734" y="-1412"/>
                  </a:moveTo>
                  <a:lnTo>
                    <a:pt x="-1979" y="151"/>
                  </a:lnTo>
                  <a:lnTo>
                    <a:pt x="1006" y="32078"/>
                  </a:lnTo>
                  <a:lnTo>
                    <a:pt x="17732" y="30516"/>
                  </a:lnTo>
                  <a:lnTo>
                    <a:pt x="14734" y="-1412"/>
                  </a:lnTo>
                </a:path>
              </a:pathLst>
            </a:custGeom>
            <a:solidFill>
              <a:srgbClr val="2C3A9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F3CE8FB8-D1F0-4D22-96E1-C377D079A0AB}"/>
                </a:ext>
              </a:extLst>
            </p:cNvPr>
            <p:cNvSpPr/>
            <p:nvPr/>
          </p:nvSpPr>
          <p:spPr>
            <a:xfrm flipV="1">
              <a:off x="6435578" y="3338047"/>
              <a:ext cx="77254" cy="131254"/>
            </a:xfrm>
            <a:custGeom>
              <a:avLst/>
              <a:gdLst>
                <a:gd name="connsiteX0" fmla="*/ -1974 w 77254"/>
                <a:gd name="connsiteY0" fmla="*/ 4811 h 131254"/>
                <a:gd name="connsiteX1" fmla="*/ 63545 w 77254"/>
                <a:gd name="connsiteY1" fmla="*/ -1349 h 131254"/>
                <a:gd name="connsiteX2" fmla="*/ 75280 w 77254"/>
                <a:gd name="connsiteY2" fmla="*/ 123759 h 131254"/>
                <a:gd name="connsiteX3" fmla="*/ 9761 w 77254"/>
                <a:gd name="connsiteY3" fmla="*/ 129906 h 131254"/>
                <a:gd name="connsiteX4" fmla="*/ -1974 w 77254"/>
                <a:gd name="connsiteY4" fmla="*/ 4811 h 13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54" h="131254">
                  <a:moveTo>
                    <a:pt x="-1974" y="4811"/>
                  </a:moveTo>
                  <a:lnTo>
                    <a:pt x="63545" y="-1349"/>
                  </a:lnTo>
                  <a:lnTo>
                    <a:pt x="75280" y="123759"/>
                  </a:lnTo>
                  <a:lnTo>
                    <a:pt x="9761" y="129906"/>
                  </a:lnTo>
                  <a:lnTo>
                    <a:pt x="-1974" y="4811"/>
                  </a:lnTo>
                </a:path>
              </a:pathLst>
            </a:custGeom>
            <a:solidFill>
              <a:srgbClr val="66686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420B2ADE-A2D3-40BA-B7A2-8BF786E3651C}"/>
                </a:ext>
              </a:extLst>
            </p:cNvPr>
            <p:cNvSpPr/>
            <p:nvPr/>
          </p:nvSpPr>
          <p:spPr>
            <a:xfrm flipV="1">
              <a:off x="6441191" y="3346556"/>
              <a:ext cx="66446" cy="114439"/>
            </a:xfrm>
            <a:custGeom>
              <a:avLst/>
              <a:gdLst>
                <a:gd name="connsiteX0" fmla="*/ -1974 w 66446"/>
                <a:gd name="connsiteY0" fmla="*/ 6170 h 114439"/>
                <a:gd name="connsiteX1" fmla="*/ 53880 w 66446"/>
                <a:gd name="connsiteY1" fmla="*/ -1349 h 114439"/>
                <a:gd name="connsiteX2" fmla="*/ 64472 w 66446"/>
                <a:gd name="connsiteY2" fmla="*/ 111491 h 114439"/>
                <a:gd name="connsiteX3" fmla="*/ 8986 w 66446"/>
                <a:gd name="connsiteY3" fmla="*/ 113091 h 114439"/>
                <a:gd name="connsiteX4" fmla="*/ -1974 w 66446"/>
                <a:gd name="connsiteY4" fmla="*/ 6170 h 114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46" h="114439">
                  <a:moveTo>
                    <a:pt x="-1974" y="6170"/>
                  </a:moveTo>
                  <a:lnTo>
                    <a:pt x="53880" y="-1349"/>
                  </a:lnTo>
                  <a:lnTo>
                    <a:pt x="64472" y="111491"/>
                  </a:lnTo>
                  <a:lnTo>
                    <a:pt x="8986" y="113091"/>
                  </a:lnTo>
                  <a:lnTo>
                    <a:pt x="-1974" y="6170"/>
                  </a:lnTo>
                </a:path>
              </a:pathLst>
            </a:custGeom>
            <a:solidFill>
              <a:srgbClr val="E8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A61FE38A-2ADF-47AC-86F8-15E803C5E129}"/>
                </a:ext>
              </a:extLst>
            </p:cNvPr>
            <p:cNvSpPr/>
            <p:nvPr/>
          </p:nvSpPr>
          <p:spPr>
            <a:xfrm flipV="1">
              <a:off x="6429557" y="3332040"/>
              <a:ext cx="89283" cy="143269"/>
            </a:xfrm>
            <a:custGeom>
              <a:avLst/>
              <a:gdLst>
                <a:gd name="connsiteX0" fmla="*/ 69565 w 89283"/>
                <a:gd name="connsiteY0" fmla="*/ 4659 h 143269"/>
                <a:gd name="connsiteX1" fmla="*/ 4046 w 89283"/>
                <a:gd name="connsiteY1" fmla="*/ 10818 h 143269"/>
                <a:gd name="connsiteX2" fmla="*/ 15781 w 89283"/>
                <a:gd name="connsiteY2" fmla="*/ 135913 h 143269"/>
                <a:gd name="connsiteX3" fmla="*/ 81300 w 89283"/>
                <a:gd name="connsiteY3" fmla="*/ 129766 h 143269"/>
                <a:gd name="connsiteX4" fmla="*/ 69565 w 89283"/>
                <a:gd name="connsiteY4" fmla="*/ 4659 h 143269"/>
                <a:gd name="connsiteX5" fmla="*/ 81859 w 89283"/>
                <a:gd name="connsiteY5" fmla="*/ 135748 h 143269"/>
                <a:gd name="connsiteX6" fmla="*/ 16340 w 89283"/>
                <a:gd name="connsiteY6" fmla="*/ 141895 h 143269"/>
                <a:gd name="connsiteX7" fmla="*/ 9787 w 89283"/>
                <a:gd name="connsiteY7" fmla="*/ 136472 h 143269"/>
                <a:gd name="connsiteX8" fmla="*/ -1948 w 89283"/>
                <a:gd name="connsiteY8" fmla="*/ 11365 h 143269"/>
                <a:gd name="connsiteX9" fmla="*/ 3475 w 89283"/>
                <a:gd name="connsiteY9" fmla="*/ 4824 h 143269"/>
                <a:gd name="connsiteX10" fmla="*/ 69007 w 89283"/>
                <a:gd name="connsiteY10" fmla="*/ -1323 h 143269"/>
                <a:gd name="connsiteX11" fmla="*/ 75560 w 89283"/>
                <a:gd name="connsiteY11" fmla="*/ 4100 h 143269"/>
                <a:gd name="connsiteX12" fmla="*/ 87282 w 89283"/>
                <a:gd name="connsiteY12" fmla="*/ 129195 h 143269"/>
                <a:gd name="connsiteX13" fmla="*/ 81859 w 89283"/>
                <a:gd name="connsiteY13" fmla="*/ 135748 h 143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283" h="143269">
                  <a:moveTo>
                    <a:pt x="69565" y="4659"/>
                  </a:moveTo>
                  <a:lnTo>
                    <a:pt x="4046" y="10818"/>
                  </a:lnTo>
                  <a:lnTo>
                    <a:pt x="15781" y="135913"/>
                  </a:lnTo>
                  <a:lnTo>
                    <a:pt x="81300" y="129766"/>
                  </a:lnTo>
                  <a:lnTo>
                    <a:pt x="69565" y="4659"/>
                  </a:lnTo>
                  <a:moveTo>
                    <a:pt x="81859" y="135748"/>
                  </a:moveTo>
                  <a:lnTo>
                    <a:pt x="16340" y="141895"/>
                  </a:lnTo>
                  <a:cubicBezTo>
                    <a:pt x="13025" y="142199"/>
                    <a:pt x="10091" y="139774"/>
                    <a:pt x="9787" y="136472"/>
                  </a:cubicBezTo>
                  <a:lnTo>
                    <a:pt x="-1948" y="11365"/>
                  </a:lnTo>
                  <a:cubicBezTo>
                    <a:pt x="-2253" y="8075"/>
                    <a:pt x="173" y="5129"/>
                    <a:pt x="3475" y="4824"/>
                  </a:cubicBezTo>
                  <a:lnTo>
                    <a:pt x="69007" y="-1323"/>
                  </a:lnTo>
                  <a:cubicBezTo>
                    <a:pt x="72308" y="-1628"/>
                    <a:pt x="75242" y="798"/>
                    <a:pt x="75560" y="4100"/>
                  </a:cubicBezTo>
                  <a:lnTo>
                    <a:pt x="87282" y="129195"/>
                  </a:lnTo>
                  <a:cubicBezTo>
                    <a:pt x="87599" y="132509"/>
                    <a:pt x="85161" y="135430"/>
                    <a:pt x="81859" y="135748"/>
                  </a:cubicBezTo>
                </a:path>
              </a:pathLst>
            </a:custGeom>
            <a:solidFill>
              <a:srgbClr val="2C3A9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85A0295F-CE89-4633-8577-55181FFE9AF7}"/>
                </a:ext>
              </a:extLst>
            </p:cNvPr>
            <p:cNvSpPr/>
            <p:nvPr/>
          </p:nvSpPr>
          <p:spPr>
            <a:xfrm flipV="1">
              <a:off x="6460863" y="3350823"/>
              <a:ext cx="32308" cy="45618"/>
            </a:xfrm>
            <a:custGeom>
              <a:avLst/>
              <a:gdLst>
                <a:gd name="connsiteX0" fmla="*/ 26294 w 32308"/>
                <a:gd name="connsiteY0" fmla="*/ -1375 h 45618"/>
                <a:gd name="connsiteX1" fmla="*/ -1976 w 32308"/>
                <a:gd name="connsiteY1" fmla="*/ 1279 h 45618"/>
                <a:gd name="connsiteX2" fmla="*/ 2050 w 32308"/>
                <a:gd name="connsiteY2" fmla="*/ 44243 h 45618"/>
                <a:gd name="connsiteX3" fmla="*/ 30333 w 32308"/>
                <a:gd name="connsiteY3" fmla="*/ 41601 h 45618"/>
                <a:gd name="connsiteX4" fmla="*/ 26294 w 32308"/>
                <a:gd name="connsiteY4" fmla="*/ -1375 h 45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08" h="45618">
                  <a:moveTo>
                    <a:pt x="26294" y="-1375"/>
                  </a:moveTo>
                  <a:lnTo>
                    <a:pt x="-1976" y="1279"/>
                  </a:lnTo>
                  <a:lnTo>
                    <a:pt x="2050" y="44243"/>
                  </a:lnTo>
                  <a:lnTo>
                    <a:pt x="30333" y="41601"/>
                  </a:lnTo>
                  <a:lnTo>
                    <a:pt x="26294" y="-1375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1808EE95-CFFD-40D0-9ECA-1B5372FBC16F}"/>
                </a:ext>
              </a:extLst>
            </p:cNvPr>
            <p:cNvSpPr/>
            <p:nvPr/>
          </p:nvSpPr>
          <p:spPr>
            <a:xfrm flipV="1">
              <a:off x="6435578" y="3338047"/>
              <a:ext cx="55765" cy="126758"/>
            </a:xfrm>
            <a:custGeom>
              <a:avLst/>
              <a:gdLst>
                <a:gd name="connsiteX0" fmla="*/ 15750 w 55765"/>
                <a:gd name="connsiteY0" fmla="*/ -1351 h 126758"/>
                <a:gd name="connsiteX1" fmla="*/ -1967 w 55765"/>
                <a:gd name="connsiteY1" fmla="*/ 313 h 126758"/>
                <a:gd name="connsiteX2" fmla="*/ 9768 w 55765"/>
                <a:gd name="connsiteY2" fmla="*/ 125408 h 126758"/>
                <a:gd name="connsiteX3" fmla="*/ 53799 w 55765"/>
                <a:gd name="connsiteY3" fmla="*/ 121267 h 126758"/>
                <a:gd name="connsiteX4" fmla="*/ 52110 w 55765"/>
                <a:gd name="connsiteY4" fmla="*/ 115819 h 126758"/>
                <a:gd name="connsiteX5" fmla="*/ 14607 w 55765"/>
                <a:gd name="connsiteY5" fmla="*/ 116899 h 126758"/>
                <a:gd name="connsiteX6" fmla="*/ 3647 w 55765"/>
                <a:gd name="connsiteY6" fmla="*/ 9978 h 126758"/>
                <a:gd name="connsiteX7" fmla="*/ 18646 w 55765"/>
                <a:gd name="connsiteY7" fmla="*/ 7958 h 126758"/>
                <a:gd name="connsiteX8" fmla="*/ 15750 w 55765"/>
                <a:gd name="connsiteY8" fmla="*/ -1351 h 126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765" h="126758">
                  <a:moveTo>
                    <a:pt x="15750" y="-1351"/>
                  </a:moveTo>
                  <a:lnTo>
                    <a:pt x="-1967" y="313"/>
                  </a:lnTo>
                  <a:lnTo>
                    <a:pt x="9768" y="125408"/>
                  </a:lnTo>
                  <a:lnTo>
                    <a:pt x="53799" y="121267"/>
                  </a:lnTo>
                  <a:lnTo>
                    <a:pt x="52110" y="115819"/>
                  </a:lnTo>
                  <a:lnTo>
                    <a:pt x="14607" y="116899"/>
                  </a:lnTo>
                  <a:lnTo>
                    <a:pt x="3647" y="9978"/>
                  </a:lnTo>
                  <a:lnTo>
                    <a:pt x="18646" y="7958"/>
                  </a:lnTo>
                  <a:lnTo>
                    <a:pt x="15750" y="-1351"/>
                  </a:lnTo>
                </a:path>
              </a:pathLst>
            </a:custGeom>
            <a:solidFill>
              <a:srgbClr val="A9A5A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4E3D0A9-874D-414F-8336-408025B36EB1}"/>
                </a:ext>
              </a:extLst>
            </p:cNvPr>
            <p:cNvSpPr/>
            <p:nvPr/>
          </p:nvSpPr>
          <p:spPr>
            <a:xfrm flipV="1">
              <a:off x="6441191" y="3346556"/>
              <a:ext cx="48462" cy="108940"/>
            </a:xfrm>
            <a:custGeom>
              <a:avLst/>
              <a:gdLst>
                <a:gd name="connsiteX0" fmla="*/ 13031 w 48462"/>
                <a:gd name="connsiteY0" fmla="*/ -1351 h 108940"/>
                <a:gd name="connsiteX1" fmla="*/ -1968 w 48462"/>
                <a:gd name="connsiteY1" fmla="*/ 668 h 108940"/>
                <a:gd name="connsiteX2" fmla="*/ 8992 w 48462"/>
                <a:gd name="connsiteY2" fmla="*/ 107589 h 108940"/>
                <a:gd name="connsiteX3" fmla="*/ 46495 w 48462"/>
                <a:gd name="connsiteY3" fmla="*/ 106510 h 108940"/>
                <a:gd name="connsiteX4" fmla="*/ 44844 w 48462"/>
                <a:gd name="connsiteY4" fmla="*/ 101163 h 108940"/>
                <a:gd name="connsiteX5" fmla="*/ 21730 w 48462"/>
                <a:gd name="connsiteY5" fmla="*/ 103322 h 108940"/>
                <a:gd name="connsiteX6" fmla="*/ 17704 w 48462"/>
                <a:gd name="connsiteY6" fmla="*/ 60358 h 108940"/>
                <a:gd name="connsiteX7" fmla="*/ 31763 w 48462"/>
                <a:gd name="connsiteY7" fmla="*/ 59037 h 108940"/>
                <a:gd name="connsiteX8" fmla="*/ 13031 w 48462"/>
                <a:gd name="connsiteY8" fmla="*/ -1351 h 10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462" h="108940">
                  <a:moveTo>
                    <a:pt x="13031" y="-1351"/>
                  </a:moveTo>
                  <a:lnTo>
                    <a:pt x="-1968" y="668"/>
                  </a:lnTo>
                  <a:lnTo>
                    <a:pt x="8992" y="107589"/>
                  </a:lnTo>
                  <a:lnTo>
                    <a:pt x="46495" y="106510"/>
                  </a:lnTo>
                  <a:lnTo>
                    <a:pt x="44844" y="101163"/>
                  </a:lnTo>
                  <a:lnTo>
                    <a:pt x="21730" y="103322"/>
                  </a:lnTo>
                  <a:lnTo>
                    <a:pt x="17704" y="60358"/>
                  </a:lnTo>
                  <a:lnTo>
                    <a:pt x="31763" y="59037"/>
                  </a:lnTo>
                  <a:lnTo>
                    <a:pt x="13031" y="-1351"/>
                  </a:lnTo>
                </a:path>
              </a:pathLst>
            </a:custGeom>
            <a:solidFill>
              <a:srgbClr val="F4F4F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8B57E38D-BDD9-40C2-824D-67C9DC9E4A0B}"/>
                </a:ext>
              </a:extLst>
            </p:cNvPr>
            <p:cNvSpPr/>
            <p:nvPr/>
          </p:nvSpPr>
          <p:spPr>
            <a:xfrm flipV="1">
              <a:off x="6460863" y="3350823"/>
              <a:ext cx="27139" cy="44284"/>
            </a:xfrm>
            <a:custGeom>
              <a:avLst/>
              <a:gdLst>
                <a:gd name="connsiteX0" fmla="*/ 12085 w 27139"/>
                <a:gd name="connsiteY0" fmla="*/ -1376 h 44284"/>
                <a:gd name="connsiteX1" fmla="*/ -1974 w 27139"/>
                <a:gd name="connsiteY1" fmla="*/ -55 h 44284"/>
                <a:gd name="connsiteX2" fmla="*/ 2052 w 27139"/>
                <a:gd name="connsiteY2" fmla="*/ 42909 h 44284"/>
                <a:gd name="connsiteX3" fmla="*/ 25165 w 27139"/>
                <a:gd name="connsiteY3" fmla="*/ 40750 h 44284"/>
                <a:gd name="connsiteX4" fmla="*/ 12085 w 27139"/>
                <a:gd name="connsiteY4" fmla="*/ -1376 h 4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39" h="44284">
                  <a:moveTo>
                    <a:pt x="12085" y="-1376"/>
                  </a:moveTo>
                  <a:lnTo>
                    <a:pt x="-1974" y="-55"/>
                  </a:lnTo>
                  <a:lnTo>
                    <a:pt x="2052" y="42909"/>
                  </a:lnTo>
                  <a:lnTo>
                    <a:pt x="25165" y="40750"/>
                  </a:lnTo>
                  <a:lnTo>
                    <a:pt x="12085" y="-1376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D68F386D-9728-4125-B86F-82A1CB9F285A}"/>
                </a:ext>
              </a:extLst>
            </p:cNvPr>
            <p:cNvSpPr/>
            <p:nvPr/>
          </p:nvSpPr>
          <p:spPr>
            <a:xfrm flipV="1">
              <a:off x="6473042" y="3344042"/>
              <a:ext cx="39789" cy="125259"/>
            </a:xfrm>
            <a:custGeom>
              <a:avLst/>
              <a:gdLst>
                <a:gd name="connsiteX0" fmla="*/ 26067 w 39789"/>
                <a:gd name="connsiteY0" fmla="*/ -1346 h 125259"/>
                <a:gd name="connsiteX1" fmla="*/ 26067 w 39789"/>
                <a:gd name="connsiteY1" fmla="*/ -1346 h 125259"/>
                <a:gd name="connsiteX2" fmla="*/ -1987 w 39789"/>
                <a:gd name="connsiteY2" fmla="*/ 1296 h 125259"/>
                <a:gd name="connsiteX3" fmla="*/ 668 w 39789"/>
                <a:gd name="connsiteY3" fmla="*/ 9843 h 125259"/>
                <a:gd name="connsiteX4" fmla="*/ 22016 w 39789"/>
                <a:gd name="connsiteY4" fmla="*/ 6960 h 125259"/>
                <a:gd name="connsiteX5" fmla="*/ 31655 w 39789"/>
                <a:gd name="connsiteY5" fmla="*/ 109766 h 125259"/>
                <a:gd name="connsiteX6" fmla="*/ 36050 w 39789"/>
                <a:gd name="connsiteY6" fmla="*/ 123914 h 125259"/>
                <a:gd name="connsiteX7" fmla="*/ 37802 w 39789"/>
                <a:gd name="connsiteY7" fmla="*/ 123761 h 125259"/>
                <a:gd name="connsiteX8" fmla="*/ 26067 w 39789"/>
                <a:gd name="connsiteY8" fmla="*/ -1346 h 125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789" h="125259">
                  <a:moveTo>
                    <a:pt x="26067" y="-1346"/>
                  </a:moveTo>
                  <a:lnTo>
                    <a:pt x="26067" y="-1346"/>
                  </a:lnTo>
                  <a:lnTo>
                    <a:pt x="-1987" y="1296"/>
                  </a:lnTo>
                  <a:lnTo>
                    <a:pt x="668" y="9843"/>
                  </a:lnTo>
                  <a:lnTo>
                    <a:pt x="22016" y="6960"/>
                  </a:lnTo>
                  <a:lnTo>
                    <a:pt x="31655" y="109766"/>
                  </a:lnTo>
                  <a:lnTo>
                    <a:pt x="36050" y="123914"/>
                  </a:lnTo>
                  <a:lnTo>
                    <a:pt x="37802" y="123761"/>
                  </a:lnTo>
                  <a:lnTo>
                    <a:pt x="26067" y="-1346"/>
                  </a:lnTo>
                </a:path>
              </a:pathLst>
            </a:custGeom>
            <a:solidFill>
              <a:srgbClr val="A9A5A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81D3AFAA-B0BA-455D-9AB3-2DA711696952}"/>
                </a:ext>
              </a:extLst>
            </p:cNvPr>
            <p:cNvSpPr/>
            <p:nvPr/>
          </p:nvSpPr>
          <p:spPr>
            <a:xfrm flipV="1">
              <a:off x="6475697" y="3358189"/>
              <a:ext cx="30987" cy="102806"/>
            </a:xfrm>
            <a:custGeom>
              <a:avLst/>
              <a:gdLst>
                <a:gd name="connsiteX0" fmla="*/ 19363 w 30987"/>
                <a:gd name="connsiteY0" fmla="*/ -1343 h 102806"/>
                <a:gd name="connsiteX1" fmla="*/ -1986 w 30987"/>
                <a:gd name="connsiteY1" fmla="*/ 1539 h 102806"/>
                <a:gd name="connsiteX2" fmla="*/ 29002 w 30987"/>
                <a:gd name="connsiteY2" fmla="*/ 101463 h 102806"/>
                <a:gd name="connsiteX3" fmla="*/ 19363 w 30987"/>
                <a:gd name="connsiteY3" fmla="*/ -1343 h 102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87" h="102806">
                  <a:moveTo>
                    <a:pt x="19363" y="-1343"/>
                  </a:moveTo>
                  <a:lnTo>
                    <a:pt x="-1986" y="1539"/>
                  </a:lnTo>
                  <a:lnTo>
                    <a:pt x="29002" y="101463"/>
                  </a:lnTo>
                  <a:lnTo>
                    <a:pt x="19363" y="-1343"/>
                  </a:lnTo>
                </a:path>
              </a:pathLst>
            </a:custGeom>
            <a:solidFill>
              <a:srgbClr val="F4F4F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FECD0EB4-1887-46F4-9671-9676CD0806BD}"/>
                </a:ext>
              </a:extLst>
            </p:cNvPr>
            <p:cNvSpPr/>
            <p:nvPr/>
          </p:nvSpPr>
          <p:spPr>
            <a:xfrm flipV="1">
              <a:off x="6476043" y="3322643"/>
              <a:ext cx="10522" cy="10524"/>
            </a:xfrm>
            <a:custGeom>
              <a:avLst/>
              <a:gdLst>
                <a:gd name="connsiteX0" fmla="*/ 8521 w 10522"/>
                <a:gd name="connsiteY0" fmla="*/ 3356 h 10524"/>
                <a:gd name="connsiteX1" fmla="*/ 2793 w 10522"/>
                <a:gd name="connsiteY1" fmla="*/ -1394 h 10524"/>
                <a:gd name="connsiteX2" fmla="*/ -1956 w 10522"/>
                <a:gd name="connsiteY2" fmla="*/ 4334 h 10524"/>
                <a:gd name="connsiteX3" fmla="*/ 3771 w 10522"/>
                <a:gd name="connsiteY3" fmla="*/ 9084 h 10524"/>
                <a:gd name="connsiteX4" fmla="*/ 8521 w 10522"/>
                <a:gd name="connsiteY4" fmla="*/ 3356 h 10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22" h="10524">
                  <a:moveTo>
                    <a:pt x="8521" y="3356"/>
                  </a:moveTo>
                  <a:cubicBezTo>
                    <a:pt x="8255" y="461"/>
                    <a:pt x="5689" y="-1660"/>
                    <a:pt x="2793" y="-1394"/>
                  </a:cubicBezTo>
                  <a:cubicBezTo>
                    <a:pt x="-102" y="-1114"/>
                    <a:pt x="-2223" y="1451"/>
                    <a:pt x="-1956" y="4334"/>
                  </a:cubicBezTo>
                  <a:cubicBezTo>
                    <a:pt x="-1677" y="7230"/>
                    <a:pt x="888" y="9363"/>
                    <a:pt x="3771" y="9084"/>
                  </a:cubicBezTo>
                  <a:cubicBezTo>
                    <a:pt x="6667" y="8817"/>
                    <a:pt x="8788" y="6252"/>
                    <a:pt x="8521" y="3356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BE9B6780-CD53-4EEA-9C47-545D168A144F}"/>
                </a:ext>
              </a:extLst>
            </p:cNvPr>
            <p:cNvSpPr/>
            <p:nvPr/>
          </p:nvSpPr>
          <p:spPr>
            <a:xfrm flipV="1">
              <a:off x="6629221" y="2866345"/>
              <a:ext cx="40908" cy="63923"/>
            </a:xfrm>
            <a:custGeom>
              <a:avLst/>
              <a:gdLst>
                <a:gd name="connsiteX0" fmla="*/ 7615 w 40908"/>
                <a:gd name="connsiteY0" fmla="*/ 41994 h 63923"/>
                <a:gd name="connsiteX1" fmla="*/ 36266 w 40908"/>
                <a:gd name="connsiteY1" fmla="*/ 60167 h 63923"/>
                <a:gd name="connsiteX2" fmla="*/ 27731 w 40908"/>
                <a:gd name="connsiteY2" fmla="*/ 20442 h 63923"/>
                <a:gd name="connsiteX3" fmla="*/ 14104 w 40908"/>
                <a:gd name="connsiteY3" fmla="*/ 6129 h 63923"/>
                <a:gd name="connsiteX4" fmla="*/ 1595 w 40908"/>
                <a:gd name="connsiteY4" fmla="*/ -1631 h 63923"/>
                <a:gd name="connsiteX5" fmla="*/ 7615 w 40908"/>
                <a:gd name="connsiteY5" fmla="*/ 41994 h 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908" h="63923">
                  <a:moveTo>
                    <a:pt x="7615" y="41994"/>
                  </a:moveTo>
                  <a:cubicBezTo>
                    <a:pt x="17889" y="57983"/>
                    <a:pt x="30716" y="66136"/>
                    <a:pt x="36266" y="60167"/>
                  </a:cubicBezTo>
                  <a:cubicBezTo>
                    <a:pt x="41816" y="54224"/>
                    <a:pt x="38006" y="36431"/>
                    <a:pt x="27731" y="20442"/>
                  </a:cubicBezTo>
                  <a:cubicBezTo>
                    <a:pt x="22905" y="12885"/>
                    <a:pt x="19057" y="9533"/>
                    <a:pt x="14104" y="6129"/>
                  </a:cubicBezTo>
                  <a:cubicBezTo>
                    <a:pt x="8580" y="2344"/>
                    <a:pt x="5430" y="-2799"/>
                    <a:pt x="1595" y="-1631"/>
                  </a:cubicBezTo>
                  <a:cubicBezTo>
                    <a:pt x="-4984" y="376"/>
                    <a:pt x="-2634" y="26004"/>
                    <a:pt x="7615" y="41994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DDB66176-9830-40EB-B29F-A44000E8AD4D}"/>
                </a:ext>
              </a:extLst>
            </p:cNvPr>
            <p:cNvSpPr/>
            <p:nvPr/>
          </p:nvSpPr>
          <p:spPr>
            <a:xfrm flipV="1">
              <a:off x="6434745" y="2696697"/>
              <a:ext cx="233036" cy="294123"/>
            </a:xfrm>
            <a:custGeom>
              <a:avLst/>
              <a:gdLst>
                <a:gd name="connsiteX0" fmla="*/ 154774 w 233036"/>
                <a:gd name="connsiteY0" fmla="*/ 286291 h 294123"/>
                <a:gd name="connsiteX1" fmla="*/ 226503 w 233036"/>
                <a:gd name="connsiteY1" fmla="*/ 151811 h 294123"/>
                <a:gd name="connsiteX2" fmla="*/ 173506 w 233036"/>
                <a:gd name="connsiteY2" fmla="*/ 34032 h 294123"/>
                <a:gd name="connsiteX3" fmla="*/ 57759 w 233036"/>
                <a:gd name="connsiteY3" fmla="*/ 123 h 294123"/>
                <a:gd name="connsiteX4" fmla="*/ -1588 w 233036"/>
                <a:gd name="connsiteY4" fmla="*/ 87448 h 294123"/>
                <a:gd name="connsiteX5" fmla="*/ 20167 w 233036"/>
                <a:gd name="connsiteY5" fmla="*/ 214765 h 294123"/>
                <a:gd name="connsiteX6" fmla="*/ 154774 w 233036"/>
                <a:gd name="connsiteY6" fmla="*/ 286291 h 29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036" h="294123">
                  <a:moveTo>
                    <a:pt x="154774" y="286291"/>
                  </a:moveTo>
                  <a:cubicBezTo>
                    <a:pt x="257936" y="254821"/>
                    <a:pt x="226503" y="151811"/>
                    <a:pt x="226503" y="151811"/>
                  </a:cubicBezTo>
                  <a:cubicBezTo>
                    <a:pt x="226503" y="151811"/>
                    <a:pt x="189140" y="49945"/>
                    <a:pt x="173506" y="34032"/>
                  </a:cubicBezTo>
                  <a:cubicBezTo>
                    <a:pt x="157860" y="18132"/>
                    <a:pt x="89128" y="-9453"/>
                    <a:pt x="57759" y="123"/>
                  </a:cubicBezTo>
                  <a:cubicBezTo>
                    <a:pt x="26390" y="9686"/>
                    <a:pt x="2527" y="65515"/>
                    <a:pt x="-1588" y="87448"/>
                  </a:cubicBezTo>
                  <a:cubicBezTo>
                    <a:pt x="-5677" y="109368"/>
                    <a:pt x="20167" y="214765"/>
                    <a:pt x="20167" y="214765"/>
                  </a:cubicBezTo>
                  <a:cubicBezTo>
                    <a:pt x="20167" y="214765"/>
                    <a:pt x="51599" y="317775"/>
                    <a:pt x="154774" y="286291"/>
                  </a:cubicBezTo>
                </a:path>
              </a:pathLst>
            </a:custGeom>
            <a:solidFill>
              <a:srgbClr val="FAB76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B6E9F9EC-FE2E-45C9-8D8B-DD759940C88F}"/>
                </a:ext>
              </a:extLst>
            </p:cNvPr>
            <p:cNvSpPr/>
            <p:nvPr/>
          </p:nvSpPr>
          <p:spPr>
            <a:xfrm flipV="1">
              <a:off x="6446893" y="2696697"/>
              <a:ext cx="220888" cy="190094"/>
            </a:xfrm>
            <a:custGeom>
              <a:avLst/>
              <a:gdLst>
                <a:gd name="connsiteX0" fmla="*/ -2031 w 220888"/>
                <a:gd name="connsiteY0" fmla="*/ 66558 h 190094"/>
                <a:gd name="connsiteX1" fmla="*/ 57697 w 220888"/>
                <a:gd name="connsiteY1" fmla="*/ 73962 h 190094"/>
                <a:gd name="connsiteX2" fmla="*/ 155588 w 220888"/>
                <a:gd name="connsiteY2" fmla="*/ 93228 h 190094"/>
                <a:gd name="connsiteX3" fmla="*/ 174130 w 220888"/>
                <a:gd name="connsiteY3" fmla="*/ 94663 h 190094"/>
                <a:gd name="connsiteX4" fmla="*/ 179680 w 220888"/>
                <a:gd name="connsiteY4" fmla="*/ 73658 h 190094"/>
                <a:gd name="connsiteX5" fmla="*/ 195073 w 220888"/>
                <a:gd name="connsiteY5" fmla="*/ -1895 h 190094"/>
                <a:gd name="connsiteX6" fmla="*/ 214351 w 220888"/>
                <a:gd name="connsiteY6" fmla="*/ 47737 h 190094"/>
                <a:gd name="connsiteX7" fmla="*/ 142622 w 220888"/>
                <a:gd name="connsiteY7" fmla="*/ 182217 h 190094"/>
                <a:gd name="connsiteX8" fmla="*/ 8015 w 220888"/>
                <a:gd name="connsiteY8" fmla="*/ 110691 h 190094"/>
                <a:gd name="connsiteX9" fmla="*/ -2031 w 220888"/>
                <a:gd name="connsiteY9" fmla="*/ 66558 h 19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0888" h="190094">
                  <a:moveTo>
                    <a:pt x="-2031" y="66558"/>
                  </a:moveTo>
                  <a:cubicBezTo>
                    <a:pt x="17972" y="68235"/>
                    <a:pt x="37885" y="70394"/>
                    <a:pt x="57697" y="73962"/>
                  </a:cubicBezTo>
                  <a:cubicBezTo>
                    <a:pt x="90463" y="79855"/>
                    <a:pt x="124004" y="82154"/>
                    <a:pt x="155588" y="93228"/>
                  </a:cubicBezTo>
                  <a:cubicBezTo>
                    <a:pt x="160834" y="95057"/>
                    <a:pt x="168949" y="98918"/>
                    <a:pt x="174130" y="94663"/>
                  </a:cubicBezTo>
                  <a:cubicBezTo>
                    <a:pt x="179198" y="90498"/>
                    <a:pt x="179033" y="79385"/>
                    <a:pt x="179680" y="73658"/>
                  </a:cubicBezTo>
                  <a:cubicBezTo>
                    <a:pt x="182588" y="48346"/>
                    <a:pt x="188837" y="23023"/>
                    <a:pt x="195073" y="-1895"/>
                  </a:cubicBezTo>
                  <a:cubicBezTo>
                    <a:pt x="205753" y="24267"/>
                    <a:pt x="214351" y="47737"/>
                    <a:pt x="214351" y="47737"/>
                  </a:cubicBezTo>
                  <a:cubicBezTo>
                    <a:pt x="214351" y="47737"/>
                    <a:pt x="245784" y="150746"/>
                    <a:pt x="142622" y="182217"/>
                  </a:cubicBezTo>
                  <a:cubicBezTo>
                    <a:pt x="39447" y="213700"/>
                    <a:pt x="8015" y="110691"/>
                    <a:pt x="8015" y="110691"/>
                  </a:cubicBezTo>
                  <a:cubicBezTo>
                    <a:pt x="8015" y="110691"/>
                    <a:pt x="3163" y="90828"/>
                    <a:pt x="-2031" y="66558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12BA2195-3F4F-4880-9022-D99B5DDDE53B}"/>
                </a:ext>
              </a:extLst>
            </p:cNvPr>
            <p:cNvSpPr/>
            <p:nvPr/>
          </p:nvSpPr>
          <p:spPr>
            <a:xfrm flipV="1">
              <a:off x="6571117" y="2840060"/>
              <a:ext cx="24605" cy="38129"/>
            </a:xfrm>
            <a:custGeom>
              <a:avLst/>
              <a:gdLst>
                <a:gd name="connsiteX0" fmla="*/ 13986 w 24605"/>
                <a:gd name="connsiteY0" fmla="*/ 36261 h 38129"/>
                <a:gd name="connsiteX1" fmla="*/ 21975 w 24605"/>
                <a:gd name="connsiteY1" fmla="*/ 16094 h 38129"/>
                <a:gd name="connsiteX2" fmla="*/ 6506 w 24605"/>
                <a:gd name="connsiteY2" fmla="*/ -1801 h 38129"/>
                <a:gd name="connsiteX3" fmla="*/ -1457 w 24605"/>
                <a:gd name="connsiteY3" fmla="*/ 18367 h 38129"/>
                <a:gd name="connsiteX4" fmla="*/ 13986 w 24605"/>
                <a:gd name="connsiteY4" fmla="*/ 36261 h 3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05" h="38129">
                  <a:moveTo>
                    <a:pt x="13986" y="36261"/>
                  </a:moveTo>
                  <a:cubicBezTo>
                    <a:pt x="20463" y="35626"/>
                    <a:pt x="24032" y="26596"/>
                    <a:pt x="21975" y="16094"/>
                  </a:cubicBezTo>
                  <a:cubicBezTo>
                    <a:pt x="19917" y="5591"/>
                    <a:pt x="12996" y="-2423"/>
                    <a:pt x="6506" y="-1801"/>
                  </a:cubicBezTo>
                  <a:cubicBezTo>
                    <a:pt x="54" y="-1178"/>
                    <a:pt x="-3540" y="7864"/>
                    <a:pt x="-1457" y="18367"/>
                  </a:cubicBezTo>
                  <a:cubicBezTo>
                    <a:pt x="601" y="28870"/>
                    <a:pt x="7522" y="36883"/>
                    <a:pt x="13986" y="36261"/>
                  </a:cubicBezTo>
                </a:path>
              </a:pathLst>
            </a:custGeom>
            <a:solidFill>
              <a:srgbClr val="5F30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7CC1808C-0B2C-4B90-A467-C1F476D38FB5}"/>
                </a:ext>
              </a:extLst>
            </p:cNvPr>
            <p:cNvSpPr/>
            <p:nvPr/>
          </p:nvSpPr>
          <p:spPr>
            <a:xfrm flipV="1">
              <a:off x="6575804" y="2856667"/>
              <a:ext cx="6629" cy="8735"/>
            </a:xfrm>
            <a:custGeom>
              <a:avLst/>
              <a:gdLst>
                <a:gd name="connsiteX0" fmla="*/ 2368 w 6629"/>
                <a:gd name="connsiteY0" fmla="*/ 6852 h 8735"/>
                <a:gd name="connsiteX1" fmla="*/ -1862 w 6629"/>
                <a:gd name="connsiteY1" fmla="*/ 3181 h 8735"/>
                <a:gd name="connsiteX2" fmla="*/ 170 w 6629"/>
                <a:gd name="connsiteY2" fmla="*/ -1784 h 8735"/>
                <a:gd name="connsiteX3" fmla="*/ 4399 w 6629"/>
                <a:gd name="connsiteY3" fmla="*/ 1886 h 8735"/>
                <a:gd name="connsiteX4" fmla="*/ 2368 w 6629"/>
                <a:gd name="connsiteY4" fmla="*/ 6852 h 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29" h="8735">
                  <a:moveTo>
                    <a:pt x="2368" y="6852"/>
                  </a:moveTo>
                  <a:cubicBezTo>
                    <a:pt x="653" y="7220"/>
                    <a:pt x="-1252" y="5569"/>
                    <a:pt x="-1862" y="3181"/>
                  </a:cubicBezTo>
                  <a:cubicBezTo>
                    <a:pt x="-2459" y="794"/>
                    <a:pt x="-1557" y="-1429"/>
                    <a:pt x="170" y="-1784"/>
                  </a:cubicBezTo>
                  <a:cubicBezTo>
                    <a:pt x="1885" y="-2140"/>
                    <a:pt x="3777" y="-502"/>
                    <a:pt x="4399" y="1886"/>
                  </a:cubicBezTo>
                  <a:cubicBezTo>
                    <a:pt x="4996" y="4274"/>
                    <a:pt x="4095" y="6496"/>
                    <a:pt x="2368" y="6852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5BC5572C-E8C5-4A61-8C7B-6C523E44EFE8}"/>
                </a:ext>
              </a:extLst>
            </p:cNvPr>
            <p:cNvSpPr/>
            <p:nvPr/>
          </p:nvSpPr>
          <p:spPr>
            <a:xfrm flipV="1">
              <a:off x="6480881" y="2812539"/>
              <a:ext cx="24621" cy="38129"/>
            </a:xfrm>
            <a:custGeom>
              <a:avLst/>
              <a:gdLst>
                <a:gd name="connsiteX0" fmla="*/ 14064 w 24621"/>
                <a:gd name="connsiteY0" fmla="*/ 36237 h 38129"/>
                <a:gd name="connsiteX1" fmla="*/ 22052 w 24621"/>
                <a:gd name="connsiteY1" fmla="*/ 16069 h 38129"/>
                <a:gd name="connsiteX2" fmla="*/ 6583 w 24621"/>
                <a:gd name="connsiteY2" fmla="*/ -1825 h 38129"/>
                <a:gd name="connsiteX3" fmla="*/ -1405 w 24621"/>
                <a:gd name="connsiteY3" fmla="*/ 18342 h 38129"/>
                <a:gd name="connsiteX4" fmla="*/ 14064 w 24621"/>
                <a:gd name="connsiteY4" fmla="*/ 36237 h 3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621" h="38129">
                  <a:moveTo>
                    <a:pt x="14064" y="36237"/>
                  </a:moveTo>
                  <a:cubicBezTo>
                    <a:pt x="20541" y="35614"/>
                    <a:pt x="24109" y="26585"/>
                    <a:pt x="22052" y="16069"/>
                  </a:cubicBezTo>
                  <a:cubicBezTo>
                    <a:pt x="19982" y="5553"/>
                    <a:pt x="13060" y="-2447"/>
                    <a:pt x="6583" y="-1825"/>
                  </a:cubicBezTo>
                  <a:cubicBezTo>
                    <a:pt x="106" y="-1190"/>
                    <a:pt x="-3462" y="7840"/>
                    <a:pt x="-1405" y="18342"/>
                  </a:cubicBezTo>
                  <a:cubicBezTo>
                    <a:pt x="665" y="28858"/>
                    <a:pt x="7587" y="36859"/>
                    <a:pt x="14064" y="36237"/>
                  </a:cubicBezTo>
                </a:path>
              </a:pathLst>
            </a:custGeom>
            <a:solidFill>
              <a:srgbClr val="5F30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4B7A10E7-17E5-4185-999B-392B0A381318}"/>
                </a:ext>
              </a:extLst>
            </p:cNvPr>
            <p:cNvSpPr/>
            <p:nvPr/>
          </p:nvSpPr>
          <p:spPr>
            <a:xfrm flipV="1">
              <a:off x="6485577" y="2829146"/>
              <a:ext cx="6618" cy="8735"/>
            </a:xfrm>
            <a:custGeom>
              <a:avLst/>
              <a:gdLst>
                <a:gd name="connsiteX0" fmla="*/ 2436 w 6618"/>
                <a:gd name="connsiteY0" fmla="*/ 6827 h 8735"/>
                <a:gd name="connsiteX1" fmla="*/ -1794 w 6618"/>
                <a:gd name="connsiteY1" fmla="*/ 3157 h 8735"/>
                <a:gd name="connsiteX2" fmla="*/ 226 w 6618"/>
                <a:gd name="connsiteY2" fmla="*/ -1809 h 8735"/>
                <a:gd name="connsiteX3" fmla="*/ 4442 w 6618"/>
                <a:gd name="connsiteY3" fmla="*/ 1861 h 8735"/>
                <a:gd name="connsiteX4" fmla="*/ 2436 w 6618"/>
                <a:gd name="connsiteY4" fmla="*/ 6827 h 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18" h="8735">
                  <a:moveTo>
                    <a:pt x="2436" y="6827"/>
                  </a:moveTo>
                  <a:cubicBezTo>
                    <a:pt x="708" y="7195"/>
                    <a:pt x="-1184" y="5544"/>
                    <a:pt x="-1794" y="3157"/>
                  </a:cubicBezTo>
                  <a:cubicBezTo>
                    <a:pt x="-2403" y="782"/>
                    <a:pt x="-1502" y="-1441"/>
                    <a:pt x="226" y="-1809"/>
                  </a:cubicBezTo>
                  <a:cubicBezTo>
                    <a:pt x="1953" y="-2165"/>
                    <a:pt x="3833" y="-526"/>
                    <a:pt x="4442" y="1861"/>
                  </a:cubicBezTo>
                  <a:cubicBezTo>
                    <a:pt x="5052" y="4249"/>
                    <a:pt x="4163" y="6471"/>
                    <a:pt x="2436" y="6827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A7EE655A-444E-4A16-9052-5C4B7BFD21C6}"/>
                </a:ext>
              </a:extLst>
            </p:cNvPr>
            <p:cNvSpPr/>
            <p:nvPr/>
          </p:nvSpPr>
          <p:spPr>
            <a:xfrm flipV="1">
              <a:off x="6501805" y="2868796"/>
              <a:ext cx="20938" cy="31202"/>
            </a:xfrm>
            <a:custGeom>
              <a:avLst/>
              <a:gdLst>
                <a:gd name="connsiteX0" fmla="*/ 11160 w 20938"/>
                <a:gd name="connsiteY0" fmla="*/ 8803 h 31202"/>
                <a:gd name="connsiteX1" fmla="*/ 9369 w 20938"/>
                <a:gd name="connsiteY1" fmla="*/ 4600 h 31202"/>
                <a:gd name="connsiteX2" fmla="*/ 11820 w 20938"/>
                <a:gd name="connsiteY2" fmla="*/ -531 h 31202"/>
                <a:gd name="connsiteX3" fmla="*/ 1939 w 20938"/>
                <a:gd name="connsiteY3" fmla="*/ 2580 h 31202"/>
                <a:gd name="connsiteX4" fmla="*/ -1997 w 20938"/>
                <a:gd name="connsiteY4" fmla="*/ 11013 h 31202"/>
                <a:gd name="connsiteX5" fmla="*/ 2422 w 20938"/>
                <a:gd name="connsiteY5" fmla="*/ 15369 h 31202"/>
                <a:gd name="connsiteX6" fmla="*/ 18170 w 20938"/>
                <a:gd name="connsiteY6" fmla="*/ 29123 h 31202"/>
                <a:gd name="connsiteX7" fmla="*/ 11160 w 20938"/>
                <a:gd name="connsiteY7" fmla="*/ 8803 h 31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38" h="31202">
                  <a:moveTo>
                    <a:pt x="11160" y="8803"/>
                  </a:moveTo>
                  <a:cubicBezTo>
                    <a:pt x="8645" y="6568"/>
                    <a:pt x="8899" y="7025"/>
                    <a:pt x="9369" y="4600"/>
                  </a:cubicBezTo>
                  <a:cubicBezTo>
                    <a:pt x="9686" y="2923"/>
                    <a:pt x="11096" y="980"/>
                    <a:pt x="11820" y="-531"/>
                  </a:cubicBezTo>
                  <a:cubicBezTo>
                    <a:pt x="13407" y="-3846"/>
                    <a:pt x="3159" y="28"/>
                    <a:pt x="1939" y="2580"/>
                  </a:cubicBezTo>
                  <a:cubicBezTo>
                    <a:pt x="924" y="4701"/>
                    <a:pt x="-1934" y="8575"/>
                    <a:pt x="-1997" y="11013"/>
                  </a:cubicBezTo>
                  <a:cubicBezTo>
                    <a:pt x="-2086" y="13934"/>
                    <a:pt x="85" y="14353"/>
                    <a:pt x="2422" y="15369"/>
                  </a:cubicBezTo>
                  <a:cubicBezTo>
                    <a:pt x="9140" y="18277"/>
                    <a:pt x="14360" y="22926"/>
                    <a:pt x="18170" y="29123"/>
                  </a:cubicBezTo>
                  <a:cubicBezTo>
                    <a:pt x="19694" y="31587"/>
                    <a:pt x="19681" y="16398"/>
                    <a:pt x="11160" y="8803"/>
                  </a:cubicBezTo>
                </a:path>
              </a:pathLst>
            </a:custGeom>
            <a:solidFill>
              <a:srgbClr val="E86D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563DB9B2-4426-433A-9CEF-72878EC8D3A3}"/>
                </a:ext>
              </a:extLst>
            </p:cNvPr>
            <p:cNvSpPr/>
            <p:nvPr/>
          </p:nvSpPr>
          <p:spPr>
            <a:xfrm flipV="1">
              <a:off x="6630090" y="2751944"/>
              <a:ext cx="85792" cy="121576"/>
            </a:xfrm>
            <a:custGeom>
              <a:avLst/>
              <a:gdLst>
                <a:gd name="connsiteX0" fmla="*/ -2110 w 85792"/>
                <a:gd name="connsiteY0" fmla="*/ 118101 h 121576"/>
                <a:gd name="connsiteX1" fmla="*/ 17131 w 85792"/>
                <a:gd name="connsiteY1" fmla="*/ -1876 h 121576"/>
                <a:gd name="connsiteX2" fmla="*/ 83450 w 85792"/>
                <a:gd name="connsiteY2" fmla="*/ 74514 h 121576"/>
                <a:gd name="connsiteX3" fmla="*/ -2110 w 85792"/>
                <a:gd name="connsiteY3" fmla="*/ 118101 h 121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92" h="121576">
                  <a:moveTo>
                    <a:pt x="-2110" y="118101"/>
                  </a:moveTo>
                  <a:lnTo>
                    <a:pt x="17131" y="-1876"/>
                  </a:lnTo>
                  <a:cubicBezTo>
                    <a:pt x="17131" y="-1876"/>
                    <a:pt x="88250" y="16463"/>
                    <a:pt x="83450" y="74514"/>
                  </a:cubicBezTo>
                  <a:cubicBezTo>
                    <a:pt x="78662" y="132566"/>
                    <a:pt x="-2110" y="118101"/>
                    <a:pt x="-2110" y="118101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6" name="Freeform: Shape 1575">
              <a:extLst>
                <a:ext uri="{FF2B5EF4-FFF2-40B4-BE49-F238E27FC236}">
                  <a16:creationId xmlns:a16="http://schemas.microsoft.com/office/drawing/2014/main" id="{8E8E7AE8-4F49-4C11-9C85-84F408FC56E4}"/>
                </a:ext>
              </a:extLst>
            </p:cNvPr>
            <p:cNvSpPr/>
            <p:nvPr/>
          </p:nvSpPr>
          <p:spPr>
            <a:xfrm flipV="1">
              <a:off x="6445611" y="2673088"/>
              <a:ext cx="246504" cy="138291"/>
            </a:xfrm>
            <a:custGeom>
              <a:avLst/>
              <a:gdLst>
                <a:gd name="connsiteX0" fmla="*/ -2039 w 246504"/>
                <a:gd name="connsiteY0" fmla="*/ -1939 h 138291"/>
                <a:gd name="connsiteX1" fmla="*/ 244277 w 246504"/>
                <a:gd name="connsiteY1" fmla="*/ 51376 h 138291"/>
                <a:gd name="connsiteX2" fmla="*/ 148316 w 246504"/>
                <a:gd name="connsiteY2" fmla="*/ 136262 h 138291"/>
                <a:gd name="connsiteX3" fmla="*/ -2039 w 246504"/>
                <a:gd name="connsiteY3" fmla="*/ -1939 h 1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6504" h="138291">
                  <a:moveTo>
                    <a:pt x="-2039" y="-1939"/>
                  </a:moveTo>
                  <a:cubicBezTo>
                    <a:pt x="17291" y="-1621"/>
                    <a:pt x="208565" y="34358"/>
                    <a:pt x="244277" y="51376"/>
                  </a:cubicBezTo>
                  <a:cubicBezTo>
                    <a:pt x="244277" y="51376"/>
                    <a:pt x="253205" y="133303"/>
                    <a:pt x="148316" y="136262"/>
                  </a:cubicBezTo>
                  <a:cubicBezTo>
                    <a:pt x="158" y="140453"/>
                    <a:pt x="-2039" y="-1939"/>
                    <a:pt x="-2039" y="-1939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CFD01532-446E-4C2C-AF5C-4842BDDFEF74}"/>
                </a:ext>
              </a:extLst>
            </p:cNvPr>
            <p:cNvSpPr/>
            <p:nvPr/>
          </p:nvSpPr>
          <p:spPr>
            <a:xfrm flipV="1">
              <a:off x="6573899" y="2801175"/>
              <a:ext cx="61950" cy="38244"/>
            </a:xfrm>
            <a:custGeom>
              <a:avLst/>
              <a:gdLst>
                <a:gd name="connsiteX0" fmla="*/ -1193 w 61950"/>
                <a:gd name="connsiteY0" fmla="*/ 30553 h 38244"/>
                <a:gd name="connsiteX1" fmla="*/ 801 w 61950"/>
                <a:gd name="connsiteY1" fmla="*/ 30337 h 38244"/>
                <a:gd name="connsiteX2" fmla="*/ 53557 w 61950"/>
                <a:gd name="connsiteY2" fmla="*/ 2486 h 38244"/>
                <a:gd name="connsiteX3" fmla="*/ 58522 w 61950"/>
                <a:gd name="connsiteY3" fmla="*/ -1819 h 38244"/>
                <a:gd name="connsiteX4" fmla="*/ 59157 w 61950"/>
                <a:gd name="connsiteY4" fmla="*/ 1457 h 38244"/>
                <a:gd name="connsiteX5" fmla="*/ 2579 w 61950"/>
                <a:gd name="connsiteY5" fmla="*/ 36369 h 38244"/>
                <a:gd name="connsiteX6" fmla="*/ -1193 w 61950"/>
                <a:gd name="connsiteY6" fmla="*/ 30553 h 38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50" h="38244">
                  <a:moveTo>
                    <a:pt x="-1193" y="30553"/>
                  </a:moveTo>
                  <a:lnTo>
                    <a:pt x="801" y="30337"/>
                  </a:lnTo>
                  <a:cubicBezTo>
                    <a:pt x="40755" y="27022"/>
                    <a:pt x="53798" y="1445"/>
                    <a:pt x="53557" y="2486"/>
                  </a:cubicBezTo>
                  <a:cubicBezTo>
                    <a:pt x="54877" y="429"/>
                    <a:pt x="57037" y="-1489"/>
                    <a:pt x="58522" y="-1819"/>
                  </a:cubicBezTo>
                  <a:cubicBezTo>
                    <a:pt x="60021" y="-2162"/>
                    <a:pt x="60364" y="-702"/>
                    <a:pt x="59157" y="1457"/>
                  </a:cubicBezTo>
                  <a:cubicBezTo>
                    <a:pt x="58827" y="556"/>
                    <a:pt x="49899" y="30959"/>
                    <a:pt x="2579" y="36369"/>
                  </a:cubicBezTo>
                  <a:cubicBezTo>
                    <a:pt x="-710" y="36585"/>
                    <a:pt x="-3555" y="30896"/>
                    <a:pt x="-1193" y="30553"/>
                  </a:cubicBezTo>
                </a:path>
              </a:pathLst>
            </a:custGeom>
            <a:solidFill>
              <a:srgbClr val="63241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3CB905ED-18E0-4005-BE06-BBDEBF8B95A5}"/>
                </a:ext>
              </a:extLst>
            </p:cNvPr>
            <p:cNvSpPr/>
            <p:nvPr/>
          </p:nvSpPr>
          <p:spPr>
            <a:xfrm flipV="1">
              <a:off x="6459350" y="2783191"/>
              <a:ext cx="67229" cy="17461"/>
            </a:xfrm>
            <a:custGeom>
              <a:avLst/>
              <a:gdLst>
                <a:gd name="connsiteX0" fmla="*/ 62924 w 67229"/>
                <a:gd name="connsiteY0" fmla="*/ -1789 h 17461"/>
                <a:gd name="connsiteX1" fmla="*/ 61349 w 67229"/>
                <a:gd name="connsiteY1" fmla="*/ -913 h 17461"/>
                <a:gd name="connsiteX2" fmla="*/ 5292 w 67229"/>
                <a:gd name="connsiteY2" fmla="*/ 6949 h 17461"/>
                <a:gd name="connsiteX3" fmla="*/ -1261 w 67229"/>
                <a:gd name="connsiteY3" fmla="*/ 6530 h 17461"/>
                <a:gd name="connsiteX4" fmla="*/ 313 w 67229"/>
                <a:gd name="connsiteY4" fmla="*/ 9514 h 17461"/>
                <a:gd name="connsiteX5" fmla="*/ 63966 w 67229"/>
                <a:gd name="connsiteY5" fmla="*/ 4612 h 17461"/>
                <a:gd name="connsiteX6" fmla="*/ 62924 w 67229"/>
                <a:gd name="connsiteY6" fmla="*/ -1789 h 1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229" h="17461">
                  <a:moveTo>
                    <a:pt x="62924" y="-1789"/>
                  </a:moveTo>
                  <a:lnTo>
                    <a:pt x="61349" y="-913"/>
                  </a:lnTo>
                  <a:cubicBezTo>
                    <a:pt x="30489" y="17934"/>
                    <a:pt x="4479" y="6530"/>
                    <a:pt x="5292" y="6949"/>
                  </a:cubicBezTo>
                  <a:cubicBezTo>
                    <a:pt x="3006" y="6110"/>
                    <a:pt x="136" y="5895"/>
                    <a:pt x="-1261" y="6530"/>
                  </a:cubicBezTo>
                  <a:cubicBezTo>
                    <a:pt x="-2646" y="7165"/>
                    <a:pt x="-2011" y="8536"/>
                    <a:pt x="313" y="9514"/>
                  </a:cubicBezTo>
                  <a:cubicBezTo>
                    <a:pt x="-67" y="8955"/>
                    <a:pt x="26361" y="26329"/>
                    <a:pt x="63966" y="4612"/>
                  </a:cubicBezTo>
                  <a:cubicBezTo>
                    <a:pt x="66468" y="3024"/>
                    <a:pt x="64842" y="-2741"/>
                    <a:pt x="62924" y="-1789"/>
                  </a:cubicBezTo>
                </a:path>
              </a:pathLst>
            </a:custGeom>
            <a:solidFill>
              <a:srgbClr val="63241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8F3AC0E2-1566-40D8-8F69-95645A12983C}"/>
                </a:ext>
              </a:extLst>
            </p:cNvPr>
            <p:cNvSpPr/>
            <p:nvPr/>
          </p:nvSpPr>
          <p:spPr>
            <a:xfrm flipV="1">
              <a:off x="6480358" y="2911684"/>
              <a:ext cx="61036" cy="26460"/>
            </a:xfrm>
            <a:custGeom>
              <a:avLst/>
              <a:gdLst>
                <a:gd name="connsiteX0" fmla="*/ -1999 w 61036"/>
                <a:gd name="connsiteY0" fmla="*/ 24685 h 26460"/>
                <a:gd name="connsiteX1" fmla="*/ 24061 w 61036"/>
                <a:gd name="connsiteY1" fmla="*/ -1070 h 26460"/>
                <a:gd name="connsiteX2" fmla="*/ 59037 w 61036"/>
                <a:gd name="connsiteY2" fmla="*/ 9864 h 26460"/>
                <a:gd name="connsiteX3" fmla="*/ -1999 w 61036"/>
                <a:gd name="connsiteY3" fmla="*/ 24685 h 26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36" h="26460">
                  <a:moveTo>
                    <a:pt x="-1999" y="24685"/>
                  </a:moveTo>
                  <a:cubicBezTo>
                    <a:pt x="-1999" y="24685"/>
                    <a:pt x="7208" y="3019"/>
                    <a:pt x="24061" y="-1070"/>
                  </a:cubicBezTo>
                  <a:cubicBezTo>
                    <a:pt x="40914" y="-5160"/>
                    <a:pt x="59037" y="9864"/>
                    <a:pt x="59037" y="9864"/>
                  </a:cubicBezTo>
                  <a:lnTo>
                    <a:pt x="-1999" y="24685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9F19D84F-31E3-4F4D-84E5-876731C5FC8F}"/>
                </a:ext>
              </a:extLst>
            </p:cNvPr>
            <p:cNvSpPr/>
            <p:nvPr/>
          </p:nvSpPr>
          <p:spPr>
            <a:xfrm flipV="1">
              <a:off x="6630884" y="2919597"/>
              <a:ext cx="16160" cy="16164"/>
            </a:xfrm>
            <a:custGeom>
              <a:avLst/>
              <a:gdLst>
                <a:gd name="connsiteX0" fmla="*/ 13413 w 16160"/>
                <a:gd name="connsiteY0" fmla="*/ 3127 h 16164"/>
                <a:gd name="connsiteX1" fmla="*/ 2796 w 16160"/>
                <a:gd name="connsiteY1" fmla="*/ -1114 h 16164"/>
                <a:gd name="connsiteX2" fmla="*/ -1433 w 16160"/>
                <a:gd name="connsiteY2" fmla="*/ 9503 h 16164"/>
                <a:gd name="connsiteX3" fmla="*/ 9184 w 16160"/>
                <a:gd name="connsiteY3" fmla="*/ 13732 h 16164"/>
                <a:gd name="connsiteX4" fmla="*/ 13413 w 16160"/>
                <a:gd name="connsiteY4" fmla="*/ 3127 h 16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60" h="16164">
                  <a:moveTo>
                    <a:pt x="13413" y="3127"/>
                  </a:moveTo>
                  <a:cubicBezTo>
                    <a:pt x="11661" y="-975"/>
                    <a:pt x="6911" y="-2880"/>
                    <a:pt x="2796" y="-1114"/>
                  </a:cubicBezTo>
                  <a:cubicBezTo>
                    <a:pt x="-1293" y="651"/>
                    <a:pt x="-3185" y="5401"/>
                    <a:pt x="-1433" y="9503"/>
                  </a:cubicBezTo>
                  <a:cubicBezTo>
                    <a:pt x="333" y="13592"/>
                    <a:pt x="5082" y="15497"/>
                    <a:pt x="9184" y="13732"/>
                  </a:cubicBezTo>
                  <a:cubicBezTo>
                    <a:pt x="13287" y="11966"/>
                    <a:pt x="15179" y="7217"/>
                    <a:pt x="13413" y="3127"/>
                  </a:cubicBezTo>
                </a:path>
              </a:pathLst>
            </a:custGeom>
            <a:solidFill>
              <a:srgbClr val="E8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761B417E-9DEF-4B04-9780-863D1868CF69}"/>
                </a:ext>
              </a:extLst>
            </p:cNvPr>
            <p:cNvSpPr/>
            <p:nvPr/>
          </p:nvSpPr>
          <p:spPr>
            <a:xfrm flipV="1">
              <a:off x="6471176" y="2682610"/>
              <a:ext cx="196646" cy="77309"/>
            </a:xfrm>
            <a:custGeom>
              <a:avLst/>
              <a:gdLst>
                <a:gd name="connsiteX0" fmla="*/ 194607 w 196646"/>
                <a:gd name="connsiteY0" fmla="*/ 43508 h 77309"/>
                <a:gd name="connsiteX1" fmla="*/ 154755 w 196646"/>
                <a:gd name="connsiteY1" fmla="*/ 72629 h 77309"/>
                <a:gd name="connsiteX2" fmla="*/ 59314 w 196646"/>
                <a:gd name="connsiteY2" fmla="*/ 66267 h 77309"/>
                <a:gd name="connsiteX3" fmla="*/ -2039 w 196646"/>
                <a:gd name="connsiteY3" fmla="*/ -1958 h 77309"/>
                <a:gd name="connsiteX4" fmla="*/ 61766 w 196646"/>
                <a:gd name="connsiteY4" fmla="*/ 53922 h 77309"/>
                <a:gd name="connsiteX5" fmla="*/ 155720 w 196646"/>
                <a:gd name="connsiteY5" fmla="*/ 57745 h 77309"/>
                <a:gd name="connsiteX6" fmla="*/ 194607 w 196646"/>
                <a:gd name="connsiteY6" fmla="*/ 43508 h 77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646" h="77309">
                  <a:moveTo>
                    <a:pt x="194607" y="43508"/>
                  </a:moveTo>
                  <a:cubicBezTo>
                    <a:pt x="194607" y="43508"/>
                    <a:pt x="167633" y="67092"/>
                    <a:pt x="154755" y="72629"/>
                  </a:cubicBezTo>
                  <a:cubicBezTo>
                    <a:pt x="141877" y="78154"/>
                    <a:pt x="86467" y="74890"/>
                    <a:pt x="59314" y="66267"/>
                  </a:cubicBezTo>
                  <a:cubicBezTo>
                    <a:pt x="32162" y="57643"/>
                    <a:pt x="-2039" y="-1958"/>
                    <a:pt x="-2039" y="-1958"/>
                  </a:cubicBezTo>
                  <a:cubicBezTo>
                    <a:pt x="-2039" y="-1958"/>
                    <a:pt x="44938" y="46633"/>
                    <a:pt x="61766" y="53922"/>
                  </a:cubicBezTo>
                  <a:cubicBezTo>
                    <a:pt x="78593" y="61237"/>
                    <a:pt x="147948" y="60602"/>
                    <a:pt x="155720" y="57745"/>
                  </a:cubicBezTo>
                  <a:cubicBezTo>
                    <a:pt x="163505" y="54900"/>
                    <a:pt x="194607" y="43508"/>
                    <a:pt x="194607" y="43508"/>
                  </a:cubicBezTo>
                </a:path>
              </a:pathLst>
            </a:custGeom>
            <a:solidFill>
              <a:srgbClr val="7056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FE493AF-090B-48D0-AC7A-5587D51B4CE4}"/>
                </a:ext>
              </a:extLst>
            </p:cNvPr>
            <p:cNvSpPr/>
            <p:nvPr/>
          </p:nvSpPr>
          <p:spPr>
            <a:xfrm flipV="1">
              <a:off x="6150171" y="3406932"/>
              <a:ext cx="561467" cy="318111"/>
            </a:xfrm>
            <a:custGeom>
              <a:avLst/>
              <a:gdLst>
                <a:gd name="connsiteX0" fmla="*/ 110920 w 561467"/>
                <a:gd name="connsiteY0" fmla="*/ 174744 h 318111"/>
                <a:gd name="connsiteX1" fmla="*/ -1945 w 561467"/>
                <a:gd name="connsiteY1" fmla="*/ 226115 h 318111"/>
                <a:gd name="connsiteX2" fmla="*/ 119251 w 561467"/>
                <a:gd name="connsiteY2" fmla="*/ 313605 h 318111"/>
                <a:gd name="connsiteX3" fmla="*/ 535734 w 561467"/>
                <a:gd name="connsiteY3" fmla="*/ 133494 h 318111"/>
                <a:gd name="connsiteX4" fmla="*/ 462976 w 561467"/>
                <a:gd name="connsiteY4" fmla="*/ -719 h 318111"/>
                <a:gd name="connsiteX5" fmla="*/ 111199 w 561467"/>
                <a:gd name="connsiteY5" fmla="*/ 175417 h 318111"/>
                <a:gd name="connsiteX6" fmla="*/ 110920 w 561467"/>
                <a:gd name="connsiteY6" fmla="*/ 174744 h 318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467" h="318111">
                  <a:moveTo>
                    <a:pt x="110920" y="174744"/>
                  </a:moveTo>
                  <a:cubicBezTo>
                    <a:pt x="73315" y="191901"/>
                    <a:pt x="35736" y="209122"/>
                    <a:pt x="-1945" y="226115"/>
                  </a:cubicBezTo>
                  <a:cubicBezTo>
                    <a:pt x="10717" y="274324"/>
                    <a:pt x="-1119" y="331309"/>
                    <a:pt x="119251" y="313605"/>
                  </a:cubicBezTo>
                  <a:cubicBezTo>
                    <a:pt x="138695" y="310748"/>
                    <a:pt x="504987" y="177563"/>
                    <a:pt x="535734" y="133494"/>
                  </a:cubicBezTo>
                  <a:cubicBezTo>
                    <a:pt x="614537" y="20528"/>
                    <a:pt x="473174" y="-5240"/>
                    <a:pt x="462976" y="-719"/>
                  </a:cubicBezTo>
                  <a:cubicBezTo>
                    <a:pt x="449806" y="5110"/>
                    <a:pt x="111199" y="175417"/>
                    <a:pt x="111199" y="175417"/>
                  </a:cubicBezTo>
                  <a:lnTo>
                    <a:pt x="110920" y="174744"/>
                  </a:lnTo>
                </a:path>
              </a:pathLst>
            </a:custGeom>
            <a:solidFill>
              <a:srgbClr val="15212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A56B08F6-77B9-4F34-98E8-514AAFAD42AF}"/>
                </a:ext>
              </a:extLst>
            </p:cNvPr>
            <p:cNvSpPr/>
            <p:nvPr/>
          </p:nvSpPr>
          <p:spPr>
            <a:xfrm flipV="1">
              <a:off x="6356889" y="3522824"/>
              <a:ext cx="505052" cy="262917"/>
            </a:xfrm>
            <a:custGeom>
              <a:avLst/>
              <a:gdLst>
                <a:gd name="connsiteX0" fmla="*/ -1088 w 505052"/>
                <a:gd name="connsiteY0" fmla="*/ 234479 h 262917"/>
                <a:gd name="connsiteX1" fmla="*/ 563 w 505052"/>
                <a:gd name="connsiteY1" fmla="*/ 236524 h 262917"/>
                <a:gd name="connsiteX2" fmla="*/ 6036 w 505052"/>
                <a:gd name="connsiteY2" fmla="*/ 237629 h 262917"/>
                <a:gd name="connsiteX3" fmla="*/ 21543 w 505052"/>
                <a:gd name="connsiteY3" fmla="*/ 240626 h 262917"/>
                <a:gd name="connsiteX4" fmla="*/ 480101 w 505052"/>
                <a:gd name="connsiteY4" fmla="*/ 240486 h 262917"/>
                <a:gd name="connsiteX5" fmla="*/ 494883 w 505052"/>
                <a:gd name="connsiteY5" fmla="*/ 237629 h 262917"/>
                <a:gd name="connsiteX6" fmla="*/ 500459 w 505052"/>
                <a:gd name="connsiteY6" fmla="*/ 236511 h 262917"/>
                <a:gd name="connsiteX7" fmla="*/ 502084 w 505052"/>
                <a:gd name="connsiteY7" fmla="*/ 234441 h 262917"/>
                <a:gd name="connsiteX8" fmla="*/ 502986 w 505052"/>
                <a:gd name="connsiteY8" fmla="*/ 232638 h 262917"/>
                <a:gd name="connsiteX9" fmla="*/ 502161 w 505052"/>
                <a:gd name="connsiteY9" fmla="*/ 228637 h 262917"/>
                <a:gd name="connsiteX10" fmla="*/ 499201 w 505052"/>
                <a:gd name="connsiteY10" fmla="*/ 214401 h 262917"/>
                <a:gd name="connsiteX11" fmla="*/ 476875 w 505052"/>
                <a:gd name="connsiteY11" fmla="*/ 106578 h 262917"/>
                <a:gd name="connsiteX12" fmla="*/ 472557 w 505052"/>
                <a:gd name="connsiteY12" fmla="*/ 99948 h 262917"/>
                <a:gd name="connsiteX13" fmla="*/ 454472 w 505052"/>
                <a:gd name="connsiteY13" fmla="*/ 103479 h 262917"/>
                <a:gd name="connsiteX14" fmla="*/ 452961 w 505052"/>
                <a:gd name="connsiteY14" fmla="*/ 111264 h 262917"/>
                <a:gd name="connsiteX15" fmla="*/ 455094 w 505052"/>
                <a:gd name="connsiteY15" fmla="*/ 219379 h 262917"/>
                <a:gd name="connsiteX16" fmla="*/ 46625 w 505052"/>
                <a:gd name="connsiteY16" fmla="*/ 219519 h 262917"/>
                <a:gd name="connsiteX17" fmla="*/ 67339 w 505052"/>
                <a:gd name="connsiteY17" fmla="*/ 9931 h 262917"/>
                <a:gd name="connsiteX18" fmla="*/ 66018 w 505052"/>
                <a:gd name="connsiteY18" fmla="*/ 2197 h 262917"/>
                <a:gd name="connsiteX19" fmla="*/ 49115 w 505052"/>
                <a:gd name="connsiteY19" fmla="*/ -1105 h 262917"/>
                <a:gd name="connsiteX20" fmla="*/ 44974 w 505052"/>
                <a:gd name="connsiteY20" fmla="*/ 5562 h 262917"/>
                <a:gd name="connsiteX21" fmla="*/ 1718 w 505052"/>
                <a:gd name="connsiteY21" fmla="*/ 214401 h 262917"/>
                <a:gd name="connsiteX22" fmla="*/ -1228 w 505052"/>
                <a:gd name="connsiteY22" fmla="*/ 228637 h 262917"/>
                <a:gd name="connsiteX23" fmla="*/ -2066 w 505052"/>
                <a:gd name="connsiteY23" fmla="*/ 232638 h 262917"/>
                <a:gd name="connsiteX24" fmla="*/ -1088 w 505052"/>
                <a:gd name="connsiteY24" fmla="*/ 234479 h 262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5052" h="262917">
                  <a:moveTo>
                    <a:pt x="-1088" y="234479"/>
                  </a:moveTo>
                  <a:lnTo>
                    <a:pt x="563" y="236524"/>
                  </a:lnTo>
                  <a:cubicBezTo>
                    <a:pt x="2391" y="236892"/>
                    <a:pt x="4220" y="237273"/>
                    <a:pt x="6036" y="237629"/>
                  </a:cubicBezTo>
                  <a:cubicBezTo>
                    <a:pt x="11205" y="238670"/>
                    <a:pt x="16374" y="239661"/>
                    <a:pt x="21543" y="240626"/>
                  </a:cubicBezTo>
                  <a:cubicBezTo>
                    <a:pt x="173079" y="268896"/>
                    <a:pt x="328577" y="268845"/>
                    <a:pt x="480101" y="240486"/>
                  </a:cubicBezTo>
                  <a:cubicBezTo>
                    <a:pt x="485028" y="239559"/>
                    <a:pt x="489969" y="238619"/>
                    <a:pt x="494883" y="237629"/>
                  </a:cubicBezTo>
                  <a:cubicBezTo>
                    <a:pt x="496738" y="237261"/>
                    <a:pt x="498592" y="236880"/>
                    <a:pt x="500459" y="236511"/>
                  </a:cubicBezTo>
                  <a:lnTo>
                    <a:pt x="502084" y="234441"/>
                  </a:lnTo>
                  <a:lnTo>
                    <a:pt x="502986" y="232638"/>
                  </a:lnTo>
                  <a:cubicBezTo>
                    <a:pt x="502719" y="231304"/>
                    <a:pt x="502427" y="229971"/>
                    <a:pt x="502161" y="228637"/>
                  </a:cubicBezTo>
                  <a:cubicBezTo>
                    <a:pt x="501170" y="223888"/>
                    <a:pt x="500179" y="219150"/>
                    <a:pt x="499201" y="214401"/>
                  </a:cubicBezTo>
                  <a:cubicBezTo>
                    <a:pt x="491759" y="178472"/>
                    <a:pt x="484317" y="142519"/>
                    <a:pt x="476875" y="106578"/>
                  </a:cubicBezTo>
                  <a:cubicBezTo>
                    <a:pt x="476049" y="102590"/>
                    <a:pt x="474119" y="99631"/>
                    <a:pt x="472557" y="99948"/>
                  </a:cubicBezTo>
                  <a:cubicBezTo>
                    <a:pt x="466524" y="101180"/>
                    <a:pt x="460492" y="102361"/>
                    <a:pt x="454472" y="103479"/>
                  </a:cubicBezTo>
                  <a:cubicBezTo>
                    <a:pt x="452897" y="103784"/>
                    <a:pt x="452224" y="107251"/>
                    <a:pt x="452961" y="111264"/>
                  </a:cubicBezTo>
                  <a:cubicBezTo>
                    <a:pt x="454167" y="147256"/>
                    <a:pt x="454891" y="183298"/>
                    <a:pt x="455094" y="219379"/>
                  </a:cubicBezTo>
                  <a:cubicBezTo>
                    <a:pt x="319903" y="242315"/>
                    <a:pt x="181829" y="242366"/>
                    <a:pt x="46625" y="219519"/>
                  </a:cubicBezTo>
                  <a:cubicBezTo>
                    <a:pt x="52543" y="149516"/>
                    <a:pt x="59440" y="79654"/>
                    <a:pt x="67339" y="9931"/>
                  </a:cubicBezTo>
                  <a:cubicBezTo>
                    <a:pt x="68076" y="5931"/>
                    <a:pt x="67479" y="2464"/>
                    <a:pt x="66018" y="2197"/>
                  </a:cubicBezTo>
                  <a:cubicBezTo>
                    <a:pt x="60367" y="1143"/>
                    <a:pt x="54741" y="38"/>
                    <a:pt x="49115" y="-1105"/>
                  </a:cubicBezTo>
                  <a:cubicBezTo>
                    <a:pt x="47654" y="-1397"/>
                    <a:pt x="45787" y="1575"/>
                    <a:pt x="44974" y="5562"/>
                  </a:cubicBezTo>
                  <a:cubicBezTo>
                    <a:pt x="30547" y="75183"/>
                    <a:pt x="16133" y="144792"/>
                    <a:pt x="1718" y="214401"/>
                  </a:cubicBezTo>
                  <a:cubicBezTo>
                    <a:pt x="728" y="219150"/>
                    <a:pt x="-250" y="223888"/>
                    <a:pt x="-1228" y="228637"/>
                  </a:cubicBezTo>
                  <a:cubicBezTo>
                    <a:pt x="-1507" y="229971"/>
                    <a:pt x="-1787" y="231304"/>
                    <a:pt x="-2066" y="232638"/>
                  </a:cubicBezTo>
                  <a:lnTo>
                    <a:pt x="-1088" y="234479"/>
                  </a:lnTo>
                </a:path>
              </a:pathLst>
            </a:custGeom>
            <a:solidFill>
              <a:srgbClr val="2E2A2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4" name="Freeform: Shape 1583">
              <a:extLst>
                <a:ext uri="{FF2B5EF4-FFF2-40B4-BE49-F238E27FC236}">
                  <a16:creationId xmlns:a16="http://schemas.microsoft.com/office/drawing/2014/main" id="{C7361B26-DEDC-43CC-BF1F-F0E7F0E158AC}"/>
                </a:ext>
              </a:extLst>
            </p:cNvPr>
            <p:cNvSpPr/>
            <p:nvPr/>
          </p:nvSpPr>
          <p:spPr>
            <a:xfrm flipV="1">
              <a:off x="6139649" y="3339279"/>
              <a:ext cx="127728" cy="97065"/>
            </a:xfrm>
            <a:custGeom>
              <a:avLst/>
              <a:gdLst>
                <a:gd name="connsiteX0" fmla="*/ 516 w 127728"/>
                <a:gd name="connsiteY0" fmla="*/ 48205 h 97065"/>
                <a:gd name="connsiteX1" fmla="*/ 51684 w 127728"/>
                <a:gd name="connsiteY1" fmla="*/ 95703 h 97065"/>
                <a:gd name="connsiteX2" fmla="*/ 123427 w 127728"/>
                <a:gd name="connsiteY2" fmla="*/ 71141 h 97065"/>
                <a:gd name="connsiteX3" fmla="*/ 112225 w 127728"/>
                <a:gd name="connsiteY3" fmla="*/ -1363 h 97065"/>
                <a:gd name="connsiteX4" fmla="*/ 8733 w 127728"/>
                <a:gd name="connsiteY4" fmla="*/ -1363 h 97065"/>
                <a:gd name="connsiteX5" fmla="*/ 516 w 127728"/>
                <a:gd name="connsiteY5" fmla="*/ 48205 h 97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728" h="97065">
                  <a:moveTo>
                    <a:pt x="516" y="48205"/>
                  </a:moveTo>
                  <a:cubicBezTo>
                    <a:pt x="8733" y="65846"/>
                    <a:pt x="40381" y="95703"/>
                    <a:pt x="51684" y="95703"/>
                  </a:cubicBezTo>
                  <a:cubicBezTo>
                    <a:pt x="63000" y="95703"/>
                    <a:pt x="113863" y="86559"/>
                    <a:pt x="123427" y="71141"/>
                  </a:cubicBezTo>
                  <a:cubicBezTo>
                    <a:pt x="132977" y="55711"/>
                    <a:pt x="112225" y="-1363"/>
                    <a:pt x="112225" y="-1363"/>
                  </a:cubicBezTo>
                  <a:lnTo>
                    <a:pt x="8733" y="-1363"/>
                  </a:lnTo>
                  <a:cubicBezTo>
                    <a:pt x="8733" y="-1363"/>
                    <a:pt x="-7713" y="30552"/>
                    <a:pt x="516" y="48205"/>
                  </a:cubicBezTo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7E1989F5-0535-4E25-A89D-6ADED057348A}"/>
                </a:ext>
              </a:extLst>
            </p:cNvPr>
            <p:cNvSpPr/>
            <p:nvPr/>
          </p:nvSpPr>
          <p:spPr>
            <a:xfrm flipV="1">
              <a:off x="6165855" y="3338044"/>
              <a:ext cx="160223" cy="104333"/>
            </a:xfrm>
            <a:custGeom>
              <a:avLst/>
              <a:gdLst>
                <a:gd name="connsiteX0" fmla="*/ 158405 w 160223"/>
                <a:gd name="connsiteY0" fmla="*/ 72198 h 104333"/>
                <a:gd name="connsiteX1" fmla="*/ 85405 w 160223"/>
                <a:gd name="connsiteY1" fmla="*/ 102970 h 104333"/>
                <a:gd name="connsiteX2" fmla="*/ 4532 w 160223"/>
                <a:gd name="connsiteY2" fmla="*/ 79830 h 104333"/>
                <a:gd name="connsiteX3" fmla="*/ 24877 w 160223"/>
                <a:gd name="connsiteY3" fmla="*/ 1256 h 104333"/>
                <a:gd name="connsiteX4" fmla="*/ 141400 w 160223"/>
                <a:gd name="connsiteY4" fmla="*/ -1361 h 104333"/>
                <a:gd name="connsiteX5" fmla="*/ 158405 w 160223"/>
                <a:gd name="connsiteY5" fmla="*/ 72198 h 10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23" h="104333">
                  <a:moveTo>
                    <a:pt x="158405" y="72198"/>
                  </a:moveTo>
                  <a:cubicBezTo>
                    <a:pt x="158405" y="72198"/>
                    <a:pt x="109447" y="102728"/>
                    <a:pt x="85405" y="102970"/>
                  </a:cubicBezTo>
                  <a:cubicBezTo>
                    <a:pt x="61352" y="103198"/>
                    <a:pt x="26579" y="92264"/>
                    <a:pt x="4532" y="79830"/>
                  </a:cubicBezTo>
                  <a:cubicBezTo>
                    <a:pt x="-17502" y="67384"/>
                    <a:pt x="24877" y="1256"/>
                    <a:pt x="24877" y="1256"/>
                  </a:cubicBezTo>
                  <a:lnTo>
                    <a:pt x="141400" y="-1361"/>
                  </a:lnTo>
                  <a:lnTo>
                    <a:pt x="158405" y="72198"/>
                  </a:lnTo>
                </a:path>
              </a:pathLst>
            </a:custGeom>
            <a:solidFill>
              <a:srgbClr val="F9AB6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BC80E579-F829-4E03-AF5B-6CADA8B865D4}"/>
                </a:ext>
              </a:extLst>
            </p:cNvPr>
            <p:cNvSpPr/>
            <p:nvPr/>
          </p:nvSpPr>
          <p:spPr>
            <a:xfrm flipV="1">
              <a:off x="6309073" y="3106273"/>
              <a:ext cx="441853" cy="336104"/>
            </a:xfrm>
            <a:custGeom>
              <a:avLst/>
              <a:gdLst>
                <a:gd name="connsiteX0" fmla="*/ 14993 w 441853"/>
                <a:gd name="connsiteY0" fmla="*/ 72094 h 336104"/>
                <a:gd name="connsiteX1" fmla="*/ 207753 w 441853"/>
                <a:gd name="connsiteY1" fmla="*/ 67979 h 336104"/>
                <a:gd name="connsiteX2" fmla="*/ 361905 w 441853"/>
                <a:gd name="connsiteY2" fmla="*/ 293404 h 336104"/>
                <a:gd name="connsiteX3" fmla="*/ 433660 w 441853"/>
                <a:gd name="connsiteY3" fmla="*/ 334641 h 336104"/>
                <a:gd name="connsiteX4" fmla="*/ 433660 w 441853"/>
                <a:gd name="connsiteY4" fmla="*/ 228532 h 336104"/>
                <a:gd name="connsiteX5" fmla="*/ 288512 w 441853"/>
                <a:gd name="connsiteY5" fmla="*/ 7286 h 336104"/>
                <a:gd name="connsiteX6" fmla="*/ -2012 w 441853"/>
                <a:gd name="connsiteY6" fmla="*/ -1464 h 336104"/>
                <a:gd name="connsiteX7" fmla="*/ 14993 w 441853"/>
                <a:gd name="connsiteY7" fmla="*/ 72094 h 336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853" h="336104">
                  <a:moveTo>
                    <a:pt x="14993" y="72094"/>
                  </a:moveTo>
                  <a:lnTo>
                    <a:pt x="207753" y="67979"/>
                  </a:lnTo>
                  <a:cubicBezTo>
                    <a:pt x="207753" y="67979"/>
                    <a:pt x="341306" y="274735"/>
                    <a:pt x="361905" y="293404"/>
                  </a:cubicBezTo>
                  <a:cubicBezTo>
                    <a:pt x="382505" y="312086"/>
                    <a:pt x="433660" y="334641"/>
                    <a:pt x="433660" y="334641"/>
                  </a:cubicBezTo>
                  <a:cubicBezTo>
                    <a:pt x="433660" y="334641"/>
                    <a:pt x="447567" y="265642"/>
                    <a:pt x="433660" y="228532"/>
                  </a:cubicBezTo>
                  <a:cubicBezTo>
                    <a:pt x="419728" y="191410"/>
                    <a:pt x="288512" y="7286"/>
                    <a:pt x="288512" y="7286"/>
                  </a:cubicBezTo>
                  <a:lnTo>
                    <a:pt x="-2012" y="-1464"/>
                  </a:lnTo>
                  <a:lnTo>
                    <a:pt x="14993" y="72094"/>
                  </a:ln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89DE6DC6-5EFA-4C3A-9B22-738A4835645E}"/>
                </a:ext>
              </a:extLst>
            </p:cNvPr>
            <p:cNvSpPr/>
            <p:nvPr/>
          </p:nvSpPr>
          <p:spPr>
            <a:xfrm flipV="1">
              <a:off x="7594891" y="3347009"/>
              <a:ext cx="208472" cy="152231"/>
            </a:xfrm>
            <a:custGeom>
              <a:avLst/>
              <a:gdLst>
                <a:gd name="connsiteX0" fmla="*/ 204952 w 208472"/>
                <a:gd name="connsiteY0" fmla="*/ 31173 h 152231"/>
                <a:gd name="connsiteX1" fmla="*/ 176416 w 208472"/>
                <a:gd name="connsiteY1" fmla="*/ 24188 h 152231"/>
                <a:gd name="connsiteX2" fmla="*/ 46203 w 208472"/>
                <a:gd name="connsiteY2" fmla="*/ -246 h 152231"/>
                <a:gd name="connsiteX3" fmla="*/ 86792 w 208472"/>
                <a:gd name="connsiteY3" fmla="*/ 30119 h 152231"/>
                <a:gd name="connsiteX4" fmla="*/ 26175 w 208472"/>
                <a:gd name="connsiteY4" fmla="*/ 19426 h 152231"/>
                <a:gd name="connsiteX5" fmla="*/ 80035 w 208472"/>
                <a:gd name="connsiteY5" fmla="*/ 52459 h 152231"/>
                <a:gd name="connsiteX6" fmla="*/ 11291 w 208472"/>
                <a:gd name="connsiteY6" fmla="*/ 42997 h 152231"/>
                <a:gd name="connsiteX7" fmla="*/ 73596 w 208472"/>
                <a:gd name="connsiteY7" fmla="*/ 74188 h 152231"/>
                <a:gd name="connsiteX8" fmla="*/ -2299 w 208472"/>
                <a:gd name="connsiteY8" fmla="*/ 64104 h 152231"/>
                <a:gd name="connsiteX9" fmla="*/ 113525 w 208472"/>
                <a:gd name="connsiteY9" fmla="*/ 94927 h 152231"/>
                <a:gd name="connsiteX10" fmla="*/ 76619 w 208472"/>
                <a:gd name="connsiteY10" fmla="*/ 150871 h 152231"/>
                <a:gd name="connsiteX11" fmla="*/ 204584 w 208472"/>
                <a:gd name="connsiteY11" fmla="*/ 64333 h 152231"/>
                <a:gd name="connsiteX12" fmla="*/ 204952 w 208472"/>
                <a:gd name="connsiteY12" fmla="*/ 31173 h 152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8472" h="152231">
                  <a:moveTo>
                    <a:pt x="204952" y="31173"/>
                  </a:moveTo>
                  <a:cubicBezTo>
                    <a:pt x="203174" y="32202"/>
                    <a:pt x="176416" y="24188"/>
                    <a:pt x="176416" y="24188"/>
                  </a:cubicBezTo>
                  <a:cubicBezTo>
                    <a:pt x="176416" y="24188"/>
                    <a:pt x="48781" y="-7523"/>
                    <a:pt x="46203" y="-246"/>
                  </a:cubicBezTo>
                  <a:cubicBezTo>
                    <a:pt x="43637" y="7031"/>
                    <a:pt x="86792" y="30119"/>
                    <a:pt x="86792" y="30119"/>
                  </a:cubicBezTo>
                  <a:cubicBezTo>
                    <a:pt x="86792" y="30119"/>
                    <a:pt x="28753" y="10968"/>
                    <a:pt x="26175" y="19426"/>
                  </a:cubicBezTo>
                  <a:cubicBezTo>
                    <a:pt x="23609" y="27884"/>
                    <a:pt x="80035" y="52459"/>
                    <a:pt x="80035" y="52459"/>
                  </a:cubicBezTo>
                  <a:cubicBezTo>
                    <a:pt x="80035" y="52459"/>
                    <a:pt x="7988" y="32621"/>
                    <a:pt x="11291" y="42997"/>
                  </a:cubicBezTo>
                  <a:cubicBezTo>
                    <a:pt x="14580" y="53360"/>
                    <a:pt x="73596" y="74188"/>
                    <a:pt x="73596" y="74188"/>
                  </a:cubicBezTo>
                  <a:cubicBezTo>
                    <a:pt x="73596" y="74188"/>
                    <a:pt x="-10084" y="50985"/>
                    <a:pt x="-2299" y="64104"/>
                  </a:cubicBezTo>
                  <a:cubicBezTo>
                    <a:pt x="5474" y="77224"/>
                    <a:pt x="113525" y="94927"/>
                    <a:pt x="113525" y="94927"/>
                  </a:cubicBezTo>
                  <a:cubicBezTo>
                    <a:pt x="113525" y="94927"/>
                    <a:pt x="61062" y="148966"/>
                    <a:pt x="76619" y="150871"/>
                  </a:cubicBezTo>
                  <a:cubicBezTo>
                    <a:pt x="92164" y="152763"/>
                    <a:pt x="204584" y="64333"/>
                    <a:pt x="204584" y="64333"/>
                  </a:cubicBezTo>
                  <a:cubicBezTo>
                    <a:pt x="204584" y="64333"/>
                    <a:pt x="206743" y="30157"/>
                    <a:pt x="204952" y="31173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CF5A3D23-23EE-4D7F-8BCC-732C8DD9E31E}"/>
                </a:ext>
              </a:extLst>
            </p:cNvPr>
            <p:cNvSpPr/>
            <p:nvPr/>
          </p:nvSpPr>
          <p:spPr>
            <a:xfrm flipV="1">
              <a:off x="7765455" y="3049482"/>
              <a:ext cx="381903" cy="425331"/>
            </a:xfrm>
            <a:custGeom>
              <a:avLst/>
              <a:gdLst>
                <a:gd name="connsiteX0" fmla="*/ 358341 w 381903"/>
                <a:gd name="connsiteY0" fmla="*/ 418589 h 425331"/>
                <a:gd name="connsiteX1" fmla="*/ 172210 w 381903"/>
                <a:gd name="connsiteY1" fmla="*/ 98601 h 425331"/>
                <a:gd name="connsiteX2" fmla="*/ 2526 w 381903"/>
                <a:gd name="connsiteY2" fmla="*/ 64044 h 425331"/>
                <a:gd name="connsiteX3" fmla="*/ -2986 w 381903"/>
                <a:gd name="connsiteY3" fmla="*/ -1475 h 425331"/>
                <a:gd name="connsiteX4" fmla="*/ 240841 w 381903"/>
                <a:gd name="connsiteY4" fmla="*/ 26249 h 425331"/>
                <a:gd name="connsiteX5" fmla="*/ 358341 w 381903"/>
                <a:gd name="connsiteY5" fmla="*/ 418589 h 42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903" h="425331">
                  <a:moveTo>
                    <a:pt x="358341" y="418589"/>
                  </a:moveTo>
                  <a:cubicBezTo>
                    <a:pt x="281773" y="472221"/>
                    <a:pt x="172210" y="98601"/>
                    <a:pt x="172210" y="98601"/>
                  </a:cubicBezTo>
                  <a:lnTo>
                    <a:pt x="2526" y="64044"/>
                  </a:lnTo>
                  <a:cubicBezTo>
                    <a:pt x="1955" y="42111"/>
                    <a:pt x="-1" y="20267"/>
                    <a:pt x="-2986" y="-1475"/>
                  </a:cubicBezTo>
                  <a:lnTo>
                    <a:pt x="240841" y="26249"/>
                  </a:lnTo>
                  <a:cubicBezTo>
                    <a:pt x="240841" y="26249"/>
                    <a:pt x="442605" y="359522"/>
                    <a:pt x="358341" y="418589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93D86213-DF17-4B63-B4AB-4A2AD256E8AD}"/>
                </a:ext>
              </a:extLst>
            </p:cNvPr>
            <p:cNvSpPr/>
            <p:nvPr/>
          </p:nvSpPr>
          <p:spPr>
            <a:xfrm flipV="1">
              <a:off x="7804291" y="3049482"/>
              <a:ext cx="343067" cy="448559"/>
            </a:xfrm>
            <a:custGeom>
              <a:avLst/>
              <a:gdLst>
                <a:gd name="connsiteX0" fmla="*/ 319491 w 343067"/>
                <a:gd name="connsiteY0" fmla="*/ 441828 h 448559"/>
                <a:gd name="connsiteX1" fmla="*/ 133361 w 343067"/>
                <a:gd name="connsiteY1" fmla="*/ 121839 h 448559"/>
                <a:gd name="connsiteX2" fmla="*/ -2999 w 343067"/>
                <a:gd name="connsiteY2" fmla="*/ 94065 h 448559"/>
                <a:gd name="connsiteX3" fmla="*/ -1856 w 343067"/>
                <a:gd name="connsiteY3" fmla="*/ 17954 h 448559"/>
                <a:gd name="connsiteX4" fmla="*/ 201991 w 343067"/>
                <a:gd name="connsiteY4" fmla="*/ -1465 h 448559"/>
                <a:gd name="connsiteX5" fmla="*/ 319491 w 343067"/>
                <a:gd name="connsiteY5" fmla="*/ 441828 h 448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3067" h="448559">
                  <a:moveTo>
                    <a:pt x="319491" y="441828"/>
                  </a:moveTo>
                  <a:cubicBezTo>
                    <a:pt x="242923" y="495460"/>
                    <a:pt x="133361" y="121839"/>
                    <a:pt x="133361" y="121839"/>
                  </a:cubicBezTo>
                  <a:lnTo>
                    <a:pt x="-2999" y="94065"/>
                  </a:lnTo>
                  <a:cubicBezTo>
                    <a:pt x="-2110" y="68703"/>
                    <a:pt x="-1767" y="43328"/>
                    <a:pt x="-1856" y="17954"/>
                  </a:cubicBezTo>
                  <a:lnTo>
                    <a:pt x="201991" y="-1465"/>
                  </a:lnTo>
                  <a:cubicBezTo>
                    <a:pt x="201991" y="-1465"/>
                    <a:pt x="403755" y="382760"/>
                    <a:pt x="319491" y="441828"/>
                  </a:cubicBez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1E6C45B7-1A49-48CA-AEFA-4D375EBBCA15}"/>
                </a:ext>
              </a:extLst>
            </p:cNvPr>
            <p:cNvSpPr/>
            <p:nvPr/>
          </p:nvSpPr>
          <p:spPr>
            <a:xfrm flipV="1">
              <a:off x="7538075" y="3522903"/>
              <a:ext cx="652637" cy="675186"/>
            </a:xfrm>
            <a:custGeom>
              <a:avLst/>
              <a:gdLst>
                <a:gd name="connsiteX0" fmla="*/ 148245 w 652637"/>
                <a:gd name="connsiteY0" fmla="*/ 87718 h 675186"/>
                <a:gd name="connsiteX1" fmla="*/ 83094 w 652637"/>
                <a:gd name="connsiteY1" fmla="*/ 667065 h 675186"/>
                <a:gd name="connsiteX2" fmla="*/ 649589 w 652637"/>
                <a:gd name="connsiteY2" fmla="*/ 591703 h 675186"/>
                <a:gd name="connsiteX3" fmla="*/ 547100 w 652637"/>
                <a:gd name="connsiteY3" fmla="*/ 458659 h 675186"/>
                <a:gd name="connsiteX4" fmla="*/ 315961 w 652637"/>
                <a:gd name="connsiteY4" fmla="*/ 552397 h 675186"/>
                <a:gd name="connsiteX5" fmla="*/ 238796 w 652637"/>
                <a:gd name="connsiteY5" fmla="*/ 7416 h 675186"/>
                <a:gd name="connsiteX6" fmla="*/ -2923 w 652637"/>
                <a:gd name="connsiteY6" fmla="*/ 27761 h 675186"/>
                <a:gd name="connsiteX7" fmla="*/ 148245 w 652637"/>
                <a:gd name="connsiteY7" fmla="*/ 87718 h 675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2637" h="675186">
                  <a:moveTo>
                    <a:pt x="148245" y="87718"/>
                  </a:moveTo>
                  <a:cubicBezTo>
                    <a:pt x="177442" y="117652"/>
                    <a:pt x="43432" y="640103"/>
                    <a:pt x="83094" y="667065"/>
                  </a:cubicBezTo>
                  <a:cubicBezTo>
                    <a:pt x="122743" y="694040"/>
                    <a:pt x="552269" y="639735"/>
                    <a:pt x="649589" y="591703"/>
                  </a:cubicBezTo>
                  <a:cubicBezTo>
                    <a:pt x="639594" y="562405"/>
                    <a:pt x="687067" y="437589"/>
                    <a:pt x="547100" y="458659"/>
                  </a:cubicBezTo>
                  <a:cubicBezTo>
                    <a:pt x="384185" y="483182"/>
                    <a:pt x="307452" y="581671"/>
                    <a:pt x="315961" y="552397"/>
                  </a:cubicBezTo>
                  <a:cubicBezTo>
                    <a:pt x="287436" y="397216"/>
                    <a:pt x="238796" y="7416"/>
                    <a:pt x="238796" y="7416"/>
                  </a:cubicBezTo>
                  <a:cubicBezTo>
                    <a:pt x="238796" y="7416"/>
                    <a:pt x="24776" y="-21313"/>
                    <a:pt x="-2923" y="27761"/>
                  </a:cubicBezTo>
                  <a:cubicBezTo>
                    <a:pt x="1980" y="35574"/>
                    <a:pt x="119035" y="57760"/>
                    <a:pt x="148245" y="87718"/>
                  </a:cubicBez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7C2C4FDD-EFE9-4ACB-8F05-EDA44FD23BC7}"/>
                </a:ext>
              </a:extLst>
            </p:cNvPr>
            <p:cNvSpPr/>
            <p:nvPr/>
          </p:nvSpPr>
          <p:spPr>
            <a:xfrm flipV="1">
              <a:off x="7961250" y="2823004"/>
              <a:ext cx="156924" cy="236620"/>
            </a:xfrm>
            <a:custGeom>
              <a:avLst/>
              <a:gdLst>
                <a:gd name="connsiteX0" fmla="*/ 59721 w 156924"/>
                <a:gd name="connsiteY0" fmla="*/ 182641 h 236620"/>
                <a:gd name="connsiteX1" fmla="*/ -3042 w 156924"/>
                <a:gd name="connsiteY1" fmla="*/ 142865 h 236620"/>
                <a:gd name="connsiteX2" fmla="*/ 60000 w 156924"/>
                <a:gd name="connsiteY2" fmla="*/ 31664 h 236620"/>
                <a:gd name="connsiteX3" fmla="*/ 121341 w 156924"/>
                <a:gd name="connsiteY3" fmla="*/ 739 h 236620"/>
                <a:gd name="connsiteX4" fmla="*/ 151262 w 156924"/>
                <a:gd name="connsiteY4" fmla="*/ 62576 h 236620"/>
                <a:gd name="connsiteX5" fmla="*/ 104298 w 156924"/>
                <a:gd name="connsiteY5" fmla="*/ 228831 h 236620"/>
                <a:gd name="connsiteX6" fmla="*/ 59721 w 156924"/>
                <a:gd name="connsiteY6" fmla="*/ 182641 h 236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924" h="236620">
                  <a:moveTo>
                    <a:pt x="59721" y="182641"/>
                  </a:moveTo>
                  <a:cubicBezTo>
                    <a:pt x="34613" y="174145"/>
                    <a:pt x="-3042" y="142865"/>
                    <a:pt x="-3042" y="142865"/>
                  </a:cubicBezTo>
                  <a:cubicBezTo>
                    <a:pt x="56457" y="101920"/>
                    <a:pt x="60000" y="31664"/>
                    <a:pt x="60000" y="31664"/>
                  </a:cubicBezTo>
                  <a:cubicBezTo>
                    <a:pt x="68649" y="6150"/>
                    <a:pt x="96259" y="-7769"/>
                    <a:pt x="121341" y="739"/>
                  </a:cubicBezTo>
                  <a:cubicBezTo>
                    <a:pt x="146436" y="9236"/>
                    <a:pt x="159911" y="37074"/>
                    <a:pt x="151262" y="62576"/>
                  </a:cubicBezTo>
                  <a:lnTo>
                    <a:pt x="104298" y="228831"/>
                  </a:lnTo>
                  <a:cubicBezTo>
                    <a:pt x="95662" y="254345"/>
                    <a:pt x="84816" y="191150"/>
                    <a:pt x="59721" y="182641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1D1F9604-753E-4C6B-A86A-90FA07B3AAC3}"/>
                </a:ext>
              </a:extLst>
            </p:cNvPr>
            <p:cNvSpPr/>
            <p:nvPr/>
          </p:nvSpPr>
          <p:spPr>
            <a:xfrm flipV="1">
              <a:off x="7968197" y="2755002"/>
              <a:ext cx="104820" cy="194959"/>
            </a:xfrm>
            <a:custGeom>
              <a:avLst/>
              <a:gdLst>
                <a:gd name="connsiteX0" fmla="*/ 82645 w 104820"/>
                <a:gd name="connsiteY0" fmla="*/ 75794 h 194959"/>
                <a:gd name="connsiteX1" fmla="*/ 97275 w 104820"/>
                <a:gd name="connsiteY1" fmla="*/ 141085 h 194959"/>
                <a:gd name="connsiteX2" fmla="*/ 100806 w 104820"/>
                <a:gd name="connsiteY2" fmla="*/ 192863 h 194959"/>
                <a:gd name="connsiteX3" fmla="*/ 59747 w 104820"/>
                <a:gd name="connsiteY3" fmla="*/ 140933 h 194959"/>
                <a:gd name="connsiteX4" fmla="*/ -3029 w 104820"/>
                <a:gd name="connsiteY4" fmla="*/ 101156 h 194959"/>
                <a:gd name="connsiteX5" fmla="*/ 59099 w 104820"/>
                <a:gd name="connsiteY5" fmla="*/ -1840 h 194959"/>
                <a:gd name="connsiteX6" fmla="*/ 82645 w 104820"/>
                <a:gd name="connsiteY6" fmla="*/ 75794 h 194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820" h="194959">
                  <a:moveTo>
                    <a:pt x="82645" y="75794"/>
                  </a:moveTo>
                  <a:cubicBezTo>
                    <a:pt x="87915" y="97397"/>
                    <a:pt x="93147" y="119228"/>
                    <a:pt x="97275" y="141085"/>
                  </a:cubicBezTo>
                  <a:cubicBezTo>
                    <a:pt x="100374" y="157481"/>
                    <a:pt x="103409" y="175832"/>
                    <a:pt x="100806" y="192863"/>
                  </a:cubicBezTo>
                  <a:cubicBezTo>
                    <a:pt x="92614" y="197067"/>
                    <a:pt x="81578" y="148337"/>
                    <a:pt x="59747" y="140933"/>
                  </a:cubicBezTo>
                  <a:cubicBezTo>
                    <a:pt x="34639" y="132436"/>
                    <a:pt x="-3029" y="101156"/>
                    <a:pt x="-3029" y="101156"/>
                  </a:cubicBezTo>
                  <a:cubicBezTo>
                    <a:pt x="44138" y="68708"/>
                    <a:pt x="56153" y="17857"/>
                    <a:pt x="59099" y="-1840"/>
                  </a:cubicBezTo>
                  <a:cubicBezTo>
                    <a:pt x="68383" y="23572"/>
                    <a:pt x="76244" y="49531"/>
                    <a:pt x="82645" y="75794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E70F83E9-E4F6-4146-B2EE-8CBCE023239B}"/>
                </a:ext>
              </a:extLst>
            </p:cNvPr>
            <p:cNvSpPr/>
            <p:nvPr/>
          </p:nvSpPr>
          <p:spPr>
            <a:xfrm flipV="1">
              <a:off x="7933142" y="2799333"/>
              <a:ext cx="7232" cy="7838"/>
            </a:xfrm>
            <a:custGeom>
              <a:avLst/>
              <a:gdLst>
                <a:gd name="connsiteX0" fmla="*/ -2766 w 7232"/>
                <a:gd name="connsiteY0" fmla="*/ 3127 h 7838"/>
                <a:gd name="connsiteX1" fmla="*/ -569 w 7232"/>
                <a:gd name="connsiteY1" fmla="*/ -1724 h 7838"/>
                <a:gd name="connsiteX2" fmla="*/ 4041 w 7232"/>
                <a:gd name="connsiteY2" fmla="*/ 930 h 7838"/>
                <a:gd name="connsiteX3" fmla="*/ 1869 w 7232"/>
                <a:gd name="connsiteY3" fmla="*/ 5794 h 7838"/>
                <a:gd name="connsiteX4" fmla="*/ -2766 w 7232"/>
                <a:gd name="connsiteY4" fmla="*/ 3127 h 7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2" h="7838">
                  <a:moveTo>
                    <a:pt x="-2766" y="3127"/>
                  </a:moveTo>
                  <a:cubicBezTo>
                    <a:pt x="-3426" y="1057"/>
                    <a:pt x="-2449" y="-1127"/>
                    <a:pt x="-569" y="-1724"/>
                  </a:cubicBezTo>
                  <a:cubicBezTo>
                    <a:pt x="1311" y="-2334"/>
                    <a:pt x="3381" y="-1153"/>
                    <a:pt x="4041" y="930"/>
                  </a:cubicBezTo>
                  <a:cubicBezTo>
                    <a:pt x="4727" y="3013"/>
                    <a:pt x="3749" y="5185"/>
                    <a:pt x="1869" y="5794"/>
                  </a:cubicBezTo>
                  <a:cubicBezTo>
                    <a:pt x="-23" y="6404"/>
                    <a:pt x="-2093" y="5210"/>
                    <a:pt x="-2766" y="3127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7AF87C25-C106-4E45-A61D-34E8F65D313D}"/>
                </a:ext>
              </a:extLst>
            </p:cNvPr>
            <p:cNvSpPr/>
            <p:nvPr/>
          </p:nvSpPr>
          <p:spPr>
            <a:xfrm flipV="1">
              <a:off x="7871956" y="2673071"/>
              <a:ext cx="310730" cy="312053"/>
            </a:xfrm>
            <a:custGeom>
              <a:avLst/>
              <a:gdLst>
                <a:gd name="connsiteX0" fmla="*/ 288012 w 310730"/>
                <a:gd name="connsiteY0" fmla="*/ 149341 h 312053"/>
                <a:gd name="connsiteX1" fmla="*/ 307697 w 310730"/>
                <a:gd name="connsiteY1" fmla="*/ 233771 h 312053"/>
                <a:gd name="connsiteX2" fmla="*/ 207532 w 310730"/>
                <a:gd name="connsiteY2" fmla="*/ 309323 h 312053"/>
                <a:gd name="connsiteX3" fmla="*/ 64353 w 310730"/>
                <a:gd name="connsiteY3" fmla="*/ 264123 h 312053"/>
                <a:gd name="connsiteX4" fmla="*/ 37353 w 310730"/>
                <a:gd name="connsiteY4" fmla="*/ 150802 h 312053"/>
                <a:gd name="connsiteX5" fmla="*/ -2970 w 310730"/>
                <a:gd name="connsiteY5" fmla="*/ 117426 h 312053"/>
                <a:gd name="connsiteX6" fmla="*/ 31523 w 310730"/>
                <a:gd name="connsiteY6" fmla="*/ 101856 h 312053"/>
                <a:gd name="connsiteX7" fmla="*/ 27358 w 310730"/>
                <a:gd name="connsiteY7" fmla="*/ 82450 h 312053"/>
                <a:gd name="connsiteX8" fmla="*/ 62943 w 310730"/>
                <a:gd name="connsiteY8" fmla="*/ 72837 h 312053"/>
                <a:gd name="connsiteX9" fmla="*/ 32933 w 310730"/>
                <a:gd name="connsiteY9" fmla="*/ 50586 h 312053"/>
                <a:gd name="connsiteX10" fmla="*/ 29707 w 310730"/>
                <a:gd name="connsiteY10" fmla="*/ 3139 h 312053"/>
                <a:gd name="connsiteX11" fmla="*/ 202427 w 310730"/>
                <a:gd name="connsiteY11" fmla="*/ 105679 h 312053"/>
                <a:gd name="connsiteX12" fmla="*/ 288012 w 310730"/>
                <a:gd name="connsiteY12" fmla="*/ 149341 h 31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0730" h="312053">
                  <a:moveTo>
                    <a:pt x="288012" y="149341"/>
                  </a:moveTo>
                  <a:cubicBezTo>
                    <a:pt x="296813" y="176430"/>
                    <a:pt x="304992" y="205119"/>
                    <a:pt x="307697" y="233771"/>
                  </a:cubicBezTo>
                  <a:cubicBezTo>
                    <a:pt x="296737" y="261418"/>
                    <a:pt x="279947" y="303163"/>
                    <a:pt x="207532" y="309323"/>
                  </a:cubicBezTo>
                  <a:cubicBezTo>
                    <a:pt x="130748" y="315838"/>
                    <a:pt x="94591" y="284266"/>
                    <a:pt x="64353" y="264123"/>
                  </a:cubicBezTo>
                  <a:cubicBezTo>
                    <a:pt x="45938" y="251855"/>
                    <a:pt x="40464" y="167997"/>
                    <a:pt x="37353" y="150802"/>
                  </a:cubicBezTo>
                  <a:cubicBezTo>
                    <a:pt x="34254" y="133606"/>
                    <a:pt x="-1179" y="127383"/>
                    <a:pt x="-2970" y="117426"/>
                  </a:cubicBezTo>
                  <a:cubicBezTo>
                    <a:pt x="-4760" y="107469"/>
                    <a:pt x="31523" y="101856"/>
                    <a:pt x="31523" y="101856"/>
                  </a:cubicBezTo>
                  <a:lnTo>
                    <a:pt x="27358" y="82450"/>
                  </a:lnTo>
                  <a:cubicBezTo>
                    <a:pt x="23218" y="76862"/>
                    <a:pt x="49024" y="75732"/>
                    <a:pt x="62943" y="72837"/>
                  </a:cubicBezTo>
                  <a:cubicBezTo>
                    <a:pt x="62943" y="72837"/>
                    <a:pt x="57914" y="62245"/>
                    <a:pt x="32933" y="50586"/>
                  </a:cubicBezTo>
                  <a:cubicBezTo>
                    <a:pt x="30342" y="42357"/>
                    <a:pt x="32666" y="15141"/>
                    <a:pt x="29707" y="3139"/>
                  </a:cubicBezTo>
                  <a:cubicBezTo>
                    <a:pt x="71922" y="-15111"/>
                    <a:pt x="195378" y="16042"/>
                    <a:pt x="202427" y="105679"/>
                  </a:cubicBezTo>
                  <a:cubicBezTo>
                    <a:pt x="238317" y="131599"/>
                    <a:pt x="274855" y="108727"/>
                    <a:pt x="288012" y="149341"/>
                  </a:cubicBezTo>
                </a:path>
              </a:pathLst>
            </a:custGeom>
            <a:solidFill>
              <a:srgbClr val="FAB76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5" name="Freeform: Shape 1594">
              <a:extLst>
                <a:ext uri="{FF2B5EF4-FFF2-40B4-BE49-F238E27FC236}">
                  <a16:creationId xmlns:a16="http://schemas.microsoft.com/office/drawing/2014/main" id="{0BA13AB6-327C-4CF0-997D-EB65CCA789B4}"/>
                </a:ext>
              </a:extLst>
            </p:cNvPr>
            <p:cNvSpPr/>
            <p:nvPr/>
          </p:nvSpPr>
          <p:spPr>
            <a:xfrm flipV="1">
              <a:off x="7943229" y="2673078"/>
              <a:ext cx="239457" cy="311732"/>
            </a:xfrm>
            <a:custGeom>
              <a:avLst/>
              <a:gdLst>
                <a:gd name="connsiteX0" fmla="*/ 136235 w 239457"/>
                <a:gd name="connsiteY0" fmla="*/ 309008 h 311732"/>
                <a:gd name="connsiteX1" fmla="*/ 61191 w 239457"/>
                <a:gd name="connsiteY1" fmla="*/ 301579 h 311732"/>
                <a:gd name="connsiteX2" fmla="*/ 71744 w 239457"/>
                <a:gd name="connsiteY2" fmla="*/ 263847 h 311732"/>
                <a:gd name="connsiteX3" fmla="*/ 96827 w 239457"/>
                <a:gd name="connsiteY3" fmla="*/ 153992 h 311732"/>
                <a:gd name="connsiteX4" fmla="*/ 81028 w 239457"/>
                <a:gd name="connsiteY4" fmla="*/ 47897 h 311732"/>
                <a:gd name="connsiteX5" fmla="*/ -3058 w 239457"/>
                <a:gd name="connsiteY5" fmla="*/ -1861 h 311732"/>
                <a:gd name="connsiteX6" fmla="*/ 131129 w 239457"/>
                <a:gd name="connsiteY6" fmla="*/ 105364 h 311732"/>
                <a:gd name="connsiteX7" fmla="*/ 216715 w 239457"/>
                <a:gd name="connsiteY7" fmla="*/ 149027 h 311732"/>
                <a:gd name="connsiteX8" fmla="*/ 236400 w 239457"/>
                <a:gd name="connsiteY8" fmla="*/ 233456 h 311732"/>
                <a:gd name="connsiteX9" fmla="*/ 136235 w 239457"/>
                <a:gd name="connsiteY9" fmla="*/ 309008 h 31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457" h="311732">
                  <a:moveTo>
                    <a:pt x="136235" y="309008"/>
                  </a:moveTo>
                  <a:cubicBezTo>
                    <a:pt x="105399" y="311625"/>
                    <a:pt x="81168" y="308043"/>
                    <a:pt x="61191" y="301579"/>
                  </a:cubicBezTo>
                  <a:cubicBezTo>
                    <a:pt x="66906" y="289590"/>
                    <a:pt x="69636" y="275315"/>
                    <a:pt x="71744" y="263847"/>
                  </a:cubicBezTo>
                  <a:cubicBezTo>
                    <a:pt x="78501" y="227119"/>
                    <a:pt x="98288" y="191457"/>
                    <a:pt x="96827" y="153992"/>
                  </a:cubicBezTo>
                  <a:cubicBezTo>
                    <a:pt x="95430" y="118267"/>
                    <a:pt x="103596" y="76192"/>
                    <a:pt x="81028" y="47897"/>
                  </a:cubicBezTo>
                  <a:cubicBezTo>
                    <a:pt x="51513" y="10902"/>
                    <a:pt x="25466" y="3828"/>
                    <a:pt x="-3058" y="-1861"/>
                  </a:cubicBezTo>
                  <a:cubicBezTo>
                    <a:pt x="50231" y="1555"/>
                    <a:pt x="125668" y="35857"/>
                    <a:pt x="131129" y="105364"/>
                  </a:cubicBezTo>
                  <a:cubicBezTo>
                    <a:pt x="167020" y="131285"/>
                    <a:pt x="203557" y="108412"/>
                    <a:pt x="216715" y="149027"/>
                  </a:cubicBezTo>
                  <a:cubicBezTo>
                    <a:pt x="225516" y="176116"/>
                    <a:pt x="233694" y="204805"/>
                    <a:pt x="236400" y="233456"/>
                  </a:cubicBezTo>
                  <a:cubicBezTo>
                    <a:pt x="225439" y="261104"/>
                    <a:pt x="208650" y="302849"/>
                    <a:pt x="136235" y="309008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AD4502D9-C951-49A9-A7AB-8C70A01B0245}"/>
                </a:ext>
              </a:extLst>
            </p:cNvPr>
            <p:cNvSpPr/>
            <p:nvPr/>
          </p:nvSpPr>
          <p:spPr>
            <a:xfrm flipV="1">
              <a:off x="7925144" y="2673071"/>
              <a:ext cx="257542" cy="162731"/>
            </a:xfrm>
            <a:custGeom>
              <a:avLst/>
              <a:gdLst>
                <a:gd name="connsiteX0" fmla="*/ 2256 w 257542"/>
                <a:gd name="connsiteY0" fmla="*/ 83480 h 162731"/>
                <a:gd name="connsiteX1" fmla="*/ 33638 w 257542"/>
                <a:gd name="connsiteY1" fmla="*/ 82438 h 162731"/>
                <a:gd name="connsiteX2" fmla="*/ 90064 w 257542"/>
                <a:gd name="connsiteY2" fmla="*/ 86642 h 162731"/>
                <a:gd name="connsiteX3" fmla="*/ 111502 w 257542"/>
                <a:gd name="connsiteY3" fmla="*/ 52809 h 162731"/>
                <a:gd name="connsiteX4" fmla="*/ 141156 w 257542"/>
                <a:gd name="connsiteY4" fmla="*/ 6924 h 162731"/>
                <a:gd name="connsiteX5" fmla="*/ 200668 w 257542"/>
                <a:gd name="connsiteY5" fmla="*/ -1699 h 162731"/>
                <a:gd name="connsiteX6" fmla="*/ 234234 w 257542"/>
                <a:gd name="connsiteY6" fmla="*/ -1775 h 162731"/>
                <a:gd name="connsiteX7" fmla="*/ 234806 w 257542"/>
                <a:gd name="connsiteY7" fmla="*/ -48 h 162731"/>
                <a:gd name="connsiteX8" fmla="*/ 254491 w 257542"/>
                <a:gd name="connsiteY8" fmla="*/ 84382 h 162731"/>
                <a:gd name="connsiteX9" fmla="*/ 154326 w 257542"/>
                <a:gd name="connsiteY9" fmla="*/ 159934 h 162731"/>
                <a:gd name="connsiteX10" fmla="*/ 11146 w 257542"/>
                <a:gd name="connsiteY10" fmla="*/ 114734 h 162731"/>
                <a:gd name="connsiteX11" fmla="*/ -3052 w 257542"/>
                <a:gd name="connsiteY11" fmla="*/ 84864 h 162731"/>
                <a:gd name="connsiteX12" fmla="*/ 2256 w 257542"/>
                <a:gd name="connsiteY12" fmla="*/ 83480 h 16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7542" h="162731">
                  <a:moveTo>
                    <a:pt x="2256" y="83480"/>
                  </a:moveTo>
                  <a:cubicBezTo>
                    <a:pt x="12480" y="81689"/>
                    <a:pt x="23275" y="82349"/>
                    <a:pt x="33638" y="82438"/>
                  </a:cubicBezTo>
                  <a:cubicBezTo>
                    <a:pt x="52751" y="82591"/>
                    <a:pt x="71090" y="84978"/>
                    <a:pt x="90064" y="86642"/>
                  </a:cubicBezTo>
                  <a:cubicBezTo>
                    <a:pt x="112162" y="88560"/>
                    <a:pt x="108962" y="70234"/>
                    <a:pt x="111502" y="52809"/>
                  </a:cubicBezTo>
                  <a:cubicBezTo>
                    <a:pt x="114549" y="32007"/>
                    <a:pt x="119337" y="14074"/>
                    <a:pt x="141156" y="6924"/>
                  </a:cubicBezTo>
                  <a:cubicBezTo>
                    <a:pt x="160257" y="676"/>
                    <a:pt x="180691" y="-1102"/>
                    <a:pt x="200668" y="-1699"/>
                  </a:cubicBezTo>
                  <a:cubicBezTo>
                    <a:pt x="211857" y="-2054"/>
                    <a:pt x="223058" y="-1928"/>
                    <a:pt x="234234" y="-1775"/>
                  </a:cubicBezTo>
                  <a:lnTo>
                    <a:pt x="234806" y="-48"/>
                  </a:lnTo>
                  <a:cubicBezTo>
                    <a:pt x="243607" y="27041"/>
                    <a:pt x="251785" y="55730"/>
                    <a:pt x="254491" y="84382"/>
                  </a:cubicBezTo>
                  <a:cubicBezTo>
                    <a:pt x="243530" y="112029"/>
                    <a:pt x="226741" y="153774"/>
                    <a:pt x="154326" y="159934"/>
                  </a:cubicBezTo>
                  <a:cubicBezTo>
                    <a:pt x="77542" y="166449"/>
                    <a:pt x="41385" y="134877"/>
                    <a:pt x="11146" y="114734"/>
                  </a:cubicBezTo>
                  <a:cubicBezTo>
                    <a:pt x="5165" y="110759"/>
                    <a:pt x="555" y="99215"/>
                    <a:pt x="-3052" y="84864"/>
                  </a:cubicBezTo>
                  <a:cubicBezTo>
                    <a:pt x="-1338" y="84305"/>
                    <a:pt x="402" y="83797"/>
                    <a:pt x="2256" y="83480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1396ABF6-D0EC-4507-B897-8BD2EE92CC4B}"/>
                </a:ext>
              </a:extLst>
            </p:cNvPr>
            <p:cNvSpPr/>
            <p:nvPr/>
          </p:nvSpPr>
          <p:spPr>
            <a:xfrm flipV="1">
              <a:off x="7930208" y="2812066"/>
              <a:ext cx="22991" cy="34071"/>
            </a:xfrm>
            <a:custGeom>
              <a:avLst/>
              <a:gdLst>
                <a:gd name="connsiteX0" fmla="*/ 19976 w 22991"/>
                <a:gd name="connsiteY0" fmla="*/ 15816 h 34071"/>
                <a:gd name="connsiteX1" fmla="*/ 9461 w 22991"/>
                <a:gd name="connsiteY1" fmla="*/ -1850 h 34071"/>
                <a:gd name="connsiteX2" fmla="*/ -2934 w 22991"/>
                <a:gd name="connsiteY2" fmla="*/ 14533 h 34071"/>
                <a:gd name="connsiteX3" fmla="*/ 7569 w 22991"/>
                <a:gd name="connsiteY3" fmla="*/ 32199 h 34071"/>
                <a:gd name="connsiteX4" fmla="*/ 19976 w 22991"/>
                <a:gd name="connsiteY4" fmla="*/ 15816 h 3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91" h="34071">
                  <a:moveTo>
                    <a:pt x="19976" y="15816"/>
                  </a:moveTo>
                  <a:cubicBezTo>
                    <a:pt x="20497" y="6418"/>
                    <a:pt x="15798" y="-1494"/>
                    <a:pt x="9461" y="-1850"/>
                  </a:cubicBezTo>
                  <a:cubicBezTo>
                    <a:pt x="3136" y="-2193"/>
                    <a:pt x="-2426" y="5135"/>
                    <a:pt x="-2934" y="14533"/>
                  </a:cubicBezTo>
                  <a:cubicBezTo>
                    <a:pt x="-3468" y="23944"/>
                    <a:pt x="1244" y="31843"/>
                    <a:pt x="7569" y="32199"/>
                  </a:cubicBezTo>
                  <a:cubicBezTo>
                    <a:pt x="13893" y="32542"/>
                    <a:pt x="19456" y="25214"/>
                    <a:pt x="19976" y="15816"/>
                  </a:cubicBezTo>
                </a:path>
              </a:pathLst>
            </a:custGeom>
            <a:solidFill>
              <a:srgbClr val="36201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63ECAA5F-4330-4B75-8096-4AA9B77F71FB}"/>
                </a:ext>
              </a:extLst>
            </p:cNvPr>
            <p:cNvSpPr/>
            <p:nvPr/>
          </p:nvSpPr>
          <p:spPr>
            <a:xfrm flipV="1">
              <a:off x="7934745" y="2828609"/>
              <a:ext cx="7697" cy="11425"/>
            </a:xfrm>
            <a:custGeom>
              <a:avLst/>
              <a:gdLst>
                <a:gd name="connsiteX0" fmla="*/ 4711 w 7697"/>
                <a:gd name="connsiteY0" fmla="*/ 4078 h 11425"/>
                <a:gd name="connsiteX1" fmla="*/ 1193 w 7697"/>
                <a:gd name="connsiteY1" fmla="*/ -1853 h 11425"/>
                <a:gd name="connsiteX2" fmla="*/ -2960 w 7697"/>
                <a:gd name="connsiteY2" fmla="*/ 3646 h 11425"/>
                <a:gd name="connsiteX3" fmla="*/ 558 w 7697"/>
                <a:gd name="connsiteY3" fmla="*/ 9564 h 11425"/>
                <a:gd name="connsiteX4" fmla="*/ 4711 w 7697"/>
                <a:gd name="connsiteY4" fmla="*/ 4078 h 1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97" h="11425">
                  <a:moveTo>
                    <a:pt x="4711" y="4078"/>
                  </a:moveTo>
                  <a:cubicBezTo>
                    <a:pt x="4889" y="916"/>
                    <a:pt x="3314" y="-1726"/>
                    <a:pt x="1193" y="-1853"/>
                  </a:cubicBezTo>
                  <a:cubicBezTo>
                    <a:pt x="-928" y="-1967"/>
                    <a:pt x="-2795" y="497"/>
                    <a:pt x="-2960" y="3646"/>
                  </a:cubicBezTo>
                  <a:cubicBezTo>
                    <a:pt x="-3138" y="6796"/>
                    <a:pt x="-1563" y="9450"/>
                    <a:pt x="558" y="9564"/>
                  </a:cubicBezTo>
                  <a:cubicBezTo>
                    <a:pt x="2679" y="9691"/>
                    <a:pt x="4533" y="7228"/>
                    <a:pt x="4711" y="4078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904F5732-5047-482B-A6BC-0516A2F796E4}"/>
                </a:ext>
              </a:extLst>
            </p:cNvPr>
            <p:cNvSpPr/>
            <p:nvPr/>
          </p:nvSpPr>
          <p:spPr>
            <a:xfrm flipV="1">
              <a:off x="7905732" y="2653864"/>
              <a:ext cx="296137" cy="291995"/>
            </a:xfrm>
            <a:custGeom>
              <a:avLst/>
              <a:gdLst>
                <a:gd name="connsiteX0" fmla="*/ 249074 w 296137"/>
                <a:gd name="connsiteY0" fmla="*/ 270451 h 291995"/>
                <a:gd name="connsiteX1" fmla="*/ 215254 w 296137"/>
                <a:gd name="connsiteY1" fmla="*/ 284306 h 291995"/>
                <a:gd name="connsiteX2" fmla="*/ 98656 w 296137"/>
                <a:gd name="connsiteY2" fmla="*/ 282223 h 291995"/>
                <a:gd name="connsiteX3" fmla="*/ 18252 w 296137"/>
                <a:gd name="connsiteY3" fmla="*/ 281093 h 291995"/>
                <a:gd name="connsiteX4" fmla="*/ -2754 w 296137"/>
                <a:gd name="connsiteY4" fmla="*/ 235894 h 291995"/>
                <a:gd name="connsiteX5" fmla="*/ 4333 w 296137"/>
                <a:gd name="connsiteY5" fmla="*/ 209897 h 291995"/>
                <a:gd name="connsiteX6" fmla="*/ 15700 w 296137"/>
                <a:gd name="connsiteY6" fmla="*/ 204906 h 291995"/>
                <a:gd name="connsiteX7" fmla="*/ 121224 w 296137"/>
                <a:gd name="connsiteY7" fmla="*/ 212081 h 291995"/>
                <a:gd name="connsiteX8" fmla="*/ 137949 w 296137"/>
                <a:gd name="connsiteY8" fmla="*/ 209427 h 291995"/>
                <a:gd name="connsiteX9" fmla="*/ 141620 w 296137"/>
                <a:gd name="connsiteY9" fmla="*/ 201858 h 291995"/>
                <a:gd name="connsiteX10" fmla="*/ 146852 w 296137"/>
                <a:gd name="connsiteY10" fmla="*/ 120972 h 291995"/>
                <a:gd name="connsiteX11" fmla="*/ 166270 w 296137"/>
                <a:gd name="connsiteY11" fmla="*/ 80827 h 291995"/>
                <a:gd name="connsiteX12" fmla="*/ 192648 w 296137"/>
                <a:gd name="connsiteY12" fmla="*/ -1887 h 291995"/>
                <a:gd name="connsiteX13" fmla="*/ 292978 w 296137"/>
                <a:gd name="connsiteY13" fmla="*/ 124274 h 291995"/>
                <a:gd name="connsiteX14" fmla="*/ 280367 w 296137"/>
                <a:gd name="connsiteY14" fmla="*/ 225797 h 291995"/>
                <a:gd name="connsiteX15" fmla="*/ 255335 w 296137"/>
                <a:gd name="connsiteY15" fmla="*/ 239590 h 291995"/>
                <a:gd name="connsiteX16" fmla="*/ 249074 w 296137"/>
                <a:gd name="connsiteY16" fmla="*/ 270451 h 29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137" h="291995">
                  <a:moveTo>
                    <a:pt x="249074" y="270451"/>
                  </a:moveTo>
                  <a:cubicBezTo>
                    <a:pt x="239054" y="277512"/>
                    <a:pt x="227179" y="281487"/>
                    <a:pt x="215254" y="284306"/>
                  </a:cubicBezTo>
                  <a:cubicBezTo>
                    <a:pt x="177078" y="293311"/>
                    <a:pt x="136832" y="291228"/>
                    <a:pt x="98656" y="282223"/>
                  </a:cubicBezTo>
                  <a:cubicBezTo>
                    <a:pt x="80368" y="277905"/>
                    <a:pt x="34826" y="272229"/>
                    <a:pt x="18252" y="281093"/>
                  </a:cubicBezTo>
                  <a:cubicBezTo>
                    <a:pt x="9959" y="285525"/>
                    <a:pt x="-506" y="259313"/>
                    <a:pt x="-2754" y="235894"/>
                  </a:cubicBezTo>
                  <a:cubicBezTo>
                    <a:pt x="-3642" y="226572"/>
                    <a:pt x="-2893" y="215853"/>
                    <a:pt x="4333" y="209897"/>
                  </a:cubicBezTo>
                  <a:cubicBezTo>
                    <a:pt x="7534" y="207243"/>
                    <a:pt x="11648" y="205922"/>
                    <a:pt x="15700" y="204906"/>
                  </a:cubicBezTo>
                  <a:cubicBezTo>
                    <a:pt x="50180" y="196270"/>
                    <a:pt x="86184" y="206036"/>
                    <a:pt x="121224" y="212081"/>
                  </a:cubicBezTo>
                  <a:cubicBezTo>
                    <a:pt x="127027" y="213072"/>
                    <a:pt x="133860" y="213669"/>
                    <a:pt x="137949" y="209427"/>
                  </a:cubicBezTo>
                  <a:cubicBezTo>
                    <a:pt x="139905" y="207383"/>
                    <a:pt x="140845" y="204589"/>
                    <a:pt x="141620" y="201858"/>
                  </a:cubicBezTo>
                  <a:cubicBezTo>
                    <a:pt x="147665" y="181056"/>
                    <a:pt x="137518" y="140530"/>
                    <a:pt x="146852" y="120972"/>
                  </a:cubicBezTo>
                  <a:cubicBezTo>
                    <a:pt x="155463" y="102925"/>
                    <a:pt x="162803" y="100525"/>
                    <a:pt x="166270" y="80827"/>
                  </a:cubicBezTo>
                  <a:cubicBezTo>
                    <a:pt x="168061" y="70540"/>
                    <a:pt x="192648" y="-1887"/>
                    <a:pt x="192648" y="-1887"/>
                  </a:cubicBezTo>
                  <a:cubicBezTo>
                    <a:pt x="192648" y="-1887"/>
                    <a:pt x="296889" y="98201"/>
                    <a:pt x="292978" y="124274"/>
                  </a:cubicBezTo>
                  <a:cubicBezTo>
                    <a:pt x="292978" y="124274"/>
                    <a:pt x="289740" y="206887"/>
                    <a:pt x="280367" y="225797"/>
                  </a:cubicBezTo>
                  <a:cubicBezTo>
                    <a:pt x="277916" y="230738"/>
                    <a:pt x="255335" y="239590"/>
                    <a:pt x="255335" y="239590"/>
                  </a:cubicBezTo>
                  <a:cubicBezTo>
                    <a:pt x="255335" y="239590"/>
                    <a:pt x="257113" y="264786"/>
                    <a:pt x="249074" y="270451"/>
                  </a:cubicBezTo>
                </a:path>
              </a:pathLst>
            </a:custGeom>
            <a:solidFill>
              <a:srgbClr val="5A341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42C922CC-0779-45C8-AA0D-5EB6EDB5EC9F}"/>
                </a:ext>
              </a:extLst>
            </p:cNvPr>
            <p:cNvSpPr/>
            <p:nvPr/>
          </p:nvSpPr>
          <p:spPr>
            <a:xfrm flipV="1">
              <a:off x="8132540" y="2674271"/>
              <a:ext cx="53423" cy="40830"/>
            </a:xfrm>
            <a:custGeom>
              <a:avLst/>
              <a:gdLst>
                <a:gd name="connsiteX0" fmla="*/ -3066 w 53423"/>
                <a:gd name="connsiteY0" fmla="*/ 11595 h 40830"/>
                <a:gd name="connsiteX1" fmla="*/ 8898 w 53423"/>
                <a:gd name="connsiteY1" fmla="*/ 2857 h 40830"/>
                <a:gd name="connsiteX2" fmla="*/ 50299 w 53423"/>
                <a:gd name="connsiteY2" fmla="*/ -1981 h 40830"/>
                <a:gd name="connsiteX3" fmla="*/ 28456 w 53423"/>
                <a:gd name="connsiteY3" fmla="*/ 8738 h 40830"/>
                <a:gd name="connsiteX4" fmla="*/ 23007 w 53423"/>
                <a:gd name="connsiteY4" fmla="*/ 38849 h 40830"/>
                <a:gd name="connsiteX5" fmla="*/ 10739 w 53423"/>
                <a:gd name="connsiteY5" fmla="*/ 27610 h 40830"/>
                <a:gd name="connsiteX6" fmla="*/ -3066 w 53423"/>
                <a:gd name="connsiteY6" fmla="*/ 11595 h 40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423" h="40830">
                  <a:moveTo>
                    <a:pt x="-3066" y="11595"/>
                  </a:moveTo>
                  <a:cubicBezTo>
                    <a:pt x="-3879" y="4305"/>
                    <a:pt x="4021" y="4051"/>
                    <a:pt x="8898" y="2857"/>
                  </a:cubicBezTo>
                  <a:cubicBezTo>
                    <a:pt x="22448" y="-444"/>
                    <a:pt x="36355" y="-1410"/>
                    <a:pt x="50299" y="-1981"/>
                  </a:cubicBezTo>
                  <a:cubicBezTo>
                    <a:pt x="43416" y="2870"/>
                    <a:pt x="28456" y="8738"/>
                    <a:pt x="28456" y="8738"/>
                  </a:cubicBezTo>
                  <a:cubicBezTo>
                    <a:pt x="28456" y="8738"/>
                    <a:pt x="30081" y="32080"/>
                    <a:pt x="23007" y="38849"/>
                  </a:cubicBezTo>
                  <a:cubicBezTo>
                    <a:pt x="18905" y="35128"/>
                    <a:pt x="14739" y="31458"/>
                    <a:pt x="10739" y="27610"/>
                  </a:cubicBezTo>
                  <a:cubicBezTo>
                    <a:pt x="7323" y="24333"/>
                    <a:pt x="-2545" y="16332"/>
                    <a:pt x="-3066" y="11595"/>
                  </a:cubicBezTo>
                </a:path>
              </a:pathLst>
            </a:custGeom>
            <a:solidFill>
              <a:srgbClr val="36201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191D9350-FAE2-40C5-8FA9-FB716E98756C}"/>
                </a:ext>
              </a:extLst>
            </p:cNvPr>
            <p:cNvSpPr/>
            <p:nvPr/>
          </p:nvSpPr>
          <p:spPr>
            <a:xfrm flipV="1">
              <a:off x="7905733" y="2708497"/>
              <a:ext cx="153986" cy="58064"/>
            </a:xfrm>
            <a:custGeom>
              <a:avLst/>
              <a:gdLst>
                <a:gd name="connsiteX0" fmla="*/ 137998 w 153986"/>
                <a:gd name="connsiteY0" fmla="*/ 30074 h 58064"/>
                <a:gd name="connsiteX1" fmla="*/ 141668 w 153986"/>
                <a:gd name="connsiteY1" fmla="*/ 22504 h 58064"/>
                <a:gd name="connsiteX2" fmla="*/ 143662 w 153986"/>
                <a:gd name="connsiteY2" fmla="*/ -1943 h 58064"/>
                <a:gd name="connsiteX3" fmla="*/ 146304 w 153986"/>
                <a:gd name="connsiteY3" fmla="*/ 11417 h 58064"/>
                <a:gd name="connsiteX4" fmla="*/ 150977 w 153986"/>
                <a:gd name="connsiteY4" fmla="*/ 35204 h 58064"/>
                <a:gd name="connsiteX5" fmla="*/ 136969 w 153986"/>
                <a:gd name="connsiteY5" fmla="*/ 49555 h 58064"/>
                <a:gd name="connsiteX6" fmla="*/ 84810 w 153986"/>
                <a:gd name="connsiteY6" fmla="*/ 49263 h 58064"/>
                <a:gd name="connsiteX7" fmla="*/ 18821 w 153986"/>
                <a:gd name="connsiteY7" fmla="*/ 44310 h 58064"/>
                <a:gd name="connsiteX8" fmla="*/ -2743 w 153986"/>
                <a:gd name="connsiteY8" fmla="*/ 56121 h 58064"/>
                <a:gd name="connsiteX9" fmla="*/ 4381 w 153986"/>
                <a:gd name="connsiteY9" fmla="*/ 30543 h 58064"/>
                <a:gd name="connsiteX10" fmla="*/ 15748 w 153986"/>
                <a:gd name="connsiteY10" fmla="*/ 25552 h 58064"/>
                <a:gd name="connsiteX11" fmla="*/ 121272 w 153986"/>
                <a:gd name="connsiteY11" fmla="*/ 32728 h 58064"/>
                <a:gd name="connsiteX12" fmla="*/ 137998 w 153986"/>
                <a:gd name="connsiteY12" fmla="*/ 30074 h 58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3986" h="58064">
                  <a:moveTo>
                    <a:pt x="137998" y="30074"/>
                  </a:moveTo>
                  <a:cubicBezTo>
                    <a:pt x="139954" y="28029"/>
                    <a:pt x="140893" y="25235"/>
                    <a:pt x="141668" y="22504"/>
                  </a:cubicBezTo>
                  <a:cubicBezTo>
                    <a:pt x="143586" y="15913"/>
                    <a:pt x="143878" y="7328"/>
                    <a:pt x="143662" y="-1943"/>
                  </a:cubicBezTo>
                  <a:cubicBezTo>
                    <a:pt x="144551" y="2502"/>
                    <a:pt x="145427" y="6960"/>
                    <a:pt x="146304" y="11417"/>
                  </a:cubicBezTo>
                  <a:cubicBezTo>
                    <a:pt x="147789" y="18974"/>
                    <a:pt x="150787" y="27521"/>
                    <a:pt x="150977" y="35204"/>
                  </a:cubicBezTo>
                  <a:cubicBezTo>
                    <a:pt x="151206" y="44272"/>
                    <a:pt x="144817" y="46050"/>
                    <a:pt x="136969" y="49555"/>
                  </a:cubicBezTo>
                  <a:cubicBezTo>
                    <a:pt x="120154" y="57074"/>
                    <a:pt x="102158" y="52857"/>
                    <a:pt x="84810" y="49263"/>
                  </a:cubicBezTo>
                  <a:cubicBezTo>
                    <a:pt x="63576" y="44856"/>
                    <a:pt x="40564" y="41465"/>
                    <a:pt x="18821" y="44310"/>
                  </a:cubicBezTo>
                  <a:cubicBezTo>
                    <a:pt x="9245" y="45555"/>
                    <a:pt x="2540" y="49898"/>
                    <a:pt x="-2743" y="56121"/>
                  </a:cubicBezTo>
                  <a:cubicBezTo>
                    <a:pt x="-3569" y="46901"/>
                    <a:pt x="-2743" y="36423"/>
                    <a:pt x="4381" y="30543"/>
                  </a:cubicBezTo>
                  <a:cubicBezTo>
                    <a:pt x="7582" y="27889"/>
                    <a:pt x="11697" y="26568"/>
                    <a:pt x="15748" y="25552"/>
                  </a:cubicBezTo>
                  <a:cubicBezTo>
                    <a:pt x="50228" y="16916"/>
                    <a:pt x="86233" y="26682"/>
                    <a:pt x="121272" y="32728"/>
                  </a:cubicBezTo>
                  <a:cubicBezTo>
                    <a:pt x="127076" y="33718"/>
                    <a:pt x="133908" y="34315"/>
                    <a:pt x="137998" y="30074"/>
                  </a:cubicBezTo>
                </a:path>
              </a:pathLst>
            </a:custGeom>
            <a:solidFill>
              <a:srgbClr val="36201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28278040-8D0C-4D11-A825-06070E94CDD7}"/>
                </a:ext>
              </a:extLst>
            </p:cNvPr>
            <p:cNvSpPr/>
            <p:nvPr/>
          </p:nvSpPr>
          <p:spPr>
            <a:xfrm flipV="1">
              <a:off x="8081544" y="2822581"/>
              <a:ext cx="120230" cy="123278"/>
            </a:xfrm>
            <a:custGeom>
              <a:avLst/>
              <a:gdLst>
                <a:gd name="connsiteX0" fmla="*/ 39573 w 120230"/>
                <a:gd name="connsiteY0" fmla="*/ 90466 h 123278"/>
                <a:gd name="connsiteX1" fmla="*/ -3112 w 120230"/>
                <a:gd name="connsiteY1" fmla="*/ 58487 h 123278"/>
                <a:gd name="connsiteX2" fmla="*/ 16776 w 120230"/>
                <a:gd name="connsiteY2" fmla="*/ -1812 h 123278"/>
                <a:gd name="connsiteX3" fmla="*/ 117119 w 120230"/>
                <a:gd name="connsiteY3" fmla="*/ 121466 h 123278"/>
                <a:gd name="connsiteX4" fmla="*/ 39573 w 120230"/>
                <a:gd name="connsiteY4" fmla="*/ 90466 h 12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230" h="123278">
                  <a:moveTo>
                    <a:pt x="39573" y="90466"/>
                  </a:moveTo>
                  <a:cubicBezTo>
                    <a:pt x="24256" y="81284"/>
                    <a:pt x="10414" y="70095"/>
                    <a:pt x="-3112" y="58487"/>
                  </a:cubicBezTo>
                  <a:cubicBezTo>
                    <a:pt x="4724" y="33659"/>
                    <a:pt x="16776" y="-1812"/>
                    <a:pt x="16776" y="-1812"/>
                  </a:cubicBezTo>
                  <a:cubicBezTo>
                    <a:pt x="16776" y="-1812"/>
                    <a:pt x="114121" y="91672"/>
                    <a:pt x="117119" y="121466"/>
                  </a:cubicBezTo>
                  <a:cubicBezTo>
                    <a:pt x="90741" y="112310"/>
                    <a:pt x="63588" y="104880"/>
                    <a:pt x="39573" y="90466"/>
                  </a:cubicBezTo>
                </a:path>
              </a:pathLst>
            </a:custGeom>
            <a:solidFill>
              <a:srgbClr val="36201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C2B58B61-32D4-4FE9-83E6-0CA9B2111E0A}"/>
                </a:ext>
              </a:extLst>
            </p:cNvPr>
            <p:cNvSpPr/>
            <p:nvPr/>
          </p:nvSpPr>
          <p:spPr>
            <a:xfrm flipV="1">
              <a:off x="8060722" y="2796699"/>
              <a:ext cx="48583" cy="80897"/>
            </a:xfrm>
            <a:custGeom>
              <a:avLst/>
              <a:gdLst>
                <a:gd name="connsiteX0" fmla="*/ -717 w 48583"/>
                <a:gd name="connsiteY0" fmla="*/ 46926 h 80897"/>
                <a:gd name="connsiteX1" fmla="*/ 13622 w 48583"/>
                <a:gd name="connsiteY1" fmla="*/ -1842 h 80897"/>
                <a:gd name="connsiteX2" fmla="*/ 28684 w 48583"/>
                <a:gd name="connsiteY2" fmla="*/ 11709 h 80897"/>
                <a:gd name="connsiteX3" fmla="*/ 41905 w 48583"/>
                <a:gd name="connsiteY3" fmla="*/ 32676 h 80897"/>
                <a:gd name="connsiteX4" fmla="*/ 33497 w 48583"/>
                <a:gd name="connsiteY4" fmla="*/ 78383 h 80897"/>
                <a:gd name="connsiteX5" fmla="*/ -717 w 48583"/>
                <a:gd name="connsiteY5" fmla="*/ 46926 h 8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83" h="80897">
                  <a:moveTo>
                    <a:pt x="-717" y="46926"/>
                  </a:moveTo>
                  <a:cubicBezTo>
                    <a:pt x="-7841" y="25615"/>
                    <a:pt x="2421" y="-2515"/>
                    <a:pt x="13622" y="-1842"/>
                  </a:cubicBezTo>
                  <a:cubicBezTo>
                    <a:pt x="20162" y="-1449"/>
                    <a:pt x="22220" y="5333"/>
                    <a:pt x="28684" y="11709"/>
                  </a:cubicBezTo>
                  <a:cubicBezTo>
                    <a:pt x="34463" y="17411"/>
                    <a:pt x="38539" y="22618"/>
                    <a:pt x="41905" y="32676"/>
                  </a:cubicBezTo>
                  <a:cubicBezTo>
                    <a:pt x="49029" y="53987"/>
                    <a:pt x="45270" y="74459"/>
                    <a:pt x="33497" y="78383"/>
                  </a:cubicBezTo>
                  <a:cubicBezTo>
                    <a:pt x="21737" y="82320"/>
                    <a:pt x="6421" y="68236"/>
                    <a:pt x="-717" y="46926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1D1E701D-B6E1-411B-BED5-D72F30EF9E4D}"/>
                </a:ext>
              </a:extLst>
            </p:cNvPr>
            <p:cNvSpPr/>
            <p:nvPr/>
          </p:nvSpPr>
          <p:spPr>
            <a:xfrm flipV="1">
              <a:off x="8073886" y="2807546"/>
              <a:ext cx="27304" cy="50810"/>
            </a:xfrm>
            <a:custGeom>
              <a:avLst/>
              <a:gdLst>
                <a:gd name="connsiteX0" fmla="*/ 21906 w 27304"/>
                <a:gd name="connsiteY0" fmla="*/ 44776 h 50810"/>
                <a:gd name="connsiteX1" fmla="*/ 17004 w 27304"/>
                <a:gd name="connsiteY1" fmla="*/ 47989 h 50810"/>
                <a:gd name="connsiteX2" fmla="*/ 10641 w 27304"/>
                <a:gd name="connsiteY2" fmla="*/ 48917 h 50810"/>
                <a:gd name="connsiteX3" fmla="*/ 4088 w 27304"/>
                <a:gd name="connsiteY3" fmla="*/ 46859 h 50810"/>
                <a:gd name="connsiteX4" fmla="*/ -2199 w 27304"/>
                <a:gd name="connsiteY4" fmla="*/ 36420 h 50810"/>
                <a:gd name="connsiteX5" fmla="*/ -865 w 27304"/>
                <a:gd name="connsiteY5" fmla="*/ 30425 h 50810"/>
                <a:gd name="connsiteX6" fmla="*/ 2411 w 27304"/>
                <a:gd name="connsiteY6" fmla="*/ 25955 h 50810"/>
                <a:gd name="connsiteX7" fmla="*/ 3174 w 27304"/>
                <a:gd name="connsiteY7" fmla="*/ 25130 h 50810"/>
                <a:gd name="connsiteX8" fmla="*/ 5167 w 27304"/>
                <a:gd name="connsiteY8" fmla="*/ 22805 h 50810"/>
                <a:gd name="connsiteX9" fmla="*/ 6412 w 27304"/>
                <a:gd name="connsiteY9" fmla="*/ 20024 h 50810"/>
                <a:gd name="connsiteX10" fmla="*/ 4634 w 27304"/>
                <a:gd name="connsiteY10" fmla="*/ 13839 h 50810"/>
                <a:gd name="connsiteX11" fmla="*/ 4304 w 27304"/>
                <a:gd name="connsiteY11" fmla="*/ 13458 h 50810"/>
                <a:gd name="connsiteX12" fmla="*/ 4088 w 27304"/>
                <a:gd name="connsiteY12" fmla="*/ 13230 h 50810"/>
                <a:gd name="connsiteX13" fmla="*/ 3809 w 27304"/>
                <a:gd name="connsiteY13" fmla="*/ 12988 h 50810"/>
                <a:gd name="connsiteX14" fmla="*/ 3402 w 27304"/>
                <a:gd name="connsiteY14" fmla="*/ 12658 h 50810"/>
                <a:gd name="connsiteX15" fmla="*/ 3123 w 27304"/>
                <a:gd name="connsiteY15" fmla="*/ 12455 h 50810"/>
                <a:gd name="connsiteX16" fmla="*/ 2602 w 27304"/>
                <a:gd name="connsiteY16" fmla="*/ 12125 h 50810"/>
                <a:gd name="connsiteX17" fmla="*/ 2259 w 27304"/>
                <a:gd name="connsiteY17" fmla="*/ 11922 h 50810"/>
                <a:gd name="connsiteX18" fmla="*/ 1522 w 27304"/>
                <a:gd name="connsiteY18" fmla="*/ 11490 h 50810"/>
                <a:gd name="connsiteX19" fmla="*/ -802 w 27304"/>
                <a:gd name="connsiteY19" fmla="*/ 9039 h 50810"/>
                <a:gd name="connsiteX20" fmla="*/ -1297 w 27304"/>
                <a:gd name="connsiteY20" fmla="*/ 6219 h 50810"/>
                <a:gd name="connsiteX21" fmla="*/ -1018 w 27304"/>
                <a:gd name="connsiteY21" fmla="*/ 4124 h 50810"/>
                <a:gd name="connsiteX22" fmla="*/ -840 w 27304"/>
                <a:gd name="connsiteY22" fmla="*/ 1952 h 50810"/>
                <a:gd name="connsiteX23" fmla="*/ -1297 w 27304"/>
                <a:gd name="connsiteY23" fmla="*/ 187 h 50810"/>
                <a:gd name="connsiteX24" fmla="*/ -2643 w 27304"/>
                <a:gd name="connsiteY24" fmla="*/ -829 h 50810"/>
                <a:gd name="connsiteX25" fmla="*/ -3075 w 27304"/>
                <a:gd name="connsiteY25" fmla="*/ -1401 h 50810"/>
                <a:gd name="connsiteX26" fmla="*/ -2491 w 27304"/>
                <a:gd name="connsiteY26" fmla="*/ -1858 h 50810"/>
                <a:gd name="connsiteX27" fmla="*/ -1018 w 27304"/>
                <a:gd name="connsiteY27" fmla="*/ -1566 h 50810"/>
                <a:gd name="connsiteX28" fmla="*/ 189 w 27304"/>
                <a:gd name="connsiteY28" fmla="*/ -702 h 50810"/>
                <a:gd name="connsiteX29" fmla="*/ 1497 w 27304"/>
                <a:gd name="connsiteY29" fmla="*/ 1571 h 50810"/>
                <a:gd name="connsiteX30" fmla="*/ 1891 w 27304"/>
                <a:gd name="connsiteY30" fmla="*/ 3997 h 50810"/>
                <a:gd name="connsiteX31" fmla="*/ 2119 w 27304"/>
                <a:gd name="connsiteY31" fmla="*/ 6029 h 50810"/>
                <a:gd name="connsiteX32" fmla="*/ 2665 w 27304"/>
                <a:gd name="connsiteY32" fmla="*/ 7426 h 50810"/>
                <a:gd name="connsiteX33" fmla="*/ 3681 w 27304"/>
                <a:gd name="connsiteY33" fmla="*/ 8099 h 50810"/>
                <a:gd name="connsiteX34" fmla="*/ 4101 w 27304"/>
                <a:gd name="connsiteY34" fmla="*/ 8251 h 50810"/>
                <a:gd name="connsiteX35" fmla="*/ 6031 w 27304"/>
                <a:gd name="connsiteY35" fmla="*/ 9064 h 50810"/>
                <a:gd name="connsiteX36" fmla="*/ 6984 w 27304"/>
                <a:gd name="connsiteY36" fmla="*/ 9585 h 50810"/>
                <a:gd name="connsiteX37" fmla="*/ 7682 w 27304"/>
                <a:gd name="connsiteY37" fmla="*/ 10055 h 50810"/>
                <a:gd name="connsiteX38" fmla="*/ 8495 w 27304"/>
                <a:gd name="connsiteY38" fmla="*/ 10664 h 50810"/>
                <a:gd name="connsiteX39" fmla="*/ 11898 w 27304"/>
                <a:gd name="connsiteY39" fmla="*/ 15084 h 50810"/>
                <a:gd name="connsiteX40" fmla="*/ 13016 w 27304"/>
                <a:gd name="connsiteY40" fmla="*/ 20494 h 50810"/>
                <a:gd name="connsiteX41" fmla="*/ 11390 w 27304"/>
                <a:gd name="connsiteY41" fmla="*/ 25993 h 50810"/>
                <a:gd name="connsiteX42" fmla="*/ 9257 w 27304"/>
                <a:gd name="connsiteY42" fmla="*/ 29130 h 50810"/>
                <a:gd name="connsiteX43" fmla="*/ 8609 w 27304"/>
                <a:gd name="connsiteY43" fmla="*/ 30019 h 50810"/>
                <a:gd name="connsiteX44" fmla="*/ 7009 w 27304"/>
                <a:gd name="connsiteY44" fmla="*/ 33016 h 50810"/>
                <a:gd name="connsiteX45" fmla="*/ 7047 w 27304"/>
                <a:gd name="connsiteY45" fmla="*/ 35607 h 50810"/>
                <a:gd name="connsiteX46" fmla="*/ 9828 w 27304"/>
                <a:gd name="connsiteY46" fmla="*/ 40293 h 50810"/>
                <a:gd name="connsiteX47" fmla="*/ 23290 w 27304"/>
                <a:gd name="connsiteY47" fmla="*/ 39608 h 50810"/>
                <a:gd name="connsiteX48" fmla="*/ 23925 w 27304"/>
                <a:gd name="connsiteY48" fmla="*/ 39544 h 50810"/>
                <a:gd name="connsiteX49" fmla="*/ 24230 w 27304"/>
                <a:gd name="connsiteY49" fmla="*/ 40052 h 50810"/>
                <a:gd name="connsiteX50" fmla="*/ 21906 w 27304"/>
                <a:gd name="connsiteY50" fmla="*/ 44776 h 5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7304" h="50810">
                  <a:moveTo>
                    <a:pt x="21906" y="44776"/>
                  </a:moveTo>
                  <a:cubicBezTo>
                    <a:pt x="20636" y="46135"/>
                    <a:pt x="18934" y="47253"/>
                    <a:pt x="17004" y="47989"/>
                  </a:cubicBezTo>
                  <a:cubicBezTo>
                    <a:pt x="15010" y="48739"/>
                    <a:pt x="12813" y="49069"/>
                    <a:pt x="10641" y="48917"/>
                  </a:cubicBezTo>
                  <a:cubicBezTo>
                    <a:pt x="8355" y="48777"/>
                    <a:pt x="6031" y="48053"/>
                    <a:pt x="4088" y="46859"/>
                  </a:cubicBezTo>
                  <a:cubicBezTo>
                    <a:pt x="303" y="44535"/>
                    <a:pt x="-2046" y="40624"/>
                    <a:pt x="-2199" y="36420"/>
                  </a:cubicBezTo>
                  <a:cubicBezTo>
                    <a:pt x="-2249" y="34324"/>
                    <a:pt x="-1792" y="32254"/>
                    <a:pt x="-865" y="30425"/>
                  </a:cubicBezTo>
                  <a:cubicBezTo>
                    <a:pt x="75" y="28533"/>
                    <a:pt x="1307" y="27162"/>
                    <a:pt x="2411" y="25955"/>
                  </a:cubicBezTo>
                  <a:lnTo>
                    <a:pt x="3174" y="25130"/>
                  </a:lnTo>
                  <a:lnTo>
                    <a:pt x="5167" y="22805"/>
                  </a:lnTo>
                  <a:lnTo>
                    <a:pt x="6412" y="20024"/>
                  </a:lnTo>
                  <a:cubicBezTo>
                    <a:pt x="6793" y="17954"/>
                    <a:pt x="6107" y="15579"/>
                    <a:pt x="4634" y="13839"/>
                  </a:cubicBezTo>
                  <a:lnTo>
                    <a:pt x="4304" y="13458"/>
                  </a:lnTo>
                  <a:lnTo>
                    <a:pt x="4088" y="13230"/>
                  </a:lnTo>
                  <a:lnTo>
                    <a:pt x="3809" y="12988"/>
                  </a:lnTo>
                  <a:lnTo>
                    <a:pt x="3402" y="12658"/>
                  </a:lnTo>
                  <a:lnTo>
                    <a:pt x="3123" y="12455"/>
                  </a:lnTo>
                  <a:lnTo>
                    <a:pt x="2602" y="12125"/>
                  </a:lnTo>
                  <a:lnTo>
                    <a:pt x="2259" y="11922"/>
                  </a:lnTo>
                  <a:lnTo>
                    <a:pt x="1522" y="11490"/>
                  </a:lnTo>
                  <a:lnTo>
                    <a:pt x="-802" y="9039"/>
                  </a:lnTo>
                  <a:lnTo>
                    <a:pt x="-1297" y="6219"/>
                  </a:lnTo>
                  <a:lnTo>
                    <a:pt x="-1018" y="4124"/>
                  </a:lnTo>
                  <a:lnTo>
                    <a:pt x="-840" y="1952"/>
                  </a:lnTo>
                  <a:lnTo>
                    <a:pt x="-1297" y="187"/>
                  </a:lnTo>
                  <a:lnTo>
                    <a:pt x="-2643" y="-829"/>
                  </a:lnTo>
                  <a:lnTo>
                    <a:pt x="-3075" y="-1401"/>
                  </a:lnTo>
                  <a:lnTo>
                    <a:pt x="-2491" y="-1858"/>
                  </a:lnTo>
                  <a:lnTo>
                    <a:pt x="-1018" y="-1566"/>
                  </a:lnTo>
                  <a:lnTo>
                    <a:pt x="189" y="-702"/>
                  </a:lnTo>
                  <a:lnTo>
                    <a:pt x="1497" y="1571"/>
                  </a:lnTo>
                  <a:lnTo>
                    <a:pt x="1891" y="3997"/>
                  </a:lnTo>
                  <a:lnTo>
                    <a:pt x="2119" y="6029"/>
                  </a:lnTo>
                  <a:lnTo>
                    <a:pt x="2665" y="7426"/>
                  </a:lnTo>
                  <a:lnTo>
                    <a:pt x="3681" y="8099"/>
                  </a:lnTo>
                  <a:lnTo>
                    <a:pt x="4101" y="8251"/>
                  </a:lnTo>
                  <a:lnTo>
                    <a:pt x="6031" y="9064"/>
                  </a:lnTo>
                  <a:lnTo>
                    <a:pt x="6984" y="9585"/>
                  </a:lnTo>
                  <a:lnTo>
                    <a:pt x="7682" y="10055"/>
                  </a:lnTo>
                  <a:lnTo>
                    <a:pt x="8495" y="10664"/>
                  </a:lnTo>
                  <a:cubicBezTo>
                    <a:pt x="9930" y="11896"/>
                    <a:pt x="11086" y="13382"/>
                    <a:pt x="11898" y="15084"/>
                  </a:cubicBezTo>
                  <a:cubicBezTo>
                    <a:pt x="12686" y="16798"/>
                    <a:pt x="13067" y="18614"/>
                    <a:pt x="13016" y="20494"/>
                  </a:cubicBezTo>
                  <a:cubicBezTo>
                    <a:pt x="12991" y="22259"/>
                    <a:pt x="12394" y="24266"/>
                    <a:pt x="11390" y="25993"/>
                  </a:cubicBezTo>
                  <a:cubicBezTo>
                    <a:pt x="10717" y="27187"/>
                    <a:pt x="9942" y="28216"/>
                    <a:pt x="9257" y="29130"/>
                  </a:cubicBezTo>
                  <a:lnTo>
                    <a:pt x="8609" y="30019"/>
                  </a:lnTo>
                  <a:lnTo>
                    <a:pt x="7009" y="33016"/>
                  </a:lnTo>
                  <a:lnTo>
                    <a:pt x="7047" y="35607"/>
                  </a:lnTo>
                  <a:cubicBezTo>
                    <a:pt x="7504" y="37360"/>
                    <a:pt x="8482" y="39023"/>
                    <a:pt x="9828" y="40293"/>
                  </a:cubicBezTo>
                  <a:cubicBezTo>
                    <a:pt x="12038" y="42478"/>
                    <a:pt x="18096" y="43481"/>
                    <a:pt x="23290" y="39608"/>
                  </a:cubicBezTo>
                  <a:lnTo>
                    <a:pt x="23925" y="39544"/>
                  </a:lnTo>
                  <a:lnTo>
                    <a:pt x="24230" y="40052"/>
                  </a:lnTo>
                  <a:cubicBezTo>
                    <a:pt x="24078" y="41627"/>
                    <a:pt x="23290" y="43252"/>
                    <a:pt x="21906" y="44776"/>
                  </a:cubicBezTo>
                </a:path>
              </a:pathLst>
            </a:custGeom>
            <a:solidFill>
              <a:srgbClr val="AC5435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2FAC15C7-F116-4696-ADC2-4AD021A53D69}"/>
                </a:ext>
              </a:extLst>
            </p:cNvPr>
            <p:cNvSpPr/>
            <p:nvPr/>
          </p:nvSpPr>
          <p:spPr>
            <a:xfrm flipV="1">
              <a:off x="7961441" y="2991249"/>
              <a:ext cx="196696" cy="107873"/>
            </a:xfrm>
            <a:custGeom>
              <a:avLst/>
              <a:gdLst>
                <a:gd name="connsiteX0" fmla="*/ 192180 w 196696"/>
                <a:gd name="connsiteY0" fmla="*/ 89276 h 107873"/>
                <a:gd name="connsiteX1" fmla="*/ 130294 w 196696"/>
                <a:gd name="connsiteY1" fmla="*/ 104198 h 107873"/>
                <a:gd name="connsiteX2" fmla="*/ 10152 w 196696"/>
                <a:gd name="connsiteY2" fmla="*/ 106205 h 107873"/>
                <a:gd name="connsiteX3" fmla="*/ -3056 w 196696"/>
                <a:gd name="connsiteY3" fmla="*/ 46972 h 107873"/>
                <a:gd name="connsiteX4" fmla="*/ 193641 w 196696"/>
                <a:gd name="connsiteY4" fmla="*/ -1669 h 107873"/>
                <a:gd name="connsiteX5" fmla="*/ 192180 w 196696"/>
                <a:gd name="connsiteY5" fmla="*/ 89276 h 107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696" h="107873">
                  <a:moveTo>
                    <a:pt x="192180" y="89276"/>
                  </a:moveTo>
                  <a:lnTo>
                    <a:pt x="130294" y="104198"/>
                  </a:lnTo>
                  <a:lnTo>
                    <a:pt x="10152" y="106205"/>
                  </a:lnTo>
                  <a:lnTo>
                    <a:pt x="-3056" y="46972"/>
                  </a:lnTo>
                  <a:lnTo>
                    <a:pt x="193641" y="-1669"/>
                  </a:lnTo>
                  <a:lnTo>
                    <a:pt x="192180" y="89276"/>
                  </a:ln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15693A12-CE78-4B61-86A1-DD212A11F387}"/>
                </a:ext>
              </a:extLst>
            </p:cNvPr>
            <p:cNvSpPr/>
            <p:nvPr/>
          </p:nvSpPr>
          <p:spPr>
            <a:xfrm flipV="1">
              <a:off x="7230215" y="3564092"/>
              <a:ext cx="925333" cy="728538"/>
            </a:xfrm>
            <a:custGeom>
              <a:avLst/>
              <a:gdLst>
                <a:gd name="connsiteX0" fmla="*/ 148362 w 925333"/>
                <a:gd name="connsiteY0" fmla="*/ 92339 h 728538"/>
                <a:gd name="connsiteX1" fmla="*/ 182931 w 925333"/>
                <a:gd name="connsiteY1" fmla="*/ 716632 h 728538"/>
                <a:gd name="connsiteX2" fmla="*/ 744879 w 925333"/>
                <a:gd name="connsiteY2" fmla="*/ 678825 h 728538"/>
                <a:gd name="connsiteX3" fmla="*/ 922285 w 925333"/>
                <a:gd name="connsiteY3" fmla="*/ 531162 h 728538"/>
                <a:gd name="connsiteX4" fmla="*/ 609625 w 925333"/>
                <a:gd name="connsiteY4" fmla="*/ 550733 h 728538"/>
                <a:gd name="connsiteX5" fmla="*/ 316065 w 925333"/>
                <a:gd name="connsiteY5" fmla="*/ 569719 h 728538"/>
                <a:gd name="connsiteX6" fmla="*/ 238913 w 925333"/>
                <a:gd name="connsiteY6" fmla="*/ 24736 h 728538"/>
                <a:gd name="connsiteX7" fmla="*/ -2806 w 925333"/>
                <a:gd name="connsiteY7" fmla="*/ 19696 h 728538"/>
                <a:gd name="connsiteX8" fmla="*/ 148362 w 925333"/>
                <a:gd name="connsiteY8" fmla="*/ 92339 h 72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5333" h="728538">
                  <a:moveTo>
                    <a:pt x="148362" y="92339"/>
                  </a:moveTo>
                  <a:cubicBezTo>
                    <a:pt x="177572" y="122288"/>
                    <a:pt x="147714" y="693798"/>
                    <a:pt x="182931" y="716632"/>
                  </a:cubicBezTo>
                  <a:cubicBezTo>
                    <a:pt x="218161" y="739454"/>
                    <a:pt x="647572" y="726843"/>
                    <a:pt x="744879" y="678825"/>
                  </a:cubicBezTo>
                  <a:cubicBezTo>
                    <a:pt x="734884" y="649526"/>
                    <a:pt x="930350" y="561134"/>
                    <a:pt x="922285" y="531162"/>
                  </a:cubicBezTo>
                  <a:cubicBezTo>
                    <a:pt x="915186" y="504797"/>
                    <a:pt x="760830" y="527771"/>
                    <a:pt x="609625" y="550733"/>
                  </a:cubicBezTo>
                  <a:cubicBezTo>
                    <a:pt x="457276" y="573885"/>
                    <a:pt x="308140" y="597024"/>
                    <a:pt x="316065" y="569719"/>
                  </a:cubicBezTo>
                  <a:cubicBezTo>
                    <a:pt x="287553" y="414526"/>
                    <a:pt x="238913" y="24736"/>
                    <a:pt x="238913" y="24736"/>
                  </a:cubicBezTo>
                  <a:cubicBezTo>
                    <a:pt x="238913" y="24736"/>
                    <a:pt x="24905" y="-29378"/>
                    <a:pt x="-2806" y="19696"/>
                  </a:cubicBezTo>
                  <a:cubicBezTo>
                    <a:pt x="2096" y="27509"/>
                    <a:pt x="119152" y="62380"/>
                    <a:pt x="148362" y="92339"/>
                  </a:cubicBezTo>
                </a:path>
              </a:pathLst>
            </a:custGeom>
            <a:solidFill>
              <a:srgbClr val="15212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41E00E5F-18BF-4EF9-9A7F-F1533BC8912A}"/>
                </a:ext>
              </a:extLst>
            </p:cNvPr>
            <p:cNvSpPr/>
            <p:nvPr/>
          </p:nvSpPr>
          <p:spPr>
            <a:xfrm flipV="1">
              <a:off x="7919137" y="3035674"/>
              <a:ext cx="302475" cy="702219"/>
            </a:xfrm>
            <a:custGeom>
              <a:avLst/>
              <a:gdLst>
                <a:gd name="connsiteX0" fmla="*/ 7516 w 302475"/>
                <a:gd name="connsiteY0" fmla="*/ 683939 h 702219"/>
                <a:gd name="connsiteX1" fmla="*/ 155572 w 302475"/>
                <a:gd name="connsiteY1" fmla="*/ 700856 h 702219"/>
                <a:gd name="connsiteX2" fmla="*/ 252866 w 302475"/>
                <a:gd name="connsiteY2" fmla="*/ 677589 h 702219"/>
                <a:gd name="connsiteX3" fmla="*/ 276145 w 302475"/>
                <a:gd name="connsiteY3" fmla="*/ 633178 h 702219"/>
                <a:gd name="connsiteX4" fmla="*/ 299412 w 302475"/>
                <a:gd name="connsiteY4" fmla="*/ -1364 h 702219"/>
                <a:gd name="connsiteX5" fmla="*/ 30782 w 302475"/>
                <a:gd name="connsiteY5" fmla="*/ 43061 h 702219"/>
                <a:gd name="connsiteX6" fmla="*/ -3063 w 302475"/>
                <a:gd name="connsiteY6" fmla="*/ 138234 h 702219"/>
                <a:gd name="connsiteX7" fmla="*/ 70965 w 302475"/>
                <a:gd name="connsiteY7" fmla="*/ 347631 h 702219"/>
                <a:gd name="connsiteX8" fmla="*/ 7516 w 302475"/>
                <a:gd name="connsiteY8" fmla="*/ 683939 h 70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2475" h="702219">
                  <a:moveTo>
                    <a:pt x="7516" y="683939"/>
                  </a:moveTo>
                  <a:cubicBezTo>
                    <a:pt x="7516" y="683939"/>
                    <a:pt x="94244" y="700856"/>
                    <a:pt x="155572" y="700856"/>
                  </a:cubicBezTo>
                  <a:cubicBezTo>
                    <a:pt x="216900" y="700856"/>
                    <a:pt x="252866" y="677589"/>
                    <a:pt x="252866" y="677589"/>
                  </a:cubicBezTo>
                  <a:lnTo>
                    <a:pt x="276145" y="633178"/>
                  </a:lnTo>
                  <a:lnTo>
                    <a:pt x="299412" y="-1364"/>
                  </a:lnTo>
                  <a:lnTo>
                    <a:pt x="30782" y="43061"/>
                  </a:lnTo>
                  <a:lnTo>
                    <a:pt x="-3063" y="138234"/>
                  </a:lnTo>
                  <a:lnTo>
                    <a:pt x="70965" y="347631"/>
                  </a:lnTo>
                  <a:lnTo>
                    <a:pt x="7516" y="683939"/>
                  </a:ln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634567B4-45AB-4ABA-BBD2-938ED5009C04}"/>
                </a:ext>
              </a:extLst>
            </p:cNvPr>
            <p:cNvSpPr/>
            <p:nvPr/>
          </p:nvSpPr>
          <p:spPr>
            <a:xfrm flipV="1">
              <a:off x="7928307" y="3051193"/>
              <a:ext cx="195573" cy="521181"/>
            </a:xfrm>
            <a:custGeom>
              <a:avLst/>
              <a:gdLst>
                <a:gd name="connsiteX0" fmla="*/ 75834 w 195573"/>
                <a:gd name="connsiteY0" fmla="*/ 22268 h 521181"/>
                <a:gd name="connsiteX1" fmla="*/ 163057 w 195573"/>
                <a:gd name="connsiteY1" fmla="*/ 58615 h 521181"/>
                <a:gd name="connsiteX2" fmla="*/ 190083 w 195573"/>
                <a:gd name="connsiteY2" fmla="*/ 120819 h 521181"/>
                <a:gd name="connsiteX3" fmla="*/ 166448 w 195573"/>
                <a:gd name="connsiteY3" fmla="*/ 276203 h 521181"/>
                <a:gd name="connsiteX4" fmla="*/ 87149 w 195573"/>
                <a:gd name="connsiteY4" fmla="*/ 425758 h 521181"/>
                <a:gd name="connsiteX5" fmla="*/ 5882 w 195573"/>
                <a:gd name="connsiteY5" fmla="*/ 519751 h 521181"/>
                <a:gd name="connsiteX6" fmla="*/ -1624 w 195573"/>
                <a:gd name="connsiteY6" fmla="*/ 518354 h 521181"/>
                <a:gd name="connsiteX7" fmla="*/ 61826 w 195573"/>
                <a:gd name="connsiteY7" fmla="*/ 182046 h 521181"/>
                <a:gd name="connsiteX8" fmla="*/ -3033 w 195573"/>
                <a:gd name="connsiteY8" fmla="*/ -1431 h 521181"/>
                <a:gd name="connsiteX9" fmla="*/ 75834 w 195573"/>
                <a:gd name="connsiteY9" fmla="*/ 22268 h 52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573" h="521181">
                  <a:moveTo>
                    <a:pt x="75834" y="22268"/>
                  </a:moveTo>
                  <a:cubicBezTo>
                    <a:pt x="105082" y="30992"/>
                    <a:pt x="140311" y="36504"/>
                    <a:pt x="163057" y="58615"/>
                  </a:cubicBezTo>
                  <a:cubicBezTo>
                    <a:pt x="179173" y="74274"/>
                    <a:pt x="186641" y="99191"/>
                    <a:pt x="190083" y="120819"/>
                  </a:cubicBezTo>
                  <a:cubicBezTo>
                    <a:pt x="198350" y="173003"/>
                    <a:pt x="184571" y="227512"/>
                    <a:pt x="166448" y="276203"/>
                  </a:cubicBezTo>
                  <a:cubicBezTo>
                    <a:pt x="146725" y="329124"/>
                    <a:pt x="119293" y="379378"/>
                    <a:pt x="87149" y="425758"/>
                  </a:cubicBezTo>
                  <a:cubicBezTo>
                    <a:pt x="63845" y="459375"/>
                    <a:pt x="37480" y="493043"/>
                    <a:pt x="5882" y="519751"/>
                  </a:cubicBezTo>
                  <a:cubicBezTo>
                    <a:pt x="1120" y="518887"/>
                    <a:pt x="-1624" y="518354"/>
                    <a:pt x="-1624" y="518354"/>
                  </a:cubicBezTo>
                  <a:lnTo>
                    <a:pt x="61826" y="182046"/>
                  </a:lnTo>
                  <a:lnTo>
                    <a:pt x="-3033" y="-1431"/>
                  </a:lnTo>
                  <a:cubicBezTo>
                    <a:pt x="23243" y="6418"/>
                    <a:pt x="49506" y="14419"/>
                    <a:pt x="75834" y="22268"/>
                  </a:cubicBez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11CF35E9-3C03-490E-909E-2C3483788EDB}"/>
                </a:ext>
              </a:extLst>
            </p:cNvPr>
            <p:cNvSpPr/>
            <p:nvPr/>
          </p:nvSpPr>
          <p:spPr>
            <a:xfrm flipV="1">
              <a:off x="7642176" y="4221661"/>
              <a:ext cx="776971" cy="118060"/>
            </a:xfrm>
            <a:custGeom>
              <a:avLst/>
              <a:gdLst>
                <a:gd name="connsiteX0" fmla="*/ 385443 w 776971"/>
                <a:gd name="connsiteY0" fmla="*/ -566 h 118060"/>
                <a:gd name="connsiteX1" fmla="*/ -3036 w 776971"/>
                <a:gd name="connsiteY1" fmla="*/ 58455 h 118060"/>
                <a:gd name="connsiteX2" fmla="*/ 269861 w 776971"/>
                <a:gd name="connsiteY2" fmla="*/ 114841 h 118060"/>
                <a:gd name="connsiteX3" fmla="*/ 278217 w 776971"/>
                <a:gd name="connsiteY3" fmla="*/ 112936 h 118060"/>
                <a:gd name="connsiteX4" fmla="*/ 288022 w 776971"/>
                <a:gd name="connsiteY4" fmla="*/ 115615 h 118060"/>
                <a:gd name="connsiteX5" fmla="*/ 385443 w 776971"/>
                <a:gd name="connsiteY5" fmla="*/ 117494 h 118060"/>
                <a:gd name="connsiteX6" fmla="*/ 469644 w 776971"/>
                <a:gd name="connsiteY6" fmla="*/ 116101 h 118060"/>
                <a:gd name="connsiteX7" fmla="*/ 481353 w 776971"/>
                <a:gd name="connsiteY7" fmla="*/ 112112 h 118060"/>
                <a:gd name="connsiteX8" fmla="*/ 491881 w 776971"/>
                <a:gd name="connsiteY8" fmla="*/ 115248 h 118060"/>
                <a:gd name="connsiteX9" fmla="*/ 773935 w 776971"/>
                <a:gd name="connsiteY9" fmla="*/ 58455 h 118060"/>
                <a:gd name="connsiteX10" fmla="*/ 385443 w 776971"/>
                <a:gd name="connsiteY10" fmla="*/ -566 h 118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6971" h="118060">
                  <a:moveTo>
                    <a:pt x="385443" y="-566"/>
                  </a:moveTo>
                  <a:cubicBezTo>
                    <a:pt x="170890" y="-566"/>
                    <a:pt x="-3036" y="25866"/>
                    <a:pt x="-3036" y="58455"/>
                  </a:cubicBezTo>
                  <a:cubicBezTo>
                    <a:pt x="-3036" y="84945"/>
                    <a:pt x="111759" y="107360"/>
                    <a:pt x="269861" y="114841"/>
                  </a:cubicBezTo>
                  <a:cubicBezTo>
                    <a:pt x="272490" y="113571"/>
                    <a:pt x="275347" y="112936"/>
                    <a:pt x="278217" y="112936"/>
                  </a:cubicBezTo>
                  <a:cubicBezTo>
                    <a:pt x="281596" y="112936"/>
                    <a:pt x="284986" y="113824"/>
                    <a:pt x="288022" y="115615"/>
                  </a:cubicBezTo>
                  <a:cubicBezTo>
                    <a:pt x="319149" y="116850"/>
                    <a:pt x="351801" y="117494"/>
                    <a:pt x="385443" y="117494"/>
                  </a:cubicBezTo>
                  <a:cubicBezTo>
                    <a:pt x="414361" y="117494"/>
                    <a:pt x="442530" y="117013"/>
                    <a:pt x="469644" y="116101"/>
                  </a:cubicBezTo>
                  <a:cubicBezTo>
                    <a:pt x="473098" y="113431"/>
                    <a:pt x="477238" y="112112"/>
                    <a:pt x="481353" y="112112"/>
                  </a:cubicBezTo>
                  <a:cubicBezTo>
                    <a:pt x="485036" y="112112"/>
                    <a:pt x="488706" y="113163"/>
                    <a:pt x="491881" y="115248"/>
                  </a:cubicBezTo>
                  <a:cubicBezTo>
                    <a:pt x="654695" y="108223"/>
                    <a:pt x="773935" y="85452"/>
                    <a:pt x="773935" y="58455"/>
                  </a:cubicBezTo>
                  <a:cubicBezTo>
                    <a:pt x="773935" y="25866"/>
                    <a:pt x="600009" y="-566"/>
                    <a:pt x="385443" y="-566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9C7A6FB8-FA94-459C-8D04-2BF673C62C98}"/>
                </a:ext>
              </a:extLst>
            </p:cNvPr>
            <p:cNvSpPr/>
            <p:nvPr/>
          </p:nvSpPr>
          <p:spPr>
            <a:xfrm flipV="1">
              <a:off x="8301800" y="4223526"/>
              <a:ext cx="56247" cy="56237"/>
            </a:xfrm>
            <a:custGeom>
              <a:avLst/>
              <a:gdLst>
                <a:gd name="connsiteX0" fmla="*/ -3240 w 56247"/>
                <a:gd name="connsiteY0" fmla="*/ 27542 h 56237"/>
                <a:gd name="connsiteX1" fmla="*/ 24877 w 56247"/>
                <a:gd name="connsiteY1" fmla="*/ -592 h 56237"/>
                <a:gd name="connsiteX2" fmla="*/ 53007 w 56247"/>
                <a:gd name="connsiteY2" fmla="*/ 27542 h 56237"/>
                <a:gd name="connsiteX3" fmla="*/ 24877 w 56247"/>
                <a:gd name="connsiteY3" fmla="*/ 55646 h 56237"/>
                <a:gd name="connsiteX4" fmla="*/ -3240 w 56247"/>
                <a:gd name="connsiteY4" fmla="*/ 27542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7" h="56237">
                  <a:moveTo>
                    <a:pt x="-3240" y="27542"/>
                  </a:moveTo>
                  <a:cubicBezTo>
                    <a:pt x="-3240" y="11995"/>
                    <a:pt x="9345" y="-592"/>
                    <a:pt x="24877" y="-592"/>
                  </a:cubicBezTo>
                  <a:cubicBezTo>
                    <a:pt x="40422" y="-592"/>
                    <a:pt x="53007" y="11995"/>
                    <a:pt x="53007" y="27542"/>
                  </a:cubicBezTo>
                  <a:cubicBezTo>
                    <a:pt x="53007" y="43059"/>
                    <a:pt x="40422" y="55646"/>
                    <a:pt x="24877" y="55646"/>
                  </a:cubicBezTo>
                  <a:cubicBezTo>
                    <a:pt x="9345" y="55646"/>
                    <a:pt x="-3240" y="43059"/>
                    <a:pt x="-3240" y="27542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2088D23-9868-4551-9143-F0C2E17AE322}"/>
                </a:ext>
              </a:extLst>
            </p:cNvPr>
            <p:cNvSpPr/>
            <p:nvPr/>
          </p:nvSpPr>
          <p:spPr>
            <a:xfrm flipV="1">
              <a:off x="8289824" y="4211551"/>
              <a:ext cx="80187" cy="80197"/>
            </a:xfrm>
            <a:custGeom>
              <a:avLst/>
              <a:gdLst>
                <a:gd name="connsiteX0" fmla="*/ 20699 w 80187"/>
                <a:gd name="connsiteY0" fmla="*/ 39512 h 80197"/>
                <a:gd name="connsiteX1" fmla="*/ 36853 w 80187"/>
                <a:gd name="connsiteY1" fmla="*/ 23359 h 80197"/>
                <a:gd name="connsiteX2" fmla="*/ 52995 w 80187"/>
                <a:gd name="connsiteY2" fmla="*/ 39512 h 80197"/>
                <a:gd name="connsiteX3" fmla="*/ 36853 w 80187"/>
                <a:gd name="connsiteY3" fmla="*/ 55665 h 80197"/>
                <a:gd name="connsiteX4" fmla="*/ 20699 w 80187"/>
                <a:gd name="connsiteY4" fmla="*/ 39512 h 80197"/>
                <a:gd name="connsiteX5" fmla="*/ -3240 w 80187"/>
                <a:gd name="connsiteY5" fmla="*/ 39512 h 80197"/>
                <a:gd name="connsiteX6" fmla="*/ 36853 w 80187"/>
                <a:gd name="connsiteY6" fmla="*/ 79606 h 80197"/>
                <a:gd name="connsiteX7" fmla="*/ 76947 w 80187"/>
                <a:gd name="connsiteY7" fmla="*/ 39512 h 80197"/>
                <a:gd name="connsiteX8" fmla="*/ 36853 w 80187"/>
                <a:gd name="connsiteY8" fmla="*/ -592 h 80197"/>
                <a:gd name="connsiteX9" fmla="*/ -3240 w 80187"/>
                <a:gd name="connsiteY9" fmla="*/ 39512 h 8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87" h="80197">
                  <a:moveTo>
                    <a:pt x="20699" y="39512"/>
                  </a:moveTo>
                  <a:cubicBezTo>
                    <a:pt x="20699" y="30607"/>
                    <a:pt x="27951" y="23359"/>
                    <a:pt x="36853" y="23359"/>
                  </a:cubicBezTo>
                  <a:cubicBezTo>
                    <a:pt x="45756" y="23359"/>
                    <a:pt x="52995" y="30607"/>
                    <a:pt x="52995" y="39512"/>
                  </a:cubicBezTo>
                  <a:cubicBezTo>
                    <a:pt x="52995" y="48417"/>
                    <a:pt x="45756" y="55665"/>
                    <a:pt x="36853" y="55665"/>
                  </a:cubicBezTo>
                  <a:cubicBezTo>
                    <a:pt x="27951" y="55665"/>
                    <a:pt x="20699" y="48417"/>
                    <a:pt x="20699" y="39512"/>
                  </a:cubicBezTo>
                  <a:close/>
                  <a:moveTo>
                    <a:pt x="-3240" y="39512"/>
                  </a:moveTo>
                  <a:cubicBezTo>
                    <a:pt x="-3240" y="61623"/>
                    <a:pt x="14756" y="79606"/>
                    <a:pt x="36853" y="79606"/>
                  </a:cubicBezTo>
                  <a:cubicBezTo>
                    <a:pt x="58964" y="79606"/>
                    <a:pt x="76947" y="61623"/>
                    <a:pt x="76947" y="39512"/>
                  </a:cubicBezTo>
                  <a:cubicBezTo>
                    <a:pt x="76947" y="17401"/>
                    <a:pt x="58964" y="-592"/>
                    <a:pt x="36853" y="-592"/>
                  </a:cubicBezTo>
                  <a:cubicBezTo>
                    <a:pt x="14756" y="-592"/>
                    <a:pt x="-3240" y="17401"/>
                    <a:pt x="-3240" y="39512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D17212FD-8F43-4D8B-8534-643B92E7A980}"/>
                </a:ext>
              </a:extLst>
            </p:cNvPr>
            <p:cNvSpPr/>
            <p:nvPr/>
          </p:nvSpPr>
          <p:spPr>
            <a:xfrm flipV="1">
              <a:off x="8286192" y="4207929"/>
              <a:ext cx="87439" cy="43700"/>
            </a:xfrm>
            <a:custGeom>
              <a:avLst/>
              <a:gdLst>
                <a:gd name="connsiteX0" fmla="*/ -3240 w 87439"/>
                <a:gd name="connsiteY0" fmla="*/ -611 h 43700"/>
                <a:gd name="connsiteX1" fmla="*/ -3240 w 87439"/>
                <a:gd name="connsiteY1" fmla="*/ -611 h 43700"/>
                <a:gd name="connsiteX2" fmla="*/ 40485 w 87439"/>
                <a:gd name="connsiteY2" fmla="*/ 43089 h 43700"/>
                <a:gd name="connsiteX3" fmla="*/ 84199 w 87439"/>
                <a:gd name="connsiteY3" fmla="*/ -611 h 43700"/>
                <a:gd name="connsiteX4" fmla="*/ -3240 w 87439"/>
                <a:gd name="connsiteY4" fmla="*/ -611 h 4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9" h="43700">
                  <a:moveTo>
                    <a:pt x="-3240" y="-611"/>
                  </a:moveTo>
                  <a:lnTo>
                    <a:pt x="-3240" y="-611"/>
                  </a:lnTo>
                  <a:cubicBezTo>
                    <a:pt x="-3240" y="23478"/>
                    <a:pt x="16381" y="43089"/>
                    <a:pt x="40485" y="43089"/>
                  </a:cubicBezTo>
                  <a:cubicBezTo>
                    <a:pt x="64590" y="43089"/>
                    <a:pt x="84199" y="23478"/>
                    <a:pt x="84199" y="-611"/>
                  </a:cubicBezTo>
                  <a:lnTo>
                    <a:pt x="-3240" y="-611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7A8DDADC-D687-4772-B97E-CC4671723728}"/>
                </a:ext>
              </a:extLst>
            </p:cNvPr>
            <p:cNvSpPr/>
            <p:nvPr/>
          </p:nvSpPr>
          <p:spPr>
            <a:xfrm flipV="1">
              <a:off x="7682372" y="4223526"/>
              <a:ext cx="56247" cy="56237"/>
            </a:xfrm>
            <a:custGeom>
              <a:avLst/>
              <a:gdLst>
                <a:gd name="connsiteX0" fmla="*/ -2818 w 56247"/>
                <a:gd name="connsiteY0" fmla="*/ 27542 h 56237"/>
                <a:gd name="connsiteX1" fmla="*/ 25300 w 56247"/>
                <a:gd name="connsiteY1" fmla="*/ -592 h 56237"/>
                <a:gd name="connsiteX2" fmla="*/ 53430 w 56247"/>
                <a:gd name="connsiteY2" fmla="*/ 27542 h 56237"/>
                <a:gd name="connsiteX3" fmla="*/ 25300 w 56247"/>
                <a:gd name="connsiteY3" fmla="*/ 55646 h 56237"/>
                <a:gd name="connsiteX4" fmla="*/ -2818 w 56247"/>
                <a:gd name="connsiteY4" fmla="*/ 27542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7" h="56237">
                  <a:moveTo>
                    <a:pt x="-2818" y="27542"/>
                  </a:moveTo>
                  <a:cubicBezTo>
                    <a:pt x="-2818" y="11995"/>
                    <a:pt x="9781" y="-592"/>
                    <a:pt x="25300" y="-592"/>
                  </a:cubicBezTo>
                  <a:cubicBezTo>
                    <a:pt x="40832" y="-592"/>
                    <a:pt x="53430" y="11995"/>
                    <a:pt x="53430" y="27542"/>
                  </a:cubicBezTo>
                  <a:cubicBezTo>
                    <a:pt x="53430" y="43059"/>
                    <a:pt x="40832" y="55646"/>
                    <a:pt x="25300" y="55646"/>
                  </a:cubicBezTo>
                  <a:cubicBezTo>
                    <a:pt x="9781" y="55646"/>
                    <a:pt x="-2818" y="43059"/>
                    <a:pt x="-2818" y="27542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B1F49852-6313-4AA8-8D42-98AD88927ECC}"/>
                </a:ext>
              </a:extLst>
            </p:cNvPr>
            <p:cNvSpPr/>
            <p:nvPr/>
          </p:nvSpPr>
          <p:spPr>
            <a:xfrm flipV="1">
              <a:off x="7670396" y="4211551"/>
              <a:ext cx="80200" cy="80197"/>
            </a:xfrm>
            <a:custGeom>
              <a:avLst/>
              <a:gdLst>
                <a:gd name="connsiteX0" fmla="*/ 21135 w 80200"/>
                <a:gd name="connsiteY0" fmla="*/ 39512 h 80197"/>
                <a:gd name="connsiteX1" fmla="*/ 37276 w 80200"/>
                <a:gd name="connsiteY1" fmla="*/ 23359 h 80197"/>
                <a:gd name="connsiteX2" fmla="*/ 53430 w 80200"/>
                <a:gd name="connsiteY2" fmla="*/ 39512 h 80197"/>
                <a:gd name="connsiteX3" fmla="*/ 37276 w 80200"/>
                <a:gd name="connsiteY3" fmla="*/ 55665 h 80197"/>
                <a:gd name="connsiteX4" fmla="*/ 21135 w 80200"/>
                <a:gd name="connsiteY4" fmla="*/ 39512 h 80197"/>
                <a:gd name="connsiteX5" fmla="*/ -2818 w 80200"/>
                <a:gd name="connsiteY5" fmla="*/ 39512 h 80197"/>
                <a:gd name="connsiteX6" fmla="*/ 37276 w 80200"/>
                <a:gd name="connsiteY6" fmla="*/ 79606 h 80197"/>
                <a:gd name="connsiteX7" fmla="*/ 77383 w 80200"/>
                <a:gd name="connsiteY7" fmla="*/ 39512 h 80197"/>
                <a:gd name="connsiteX8" fmla="*/ 37276 w 80200"/>
                <a:gd name="connsiteY8" fmla="*/ -592 h 80197"/>
                <a:gd name="connsiteX9" fmla="*/ -2818 w 80200"/>
                <a:gd name="connsiteY9" fmla="*/ 39512 h 8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200" h="80197">
                  <a:moveTo>
                    <a:pt x="21135" y="39512"/>
                  </a:moveTo>
                  <a:cubicBezTo>
                    <a:pt x="21135" y="30607"/>
                    <a:pt x="28373" y="23359"/>
                    <a:pt x="37276" y="23359"/>
                  </a:cubicBezTo>
                  <a:cubicBezTo>
                    <a:pt x="46192" y="23359"/>
                    <a:pt x="53430" y="30607"/>
                    <a:pt x="53430" y="39512"/>
                  </a:cubicBezTo>
                  <a:cubicBezTo>
                    <a:pt x="53430" y="48417"/>
                    <a:pt x="46192" y="55665"/>
                    <a:pt x="37276" y="55665"/>
                  </a:cubicBezTo>
                  <a:cubicBezTo>
                    <a:pt x="28373" y="55665"/>
                    <a:pt x="21135" y="48417"/>
                    <a:pt x="21135" y="39512"/>
                  </a:cubicBezTo>
                  <a:close/>
                  <a:moveTo>
                    <a:pt x="-2818" y="39512"/>
                  </a:moveTo>
                  <a:cubicBezTo>
                    <a:pt x="-2818" y="61623"/>
                    <a:pt x="15166" y="79606"/>
                    <a:pt x="37276" y="79606"/>
                  </a:cubicBezTo>
                  <a:cubicBezTo>
                    <a:pt x="59399" y="79606"/>
                    <a:pt x="77383" y="61623"/>
                    <a:pt x="77383" y="39512"/>
                  </a:cubicBezTo>
                  <a:cubicBezTo>
                    <a:pt x="77383" y="17401"/>
                    <a:pt x="59399" y="-592"/>
                    <a:pt x="37276" y="-592"/>
                  </a:cubicBezTo>
                  <a:cubicBezTo>
                    <a:pt x="15166" y="-592"/>
                    <a:pt x="-2818" y="17401"/>
                    <a:pt x="-2818" y="39512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D86C2A97-908F-467F-9484-020E58F4BB4C}"/>
                </a:ext>
              </a:extLst>
            </p:cNvPr>
            <p:cNvSpPr/>
            <p:nvPr/>
          </p:nvSpPr>
          <p:spPr>
            <a:xfrm flipV="1">
              <a:off x="7666776" y="4207929"/>
              <a:ext cx="87439" cy="43700"/>
            </a:xfrm>
            <a:custGeom>
              <a:avLst/>
              <a:gdLst>
                <a:gd name="connsiteX0" fmla="*/ -2818 w 87439"/>
                <a:gd name="connsiteY0" fmla="*/ -611 h 43700"/>
                <a:gd name="connsiteX1" fmla="*/ -2818 w 87439"/>
                <a:gd name="connsiteY1" fmla="*/ -611 h 43700"/>
                <a:gd name="connsiteX2" fmla="*/ 40895 w 87439"/>
                <a:gd name="connsiteY2" fmla="*/ 43089 h 43700"/>
                <a:gd name="connsiteX3" fmla="*/ 84621 w 87439"/>
                <a:gd name="connsiteY3" fmla="*/ -611 h 43700"/>
                <a:gd name="connsiteX4" fmla="*/ -2818 w 87439"/>
                <a:gd name="connsiteY4" fmla="*/ -611 h 4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9" h="43700">
                  <a:moveTo>
                    <a:pt x="-2818" y="-611"/>
                  </a:moveTo>
                  <a:lnTo>
                    <a:pt x="-2818" y="-611"/>
                  </a:lnTo>
                  <a:cubicBezTo>
                    <a:pt x="-2818" y="23478"/>
                    <a:pt x="16804" y="43089"/>
                    <a:pt x="40895" y="43089"/>
                  </a:cubicBezTo>
                  <a:cubicBezTo>
                    <a:pt x="65013" y="43089"/>
                    <a:pt x="84621" y="23478"/>
                    <a:pt x="84621" y="-611"/>
                  </a:cubicBezTo>
                  <a:lnTo>
                    <a:pt x="-2818" y="-611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2DC85100-6EB5-4144-855D-A0049DF25126}"/>
                </a:ext>
              </a:extLst>
            </p:cNvPr>
            <p:cNvSpPr/>
            <p:nvPr/>
          </p:nvSpPr>
          <p:spPr>
            <a:xfrm flipV="1">
              <a:off x="7875653" y="4223526"/>
              <a:ext cx="56248" cy="56237"/>
            </a:xfrm>
            <a:custGeom>
              <a:avLst/>
              <a:gdLst>
                <a:gd name="connsiteX0" fmla="*/ -2950 w 56248"/>
                <a:gd name="connsiteY0" fmla="*/ 27542 h 56237"/>
                <a:gd name="connsiteX1" fmla="*/ 25168 w 56248"/>
                <a:gd name="connsiteY1" fmla="*/ -592 h 56237"/>
                <a:gd name="connsiteX2" fmla="*/ 53299 w 56248"/>
                <a:gd name="connsiteY2" fmla="*/ 27542 h 56237"/>
                <a:gd name="connsiteX3" fmla="*/ 25168 w 56248"/>
                <a:gd name="connsiteY3" fmla="*/ 55646 h 56237"/>
                <a:gd name="connsiteX4" fmla="*/ -2950 w 56248"/>
                <a:gd name="connsiteY4" fmla="*/ 27542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8" h="56237">
                  <a:moveTo>
                    <a:pt x="-2950" y="27542"/>
                  </a:moveTo>
                  <a:cubicBezTo>
                    <a:pt x="-2950" y="11995"/>
                    <a:pt x="9649" y="-592"/>
                    <a:pt x="25168" y="-592"/>
                  </a:cubicBezTo>
                  <a:cubicBezTo>
                    <a:pt x="40713" y="-592"/>
                    <a:pt x="53299" y="11995"/>
                    <a:pt x="53299" y="27542"/>
                  </a:cubicBezTo>
                  <a:cubicBezTo>
                    <a:pt x="53299" y="43059"/>
                    <a:pt x="40713" y="55646"/>
                    <a:pt x="25168" y="55646"/>
                  </a:cubicBezTo>
                  <a:cubicBezTo>
                    <a:pt x="9649" y="55646"/>
                    <a:pt x="-2950" y="43059"/>
                    <a:pt x="-2950" y="27542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AFB26D80-4DDF-42E8-9D8E-E80666C23A04}"/>
                </a:ext>
              </a:extLst>
            </p:cNvPr>
            <p:cNvSpPr/>
            <p:nvPr/>
          </p:nvSpPr>
          <p:spPr>
            <a:xfrm flipV="1">
              <a:off x="7863676" y="4211551"/>
              <a:ext cx="80187" cy="80197"/>
            </a:xfrm>
            <a:custGeom>
              <a:avLst/>
              <a:gdLst>
                <a:gd name="connsiteX0" fmla="*/ 21003 w 80187"/>
                <a:gd name="connsiteY0" fmla="*/ 39512 h 80197"/>
                <a:gd name="connsiteX1" fmla="*/ 37144 w 80187"/>
                <a:gd name="connsiteY1" fmla="*/ 23359 h 80197"/>
                <a:gd name="connsiteX2" fmla="*/ 53299 w 80187"/>
                <a:gd name="connsiteY2" fmla="*/ 39512 h 80197"/>
                <a:gd name="connsiteX3" fmla="*/ 37144 w 80187"/>
                <a:gd name="connsiteY3" fmla="*/ 55665 h 80197"/>
                <a:gd name="connsiteX4" fmla="*/ 21003 w 80187"/>
                <a:gd name="connsiteY4" fmla="*/ 39512 h 80197"/>
                <a:gd name="connsiteX5" fmla="*/ -2950 w 80187"/>
                <a:gd name="connsiteY5" fmla="*/ 39512 h 80197"/>
                <a:gd name="connsiteX6" fmla="*/ 37144 w 80187"/>
                <a:gd name="connsiteY6" fmla="*/ 79606 h 80197"/>
                <a:gd name="connsiteX7" fmla="*/ 77238 w 80187"/>
                <a:gd name="connsiteY7" fmla="*/ 39512 h 80197"/>
                <a:gd name="connsiteX8" fmla="*/ 37144 w 80187"/>
                <a:gd name="connsiteY8" fmla="*/ -592 h 80197"/>
                <a:gd name="connsiteX9" fmla="*/ -2950 w 80187"/>
                <a:gd name="connsiteY9" fmla="*/ 39512 h 8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87" h="80197">
                  <a:moveTo>
                    <a:pt x="21003" y="39512"/>
                  </a:moveTo>
                  <a:cubicBezTo>
                    <a:pt x="21003" y="30607"/>
                    <a:pt x="28242" y="23359"/>
                    <a:pt x="37144" y="23359"/>
                  </a:cubicBezTo>
                  <a:cubicBezTo>
                    <a:pt x="46047" y="23359"/>
                    <a:pt x="53299" y="30607"/>
                    <a:pt x="53299" y="39512"/>
                  </a:cubicBezTo>
                  <a:cubicBezTo>
                    <a:pt x="53299" y="48417"/>
                    <a:pt x="46047" y="55665"/>
                    <a:pt x="37144" y="55665"/>
                  </a:cubicBezTo>
                  <a:cubicBezTo>
                    <a:pt x="28242" y="55665"/>
                    <a:pt x="21003" y="48417"/>
                    <a:pt x="21003" y="39512"/>
                  </a:cubicBezTo>
                  <a:close/>
                  <a:moveTo>
                    <a:pt x="-2950" y="39512"/>
                  </a:moveTo>
                  <a:cubicBezTo>
                    <a:pt x="-2950" y="61623"/>
                    <a:pt x="15046" y="79606"/>
                    <a:pt x="37144" y="79606"/>
                  </a:cubicBezTo>
                  <a:cubicBezTo>
                    <a:pt x="59255" y="79606"/>
                    <a:pt x="77238" y="61623"/>
                    <a:pt x="77238" y="39512"/>
                  </a:cubicBezTo>
                  <a:cubicBezTo>
                    <a:pt x="77238" y="17401"/>
                    <a:pt x="59255" y="-592"/>
                    <a:pt x="37144" y="-592"/>
                  </a:cubicBezTo>
                  <a:cubicBezTo>
                    <a:pt x="15046" y="-592"/>
                    <a:pt x="-2950" y="17401"/>
                    <a:pt x="-2950" y="39512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1E020A87-4FCB-48CD-AB8F-9F4A6320F90F}"/>
                </a:ext>
              </a:extLst>
            </p:cNvPr>
            <p:cNvSpPr/>
            <p:nvPr/>
          </p:nvSpPr>
          <p:spPr>
            <a:xfrm flipV="1">
              <a:off x="7860057" y="4207929"/>
              <a:ext cx="87439" cy="43700"/>
            </a:xfrm>
            <a:custGeom>
              <a:avLst/>
              <a:gdLst>
                <a:gd name="connsiteX0" fmla="*/ -2950 w 87439"/>
                <a:gd name="connsiteY0" fmla="*/ -611 h 43700"/>
                <a:gd name="connsiteX1" fmla="*/ -2950 w 87439"/>
                <a:gd name="connsiteY1" fmla="*/ -611 h 43700"/>
                <a:gd name="connsiteX2" fmla="*/ 40764 w 87439"/>
                <a:gd name="connsiteY2" fmla="*/ 43089 h 43700"/>
                <a:gd name="connsiteX3" fmla="*/ 84489 w 87439"/>
                <a:gd name="connsiteY3" fmla="*/ -611 h 43700"/>
                <a:gd name="connsiteX4" fmla="*/ -2950 w 87439"/>
                <a:gd name="connsiteY4" fmla="*/ -611 h 4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9" h="43700">
                  <a:moveTo>
                    <a:pt x="-2950" y="-611"/>
                  </a:moveTo>
                  <a:lnTo>
                    <a:pt x="-2950" y="-611"/>
                  </a:lnTo>
                  <a:cubicBezTo>
                    <a:pt x="-2950" y="23478"/>
                    <a:pt x="16672" y="43089"/>
                    <a:pt x="40764" y="43089"/>
                  </a:cubicBezTo>
                  <a:cubicBezTo>
                    <a:pt x="64881" y="43089"/>
                    <a:pt x="84489" y="23478"/>
                    <a:pt x="84489" y="-611"/>
                  </a:cubicBezTo>
                  <a:lnTo>
                    <a:pt x="-2950" y="-611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CE2FD8EC-130C-4C39-9C81-17664FB4D6F1}"/>
                </a:ext>
              </a:extLst>
            </p:cNvPr>
            <p:cNvSpPr/>
            <p:nvPr/>
          </p:nvSpPr>
          <p:spPr>
            <a:xfrm flipV="1">
              <a:off x="8118095" y="4223526"/>
              <a:ext cx="56248" cy="56237"/>
            </a:xfrm>
            <a:custGeom>
              <a:avLst/>
              <a:gdLst>
                <a:gd name="connsiteX0" fmla="*/ -3115 w 56248"/>
                <a:gd name="connsiteY0" fmla="*/ 27542 h 56237"/>
                <a:gd name="connsiteX1" fmla="*/ 25003 w 56248"/>
                <a:gd name="connsiteY1" fmla="*/ -592 h 56237"/>
                <a:gd name="connsiteX2" fmla="*/ 53133 w 56248"/>
                <a:gd name="connsiteY2" fmla="*/ 27542 h 56237"/>
                <a:gd name="connsiteX3" fmla="*/ 25003 w 56248"/>
                <a:gd name="connsiteY3" fmla="*/ 55646 h 56237"/>
                <a:gd name="connsiteX4" fmla="*/ -3115 w 56248"/>
                <a:gd name="connsiteY4" fmla="*/ 27542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8" h="56237">
                  <a:moveTo>
                    <a:pt x="-3115" y="27542"/>
                  </a:moveTo>
                  <a:cubicBezTo>
                    <a:pt x="-3115" y="11995"/>
                    <a:pt x="9471" y="-592"/>
                    <a:pt x="25003" y="-592"/>
                  </a:cubicBezTo>
                  <a:cubicBezTo>
                    <a:pt x="40548" y="-592"/>
                    <a:pt x="53133" y="11995"/>
                    <a:pt x="53133" y="27542"/>
                  </a:cubicBezTo>
                  <a:cubicBezTo>
                    <a:pt x="53133" y="43059"/>
                    <a:pt x="40548" y="55646"/>
                    <a:pt x="25003" y="55646"/>
                  </a:cubicBezTo>
                  <a:cubicBezTo>
                    <a:pt x="9471" y="55646"/>
                    <a:pt x="-3115" y="43059"/>
                    <a:pt x="-3115" y="27542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0" name="Freeform: Shape 1619">
              <a:extLst>
                <a:ext uri="{FF2B5EF4-FFF2-40B4-BE49-F238E27FC236}">
                  <a16:creationId xmlns:a16="http://schemas.microsoft.com/office/drawing/2014/main" id="{7D472814-B6C9-4121-B3E8-D7E73F53E10F}"/>
                </a:ext>
              </a:extLst>
            </p:cNvPr>
            <p:cNvSpPr/>
            <p:nvPr/>
          </p:nvSpPr>
          <p:spPr>
            <a:xfrm flipV="1">
              <a:off x="8106119" y="4211551"/>
              <a:ext cx="80187" cy="80197"/>
            </a:xfrm>
            <a:custGeom>
              <a:avLst/>
              <a:gdLst>
                <a:gd name="connsiteX0" fmla="*/ 20837 w 80187"/>
                <a:gd name="connsiteY0" fmla="*/ 39512 h 80197"/>
                <a:gd name="connsiteX1" fmla="*/ 36979 w 80187"/>
                <a:gd name="connsiteY1" fmla="*/ 23359 h 80197"/>
                <a:gd name="connsiteX2" fmla="*/ 53133 w 80187"/>
                <a:gd name="connsiteY2" fmla="*/ 39512 h 80197"/>
                <a:gd name="connsiteX3" fmla="*/ 36979 w 80187"/>
                <a:gd name="connsiteY3" fmla="*/ 55665 h 80197"/>
                <a:gd name="connsiteX4" fmla="*/ 20837 w 80187"/>
                <a:gd name="connsiteY4" fmla="*/ 39512 h 80197"/>
                <a:gd name="connsiteX5" fmla="*/ -3115 w 80187"/>
                <a:gd name="connsiteY5" fmla="*/ 39512 h 80197"/>
                <a:gd name="connsiteX6" fmla="*/ 36979 w 80187"/>
                <a:gd name="connsiteY6" fmla="*/ 79606 h 80197"/>
                <a:gd name="connsiteX7" fmla="*/ 77072 w 80187"/>
                <a:gd name="connsiteY7" fmla="*/ 39512 h 80197"/>
                <a:gd name="connsiteX8" fmla="*/ 36979 w 80187"/>
                <a:gd name="connsiteY8" fmla="*/ -592 h 80197"/>
                <a:gd name="connsiteX9" fmla="*/ -3115 w 80187"/>
                <a:gd name="connsiteY9" fmla="*/ 39512 h 8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87" h="80197">
                  <a:moveTo>
                    <a:pt x="20837" y="39512"/>
                  </a:moveTo>
                  <a:cubicBezTo>
                    <a:pt x="20837" y="30607"/>
                    <a:pt x="28076" y="23359"/>
                    <a:pt x="36979" y="23359"/>
                  </a:cubicBezTo>
                  <a:cubicBezTo>
                    <a:pt x="45881" y="23359"/>
                    <a:pt x="53133" y="30607"/>
                    <a:pt x="53133" y="39512"/>
                  </a:cubicBezTo>
                  <a:cubicBezTo>
                    <a:pt x="53133" y="48417"/>
                    <a:pt x="45881" y="55665"/>
                    <a:pt x="36979" y="55665"/>
                  </a:cubicBezTo>
                  <a:cubicBezTo>
                    <a:pt x="28076" y="55665"/>
                    <a:pt x="20837" y="48417"/>
                    <a:pt x="20837" y="39512"/>
                  </a:cubicBezTo>
                  <a:close/>
                  <a:moveTo>
                    <a:pt x="-3115" y="39512"/>
                  </a:moveTo>
                  <a:cubicBezTo>
                    <a:pt x="-3115" y="61623"/>
                    <a:pt x="14881" y="79606"/>
                    <a:pt x="36979" y="79606"/>
                  </a:cubicBezTo>
                  <a:cubicBezTo>
                    <a:pt x="59089" y="79606"/>
                    <a:pt x="77072" y="61623"/>
                    <a:pt x="77072" y="39512"/>
                  </a:cubicBezTo>
                  <a:cubicBezTo>
                    <a:pt x="77072" y="17401"/>
                    <a:pt x="59089" y="-592"/>
                    <a:pt x="36979" y="-592"/>
                  </a:cubicBezTo>
                  <a:cubicBezTo>
                    <a:pt x="14881" y="-592"/>
                    <a:pt x="-3115" y="17401"/>
                    <a:pt x="-3115" y="39512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1" name="Freeform: Shape 1620">
              <a:extLst>
                <a:ext uri="{FF2B5EF4-FFF2-40B4-BE49-F238E27FC236}">
                  <a16:creationId xmlns:a16="http://schemas.microsoft.com/office/drawing/2014/main" id="{A21F5D85-45AF-44AD-9BCD-5D6D31FFC98D}"/>
                </a:ext>
              </a:extLst>
            </p:cNvPr>
            <p:cNvSpPr/>
            <p:nvPr/>
          </p:nvSpPr>
          <p:spPr>
            <a:xfrm flipV="1">
              <a:off x="8102512" y="4207929"/>
              <a:ext cx="87413" cy="43700"/>
            </a:xfrm>
            <a:custGeom>
              <a:avLst/>
              <a:gdLst>
                <a:gd name="connsiteX0" fmla="*/ -3115 w 87413"/>
                <a:gd name="connsiteY0" fmla="*/ -611 h 43700"/>
                <a:gd name="connsiteX1" fmla="*/ -3115 w 87413"/>
                <a:gd name="connsiteY1" fmla="*/ -611 h 43700"/>
                <a:gd name="connsiteX2" fmla="*/ 40586 w 87413"/>
                <a:gd name="connsiteY2" fmla="*/ 43089 h 43700"/>
                <a:gd name="connsiteX3" fmla="*/ 84299 w 87413"/>
                <a:gd name="connsiteY3" fmla="*/ -611 h 43700"/>
                <a:gd name="connsiteX4" fmla="*/ -3115 w 87413"/>
                <a:gd name="connsiteY4" fmla="*/ -611 h 4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13" h="43700">
                  <a:moveTo>
                    <a:pt x="-3115" y="-611"/>
                  </a:moveTo>
                  <a:lnTo>
                    <a:pt x="-3115" y="-611"/>
                  </a:lnTo>
                  <a:cubicBezTo>
                    <a:pt x="-3115" y="23478"/>
                    <a:pt x="16494" y="43089"/>
                    <a:pt x="40586" y="43089"/>
                  </a:cubicBezTo>
                  <a:cubicBezTo>
                    <a:pt x="64690" y="43089"/>
                    <a:pt x="84299" y="23478"/>
                    <a:pt x="84299" y="-611"/>
                  </a:cubicBezTo>
                  <a:lnTo>
                    <a:pt x="-3115" y="-611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2" name="Freeform: Shape 1621">
              <a:extLst>
                <a:ext uri="{FF2B5EF4-FFF2-40B4-BE49-F238E27FC236}">
                  <a16:creationId xmlns:a16="http://schemas.microsoft.com/office/drawing/2014/main" id="{8D8B6CAF-0695-4FBD-8079-2D9218B89FE8}"/>
                </a:ext>
              </a:extLst>
            </p:cNvPr>
            <p:cNvSpPr/>
            <p:nvPr/>
          </p:nvSpPr>
          <p:spPr>
            <a:xfrm flipV="1">
              <a:off x="8001649" y="3795005"/>
              <a:ext cx="32829" cy="351930"/>
            </a:xfrm>
            <a:custGeom>
              <a:avLst/>
              <a:gdLst>
                <a:gd name="connsiteX0" fmla="*/ -3028 w 32829"/>
                <a:gd name="connsiteY0" fmla="*/ -842 h 351930"/>
                <a:gd name="connsiteX1" fmla="*/ 29802 w 32829"/>
                <a:gd name="connsiteY1" fmla="*/ -842 h 351930"/>
                <a:gd name="connsiteX2" fmla="*/ 29802 w 32829"/>
                <a:gd name="connsiteY2" fmla="*/ 351088 h 351930"/>
                <a:gd name="connsiteX3" fmla="*/ -3028 w 32829"/>
                <a:gd name="connsiteY3" fmla="*/ 351088 h 351930"/>
                <a:gd name="connsiteX4" fmla="*/ -3028 w 32829"/>
                <a:gd name="connsiteY4" fmla="*/ -842 h 35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29" h="351930">
                  <a:moveTo>
                    <a:pt x="-3028" y="-842"/>
                  </a:moveTo>
                  <a:lnTo>
                    <a:pt x="29802" y="-842"/>
                  </a:lnTo>
                  <a:lnTo>
                    <a:pt x="29802" y="351088"/>
                  </a:lnTo>
                  <a:lnTo>
                    <a:pt x="-3028" y="351088"/>
                  </a:lnTo>
                  <a:lnTo>
                    <a:pt x="-3028" y="-842"/>
                  </a:lnTo>
                </a:path>
              </a:pathLst>
            </a:custGeom>
            <a:solidFill>
              <a:srgbClr val="A5A5A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8A62716E-2D7E-4B87-BE53-DCF971CC973C}"/>
                </a:ext>
              </a:extLst>
            </p:cNvPr>
            <p:cNvSpPr/>
            <p:nvPr/>
          </p:nvSpPr>
          <p:spPr>
            <a:xfrm flipV="1">
              <a:off x="8023480" y="3795005"/>
              <a:ext cx="7175" cy="351930"/>
            </a:xfrm>
            <a:custGeom>
              <a:avLst/>
              <a:gdLst>
                <a:gd name="connsiteX0" fmla="*/ -3034 w 7175"/>
                <a:gd name="connsiteY0" fmla="*/ -842 h 351930"/>
                <a:gd name="connsiteX1" fmla="*/ 4142 w 7175"/>
                <a:gd name="connsiteY1" fmla="*/ -842 h 351930"/>
                <a:gd name="connsiteX2" fmla="*/ 4142 w 7175"/>
                <a:gd name="connsiteY2" fmla="*/ 351088 h 351930"/>
                <a:gd name="connsiteX3" fmla="*/ -3034 w 7175"/>
                <a:gd name="connsiteY3" fmla="*/ 351088 h 351930"/>
                <a:gd name="connsiteX4" fmla="*/ -3034 w 7175"/>
                <a:gd name="connsiteY4" fmla="*/ -842 h 35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" h="351930">
                  <a:moveTo>
                    <a:pt x="-3034" y="-842"/>
                  </a:moveTo>
                  <a:lnTo>
                    <a:pt x="4142" y="-842"/>
                  </a:lnTo>
                  <a:lnTo>
                    <a:pt x="4142" y="351088"/>
                  </a:lnTo>
                  <a:lnTo>
                    <a:pt x="-3034" y="351088"/>
                  </a:lnTo>
                  <a:lnTo>
                    <a:pt x="-3034" y="-842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4A6799E2-9400-439C-A46A-2F7D697DA176}"/>
                </a:ext>
              </a:extLst>
            </p:cNvPr>
            <p:cNvSpPr/>
            <p:nvPr/>
          </p:nvSpPr>
          <p:spPr>
            <a:xfrm flipV="1">
              <a:off x="7983755" y="3795005"/>
              <a:ext cx="70141" cy="134378"/>
            </a:xfrm>
            <a:custGeom>
              <a:avLst/>
              <a:gdLst>
                <a:gd name="connsiteX0" fmla="*/ -3028 w 70141"/>
                <a:gd name="connsiteY0" fmla="*/ -939 h 134378"/>
                <a:gd name="connsiteX1" fmla="*/ 67114 w 70141"/>
                <a:gd name="connsiteY1" fmla="*/ -939 h 134378"/>
                <a:gd name="connsiteX2" fmla="*/ 67114 w 70141"/>
                <a:gd name="connsiteY2" fmla="*/ 133439 h 134378"/>
                <a:gd name="connsiteX3" fmla="*/ -3028 w 70141"/>
                <a:gd name="connsiteY3" fmla="*/ 133439 h 134378"/>
                <a:gd name="connsiteX4" fmla="*/ -3028 w 70141"/>
                <a:gd name="connsiteY4" fmla="*/ -939 h 13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41" h="134378">
                  <a:moveTo>
                    <a:pt x="-3028" y="-939"/>
                  </a:moveTo>
                  <a:lnTo>
                    <a:pt x="67114" y="-939"/>
                  </a:lnTo>
                  <a:lnTo>
                    <a:pt x="67114" y="133439"/>
                  </a:lnTo>
                  <a:lnTo>
                    <a:pt x="-3028" y="133439"/>
                  </a:lnTo>
                  <a:lnTo>
                    <a:pt x="-3028" y="-939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3F0F3477-4CCC-45F8-A06F-7B300090BB35}"/>
                </a:ext>
              </a:extLst>
            </p:cNvPr>
            <p:cNvSpPr/>
            <p:nvPr/>
          </p:nvSpPr>
          <p:spPr>
            <a:xfrm flipV="1">
              <a:off x="8026591" y="3795005"/>
              <a:ext cx="15748" cy="134378"/>
            </a:xfrm>
            <a:custGeom>
              <a:avLst/>
              <a:gdLst>
                <a:gd name="connsiteX0" fmla="*/ -3039 w 15748"/>
                <a:gd name="connsiteY0" fmla="*/ -939 h 134378"/>
                <a:gd name="connsiteX1" fmla="*/ 12709 w 15748"/>
                <a:gd name="connsiteY1" fmla="*/ -939 h 134378"/>
                <a:gd name="connsiteX2" fmla="*/ 12709 w 15748"/>
                <a:gd name="connsiteY2" fmla="*/ 133439 h 134378"/>
                <a:gd name="connsiteX3" fmla="*/ -3039 w 15748"/>
                <a:gd name="connsiteY3" fmla="*/ 133439 h 134378"/>
                <a:gd name="connsiteX4" fmla="*/ -3039 w 15748"/>
                <a:gd name="connsiteY4" fmla="*/ -939 h 13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48" h="134378">
                  <a:moveTo>
                    <a:pt x="-3039" y="-939"/>
                  </a:moveTo>
                  <a:lnTo>
                    <a:pt x="12709" y="-939"/>
                  </a:lnTo>
                  <a:lnTo>
                    <a:pt x="12709" y="133439"/>
                  </a:lnTo>
                  <a:lnTo>
                    <a:pt x="-3039" y="133439"/>
                  </a:lnTo>
                  <a:lnTo>
                    <a:pt x="-3039" y="-939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CCB2B7BD-E418-4FDB-A1DE-F1601798BB67}"/>
                </a:ext>
              </a:extLst>
            </p:cNvPr>
            <p:cNvSpPr/>
            <p:nvPr/>
          </p:nvSpPr>
          <p:spPr>
            <a:xfrm flipV="1">
              <a:off x="7967537" y="3795005"/>
              <a:ext cx="105346" cy="67182"/>
            </a:xfrm>
            <a:custGeom>
              <a:avLst/>
              <a:gdLst>
                <a:gd name="connsiteX0" fmla="*/ -3029 w 105346"/>
                <a:gd name="connsiteY0" fmla="*/ -969 h 67182"/>
                <a:gd name="connsiteX1" fmla="*/ 102317 w 105346"/>
                <a:gd name="connsiteY1" fmla="*/ -969 h 67182"/>
                <a:gd name="connsiteX2" fmla="*/ 102317 w 105346"/>
                <a:gd name="connsiteY2" fmla="*/ 66213 h 67182"/>
                <a:gd name="connsiteX3" fmla="*/ -3029 w 105346"/>
                <a:gd name="connsiteY3" fmla="*/ 66213 h 67182"/>
                <a:gd name="connsiteX4" fmla="*/ -3029 w 105346"/>
                <a:gd name="connsiteY4" fmla="*/ -969 h 6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46" h="67182">
                  <a:moveTo>
                    <a:pt x="-3029" y="-969"/>
                  </a:moveTo>
                  <a:lnTo>
                    <a:pt x="102317" y="-969"/>
                  </a:lnTo>
                  <a:lnTo>
                    <a:pt x="102317" y="66213"/>
                  </a:lnTo>
                  <a:lnTo>
                    <a:pt x="-3029" y="66213"/>
                  </a:lnTo>
                  <a:lnTo>
                    <a:pt x="-3029" y="-969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F58327ED-BD6D-498C-A4B8-D98408520BF9}"/>
                </a:ext>
              </a:extLst>
            </p:cNvPr>
            <p:cNvSpPr/>
            <p:nvPr/>
          </p:nvSpPr>
          <p:spPr>
            <a:xfrm flipV="1">
              <a:off x="8031875" y="3795005"/>
              <a:ext cx="23647" cy="67182"/>
            </a:xfrm>
            <a:custGeom>
              <a:avLst/>
              <a:gdLst>
                <a:gd name="connsiteX0" fmla="*/ -3045 w 23647"/>
                <a:gd name="connsiteY0" fmla="*/ -969 h 67182"/>
                <a:gd name="connsiteX1" fmla="*/ 20602 w 23647"/>
                <a:gd name="connsiteY1" fmla="*/ -969 h 67182"/>
                <a:gd name="connsiteX2" fmla="*/ 20602 w 23647"/>
                <a:gd name="connsiteY2" fmla="*/ 66213 h 67182"/>
                <a:gd name="connsiteX3" fmla="*/ -3045 w 23647"/>
                <a:gd name="connsiteY3" fmla="*/ 66213 h 67182"/>
                <a:gd name="connsiteX4" fmla="*/ -3045 w 23647"/>
                <a:gd name="connsiteY4" fmla="*/ -969 h 6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47" h="67182">
                  <a:moveTo>
                    <a:pt x="-3045" y="-969"/>
                  </a:moveTo>
                  <a:lnTo>
                    <a:pt x="20602" y="-969"/>
                  </a:lnTo>
                  <a:lnTo>
                    <a:pt x="20602" y="66213"/>
                  </a:lnTo>
                  <a:lnTo>
                    <a:pt x="-3045" y="66213"/>
                  </a:lnTo>
                  <a:lnTo>
                    <a:pt x="-3045" y="-969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8E077D01-B702-4B91-865A-D96A8BCE0691}"/>
                </a:ext>
              </a:extLst>
            </p:cNvPr>
            <p:cNvSpPr/>
            <p:nvPr/>
          </p:nvSpPr>
          <p:spPr>
            <a:xfrm flipV="1">
              <a:off x="7983755" y="3983675"/>
              <a:ext cx="70141" cy="163259"/>
            </a:xfrm>
            <a:custGeom>
              <a:avLst/>
              <a:gdLst>
                <a:gd name="connsiteX0" fmla="*/ -3028 w 70141"/>
                <a:gd name="connsiteY0" fmla="*/ 162501 h 163259"/>
                <a:gd name="connsiteX1" fmla="*/ 67114 w 70141"/>
                <a:gd name="connsiteY1" fmla="*/ 162501 h 163259"/>
                <a:gd name="connsiteX2" fmla="*/ 67114 w 70141"/>
                <a:gd name="connsiteY2" fmla="*/ -758 h 163259"/>
                <a:gd name="connsiteX3" fmla="*/ -3028 w 70141"/>
                <a:gd name="connsiteY3" fmla="*/ -758 h 163259"/>
                <a:gd name="connsiteX4" fmla="*/ -3028 w 70141"/>
                <a:gd name="connsiteY4" fmla="*/ 162501 h 16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41" h="163259">
                  <a:moveTo>
                    <a:pt x="-3028" y="162501"/>
                  </a:moveTo>
                  <a:lnTo>
                    <a:pt x="67114" y="162501"/>
                  </a:lnTo>
                  <a:lnTo>
                    <a:pt x="67114" y="-758"/>
                  </a:lnTo>
                  <a:lnTo>
                    <a:pt x="-3028" y="-758"/>
                  </a:lnTo>
                  <a:lnTo>
                    <a:pt x="-3028" y="162501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4EAABEBB-9F0C-45E0-B919-4DB60387B87C}"/>
                </a:ext>
              </a:extLst>
            </p:cNvPr>
            <p:cNvSpPr/>
            <p:nvPr/>
          </p:nvSpPr>
          <p:spPr>
            <a:xfrm flipV="1">
              <a:off x="8026591" y="3983675"/>
              <a:ext cx="15748" cy="163259"/>
            </a:xfrm>
            <a:custGeom>
              <a:avLst/>
              <a:gdLst>
                <a:gd name="connsiteX0" fmla="*/ -3039 w 15748"/>
                <a:gd name="connsiteY0" fmla="*/ 162501 h 163259"/>
                <a:gd name="connsiteX1" fmla="*/ 12709 w 15748"/>
                <a:gd name="connsiteY1" fmla="*/ 162501 h 163259"/>
                <a:gd name="connsiteX2" fmla="*/ 12709 w 15748"/>
                <a:gd name="connsiteY2" fmla="*/ -758 h 163259"/>
                <a:gd name="connsiteX3" fmla="*/ -3039 w 15748"/>
                <a:gd name="connsiteY3" fmla="*/ -758 h 163259"/>
                <a:gd name="connsiteX4" fmla="*/ -3039 w 15748"/>
                <a:gd name="connsiteY4" fmla="*/ 162501 h 16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48" h="163259">
                  <a:moveTo>
                    <a:pt x="-3039" y="162501"/>
                  </a:moveTo>
                  <a:lnTo>
                    <a:pt x="12709" y="162501"/>
                  </a:lnTo>
                  <a:lnTo>
                    <a:pt x="12709" y="-758"/>
                  </a:lnTo>
                  <a:lnTo>
                    <a:pt x="-3039" y="-758"/>
                  </a:lnTo>
                  <a:lnTo>
                    <a:pt x="-3039" y="162501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0B313889-333B-40B5-AD82-E6B5C0BF67EE}"/>
                </a:ext>
              </a:extLst>
            </p:cNvPr>
            <p:cNvSpPr/>
            <p:nvPr/>
          </p:nvSpPr>
          <p:spPr>
            <a:xfrm flipV="1">
              <a:off x="7695415" y="4127170"/>
              <a:ext cx="659174" cy="100712"/>
            </a:xfrm>
            <a:custGeom>
              <a:avLst/>
              <a:gdLst>
                <a:gd name="connsiteX0" fmla="*/ 636982 w 659174"/>
                <a:gd name="connsiteY0" fmla="*/ -658 h 100712"/>
                <a:gd name="connsiteX1" fmla="*/ 655372 w 659174"/>
                <a:gd name="connsiteY1" fmla="*/ 13119 h 100712"/>
                <a:gd name="connsiteX2" fmla="*/ 642354 w 659174"/>
                <a:gd name="connsiteY2" fmla="*/ 36882 h 100712"/>
                <a:gd name="connsiteX3" fmla="*/ 433808 w 659174"/>
                <a:gd name="connsiteY3" fmla="*/ 97881 h 100712"/>
                <a:gd name="connsiteX4" fmla="*/ 426848 w 659174"/>
                <a:gd name="connsiteY4" fmla="*/ 99250 h 100712"/>
                <a:gd name="connsiteX5" fmla="*/ 226887 w 659174"/>
                <a:gd name="connsiteY5" fmla="*/ 100054 h 100712"/>
                <a:gd name="connsiteX6" fmla="*/ 219699 w 659174"/>
                <a:gd name="connsiteY6" fmla="*/ 98694 h 100712"/>
                <a:gd name="connsiteX7" fmla="*/ 10899 w 659174"/>
                <a:gd name="connsiteY7" fmla="*/ 39436 h 100712"/>
                <a:gd name="connsiteX8" fmla="*/ -2296 w 659174"/>
                <a:gd name="connsiteY8" fmla="*/ 15772 h 100712"/>
                <a:gd name="connsiteX9" fmla="*/ 21351 w 659174"/>
                <a:gd name="connsiteY9" fmla="*/ 2582 h 100712"/>
                <a:gd name="connsiteX10" fmla="*/ 229796 w 659174"/>
                <a:gd name="connsiteY10" fmla="*/ 61736 h 100712"/>
                <a:gd name="connsiteX11" fmla="*/ 423623 w 659174"/>
                <a:gd name="connsiteY11" fmla="*/ 60947 h 100712"/>
                <a:gd name="connsiteX12" fmla="*/ 631597 w 659174"/>
                <a:gd name="connsiteY12" fmla="*/ 101 h 100712"/>
                <a:gd name="connsiteX13" fmla="*/ 636982 w 659174"/>
                <a:gd name="connsiteY13" fmla="*/ -658 h 100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9174" h="100712">
                  <a:moveTo>
                    <a:pt x="636982" y="-658"/>
                  </a:moveTo>
                  <a:cubicBezTo>
                    <a:pt x="645275" y="-658"/>
                    <a:pt x="652920" y="4750"/>
                    <a:pt x="655372" y="13119"/>
                  </a:cubicBezTo>
                  <a:cubicBezTo>
                    <a:pt x="658331" y="23269"/>
                    <a:pt x="652514" y="33900"/>
                    <a:pt x="642354" y="36882"/>
                  </a:cubicBezTo>
                  <a:lnTo>
                    <a:pt x="433808" y="97881"/>
                  </a:lnTo>
                  <a:cubicBezTo>
                    <a:pt x="431623" y="98769"/>
                    <a:pt x="429261" y="99240"/>
                    <a:pt x="426848" y="99250"/>
                  </a:cubicBezTo>
                  <a:lnTo>
                    <a:pt x="226887" y="100054"/>
                  </a:lnTo>
                  <a:cubicBezTo>
                    <a:pt x="224487" y="99964"/>
                    <a:pt x="221922" y="99583"/>
                    <a:pt x="219699" y="98694"/>
                  </a:cubicBezTo>
                  <a:lnTo>
                    <a:pt x="10899" y="39436"/>
                  </a:lnTo>
                  <a:cubicBezTo>
                    <a:pt x="714" y="36539"/>
                    <a:pt x="-5192" y="25947"/>
                    <a:pt x="-2296" y="15772"/>
                  </a:cubicBezTo>
                  <a:cubicBezTo>
                    <a:pt x="587" y="5588"/>
                    <a:pt x="11166" y="-316"/>
                    <a:pt x="21351" y="2582"/>
                  </a:cubicBezTo>
                  <a:lnTo>
                    <a:pt x="229796" y="61736"/>
                  </a:lnTo>
                  <a:lnTo>
                    <a:pt x="423623" y="60947"/>
                  </a:lnTo>
                  <a:lnTo>
                    <a:pt x="631597" y="101"/>
                  </a:lnTo>
                  <a:cubicBezTo>
                    <a:pt x="633388" y="-429"/>
                    <a:pt x="635204" y="-658"/>
                    <a:pt x="636982" y="-658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28831C52-460D-40D3-B02D-FC7255A2F1F7}"/>
                </a:ext>
              </a:extLst>
            </p:cNvPr>
            <p:cNvSpPr/>
            <p:nvPr/>
          </p:nvSpPr>
          <p:spPr>
            <a:xfrm flipV="1">
              <a:off x="7904264" y="4127435"/>
              <a:ext cx="241466" cy="99608"/>
            </a:xfrm>
            <a:custGeom>
              <a:avLst/>
              <a:gdLst>
                <a:gd name="connsiteX0" fmla="*/ 219269 w 241466"/>
                <a:gd name="connsiteY0" fmla="*/ -658 h 99608"/>
                <a:gd name="connsiteX1" fmla="*/ 233595 w 241466"/>
                <a:gd name="connsiteY1" fmla="*/ 5781 h 99608"/>
                <a:gd name="connsiteX2" fmla="*/ 231994 w 241466"/>
                <a:gd name="connsiteY2" fmla="*/ 32818 h 99608"/>
                <a:gd name="connsiteX3" fmla="*/ 164278 w 241466"/>
                <a:gd name="connsiteY3" fmla="*/ 92939 h 99608"/>
                <a:gd name="connsiteX4" fmla="*/ 150740 w 241466"/>
                <a:gd name="connsiteY4" fmla="*/ 98680 h 99608"/>
                <a:gd name="connsiteX5" fmla="*/ 85310 w 241466"/>
                <a:gd name="connsiteY5" fmla="*/ 98948 h 99608"/>
                <a:gd name="connsiteX6" fmla="*/ 71708 w 241466"/>
                <a:gd name="connsiteY6" fmla="*/ 93356 h 99608"/>
                <a:gd name="connsiteX7" fmla="*/ 71391 w 241466"/>
                <a:gd name="connsiteY7" fmla="*/ 93029 h 99608"/>
                <a:gd name="connsiteX8" fmla="*/ 3522 w 241466"/>
                <a:gd name="connsiteY8" fmla="*/ 33746 h 99608"/>
                <a:gd name="connsiteX9" fmla="*/ 1693 w 241466"/>
                <a:gd name="connsiteY9" fmla="*/ 6709 h 99608"/>
                <a:gd name="connsiteX10" fmla="*/ 28732 w 241466"/>
                <a:gd name="connsiteY10" fmla="*/ 4888 h 99608"/>
                <a:gd name="connsiteX11" fmla="*/ 92511 w 241466"/>
                <a:gd name="connsiteY11" fmla="*/ 60604 h 99608"/>
                <a:gd name="connsiteX12" fmla="*/ 143234 w 241466"/>
                <a:gd name="connsiteY12" fmla="*/ 60401 h 99608"/>
                <a:gd name="connsiteX13" fmla="*/ 206557 w 241466"/>
                <a:gd name="connsiteY13" fmla="*/ 4169 h 99608"/>
                <a:gd name="connsiteX14" fmla="*/ 219269 w 241466"/>
                <a:gd name="connsiteY14" fmla="*/ -658 h 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1466" h="99608">
                  <a:moveTo>
                    <a:pt x="219269" y="-658"/>
                  </a:moveTo>
                  <a:cubicBezTo>
                    <a:pt x="224552" y="-658"/>
                    <a:pt x="229810" y="1510"/>
                    <a:pt x="233595" y="5781"/>
                  </a:cubicBezTo>
                  <a:cubicBezTo>
                    <a:pt x="240630" y="13694"/>
                    <a:pt x="239906" y="25793"/>
                    <a:pt x="231994" y="32818"/>
                  </a:cubicBezTo>
                  <a:lnTo>
                    <a:pt x="164278" y="92939"/>
                  </a:lnTo>
                  <a:cubicBezTo>
                    <a:pt x="160824" y="96457"/>
                    <a:pt x="156036" y="98654"/>
                    <a:pt x="150740" y="98680"/>
                  </a:cubicBezTo>
                  <a:lnTo>
                    <a:pt x="85310" y="98948"/>
                  </a:lnTo>
                  <a:cubicBezTo>
                    <a:pt x="80179" y="99036"/>
                    <a:pt x="75328" y="96963"/>
                    <a:pt x="71708" y="93356"/>
                  </a:cubicBezTo>
                  <a:lnTo>
                    <a:pt x="71391" y="93029"/>
                  </a:lnTo>
                  <a:lnTo>
                    <a:pt x="3522" y="33746"/>
                  </a:lnTo>
                  <a:cubicBezTo>
                    <a:pt x="-4441" y="26785"/>
                    <a:pt x="-5266" y="14681"/>
                    <a:pt x="1693" y="6709"/>
                  </a:cubicBezTo>
                  <a:cubicBezTo>
                    <a:pt x="8653" y="-1259"/>
                    <a:pt x="20769" y="-2056"/>
                    <a:pt x="28732" y="4888"/>
                  </a:cubicBezTo>
                  <a:lnTo>
                    <a:pt x="92511" y="60604"/>
                  </a:lnTo>
                  <a:lnTo>
                    <a:pt x="143234" y="60401"/>
                  </a:lnTo>
                  <a:lnTo>
                    <a:pt x="206557" y="4169"/>
                  </a:lnTo>
                  <a:cubicBezTo>
                    <a:pt x="210201" y="929"/>
                    <a:pt x="214748" y="-658"/>
                    <a:pt x="219269" y="-658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2" name="Freeform: Shape 1631">
              <a:extLst>
                <a:ext uri="{FF2B5EF4-FFF2-40B4-BE49-F238E27FC236}">
                  <a16:creationId xmlns:a16="http://schemas.microsoft.com/office/drawing/2014/main" id="{8882AA47-7EC6-48F9-8797-086393B10318}"/>
                </a:ext>
              </a:extLst>
            </p:cNvPr>
            <p:cNvSpPr/>
            <p:nvPr/>
          </p:nvSpPr>
          <p:spPr>
            <a:xfrm flipV="1">
              <a:off x="8065456" y="4148442"/>
              <a:ext cx="61170" cy="48731"/>
            </a:xfrm>
            <a:custGeom>
              <a:avLst/>
              <a:gdLst>
                <a:gd name="connsiteX0" fmla="*/ 58029 w 61170"/>
                <a:gd name="connsiteY0" fmla="*/ -662 h 48731"/>
                <a:gd name="connsiteX1" fmla="*/ 51032 w 61170"/>
                <a:gd name="connsiteY1" fmla="*/ 2953 h 48731"/>
                <a:gd name="connsiteX2" fmla="*/ -2816 w 61170"/>
                <a:gd name="connsiteY2" fmla="*/ 44462 h 48731"/>
                <a:gd name="connsiteX3" fmla="*/ 11141 w 61170"/>
                <a:gd name="connsiteY3" fmla="*/ 48069 h 48731"/>
                <a:gd name="connsiteX4" fmla="*/ 17910 w 61170"/>
                <a:gd name="connsiteY4" fmla="*/ 46809 h 48731"/>
                <a:gd name="connsiteX5" fmla="*/ 58029 w 61170"/>
                <a:gd name="connsiteY5" fmla="*/ -662 h 4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70" h="48731">
                  <a:moveTo>
                    <a:pt x="58029" y="-662"/>
                  </a:moveTo>
                  <a:cubicBezTo>
                    <a:pt x="56213" y="-662"/>
                    <a:pt x="52441" y="1569"/>
                    <a:pt x="51032" y="2953"/>
                  </a:cubicBezTo>
                  <a:lnTo>
                    <a:pt x="-2816" y="44462"/>
                  </a:lnTo>
                  <a:cubicBezTo>
                    <a:pt x="-4747" y="46367"/>
                    <a:pt x="4296" y="48069"/>
                    <a:pt x="11141" y="48069"/>
                  </a:cubicBezTo>
                  <a:cubicBezTo>
                    <a:pt x="14316" y="48069"/>
                    <a:pt x="17008" y="47697"/>
                    <a:pt x="17910" y="46809"/>
                  </a:cubicBezTo>
                  <a:cubicBezTo>
                    <a:pt x="17910" y="46809"/>
                    <a:pt x="59896" y="-662"/>
                    <a:pt x="58029" y="-662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3" name="Freeform: Shape 1632">
              <a:extLst>
                <a:ext uri="{FF2B5EF4-FFF2-40B4-BE49-F238E27FC236}">
                  <a16:creationId xmlns:a16="http://schemas.microsoft.com/office/drawing/2014/main" id="{CCDE6488-AC33-4E49-9CCF-BE9691C1C112}"/>
                </a:ext>
              </a:extLst>
            </p:cNvPr>
            <p:cNvSpPr/>
            <p:nvPr/>
          </p:nvSpPr>
          <p:spPr>
            <a:xfrm flipV="1">
              <a:off x="8065456" y="4148442"/>
              <a:ext cx="61170" cy="48731"/>
            </a:xfrm>
            <a:custGeom>
              <a:avLst/>
              <a:gdLst>
                <a:gd name="connsiteX0" fmla="*/ 58029 w 61170"/>
                <a:gd name="connsiteY0" fmla="*/ -662 h 48731"/>
                <a:gd name="connsiteX1" fmla="*/ 51032 w 61170"/>
                <a:gd name="connsiteY1" fmla="*/ 2953 h 48731"/>
                <a:gd name="connsiteX2" fmla="*/ -2816 w 61170"/>
                <a:gd name="connsiteY2" fmla="*/ 44462 h 48731"/>
                <a:gd name="connsiteX3" fmla="*/ 11141 w 61170"/>
                <a:gd name="connsiteY3" fmla="*/ 48069 h 48731"/>
                <a:gd name="connsiteX4" fmla="*/ 17910 w 61170"/>
                <a:gd name="connsiteY4" fmla="*/ 46809 h 48731"/>
                <a:gd name="connsiteX5" fmla="*/ 58029 w 61170"/>
                <a:gd name="connsiteY5" fmla="*/ -662 h 4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70" h="48731">
                  <a:moveTo>
                    <a:pt x="58029" y="-662"/>
                  </a:moveTo>
                  <a:cubicBezTo>
                    <a:pt x="56213" y="-662"/>
                    <a:pt x="52441" y="1569"/>
                    <a:pt x="51032" y="2953"/>
                  </a:cubicBezTo>
                  <a:lnTo>
                    <a:pt x="-2816" y="44462"/>
                  </a:lnTo>
                  <a:cubicBezTo>
                    <a:pt x="-4747" y="46367"/>
                    <a:pt x="4296" y="48069"/>
                    <a:pt x="11141" y="48069"/>
                  </a:cubicBezTo>
                  <a:cubicBezTo>
                    <a:pt x="14316" y="48069"/>
                    <a:pt x="17008" y="47697"/>
                    <a:pt x="17910" y="46809"/>
                  </a:cubicBezTo>
                  <a:cubicBezTo>
                    <a:pt x="17910" y="46809"/>
                    <a:pt x="59896" y="-662"/>
                    <a:pt x="58029" y="-662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4" name="Freeform: Shape 1633">
              <a:extLst>
                <a:ext uri="{FF2B5EF4-FFF2-40B4-BE49-F238E27FC236}">
                  <a16:creationId xmlns:a16="http://schemas.microsoft.com/office/drawing/2014/main" id="{09D8FC16-FA86-4F25-95F5-1A8C3483F656}"/>
                </a:ext>
              </a:extLst>
            </p:cNvPr>
            <p:cNvSpPr/>
            <p:nvPr/>
          </p:nvSpPr>
          <p:spPr>
            <a:xfrm flipV="1">
              <a:off x="7723101" y="4136468"/>
              <a:ext cx="196107" cy="53567"/>
            </a:xfrm>
            <a:custGeom>
              <a:avLst/>
              <a:gdLst>
                <a:gd name="connsiteX0" fmla="*/ -2881 w 196107"/>
                <a:gd name="connsiteY0" fmla="*/ -671 h 53567"/>
                <a:gd name="connsiteX1" fmla="*/ -2830 w 196107"/>
                <a:gd name="connsiteY1" fmla="*/ -647 h 53567"/>
                <a:gd name="connsiteX2" fmla="*/ 181599 w 196107"/>
                <a:gd name="connsiteY2" fmla="*/ 52833 h 53567"/>
                <a:gd name="connsiteX3" fmla="*/ 182082 w 196107"/>
                <a:gd name="connsiteY3" fmla="*/ 52896 h 53567"/>
                <a:gd name="connsiteX4" fmla="*/ 192419 w 196107"/>
                <a:gd name="connsiteY4" fmla="*/ 38863 h 53567"/>
                <a:gd name="connsiteX5" fmla="*/ -2881 w 196107"/>
                <a:gd name="connsiteY5" fmla="*/ -671 h 5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107" h="53567">
                  <a:moveTo>
                    <a:pt x="-2881" y="-671"/>
                  </a:moveTo>
                  <a:cubicBezTo>
                    <a:pt x="-2906" y="-671"/>
                    <a:pt x="-2894" y="-661"/>
                    <a:pt x="-2830" y="-647"/>
                  </a:cubicBezTo>
                  <a:lnTo>
                    <a:pt x="181599" y="52833"/>
                  </a:lnTo>
                  <a:cubicBezTo>
                    <a:pt x="181751" y="52882"/>
                    <a:pt x="181904" y="52896"/>
                    <a:pt x="182082" y="52896"/>
                  </a:cubicBezTo>
                  <a:cubicBezTo>
                    <a:pt x="186222" y="52896"/>
                    <a:pt x="196064" y="39969"/>
                    <a:pt x="192419" y="38863"/>
                  </a:cubicBezTo>
                  <a:cubicBezTo>
                    <a:pt x="192419" y="38863"/>
                    <a:pt x="-1192" y="-671"/>
                    <a:pt x="-2881" y="-671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5" name="Freeform: Shape 1634">
              <a:extLst>
                <a:ext uri="{FF2B5EF4-FFF2-40B4-BE49-F238E27FC236}">
                  <a16:creationId xmlns:a16="http://schemas.microsoft.com/office/drawing/2014/main" id="{AB2C519D-24C6-40F5-BC37-8D883ACFE6FC}"/>
                </a:ext>
              </a:extLst>
            </p:cNvPr>
            <p:cNvSpPr/>
            <p:nvPr/>
          </p:nvSpPr>
          <p:spPr>
            <a:xfrm flipV="1">
              <a:off x="7723101" y="4136468"/>
              <a:ext cx="196107" cy="53567"/>
            </a:xfrm>
            <a:custGeom>
              <a:avLst/>
              <a:gdLst>
                <a:gd name="connsiteX0" fmla="*/ -2881 w 196107"/>
                <a:gd name="connsiteY0" fmla="*/ -671 h 53567"/>
                <a:gd name="connsiteX1" fmla="*/ -2830 w 196107"/>
                <a:gd name="connsiteY1" fmla="*/ -647 h 53567"/>
                <a:gd name="connsiteX2" fmla="*/ 181599 w 196107"/>
                <a:gd name="connsiteY2" fmla="*/ 52833 h 53567"/>
                <a:gd name="connsiteX3" fmla="*/ 182082 w 196107"/>
                <a:gd name="connsiteY3" fmla="*/ 52896 h 53567"/>
                <a:gd name="connsiteX4" fmla="*/ 192419 w 196107"/>
                <a:gd name="connsiteY4" fmla="*/ 38863 h 53567"/>
                <a:gd name="connsiteX5" fmla="*/ -2881 w 196107"/>
                <a:gd name="connsiteY5" fmla="*/ -671 h 5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107" h="53567">
                  <a:moveTo>
                    <a:pt x="-2881" y="-671"/>
                  </a:moveTo>
                  <a:cubicBezTo>
                    <a:pt x="-2906" y="-671"/>
                    <a:pt x="-2894" y="-661"/>
                    <a:pt x="-2830" y="-647"/>
                  </a:cubicBezTo>
                  <a:lnTo>
                    <a:pt x="181599" y="52833"/>
                  </a:lnTo>
                  <a:cubicBezTo>
                    <a:pt x="181751" y="52882"/>
                    <a:pt x="181904" y="52896"/>
                    <a:pt x="182082" y="52896"/>
                  </a:cubicBezTo>
                  <a:cubicBezTo>
                    <a:pt x="186222" y="52896"/>
                    <a:pt x="196064" y="39969"/>
                    <a:pt x="192419" y="38863"/>
                  </a:cubicBezTo>
                  <a:cubicBezTo>
                    <a:pt x="192419" y="38863"/>
                    <a:pt x="-1192" y="-671"/>
                    <a:pt x="-2881" y="-671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6" name="Freeform: Shape 1635">
              <a:extLst>
                <a:ext uri="{FF2B5EF4-FFF2-40B4-BE49-F238E27FC236}">
                  <a16:creationId xmlns:a16="http://schemas.microsoft.com/office/drawing/2014/main" id="{A20C016E-56CC-4CE0-B238-A2E3844CD88F}"/>
                </a:ext>
              </a:extLst>
            </p:cNvPr>
            <p:cNvSpPr/>
            <p:nvPr/>
          </p:nvSpPr>
          <p:spPr>
            <a:xfrm flipV="1">
              <a:off x="7518275" y="3220547"/>
              <a:ext cx="876272" cy="621777"/>
            </a:xfrm>
            <a:custGeom>
              <a:avLst/>
              <a:gdLst>
                <a:gd name="connsiteX0" fmla="*/ 838375 w 876272"/>
                <a:gd name="connsiteY0" fmla="*/ 603055 h 621777"/>
                <a:gd name="connsiteX1" fmla="*/ 622044 w 876272"/>
                <a:gd name="connsiteY1" fmla="*/ 620543 h 621777"/>
                <a:gd name="connsiteX2" fmla="*/ 542516 w 876272"/>
                <a:gd name="connsiteY2" fmla="*/ 586990 h 621777"/>
                <a:gd name="connsiteX3" fmla="*/ 475397 w 876272"/>
                <a:gd name="connsiteY3" fmla="*/ 108976 h 621777"/>
                <a:gd name="connsiteX4" fmla="*/ 30568 w 876272"/>
                <a:gd name="connsiteY4" fmla="*/ 108976 h 621777"/>
                <a:gd name="connsiteX5" fmla="*/ -2986 w 876272"/>
                <a:gd name="connsiteY5" fmla="*/ 75410 h 621777"/>
                <a:gd name="connsiteX6" fmla="*/ -2986 w 876272"/>
                <a:gd name="connsiteY6" fmla="*/ 46212 h 621777"/>
                <a:gd name="connsiteX7" fmla="*/ 30568 w 876272"/>
                <a:gd name="connsiteY7" fmla="*/ 12659 h 621777"/>
                <a:gd name="connsiteX8" fmla="*/ 209739 w 876272"/>
                <a:gd name="connsiteY8" fmla="*/ 1445 h 621777"/>
                <a:gd name="connsiteX9" fmla="*/ 223137 w 876272"/>
                <a:gd name="connsiteY9" fmla="*/ -1235 h 621777"/>
                <a:gd name="connsiteX10" fmla="*/ 642198 w 876272"/>
                <a:gd name="connsiteY10" fmla="*/ -1235 h 621777"/>
                <a:gd name="connsiteX11" fmla="*/ 768563 w 876272"/>
                <a:gd name="connsiteY11" fmla="*/ -1235 h 621777"/>
                <a:gd name="connsiteX12" fmla="*/ 803475 w 876272"/>
                <a:gd name="connsiteY12" fmla="*/ 33678 h 621777"/>
                <a:gd name="connsiteX13" fmla="*/ 873287 w 876272"/>
                <a:gd name="connsiteY13" fmla="*/ 568143 h 621777"/>
                <a:gd name="connsiteX14" fmla="*/ 838375 w 876272"/>
                <a:gd name="connsiteY14" fmla="*/ 603055 h 62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6272" h="621777">
                  <a:moveTo>
                    <a:pt x="838375" y="603055"/>
                  </a:moveTo>
                  <a:cubicBezTo>
                    <a:pt x="838375" y="603055"/>
                    <a:pt x="630629" y="620543"/>
                    <a:pt x="622044" y="620543"/>
                  </a:cubicBezTo>
                  <a:cubicBezTo>
                    <a:pt x="622044" y="620543"/>
                    <a:pt x="544294" y="616009"/>
                    <a:pt x="542516" y="586990"/>
                  </a:cubicBezTo>
                  <a:lnTo>
                    <a:pt x="475397" y="108976"/>
                  </a:lnTo>
                  <a:lnTo>
                    <a:pt x="30568" y="108976"/>
                  </a:lnTo>
                  <a:cubicBezTo>
                    <a:pt x="12039" y="108976"/>
                    <a:pt x="-2986" y="93952"/>
                    <a:pt x="-2986" y="75410"/>
                  </a:cubicBezTo>
                  <a:lnTo>
                    <a:pt x="-2986" y="46212"/>
                  </a:lnTo>
                  <a:cubicBezTo>
                    <a:pt x="-2986" y="27683"/>
                    <a:pt x="12039" y="12659"/>
                    <a:pt x="30568" y="12659"/>
                  </a:cubicBezTo>
                  <a:lnTo>
                    <a:pt x="209739" y="1445"/>
                  </a:lnTo>
                  <a:cubicBezTo>
                    <a:pt x="213866" y="-282"/>
                    <a:pt x="218388" y="-1235"/>
                    <a:pt x="223137" y="-1235"/>
                  </a:cubicBezTo>
                  <a:lnTo>
                    <a:pt x="642198" y="-1235"/>
                  </a:lnTo>
                  <a:lnTo>
                    <a:pt x="768563" y="-1235"/>
                  </a:lnTo>
                  <a:cubicBezTo>
                    <a:pt x="787842" y="-1235"/>
                    <a:pt x="803475" y="14386"/>
                    <a:pt x="803475" y="33678"/>
                  </a:cubicBezTo>
                  <a:lnTo>
                    <a:pt x="873287" y="568143"/>
                  </a:lnTo>
                  <a:cubicBezTo>
                    <a:pt x="873287" y="587422"/>
                    <a:pt x="857653" y="603055"/>
                    <a:pt x="838375" y="603055"/>
                  </a:cubicBez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7" name="Freeform: Shape 1636">
              <a:extLst>
                <a:ext uri="{FF2B5EF4-FFF2-40B4-BE49-F238E27FC236}">
                  <a16:creationId xmlns:a16="http://schemas.microsoft.com/office/drawing/2014/main" id="{9F5D111D-E225-42C3-A7A6-E4D7E2D54A75}"/>
                </a:ext>
              </a:extLst>
            </p:cNvPr>
            <p:cNvSpPr/>
            <p:nvPr/>
          </p:nvSpPr>
          <p:spPr>
            <a:xfrm flipV="1">
              <a:off x="7517932" y="3249503"/>
              <a:ext cx="667154" cy="592821"/>
            </a:xfrm>
            <a:custGeom>
              <a:avLst/>
              <a:gdLst>
                <a:gd name="connsiteX0" fmla="*/ 30982 w 667154"/>
                <a:gd name="connsiteY0" fmla="*/ 108989 h 592821"/>
                <a:gd name="connsiteX1" fmla="*/ 476650 w 667154"/>
                <a:gd name="connsiteY1" fmla="*/ 82827 h 592821"/>
                <a:gd name="connsiteX2" fmla="*/ 553231 w 667154"/>
                <a:gd name="connsiteY2" fmla="*/ 569705 h 592821"/>
                <a:gd name="connsiteX3" fmla="*/ 589489 w 667154"/>
                <a:gd name="connsiteY3" fmla="*/ 591600 h 592821"/>
                <a:gd name="connsiteX4" fmla="*/ 664241 w 667154"/>
                <a:gd name="connsiteY4" fmla="*/ 568156 h 592821"/>
                <a:gd name="connsiteX5" fmla="*/ 599052 w 667154"/>
                <a:gd name="connsiteY5" fmla="*/ 38224 h 592821"/>
                <a:gd name="connsiteX6" fmla="*/ 551592 w 667154"/>
                <a:gd name="connsiteY6" fmla="*/ -1222 h 592821"/>
                <a:gd name="connsiteX7" fmla="*/ 451059 w 667154"/>
                <a:gd name="connsiteY7" fmla="*/ -1222 h 592821"/>
                <a:gd name="connsiteX8" fmla="*/ 31998 w 667154"/>
                <a:gd name="connsiteY8" fmla="*/ -1222 h 592821"/>
                <a:gd name="connsiteX9" fmla="*/ -2914 w 667154"/>
                <a:gd name="connsiteY9" fmla="*/ 33691 h 592821"/>
                <a:gd name="connsiteX10" fmla="*/ -2914 w 667154"/>
                <a:gd name="connsiteY10" fmla="*/ 64056 h 592821"/>
                <a:gd name="connsiteX11" fmla="*/ 30982 w 667154"/>
                <a:gd name="connsiteY11" fmla="*/ 108989 h 59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154" h="592821">
                  <a:moveTo>
                    <a:pt x="30982" y="108989"/>
                  </a:moveTo>
                  <a:lnTo>
                    <a:pt x="476650" y="82827"/>
                  </a:lnTo>
                  <a:lnTo>
                    <a:pt x="553231" y="569705"/>
                  </a:lnTo>
                  <a:lnTo>
                    <a:pt x="589489" y="591600"/>
                  </a:lnTo>
                  <a:lnTo>
                    <a:pt x="664241" y="568156"/>
                  </a:lnTo>
                  <a:lnTo>
                    <a:pt x="599052" y="38224"/>
                  </a:lnTo>
                  <a:lnTo>
                    <a:pt x="551592" y="-1222"/>
                  </a:lnTo>
                  <a:lnTo>
                    <a:pt x="451059" y="-1222"/>
                  </a:lnTo>
                  <a:lnTo>
                    <a:pt x="31998" y="-1222"/>
                  </a:lnTo>
                  <a:cubicBezTo>
                    <a:pt x="12732" y="-1222"/>
                    <a:pt x="-2914" y="14399"/>
                    <a:pt x="-2914" y="33691"/>
                  </a:cubicBezTo>
                  <a:lnTo>
                    <a:pt x="-2914" y="64056"/>
                  </a:lnTo>
                  <a:cubicBezTo>
                    <a:pt x="-2914" y="83335"/>
                    <a:pt x="11716" y="108989"/>
                    <a:pt x="30982" y="108989"/>
                  </a:cubicBez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8" name="Freeform: Shape 1637">
              <a:extLst>
                <a:ext uri="{FF2B5EF4-FFF2-40B4-BE49-F238E27FC236}">
                  <a16:creationId xmlns:a16="http://schemas.microsoft.com/office/drawing/2014/main" id="{332C496F-1B2E-4AFC-8E01-F227726F1BAA}"/>
                </a:ext>
              </a:extLst>
            </p:cNvPr>
            <p:cNvSpPr/>
            <p:nvPr/>
          </p:nvSpPr>
          <p:spPr>
            <a:xfrm flipV="1">
              <a:off x="7555588" y="3545253"/>
              <a:ext cx="536065" cy="279059"/>
            </a:xfrm>
            <a:custGeom>
              <a:avLst/>
              <a:gdLst>
                <a:gd name="connsiteX0" fmla="*/ -1879 w 536065"/>
                <a:gd name="connsiteY0" fmla="*/ 248974 h 279059"/>
                <a:gd name="connsiteX1" fmla="*/ -101 w 536065"/>
                <a:gd name="connsiteY1" fmla="*/ 251145 h 279059"/>
                <a:gd name="connsiteX2" fmla="*/ 5703 w 536065"/>
                <a:gd name="connsiteY2" fmla="*/ 252327 h 279059"/>
                <a:gd name="connsiteX3" fmla="*/ 22162 w 536065"/>
                <a:gd name="connsiteY3" fmla="*/ 255502 h 279059"/>
                <a:gd name="connsiteX4" fmla="*/ 508876 w 536065"/>
                <a:gd name="connsiteY4" fmla="*/ 255349 h 279059"/>
                <a:gd name="connsiteX5" fmla="*/ 524560 w 536065"/>
                <a:gd name="connsiteY5" fmla="*/ 252327 h 279059"/>
                <a:gd name="connsiteX6" fmla="*/ 530478 w 536065"/>
                <a:gd name="connsiteY6" fmla="*/ 251120 h 279059"/>
                <a:gd name="connsiteX7" fmla="*/ 532205 w 536065"/>
                <a:gd name="connsiteY7" fmla="*/ 248923 h 279059"/>
                <a:gd name="connsiteX8" fmla="*/ 533171 w 536065"/>
                <a:gd name="connsiteY8" fmla="*/ 247031 h 279059"/>
                <a:gd name="connsiteX9" fmla="*/ 532294 w 536065"/>
                <a:gd name="connsiteY9" fmla="*/ 242776 h 279059"/>
                <a:gd name="connsiteX10" fmla="*/ 529170 w 536065"/>
                <a:gd name="connsiteY10" fmla="*/ 227676 h 279059"/>
                <a:gd name="connsiteX11" fmla="*/ 505459 w 536065"/>
                <a:gd name="connsiteY11" fmla="*/ 113224 h 279059"/>
                <a:gd name="connsiteX12" fmla="*/ 500862 w 536065"/>
                <a:gd name="connsiteY12" fmla="*/ 106175 h 279059"/>
                <a:gd name="connsiteX13" fmla="*/ 481660 w 536065"/>
                <a:gd name="connsiteY13" fmla="*/ 109935 h 279059"/>
                <a:gd name="connsiteX14" fmla="*/ 480059 w 536065"/>
                <a:gd name="connsiteY14" fmla="*/ 118190 h 279059"/>
                <a:gd name="connsiteX15" fmla="*/ 482333 w 536065"/>
                <a:gd name="connsiteY15" fmla="*/ 232959 h 279059"/>
                <a:gd name="connsiteX16" fmla="*/ 48794 w 536065"/>
                <a:gd name="connsiteY16" fmla="*/ 233086 h 279059"/>
                <a:gd name="connsiteX17" fmla="*/ 70778 w 536065"/>
                <a:gd name="connsiteY17" fmla="*/ 10646 h 279059"/>
                <a:gd name="connsiteX18" fmla="*/ 69368 w 536065"/>
                <a:gd name="connsiteY18" fmla="*/ 2429 h 279059"/>
                <a:gd name="connsiteX19" fmla="*/ 51423 w 536065"/>
                <a:gd name="connsiteY19" fmla="*/ -1076 h 279059"/>
                <a:gd name="connsiteX20" fmla="*/ 47029 w 536065"/>
                <a:gd name="connsiteY20" fmla="*/ 6011 h 279059"/>
                <a:gd name="connsiteX21" fmla="*/ 1118 w 536065"/>
                <a:gd name="connsiteY21" fmla="*/ 227676 h 279059"/>
                <a:gd name="connsiteX22" fmla="*/ -2006 w 536065"/>
                <a:gd name="connsiteY22" fmla="*/ 242776 h 279059"/>
                <a:gd name="connsiteX23" fmla="*/ -2895 w 536065"/>
                <a:gd name="connsiteY23" fmla="*/ 247031 h 279059"/>
                <a:gd name="connsiteX24" fmla="*/ -1879 w 536065"/>
                <a:gd name="connsiteY24" fmla="*/ 248974 h 279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36065" h="279059">
                  <a:moveTo>
                    <a:pt x="-1879" y="248974"/>
                  </a:moveTo>
                  <a:cubicBezTo>
                    <a:pt x="-1485" y="250130"/>
                    <a:pt x="-926" y="250993"/>
                    <a:pt x="-101" y="251145"/>
                  </a:cubicBezTo>
                  <a:cubicBezTo>
                    <a:pt x="1829" y="251552"/>
                    <a:pt x="3773" y="251933"/>
                    <a:pt x="5703" y="252327"/>
                  </a:cubicBezTo>
                  <a:cubicBezTo>
                    <a:pt x="11189" y="253419"/>
                    <a:pt x="16663" y="254473"/>
                    <a:pt x="22162" y="255502"/>
                  </a:cubicBezTo>
                  <a:cubicBezTo>
                    <a:pt x="183020" y="285499"/>
                    <a:pt x="348043" y="285448"/>
                    <a:pt x="508876" y="255349"/>
                  </a:cubicBezTo>
                  <a:cubicBezTo>
                    <a:pt x="514108" y="254371"/>
                    <a:pt x="519340" y="253368"/>
                    <a:pt x="524560" y="252327"/>
                  </a:cubicBezTo>
                  <a:cubicBezTo>
                    <a:pt x="526541" y="251933"/>
                    <a:pt x="528510" y="251539"/>
                    <a:pt x="530478" y="251120"/>
                  </a:cubicBezTo>
                  <a:cubicBezTo>
                    <a:pt x="531291" y="250968"/>
                    <a:pt x="531850" y="250091"/>
                    <a:pt x="532205" y="248923"/>
                  </a:cubicBezTo>
                  <a:lnTo>
                    <a:pt x="533171" y="247031"/>
                  </a:lnTo>
                  <a:cubicBezTo>
                    <a:pt x="532878" y="245608"/>
                    <a:pt x="532574" y="244186"/>
                    <a:pt x="532294" y="242776"/>
                  </a:cubicBezTo>
                  <a:cubicBezTo>
                    <a:pt x="531253" y="237747"/>
                    <a:pt x="530212" y="232705"/>
                    <a:pt x="529170" y="227676"/>
                  </a:cubicBezTo>
                  <a:cubicBezTo>
                    <a:pt x="521258" y="189525"/>
                    <a:pt x="513359" y="151375"/>
                    <a:pt x="505459" y="113224"/>
                  </a:cubicBezTo>
                  <a:cubicBezTo>
                    <a:pt x="504583" y="108995"/>
                    <a:pt x="502526" y="105845"/>
                    <a:pt x="500862" y="106175"/>
                  </a:cubicBezTo>
                  <a:cubicBezTo>
                    <a:pt x="494474" y="107483"/>
                    <a:pt x="488073" y="108728"/>
                    <a:pt x="481660" y="109935"/>
                  </a:cubicBezTo>
                  <a:cubicBezTo>
                    <a:pt x="480009" y="110252"/>
                    <a:pt x="479285" y="113948"/>
                    <a:pt x="480059" y="118190"/>
                  </a:cubicBezTo>
                  <a:cubicBezTo>
                    <a:pt x="481368" y="156391"/>
                    <a:pt x="482117" y="194643"/>
                    <a:pt x="482333" y="232959"/>
                  </a:cubicBezTo>
                  <a:cubicBezTo>
                    <a:pt x="338848" y="257305"/>
                    <a:pt x="192291" y="257343"/>
                    <a:pt x="48794" y="233086"/>
                  </a:cubicBezTo>
                  <a:cubicBezTo>
                    <a:pt x="55068" y="158804"/>
                    <a:pt x="62395" y="84649"/>
                    <a:pt x="70778" y="10646"/>
                  </a:cubicBezTo>
                  <a:cubicBezTo>
                    <a:pt x="71539" y="6392"/>
                    <a:pt x="70917" y="2721"/>
                    <a:pt x="69368" y="2429"/>
                  </a:cubicBezTo>
                  <a:cubicBezTo>
                    <a:pt x="63373" y="1299"/>
                    <a:pt x="57392" y="143"/>
                    <a:pt x="51423" y="-1076"/>
                  </a:cubicBezTo>
                  <a:cubicBezTo>
                    <a:pt x="49861" y="-1393"/>
                    <a:pt x="47892" y="1782"/>
                    <a:pt x="47029" y="6011"/>
                  </a:cubicBezTo>
                  <a:cubicBezTo>
                    <a:pt x="31725" y="79886"/>
                    <a:pt x="16422" y="153775"/>
                    <a:pt x="1118" y="227676"/>
                  </a:cubicBezTo>
                  <a:cubicBezTo>
                    <a:pt x="77" y="232705"/>
                    <a:pt x="-965" y="237747"/>
                    <a:pt x="-2006" y="242776"/>
                  </a:cubicBezTo>
                  <a:cubicBezTo>
                    <a:pt x="-2311" y="244186"/>
                    <a:pt x="-2590" y="245608"/>
                    <a:pt x="-2895" y="247031"/>
                  </a:cubicBezTo>
                  <a:lnTo>
                    <a:pt x="-1879" y="248974"/>
                  </a:lnTo>
                </a:path>
              </a:pathLst>
            </a:custGeom>
            <a:solidFill>
              <a:srgbClr val="2E2A2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FE873645-C4E3-4F20-A962-A5CB5AABC774}"/>
                </a:ext>
              </a:extLst>
            </p:cNvPr>
            <p:cNvSpPr/>
            <p:nvPr/>
          </p:nvSpPr>
          <p:spPr>
            <a:xfrm flipV="1">
              <a:off x="8115593" y="3225754"/>
              <a:ext cx="269074" cy="42875"/>
            </a:xfrm>
            <a:custGeom>
              <a:avLst/>
              <a:gdLst>
                <a:gd name="connsiteX0" fmla="*/ -3186 w 269074"/>
                <a:gd name="connsiteY0" fmla="*/ 31354 h 42875"/>
                <a:gd name="connsiteX1" fmla="*/ 25084 w 269074"/>
                <a:gd name="connsiteY1" fmla="*/ 41387 h 42875"/>
                <a:gd name="connsiteX2" fmla="*/ 250394 w 269074"/>
                <a:gd name="connsiteY2" fmla="*/ 17638 h 42875"/>
                <a:gd name="connsiteX3" fmla="*/ 265888 w 269074"/>
                <a:gd name="connsiteY3" fmla="*/ -1488 h 42875"/>
                <a:gd name="connsiteX4" fmla="*/ 78906 w 269074"/>
                <a:gd name="connsiteY4" fmla="*/ -1488 h 42875"/>
                <a:gd name="connsiteX5" fmla="*/ -3186 w 269074"/>
                <a:gd name="connsiteY5" fmla="*/ 31354 h 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074" h="42875">
                  <a:moveTo>
                    <a:pt x="-3186" y="31354"/>
                  </a:moveTo>
                  <a:lnTo>
                    <a:pt x="25084" y="41387"/>
                  </a:lnTo>
                  <a:lnTo>
                    <a:pt x="250394" y="17638"/>
                  </a:lnTo>
                  <a:lnTo>
                    <a:pt x="265888" y="-1488"/>
                  </a:lnTo>
                  <a:lnTo>
                    <a:pt x="78906" y="-1488"/>
                  </a:lnTo>
                  <a:lnTo>
                    <a:pt x="-3186" y="31354"/>
                  </a:ln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815D3841-8793-4959-9DB9-D1128FBAA9FF}"/>
                </a:ext>
              </a:extLst>
            </p:cNvPr>
            <p:cNvSpPr/>
            <p:nvPr/>
          </p:nvSpPr>
          <p:spPr>
            <a:xfrm flipV="1">
              <a:off x="7618782" y="3541356"/>
              <a:ext cx="196754" cy="149028"/>
            </a:xfrm>
            <a:custGeom>
              <a:avLst/>
              <a:gdLst>
                <a:gd name="connsiteX0" fmla="*/ 193774 w 196754"/>
                <a:gd name="connsiteY0" fmla="*/ 104583 h 149028"/>
                <a:gd name="connsiteX1" fmla="*/ 172388 w 196754"/>
                <a:gd name="connsiteY1" fmla="*/ 84441 h 149028"/>
                <a:gd name="connsiteX2" fmla="*/ 71093 w 196754"/>
                <a:gd name="connsiteY2" fmla="*/ -954 h 149028"/>
                <a:gd name="connsiteX3" fmla="*/ 91463 w 196754"/>
                <a:gd name="connsiteY3" fmla="*/ 45452 h 149028"/>
                <a:gd name="connsiteX4" fmla="*/ 43965 w 196754"/>
                <a:gd name="connsiteY4" fmla="*/ 6310 h 149028"/>
                <a:gd name="connsiteX5" fmla="*/ 74572 w 196754"/>
                <a:gd name="connsiteY5" fmla="*/ 61568 h 149028"/>
                <a:gd name="connsiteX6" fmla="*/ 19417 w 196754"/>
                <a:gd name="connsiteY6" fmla="*/ 19480 h 149028"/>
                <a:gd name="connsiteX7" fmla="*/ 58266 w 196754"/>
                <a:gd name="connsiteY7" fmla="*/ 77329 h 149028"/>
                <a:gd name="connsiteX8" fmla="*/ -2821 w 196754"/>
                <a:gd name="connsiteY8" fmla="*/ 31152 h 149028"/>
                <a:gd name="connsiteX9" fmla="*/ 82802 w 196754"/>
                <a:gd name="connsiteY9" fmla="*/ 115022 h 149028"/>
                <a:gd name="connsiteX10" fmla="*/ 23138 w 196754"/>
                <a:gd name="connsiteY10" fmla="*/ 145540 h 149028"/>
                <a:gd name="connsiteX11" fmla="*/ 177125 w 196754"/>
                <a:gd name="connsiteY11" fmla="*/ 133247 h 149028"/>
                <a:gd name="connsiteX12" fmla="*/ 193774 w 196754"/>
                <a:gd name="connsiteY12" fmla="*/ 104583 h 149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54" h="149028">
                  <a:moveTo>
                    <a:pt x="193774" y="104583"/>
                  </a:moveTo>
                  <a:cubicBezTo>
                    <a:pt x="191717" y="104595"/>
                    <a:pt x="172388" y="84441"/>
                    <a:pt x="172388" y="84441"/>
                  </a:cubicBezTo>
                  <a:cubicBezTo>
                    <a:pt x="172388" y="84441"/>
                    <a:pt x="76922" y="-6021"/>
                    <a:pt x="71093" y="-954"/>
                  </a:cubicBezTo>
                  <a:cubicBezTo>
                    <a:pt x="65263" y="4113"/>
                    <a:pt x="91463" y="45452"/>
                    <a:pt x="91463" y="45452"/>
                  </a:cubicBezTo>
                  <a:cubicBezTo>
                    <a:pt x="91463" y="45452"/>
                    <a:pt x="50366" y="214"/>
                    <a:pt x="43965" y="6310"/>
                  </a:cubicBezTo>
                  <a:cubicBezTo>
                    <a:pt x="37565" y="12394"/>
                    <a:pt x="74572" y="61568"/>
                    <a:pt x="74572" y="61568"/>
                  </a:cubicBezTo>
                  <a:cubicBezTo>
                    <a:pt x="74572" y="61568"/>
                    <a:pt x="21652" y="8838"/>
                    <a:pt x="19417" y="19480"/>
                  </a:cubicBezTo>
                  <a:cubicBezTo>
                    <a:pt x="17169" y="30135"/>
                    <a:pt x="58266" y="77329"/>
                    <a:pt x="58266" y="77329"/>
                  </a:cubicBezTo>
                  <a:cubicBezTo>
                    <a:pt x="58266" y="77329"/>
                    <a:pt x="-3139" y="15912"/>
                    <a:pt x="-2821" y="31152"/>
                  </a:cubicBezTo>
                  <a:cubicBezTo>
                    <a:pt x="-2504" y="46404"/>
                    <a:pt x="82802" y="115022"/>
                    <a:pt x="82802" y="115022"/>
                  </a:cubicBezTo>
                  <a:cubicBezTo>
                    <a:pt x="82802" y="115022"/>
                    <a:pt x="10539" y="136206"/>
                    <a:pt x="23138" y="145540"/>
                  </a:cubicBezTo>
                  <a:cubicBezTo>
                    <a:pt x="35736" y="154849"/>
                    <a:pt x="177125" y="133247"/>
                    <a:pt x="177125" y="133247"/>
                  </a:cubicBezTo>
                  <a:cubicBezTo>
                    <a:pt x="177125" y="133247"/>
                    <a:pt x="195832" y="104570"/>
                    <a:pt x="193774" y="104583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1" name="Freeform: Shape 1640">
              <a:extLst>
                <a:ext uri="{FF2B5EF4-FFF2-40B4-BE49-F238E27FC236}">
                  <a16:creationId xmlns:a16="http://schemas.microsoft.com/office/drawing/2014/main" id="{3D573297-51DF-4047-A14A-EE8B7332D100}"/>
                </a:ext>
              </a:extLst>
            </p:cNvPr>
            <p:cNvSpPr/>
            <p:nvPr/>
          </p:nvSpPr>
          <p:spPr>
            <a:xfrm flipV="1">
              <a:off x="7772503" y="3049677"/>
              <a:ext cx="279678" cy="556415"/>
            </a:xfrm>
            <a:custGeom>
              <a:avLst/>
              <a:gdLst>
                <a:gd name="connsiteX0" fmla="*/ 160645 w 279678"/>
                <a:gd name="connsiteY0" fmla="*/ 554842 h 556415"/>
                <a:gd name="connsiteX1" fmla="*/ 168938 w 279678"/>
                <a:gd name="connsiteY1" fmla="*/ 184676 h 556415"/>
                <a:gd name="connsiteX2" fmla="*/ -2956 w 279678"/>
                <a:gd name="connsiteY2" fmla="*/ 53752 h 556415"/>
                <a:gd name="connsiteX3" fmla="*/ 24616 w 279678"/>
                <a:gd name="connsiteY3" fmla="*/ -1416 h 556415"/>
                <a:gd name="connsiteX4" fmla="*/ 276723 w 279678"/>
                <a:gd name="connsiteY4" fmla="*/ 111182 h 556415"/>
                <a:gd name="connsiteX5" fmla="*/ 160645 w 279678"/>
                <a:gd name="connsiteY5" fmla="*/ 554842 h 55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9678" h="556415">
                  <a:moveTo>
                    <a:pt x="160645" y="554842"/>
                  </a:moveTo>
                  <a:cubicBezTo>
                    <a:pt x="67605" y="563821"/>
                    <a:pt x="168938" y="184676"/>
                    <a:pt x="168938" y="184676"/>
                  </a:cubicBezTo>
                  <a:lnTo>
                    <a:pt x="-2956" y="53752"/>
                  </a:lnTo>
                  <a:lnTo>
                    <a:pt x="24616" y="-1416"/>
                  </a:lnTo>
                  <a:lnTo>
                    <a:pt x="276723" y="111182"/>
                  </a:lnTo>
                  <a:cubicBezTo>
                    <a:pt x="276723" y="111182"/>
                    <a:pt x="263083" y="544949"/>
                    <a:pt x="160645" y="554842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2" name="Freeform: Shape 1641">
              <a:extLst>
                <a:ext uri="{FF2B5EF4-FFF2-40B4-BE49-F238E27FC236}">
                  <a16:creationId xmlns:a16="http://schemas.microsoft.com/office/drawing/2014/main" id="{24B48A7B-6564-4A14-B669-CC03839BDA22}"/>
                </a:ext>
              </a:extLst>
            </p:cNvPr>
            <p:cNvSpPr/>
            <p:nvPr/>
          </p:nvSpPr>
          <p:spPr>
            <a:xfrm flipV="1">
              <a:off x="7792950" y="3049677"/>
              <a:ext cx="259231" cy="565559"/>
            </a:xfrm>
            <a:custGeom>
              <a:avLst/>
              <a:gdLst>
                <a:gd name="connsiteX0" fmla="*/ -2962 w 259231"/>
                <a:gd name="connsiteY0" fmla="*/ 78471 h 565559"/>
                <a:gd name="connsiteX1" fmla="*/ 28038 w 259231"/>
                <a:gd name="connsiteY1" fmla="*/ -1412 h 565559"/>
                <a:gd name="connsiteX2" fmla="*/ 256269 w 259231"/>
                <a:gd name="connsiteY2" fmla="*/ 120330 h 565559"/>
                <a:gd name="connsiteX3" fmla="*/ 140192 w 259231"/>
                <a:gd name="connsiteY3" fmla="*/ 563991 h 565559"/>
                <a:gd name="connsiteX4" fmla="*/ 148485 w 259231"/>
                <a:gd name="connsiteY4" fmla="*/ 193824 h 565559"/>
                <a:gd name="connsiteX5" fmla="*/ -2962 w 259231"/>
                <a:gd name="connsiteY5" fmla="*/ 78471 h 56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231" h="565559">
                  <a:moveTo>
                    <a:pt x="-2962" y="78471"/>
                  </a:moveTo>
                  <a:cubicBezTo>
                    <a:pt x="4759" y="57262"/>
                    <a:pt x="20494" y="19848"/>
                    <a:pt x="28038" y="-1412"/>
                  </a:cubicBezTo>
                  <a:lnTo>
                    <a:pt x="256269" y="120330"/>
                  </a:lnTo>
                  <a:cubicBezTo>
                    <a:pt x="256269" y="120330"/>
                    <a:pt x="242630" y="554097"/>
                    <a:pt x="140192" y="563991"/>
                  </a:cubicBezTo>
                  <a:cubicBezTo>
                    <a:pt x="47152" y="572969"/>
                    <a:pt x="148485" y="193824"/>
                    <a:pt x="148485" y="193824"/>
                  </a:cubicBezTo>
                  <a:lnTo>
                    <a:pt x="-2962" y="78471"/>
                  </a:ln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EA2B35CA-8307-4D6E-98A3-14FF1E20EFA9}"/>
                </a:ext>
              </a:extLst>
            </p:cNvPr>
            <p:cNvSpPr/>
            <p:nvPr/>
          </p:nvSpPr>
          <p:spPr>
            <a:xfrm flipV="1">
              <a:off x="7923949" y="2778381"/>
              <a:ext cx="57262" cy="19448"/>
            </a:xfrm>
            <a:custGeom>
              <a:avLst/>
              <a:gdLst>
                <a:gd name="connsiteX0" fmla="*/ 51501 w 57262"/>
                <a:gd name="connsiteY0" fmla="*/ 8592 h 19448"/>
                <a:gd name="connsiteX1" fmla="*/ -556 w 57262"/>
                <a:gd name="connsiteY1" fmla="*/ 13317 h 19448"/>
                <a:gd name="connsiteX2" fmla="*/ -2284 w 57262"/>
                <a:gd name="connsiteY2" fmla="*/ -1898 h 19448"/>
                <a:gd name="connsiteX3" fmla="*/ -886 w 57262"/>
                <a:gd name="connsiteY3" fmla="*/ -1682 h 19448"/>
                <a:gd name="connsiteX4" fmla="*/ 47856 w 57262"/>
                <a:gd name="connsiteY4" fmla="*/ -387 h 19448"/>
                <a:gd name="connsiteX5" fmla="*/ 53901 w 57262"/>
                <a:gd name="connsiteY5" fmla="*/ 2369 h 19448"/>
                <a:gd name="connsiteX6" fmla="*/ 51501 w 57262"/>
                <a:gd name="connsiteY6" fmla="*/ 8592 h 19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262" h="19448">
                  <a:moveTo>
                    <a:pt x="51501" y="8592"/>
                  </a:moveTo>
                  <a:cubicBezTo>
                    <a:pt x="50155" y="9342"/>
                    <a:pt x="27854" y="24810"/>
                    <a:pt x="-556" y="13317"/>
                  </a:cubicBezTo>
                  <a:cubicBezTo>
                    <a:pt x="-2525" y="12529"/>
                    <a:pt x="-3871" y="-1796"/>
                    <a:pt x="-2284" y="-1898"/>
                  </a:cubicBezTo>
                  <a:lnTo>
                    <a:pt x="-886" y="-1682"/>
                  </a:lnTo>
                  <a:cubicBezTo>
                    <a:pt x="25504" y="8351"/>
                    <a:pt x="47386" y="-107"/>
                    <a:pt x="47856" y="-387"/>
                  </a:cubicBezTo>
                  <a:cubicBezTo>
                    <a:pt x="50129" y="-1352"/>
                    <a:pt x="52873" y="-133"/>
                    <a:pt x="53901" y="2369"/>
                  </a:cubicBezTo>
                  <a:cubicBezTo>
                    <a:pt x="54917" y="4859"/>
                    <a:pt x="53812" y="7640"/>
                    <a:pt x="51501" y="8592"/>
                  </a:cubicBezTo>
                </a:path>
              </a:pathLst>
            </a:custGeom>
            <a:solidFill>
              <a:srgbClr val="7B3D1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4" name="Freeform: Shape 1643">
              <a:extLst>
                <a:ext uri="{FF2B5EF4-FFF2-40B4-BE49-F238E27FC236}">
                  <a16:creationId xmlns:a16="http://schemas.microsoft.com/office/drawing/2014/main" id="{CCA03341-10DB-4AE4-8E9A-3B07D7859916}"/>
                </a:ext>
              </a:extLst>
            </p:cNvPr>
            <p:cNvSpPr/>
            <p:nvPr/>
          </p:nvSpPr>
          <p:spPr>
            <a:xfrm flipV="1">
              <a:off x="7218916" y="4185771"/>
              <a:ext cx="267177" cy="119229"/>
            </a:xfrm>
            <a:custGeom>
              <a:avLst/>
              <a:gdLst>
                <a:gd name="connsiteX0" fmla="*/ 153556 w 267177"/>
                <a:gd name="connsiteY0" fmla="*/ 116664 h 119229"/>
                <a:gd name="connsiteX1" fmla="*/ 191465 w 267177"/>
                <a:gd name="connsiteY1" fmla="*/ 91543 h 119229"/>
                <a:gd name="connsiteX2" fmla="*/ 198806 w 267177"/>
                <a:gd name="connsiteY2" fmla="*/ 78808 h 119229"/>
                <a:gd name="connsiteX3" fmla="*/ 264604 w 267177"/>
                <a:gd name="connsiteY3" fmla="*/ 82603 h 119229"/>
                <a:gd name="connsiteX4" fmla="*/ 243459 w 267177"/>
                <a:gd name="connsiteY4" fmla="*/ 28236 h 119229"/>
                <a:gd name="connsiteX5" fmla="*/ -1727 w 267177"/>
                <a:gd name="connsiteY5" fmla="*/ 38203 h 119229"/>
                <a:gd name="connsiteX6" fmla="*/ 153556 w 267177"/>
                <a:gd name="connsiteY6" fmla="*/ 116664 h 119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177" h="119229">
                  <a:moveTo>
                    <a:pt x="153556" y="116664"/>
                  </a:moveTo>
                  <a:cubicBezTo>
                    <a:pt x="186881" y="127271"/>
                    <a:pt x="191465" y="91543"/>
                    <a:pt x="191465" y="91543"/>
                  </a:cubicBezTo>
                  <a:lnTo>
                    <a:pt x="198806" y="78808"/>
                  </a:lnTo>
                  <a:cubicBezTo>
                    <a:pt x="216992" y="51300"/>
                    <a:pt x="264604" y="82603"/>
                    <a:pt x="264604" y="82603"/>
                  </a:cubicBezTo>
                  <a:cubicBezTo>
                    <a:pt x="264604" y="82603"/>
                    <a:pt x="262877" y="38575"/>
                    <a:pt x="243459" y="28236"/>
                  </a:cubicBezTo>
                  <a:cubicBezTo>
                    <a:pt x="179349" y="-5954"/>
                    <a:pt x="72657" y="-17776"/>
                    <a:pt x="-1727" y="38203"/>
                  </a:cubicBezTo>
                  <a:cubicBezTo>
                    <a:pt x="-15024" y="68698"/>
                    <a:pt x="132347" y="91875"/>
                    <a:pt x="153556" y="116664"/>
                  </a:cubicBezTo>
                </a:path>
              </a:pathLst>
            </a:custGeom>
            <a:solidFill>
              <a:srgbClr val="5933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5" name="Freeform: Shape 1644">
              <a:extLst>
                <a:ext uri="{FF2B5EF4-FFF2-40B4-BE49-F238E27FC236}">
                  <a16:creationId xmlns:a16="http://schemas.microsoft.com/office/drawing/2014/main" id="{14E7072B-902E-4289-8BB9-F418CB7D2D2C}"/>
                </a:ext>
              </a:extLst>
            </p:cNvPr>
            <p:cNvSpPr/>
            <p:nvPr/>
          </p:nvSpPr>
          <p:spPr>
            <a:xfrm flipV="1">
              <a:off x="7214446" y="4262088"/>
              <a:ext cx="255831" cy="46951"/>
            </a:xfrm>
            <a:custGeom>
              <a:avLst/>
              <a:gdLst>
                <a:gd name="connsiteX0" fmla="*/ 53728 w 255831"/>
                <a:gd name="connsiteY0" fmla="*/ 10984 h 46951"/>
                <a:gd name="connsiteX1" fmla="*/ -958 w 255831"/>
                <a:gd name="connsiteY1" fmla="*/ 39355 h 46951"/>
                <a:gd name="connsiteX2" fmla="*/ -1059 w 255831"/>
                <a:gd name="connsiteY2" fmla="*/ 45161 h 46951"/>
                <a:gd name="connsiteX3" fmla="*/ 6472 w 255831"/>
                <a:gd name="connsiteY3" fmla="*/ 45215 h 46951"/>
                <a:gd name="connsiteX4" fmla="*/ 244926 w 255831"/>
                <a:gd name="connsiteY4" fmla="*/ 35690 h 46951"/>
                <a:gd name="connsiteX5" fmla="*/ 252318 w 255831"/>
                <a:gd name="connsiteY5" fmla="*/ 34634 h 46951"/>
                <a:gd name="connsiteX6" fmla="*/ 250971 w 255831"/>
                <a:gd name="connsiteY6" fmla="*/ 28933 h 46951"/>
                <a:gd name="connsiteX7" fmla="*/ 53728 w 255831"/>
                <a:gd name="connsiteY7" fmla="*/ 10984 h 4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831" h="46951">
                  <a:moveTo>
                    <a:pt x="53728" y="10984"/>
                  </a:moveTo>
                  <a:cubicBezTo>
                    <a:pt x="34272" y="17438"/>
                    <a:pt x="15768" y="26746"/>
                    <a:pt x="-958" y="39355"/>
                  </a:cubicBezTo>
                  <a:cubicBezTo>
                    <a:pt x="-3066" y="40943"/>
                    <a:pt x="-3104" y="43538"/>
                    <a:pt x="-1059" y="45161"/>
                  </a:cubicBezTo>
                  <a:cubicBezTo>
                    <a:pt x="985" y="46777"/>
                    <a:pt x="4338" y="46803"/>
                    <a:pt x="6472" y="45215"/>
                  </a:cubicBezTo>
                  <a:cubicBezTo>
                    <a:pt x="76232" y="-7286"/>
                    <a:pt x="179242" y="675"/>
                    <a:pt x="244926" y="35690"/>
                  </a:cubicBezTo>
                  <a:cubicBezTo>
                    <a:pt x="247352" y="36969"/>
                    <a:pt x="250641" y="36488"/>
                    <a:pt x="252318" y="34634"/>
                  </a:cubicBezTo>
                  <a:cubicBezTo>
                    <a:pt x="253994" y="32778"/>
                    <a:pt x="253384" y="30228"/>
                    <a:pt x="250971" y="28933"/>
                  </a:cubicBezTo>
                  <a:cubicBezTo>
                    <a:pt x="197390" y="368"/>
                    <a:pt x="120162" y="-11037"/>
                    <a:pt x="53728" y="10984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6" name="Freeform: Shape 1645">
              <a:extLst>
                <a:ext uri="{FF2B5EF4-FFF2-40B4-BE49-F238E27FC236}">
                  <a16:creationId xmlns:a16="http://schemas.microsoft.com/office/drawing/2014/main" id="{3933DBB5-60B3-40D1-A589-C34B8B972040}"/>
                </a:ext>
              </a:extLst>
            </p:cNvPr>
            <p:cNvSpPr/>
            <p:nvPr/>
          </p:nvSpPr>
          <p:spPr>
            <a:xfrm flipV="1">
              <a:off x="4566733" y="4259444"/>
              <a:ext cx="56243" cy="56231"/>
            </a:xfrm>
            <a:custGeom>
              <a:avLst/>
              <a:gdLst>
                <a:gd name="connsiteX0" fmla="*/ 55551 w 56243"/>
                <a:gd name="connsiteY0" fmla="*/ 27554 h 56231"/>
                <a:gd name="connsiteX1" fmla="*/ 27427 w 56243"/>
                <a:gd name="connsiteY1" fmla="*/ -560 h 56231"/>
                <a:gd name="connsiteX2" fmla="*/ -692 w 56243"/>
                <a:gd name="connsiteY2" fmla="*/ 27554 h 56231"/>
                <a:gd name="connsiteX3" fmla="*/ 27427 w 56243"/>
                <a:gd name="connsiteY3" fmla="*/ 55672 h 56231"/>
                <a:gd name="connsiteX4" fmla="*/ 55551 w 56243"/>
                <a:gd name="connsiteY4" fmla="*/ 27554 h 5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3" h="56231">
                  <a:moveTo>
                    <a:pt x="55551" y="27554"/>
                  </a:moveTo>
                  <a:cubicBezTo>
                    <a:pt x="55551" y="12021"/>
                    <a:pt x="42965" y="-560"/>
                    <a:pt x="27427" y="-560"/>
                  </a:cubicBezTo>
                  <a:cubicBezTo>
                    <a:pt x="11900" y="-560"/>
                    <a:pt x="-692" y="12021"/>
                    <a:pt x="-692" y="27554"/>
                  </a:cubicBezTo>
                  <a:cubicBezTo>
                    <a:pt x="-692" y="43086"/>
                    <a:pt x="11900" y="55672"/>
                    <a:pt x="27427" y="55672"/>
                  </a:cubicBezTo>
                  <a:cubicBezTo>
                    <a:pt x="42965" y="55672"/>
                    <a:pt x="55551" y="43086"/>
                    <a:pt x="55551" y="2755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7" name="Freeform: Shape 1646">
              <a:extLst>
                <a:ext uri="{FF2B5EF4-FFF2-40B4-BE49-F238E27FC236}">
                  <a16:creationId xmlns:a16="http://schemas.microsoft.com/office/drawing/2014/main" id="{DB5D631E-D6A2-4AA8-8D86-C0FFCB12FCDA}"/>
                </a:ext>
              </a:extLst>
            </p:cNvPr>
            <p:cNvSpPr/>
            <p:nvPr/>
          </p:nvSpPr>
          <p:spPr>
            <a:xfrm flipV="1">
              <a:off x="4554758" y="4247453"/>
              <a:ext cx="80192" cy="80204"/>
            </a:xfrm>
            <a:custGeom>
              <a:avLst/>
              <a:gdLst>
                <a:gd name="connsiteX0" fmla="*/ 39412 w 80192"/>
                <a:gd name="connsiteY0" fmla="*/ 55692 h 80204"/>
                <a:gd name="connsiteX1" fmla="*/ 23254 w 80192"/>
                <a:gd name="connsiteY1" fmla="*/ 39535 h 80204"/>
                <a:gd name="connsiteX2" fmla="*/ 39412 w 80192"/>
                <a:gd name="connsiteY2" fmla="*/ 23382 h 80204"/>
                <a:gd name="connsiteX3" fmla="*/ 55560 w 80192"/>
                <a:gd name="connsiteY3" fmla="*/ 39535 h 80204"/>
                <a:gd name="connsiteX4" fmla="*/ 39412 w 80192"/>
                <a:gd name="connsiteY4" fmla="*/ 55692 h 80204"/>
                <a:gd name="connsiteX5" fmla="*/ 39412 w 80192"/>
                <a:gd name="connsiteY5" fmla="*/ -560 h 80204"/>
                <a:gd name="connsiteX6" fmla="*/ -692 w 80192"/>
                <a:gd name="connsiteY6" fmla="*/ 39535 h 80204"/>
                <a:gd name="connsiteX7" fmla="*/ 39412 w 80192"/>
                <a:gd name="connsiteY7" fmla="*/ 79644 h 80204"/>
                <a:gd name="connsiteX8" fmla="*/ 79501 w 80192"/>
                <a:gd name="connsiteY8" fmla="*/ 39535 h 80204"/>
                <a:gd name="connsiteX9" fmla="*/ 39412 w 80192"/>
                <a:gd name="connsiteY9" fmla="*/ -560 h 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92" h="80204">
                  <a:moveTo>
                    <a:pt x="39412" y="55692"/>
                  </a:moveTo>
                  <a:cubicBezTo>
                    <a:pt x="30497" y="55692"/>
                    <a:pt x="23254" y="48449"/>
                    <a:pt x="23254" y="39535"/>
                  </a:cubicBezTo>
                  <a:cubicBezTo>
                    <a:pt x="23254" y="30635"/>
                    <a:pt x="30497" y="23382"/>
                    <a:pt x="39412" y="23382"/>
                  </a:cubicBezTo>
                  <a:cubicBezTo>
                    <a:pt x="48312" y="23382"/>
                    <a:pt x="55560" y="30635"/>
                    <a:pt x="55560" y="39535"/>
                  </a:cubicBezTo>
                  <a:cubicBezTo>
                    <a:pt x="55560" y="48449"/>
                    <a:pt x="48312" y="55692"/>
                    <a:pt x="39412" y="55692"/>
                  </a:cubicBezTo>
                  <a:close/>
                  <a:moveTo>
                    <a:pt x="39412" y="-560"/>
                  </a:moveTo>
                  <a:cubicBezTo>
                    <a:pt x="17297" y="-560"/>
                    <a:pt x="-692" y="17425"/>
                    <a:pt x="-692" y="39535"/>
                  </a:cubicBezTo>
                  <a:cubicBezTo>
                    <a:pt x="-692" y="61646"/>
                    <a:pt x="17297" y="79644"/>
                    <a:pt x="39412" y="79644"/>
                  </a:cubicBezTo>
                  <a:cubicBezTo>
                    <a:pt x="61518" y="79644"/>
                    <a:pt x="79501" y="61646"/>
                    <a:pt x="79501" y="39535"/>
                  </a:cubicBezTo>
                  <a:cubicBezTo>
                    <a:pt x="79501" y="17425"/>
                    <a:pt x="61518" y="-560"/>
                    <a:pt x="39412" y="-560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8" name="Freeform: Shape 1647">
              <a:extLst>
                <a:ext uri="{FF2B5EF4-FFF2-40B4-BE49-F238E27FC236}">
                  <a16:creationId xmlns:a16="http://schemas.microsoft.com/office/drawing/2014/main" id="{C2C1DF89-4D0C-47EB-9FDF-DA9BC7004873}"/>
                </a:ext>
              </a:extLst>
            </p:cNvPr>
            <p:cNvSpPr/>
            <p:nvPr/>
          </p:nvSpPr>
          <p:spPr>
            <a:xfrm flipV="1">
              <a:off x="4551141" y="4243837"/>
              <a:ext cx="87431" cy="43724"/>
            </a:xfrm>
            <a:custGeom>
              <a:avLst/>
              <a:gdLst>
                <a:gd name="connsiteX0" fmla="*/ 86740 w 87431"/>
                <a:gd name="connsiteY0" fmla="*/ -579 h 43724"/>
                <a:gd name="connsiteX1" fmla="*/ 86740 w 87431"/>
                <a:gd name="connsiteY1" fmla="*/ -579 h 43724"/>
                <a:gd name="connsiteX2" fmla="*/ 43019 w 87431"/>
                <a:gd name="connsiteY2" fmla="*/ 43145 h 43724"/>
                <a:gd name="connsiteX3" fmla="*/ -692 w 87431"/>
                <a:gd name="connsiteY3" fmla="*/ -579 h 43724"/>
                <a:gd name="connsiteX4" fmla="*/ 86740 w 87431"/>
                <a:gd name="connsiteY4" fmla="*/ -579 h 4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1" h="43724">
                  <a:moveTo>
                    <a:pt x="86740" y="-579"/>
                  </a:moveTo>
                  <a:lnTo>
                    <a:pt x="86740" y="-579"/>
                  </a:lnTo>
                  <a:cubicBezTo>
                    <a:pt x="86740" y="23540"/>
                    <a:pt x="67125" y="43145"/>
                    <a:pt x="43019" y="43145"/>
                  </a:cubicBezTo>
                  <a:cubicBezTo>
                    <a:pt x="18920" y="43145"/>
                    <a:pt x="-692" y="23540"/>
                    <a:pt x="-692" y="-579"/>
                  </a:cubicBezTo>
                  <a:lnTo>
                    <a:pt x="86740" y="-579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9" name="Freeform: Shape 1648">
              <a:extLst>
                <a:ext uri="{FF2B5EF4-FFF2-40B4-BE49-F238E27FC236}">
                  <a16:creationId xmlns:a16="http://schemas.microsoft.com/office/drawing/2014/main" id="{EC1F5CEF-829D-404E-99EE-53E8D2861AA1}"/>
                </a:ext>
              </a:extLst>
            </p:cNvPr>
            <p:cNvSpPr/>
            <p:nvPr/>
          </p:nvSpPr>
          <p:spPr>
            <a:xfrm flipV="1">
              <a:off x="4373456" y="4259444"/>
              <a:ext cx="56241" cy="56231"/>
            </a:xfrm>
            <a:custGeom>
              <a:avLst/>
              <a:gdLst>
                <a:gd name="connsiteX0" fmla="*/ 55682 w 56241"/>
                <a:gd name="connsiteY0" fmla="*/ 27554 h 56231"/>
                <a:gd name="connsiteX1" fmla="*/ 27559 w 56241"/>
                <a:gd name="connsiteY1" fmla="*/ -560 h 56231"/>
                <a:gd name="connsiteX2" fmla="*/ -560 w 56241"/>
                <a:gd name="connsiteY2" fmla="*/ 27554 h 56231"/>
                <a:gd name="connsiteX3" fmla="*/ 27559 w 56241"/>
                <a:gd name="connsiteY3" fmla="*/ 55672 h 56231"/>
                <a:gd name="connsiteX4" fmla="*/ 55682 w 56241"/>
                <a:gd name="connsiteY4" fmla="*/ 27554 h 5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1" h="56231">
                  <a:moveTo>
                    <a:pt x="55682" y="27554"/>
                  </a:moveTo>
                  <a:cubicBezTo>
                    <a:pt x="55682" y="12021"/>
                    <a:pt x="43096" y="-560"/>
                    <a:pt x="27559" y="-560"/>
                  </a:cubicBezTo>
                  <a:cubicBezTo>
                    <a:pt x="12036" y="-560"/>
                    <a:pt x="-560" y="12021"/>
                    <a:pt x="-560" y="27554"/>
                  </a:cubicBezTo>
                  <a:cubicBezTo>
                    <a:pt x="-560" y="43086"/>
                    <a:pt x="12036" y="55672"/>
                    <a:pt x="27559" y="55672"/>
                  </a:cubicBezTo>
                  <a:cubicBezTo>
                    <a:pt x="43096" y="55672"/>
                    <a:pt x="55682" y="43086"/>
                    <a:pt x="55682" y="2755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0" name="Freeform: Shape 1649">
              <a:extLst>
                <a:ext uri="{FF2B5EF4-FFF2-40B4-BE49-F238E27FC236}">
                  <a16:creationId xmlns:a16="http://schemas.microsoft.com/office/drawing/2014/main" id="{08B52244-1FDB-4529-B609-4E4C14E0A457}"/>
                </a:ext>
              </a:extLst>
            </p:cNvPr>
            <p:cNvSpPr/>
            <p:nvPr/>
          </p:nvSpPr>
          <p:spPr>
            <a:xfrm flipV="1">
              <a:off x="4361480" y="4247453"/>
              <a:ext cx="80193" cy="80204"/>
            </a:xfrm>
            <a:custGeom>
              <a:avLst/>
              <a:gdLst>
                <a:gd name="connsiteX0" fmla="*/ 39535 w 80193"/>
                <a:gd name="connsiteY0" fmla="*/ 55692 h 80204"/>
                <a:gd name="connsiteX1" fmla="*/ 23392 w 80193"/>
                <a:gd name="connsiteY1" fmla="*/ 39535 h 80204"/>
                <a:gd name="connsiteX2" fmla="*/ 39535 w 80193"/>
                <a:gd name="connsiteY2" fmla="*/ 23382 h 80204"/>
                <a:gd name="connsiteX3" fmla="*/ 55692 w 80193"/>
                <a:gd name="connsiteY3" fmla="*/ 39535 h 80204"/>
                <a:gd name="connsiteX4" fmla="*/ 39535 w 80193"/>
                <a:gd name="connsiteY4" fmla="*/ 55692 h 80204"/>
                <a:gd name="connsiteX5" fmla="*/ 39535 w 80193"/>
                <a:gd name="connsiteY5" fmla="*/ -560 h 80204"/>
                <a:gd name="connsiteX6" fmla="*/ -560 w 80193"/>
                <a:gd name="connsiteY6" fmla="*/ 39535 h 80204"/>
                <a:gd name="connsiteX7" fmla="*/ 39535 w 80193"/>
                <a:gd name="connsiteY7" fmla="*/ 79644 h 80204"/>
                <a:gd name="connsiteX8" fmla="*/ 79634 w 80193"/>
                <a:gd name="connsiteY8" fmla="*/ 39535 h 80204"/>
                <a:gd name="connsiteX9" fmla="*/ 39535 w 80193"/>
                <a:gd name="connsiteY9" fmla="*/ -560 h 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93" h="80204">
                  <a:moveTo>
                    <a:pt x="39535" y="55692"/>
                  </a:moveTo>
                  <a:cubicBezTo>
                    <a:pt x="30635" y="55692"/>
                    <a:pt x="23392" y="48449"/>
                    <a:pt x="23392" y="39535"/>
                  </a:cubicBezTo>
                  <a:cubicBezTo>
                    <a:pt x="23392" y="30635"/>
                    <a:pt x="30635" y="23382"/>
                    <a:pt x="39535" y="23382"/>
                  </a:cubicBezTo>
                  <a:cubicBezTo>
                    <a:pt x="48439" y="23382"/>
                    <a:pt x="55692" y="30635"/>
                    <a:pt x="55692" y="39535"/>
                  </a:cubicBezTo>
                  <a:cubicBezTo>
                    <a:pt x="55692" y="48449"/>
                    <a:pt x="48439" y="55692"/>
                    <a:pt x="39535" y="55692"/>
                  </a:cubicBezTo>
                  <a:close/>
                  <a:moveTo>
                    <a:pt x="39535" y="-560"/>
                  </a:moveTo>
                  <a:cubicBezTo>
                    <a:pt x="17429" y="-560"/>
                    <a:pt x="-560" y="17425"/>
                    <a:pt x="-560" y="39535"/>
                  </a:cubicBezTo>
                  <a:cubicBezTo>
                    <a:pt x="-560" y="61646"/>
                    <a:pt x="17429" y="79644"/>
                    <a:pt x="39535" y="79644"/>
                  </a:cubicBezTo>
                  <a:cubicBezTo>
                    <a:pt x="61646" y="79644"/>
                    <a:pt x="79634" y="61646"/>
                    <a:pt x="79634" y="39535"/>
                  </a:cubicBezTo>
                  <a:cubicBezTo>
                    <a:pt x="79634" y="17425"/>
                    <a:pt x="61646" y="-560"/>
                    <a:pt x="39535" y="-560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1" name="Freeform: Shape 1650">
              <a:extLst>
                <a:ext uri="{FF2B5EF4-FFF2-40B4-BE49-F238E27FC236}">
                  <a16:creationId xmlns:a16="http://schemas.microsoft.com/office/drawing/2014/main" id="{8CFCBB86-C549-401F-BBA0-908B52594127}"/>
                </a:ext>
              </a:extLst>
            </p:cNvPr>
            <p:cNvSpPr/>
            <p:nvPr/>
          </p:nvSpPr>
          <p:spPr>
            <a:xfrm flipV="1">
              <a:off x="4357859" y="4243837"/>
              <a:ext cx="87435" cy="43724"/>
            </a:xfrm>
            <a:custGeom>
              <a:avLst/>
              <a:gdLst>
                <a:gd name="connsiteX0" fmla="*/ 86876 w 87435"/>
                <a:gd name="connsiteY0" fmla="*/ -579 h 43724"/>
                <a:gd name="connsiteX1" fmla="*/ 86876 w 87435"/>
                <a:gd name="connsiteY1" fmla="*/ -579 h 43724"/>
                <a:gd name="connsiteX2" fmla="*/ 43156 w 87435"/>
                <a:gd name="connsiteY2" fmla="*/ 43145 h 43724"/>
                <a:gd name="connsiteX3" fmla="*/ -560 w 87435"/>
                <a:gd name="connsiteY3" fmla="*/ -579 h 43724"/>
                <a:gd name="connsiteX4" fmla="*/ 86876 w 87435"/>
                <a:gd name="connsiteY4" fmla="*/ -579 h 4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5" h="43724">
                  <a:moveTo>
                    <a:pt x="86876" y="-579"/>
                  </a:moveTo>
                  <a:lnTo>
                    <a:pt x="86876" y="-579"/>
                  </a:lnTo>
                  <a:cubicBezTo>
                    <a:pt x="86876" y="23540"/>
                    <a:pt x="67261" y="43145"/>
                    <a:pt x="43156" y="43145"/>
                  </a:cubicBezTo>
                  <a:cubicBezTo>
                    <a:pt x="19055" y="43145"/>
                    <a:pt x="-560" y="23540"/>
                    <a:pt x="-560" y="-579"/>
                  </a:cubicBezTo>
                  <a:lnTo>
                    <a:pt x="86876" y="-579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2" name="Freeform: Shape 1651">
              <a:extLst>
                <a:ext uri="{FF2B5EF4-FFF2-40B4-BE49-F238E27FC236}">
                  <a16:creationId xmlns:a16="http://schemas.microsoft.com/office/drawing/2014/main" id="{C05D0F45-C4A1-4F9B-9BF0-80563048151C}"/>
                </a:ext>
              </a:extLst>
            </p:cNvPr>
            <p:cNvSpPr/>
            <p:nvPr/>
          </p:nvSpPr>
          <p:spPr>
            <a:xfrm flipV="1">
              <a:off x="4131011" y="4259444"/>
              <a:ext cx="56246" cy="56231"/>
            </a:xfrm>
            <a:custGeom>
              <a:avLst/>
              <a:gdLst>
                <a:gd name="connsiteX0" fmla="*/ 55853 w 56246"/>
                <a:gd name="connsiteY0" fmla="*/ 27554 h 56231"/>
                <a:gd name="connsiteX1" fmla="*/ 27723 w 56246"/>
                <a:gd name="connsiteY1" fmla="*/ -560 h 56231"/>
                <a:gd name="connsiteX2" fmla="*/ -394 w 56246"/>
                <a:gd name="connsiteY2" fmla="*/ 27554 h 56231"/>
                <a:gd name="connsiteX3" fmla="*/ 27723 w 56246"/>
                <a:gd name="connsiteY3" fmla="*/ 55672 h 56231"/>
                <a:gd name="connsiteX4" fmla="*/ 55853 w 56246"/>
                <a:gd name="connsiteY4" fmla="*/ 27554 h 5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6" h="56231">
                  <a:moveTo>
                    <a:pt x="55853" y="27554"/>
                  </a:moveTo>
                  <a:cubicBezTo>
                    <a:pt x="55853" y="12021"/>
                    <a:pt x="43262" y="-560"/>
                    <a:pt x="27723" y="-560"/>
                  </a:cubicBezTo>
                  <a:cubicBezTo>
                    <a:pt x="12196" y="-560"/>
                    <a:pt x="-394" y="12021"/>
                    <a:pt x="-394" y="27554"/>
                  </a:cubicBezTo>
                  <a:cubicBezTo>
                    <a:pt x="-394" y="43086"/>
                    <a:pt x="12196" y="55672"/>
                    <a:pt x="27723" y="55672"/>
                  </a:cubicBezTo>
                  <a:cubicBezTo>
                    <a:pt x="43262" y="55672"/>
                    <a:pt x="55853" y="43086"/>
                    <a:pt x="55853" y="2755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3" name="Freeform: Shape 1652">
              <a:extLst>
                <a:ext uri="{FF2B5EF4-FFF2-40B4-BE49-F238E27FC236}">
                  <a16:creationId xmlns:a16="http://schemas.microsoft.com/office/drawing/2014/main" id="{4E5B8D86-998F-4616-ADB3-117B62EC8F3D}"/>
                </a:ext>
              </a:extLst>
            </p:cNvPr>
            <p:cNvSpPr/>
            <p:nvPr/>
          </p:nvSpPr>
          <p:spPr>
            <a:xfrm flipV="1">
              <a:off x="4119040" y="4247453"/>
              <a:ext cx="80192" cy="80204"/>
            </a:xfrm>
            <a:custGeom>
              <a:avLst/>
              <a:gdLst>
                <a:gd name="connsiteX0" fmla="*/ 39700 w 80192"/>
                <a:gd name="connsiteY0" fmla="*/ 55692 h 80204"/>
                <a:gd name="connsiteX1" fmla="*/ 23546 w 80192"/>
                <a:gd name="connsiteY1" fmla="*/ 39535 h 80204"/>
                <a:gd name="connsiteX2" fmla="*/ 39700 w 80192"/>
                <a:gd name="connsiteY2" fmla="*/ 23382 h 80204"/>
                <a:gd name="connsiteX3" fmla="*/ 55853 w 80192"/>
                <a:gd name="connsiteY3" fmla="*/ 39535 h 80204"/>
                <a:gd name="connsiteX4" fmla="*/ 39700 w 80192"/>
                <a:gd name="connsiteY4" fmla="*/ 55692 h 80204"/>
                <a:gd name="connsiteX5" fmla="*/ 39700 w 80192"/>
                <a:gd name="connsiteY5" fmla="*/ -560 h 80204"/>
                <a:gd name="connsiteX6" fmla="*/ -394 w 80192"/>
                <a:gd name="connsiteY6" fmla="*/ 39535 h 80204"/>
                <a:gd name="connsiteX7" fmla="*/ 39700 w 80192"/>
                <a:gd name="connsiteY7" fmla="*/ 79644 h 80204"/>
                <a:gd name="connsiteX8" fmla="*/ 79798 w 80192"/>
                <a:gd name="connsiteY8" fmla="*/ 39535 h 80204"/>
                <a:gd name="connsiteX9" fmla="*/ 39700 w 80192"/>
                <a:gd name="connsiteY9" fmla="*/ -560 h 8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92" h="80204">
                  <a:moveTo>
                    <a:pt x="39700" y="55692"/>
                  </a:moveTo>
                  <a:cubicBezTo>
                    <a:pt x="30794" y="55692"/>
                    <a:pt x="23546" y="48449"/>
                    <a:pt x="23546" y="39535"/>
                  </a:cubicBezTo>
                  <a:cubicBezTo>
                    <a:pt x="23546" y="30635"/>
                    <a:pt x="30794" y="23382"/>
                    <a:pt x="39700" y="23382"/>
                  </a:cubicBezTo>
                  <a:cubicBezTo>
                    <a:pt x="48610" y="23382"/>
                    <a:pt x="55853" y="30635"/>
                    <a:pt x="55853" y="39535"/>
                  </a:cubicBezTo>
                  <a:cubicBezTo>
                    <a:pt x="55853" y="48449"/>
                    <a:pt x="48610" y="55692"/>
                    <a:pt x="39700" y="55692"/>
                  </a:cubicBezTo>
                  <a:close/>
                  <a:moveTo>
                    <a:pt x="39700" y="-560"/>
                  </a:moveTo>
                  <a:cubicBezTo>
                    <a:pt x="17589" y="-560"/>
                    <a:pt x="-394" y="17425"/>
                    <a:pt x="-394" y="39535"/>
                  </a:cubicBezTo>
                  <a:cubicBezTo>
                    <a:pt x="-394" y="61646"/>
                    <a:pt x="17589" y="79644"/>
                    <a:pt x="39700" y="79644"/>
                  </a:cubicBezTo>
                  <a:cubicBezTo>
                    <a:pt x="61810" y="79644"/>
                    <a:pt x="79798" y="61646"/>
                    <a:pt x="79798" y="39535"/>
                  </a:cubicBezTo>
                  <a:cubicBezTo>
                    <a:pt x="79798" y="17425"/>
                    <a:pt x="61810" y="-560"/>
                    <a:pt x="39700" y="-560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4" name="Freeform: Shape 1653">
              <a:extLst>
                <a:ext uri="{FF2B5EF4-FFF2-40B4-BE49-F238E27FC236}">
                  <a16:creationId xmlns:a16="http://schemas.microsoft.com/office/drawing/2014/main" id="{1CCB85B9-55F0-4314-9991-28A46E58E084}"/>
                </a:ext>
              </a:extLst>
            </p:cNvPr>
            <p:cNvSpPr/>
            <p:nvPr/>
          </p:nvSpPr>
          <p:spPr>
            <a:xfrm flipV="1">
              <a:off x="4115418" y="4243837"/>
              <a:ext cx="87431" cy="43724"/>
            </a:xfrm>
            <a:custGeom>
              <a:avLst/>
              <a:gdLst>
                <a:gd name="connsiteX0" fmla="*/ 87037 w 87431"/>
                <a:gd name="connsiteY0" fmla="*/ -579 h 43724"/>
                <a:gd name="connsiteX1" fmla="*/ 87037 w 87431"/>
                <a:gd name="connsiteY1" fmla="*/ -579 h 43724"/>
                <a:gd name="connsiteX2" fmla="*/ 43316 w 87431"/>
                <a:gd name="connsiteY2" fmla="*/ 43145 h 43724"/>
                <a:gd name="connsiteX3" fmla="*/ -394 w 87431"/>
                <a:gd name="connsiteY3" fmla="*/ -579 h 43724"/>
                <a:gd name="connsiteX4" fmla="*/ 87037 w 87431"/>
                <a:gd name="connsiteY4" fmla="*/ -579 h 4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1" h="43724">
                  <a:moveTo>
                    <a:pt x="87037" y="-579"/>
                  </a:moveTo>
                  <a:lnTo>
                    <a:pt x="87037" y="-579"/>
                  </a:lnTo>
                  <a:cubicBezTo>
                    <a:pt x="87037" y="23540"/>
                    <a:pt x="67427" y="43145"/>
                    <a:pt x="43316" y="43145"/>
                  </a:cubicBezTo>
                  <a:cubicBezTo>
                    <a:pt x="19217" y="43145"/>
                    <a:pt x="-394" y="23540"/>
                    <a:pt x="-394" y="-579"/>
                  </a:cubicBezTo>
                  <a:lnTo>
                    <a:pt x="87037" y="-579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5" name="Freeform: Shape 1654">
              <a:extLst>
                <a:ext uri="{FF2B5EF4-FFF2-40B4-BE49-F238E27FC236}">
                  <a16:creationId xmlns:a16="http://schemas.microsoft.com/office/drawing/2014/main" id="{7B0DB218-B7DC-4380-8862-2A5D91E332B9}"/>
                </a:ext>
              </a:extLst>
            </p:cNvPr>
            <p:cNvSpPr/>
            <p:nvPr/>
          </p:nvSpPr>
          <p:spPr>
            <a:xfrm flipV="1">
              <a:off x="4270874" y="3830920"/>
              <a:ext cx="32820" cy="351926"/>
            </a:xfrm>
            <a:custGeom>
              <a:avLst/>
              <a:gdLst>
                <a:gd name="connsiteX0" fmla="*/ 32339 w 32820"/>
                <a:gd name="connsiteY0" fmla="*/ -810 h 351926"/>
                <a:gd name="connsiteX1" fmla="*/ -482 w 32820"/>
                <a:gd name="connsiteY1" fmla="*/ -810 h 351926"/>
                <a:gd name="connsiteX2" fmla="*/ -482 w 32820"/>
                <a:gd name="connsiteY2" fmla="*/ 351116 h 351926"/>
                <a:gd name="connsiteX3" fmla="*/ 32339 w 32820"/>
                <a:gd name="connsiteY3" fmla="*/ 351116 h 351926"/>
                <a:gd name="connsiteX4" fmla="*/ 32339 w 32820"/>
                <a:gd name="connsiteY4" fmla="*/ -810 h 35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20" h="351926">
                  <a:moveTo>
                    <a:pt x="32339" y="-810"/>
                  </a:moveTo>
                  <a:lnTo>
                    <a:pt x="-482" y="-810"/>
                  </a:lnTo>
                  <a:lnTo>
                    <a:pt x="-482" y="351116"/>
                  </a:lnTo>
                  <a:lnTo>
                    <a:pt x="32339" y="351116"/>
                  </a:lnTo>
                  <a:lnTo>
                    <a:pt x="32339" y="-810"/>
                  </a:lnTo>
                </a:path>
              </a:pathLst>
            </a:custGeom>
            <a:solidFill>
              <a:srgbClr val="A5A5A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6" name="Freeform: Shape 1655">
              <a:extLst>
                <a:ext uri="{FF2B5EF4-FFF2-40B4-BE49-F238E27FC236}">
                  <a16:creationId xmlns:a16="http://schemas.microsoft.com/office/drawing/2014/main" id="{5D531198-E0F1-406D-8625-82BFD626756A}"/>
                </a:ext>
              </a:extLst>
            </p:cNvPr>
            <p:cNvSpPr/>
            <p:nvPr/>
          </p:nvSpPr>
          <p:spPr>
            <a:xfrm flipV="1">
              <a:off x="4274693" y="3830920"/>
              <a:ext cx="7179" cy="351926"/>
            </a:xfrm>
            <a:custGeom>
              <a:avLst/>
              <a:gdLst>
                <a:gd name="connsiteX0" fmla="*/ 6704 w 7179"/>
                <a:gd name="connsiteY0" fmla="*/ -810 h 351926"/>
                <a:gd name="connsiteX1" fmla="*/ -476 w 7179"/>
                <a:gd name="connsiteY1" fmla="*/ -810 h 351926"/>
                <a:gd name="connsiteX2" fmla="*/ -476 w 7179"/>
                <a:gd name="connsiteY2" fmla="*/ 351116 h 351926"/>
                <a:gd name="connsiteX3" fmla="*/ 6704 w 7179"/>
                <a:gd name="connsiteY3" fmla="*/ 351116 h 351926"/>
                <a:gd name="connsiteX4" fmla="*/ 6704 w 7179"/>
                <a:gd name="connsiteY4" fmla="*/ -810 h 351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9" h="351926">
                  <a:moveTo>
                    <a:pt x="6704" y="-810"/>
                  </a:moveTo>
                  <a:lnTo>
                    <a:pt x="-476" y="-810"/>
                  </a:lnTo>
                  <a:lnTo>
                    <a:pt x="-476" y="351116"/>
                  </a:lnTo>
                  <a:lnTo>
                    <a:pt x="6704" y="351116"/>
                  </a:lnTo>
                  <a:lnTo>
                    <a:pt x="6704" y="-810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7" name="Freeform: Shape 1656">
              <a:extLst>
                <a:ext uri="{FF2B5EF4-FFF2-40B4-BE49-F238E27FC236}">
                  <a16:creationId xmlns:a16="http://schemas.microsoft.com/office/drawing/2014/main" id="{0C6AA7F6-A1F7-4B2F-A823-F16D89DF793B}"/>
                </a:ext>
              </a:extLst>
            </p:cNvPr>
            <p:cNvSpPr/>
            <p:nvPr/>
          </p:nvSpPr>
          <p:spPr>
            <a:xfrm flipV="1">
              <a:off x="4251447" y="3830920"/>
              <a:ext cx="70146" cy="134391"/>
            </a:xfrm>
            <a:custGeom>
              <a:avLst/>
              <a:gdLst>
                <a:gd name="connsiteX0" fmla="*/ 69666 w 70146"/>
                <a:gd name="connsiteY0" fmla="*/ -907 h 134391"/>
                <a:gd name="connsiteX1" fmla="*/ -481 w 70146"/>
                <a:gd name="connsiteY1" fmla="*/ -907 h 134391"/>
                <a:gd name="connsiteX2" fmla="*/ -481 w 70146"/>
                <a:gd name="connsiteY2" fmla="*/ 133484 h 134391"/>
                <a:gd name="connsiteX3" fmla="*/ 69666 w 70146"/>
                <a:gd name="connsiteY3" fmla="*/ 133484 h 134391"/>
                <a:gd name="connsiteX4" fmla="*/ 69666 w 70146"/>
                <a:gd name="connsiteY4" fmla="*/ -907 h 13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46" h="134391">
                  <a:moveTo>
                    <a:pt x="69666" y="-907"/>
                  </a:moveTo>
                  <a:lnTo>
                    <a:pt x="-481" y="-907"/>
                  </a:lnTo>
                  <a:lnTo>
                    <a:pt x="-481" y="133484"/>
                  </a:lnTo>
                  <a:lnTo>
                    <a:pt x="69666" y="133484"/>
                  </a:lnTo>
                  <a:lnTo>
                    <a:pt x="69666" y="-907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8" name="Freeform: Shape 1657">
              <a:extLst>
                <a:ext uri="{FF2B5EF4-FFF2-40B4-BE49-F238E27FC236}">
                  <a16:creationId xmlns:a16="http://schemas.microsoft.com/office/drawing/2014/main" id="{C0C3F64A-A941-425C-9738-A90007DE937C}"/>
                </a:ext>
              </a:extLst>
            </p:cNvPr>
            <p:cNvSpPr/>
            <p:nvPr/>
          </p:nvSpPr>
          <p:spPr>
            <a:xfrm flipV="1">
              <a:off x="4263000" y="3830920"/>
              <a:ext cx="15751" cy="134391"/>
            </a:xfrm>
            <a:custGeom>
              <a:avLst/>
              <a:gdLst>
                <a:gd name="connsiteX0" fmla="*/ 15281 w 15751"/>
                <a:gd name="connsiteY0" fmla="*/ -907 h 134391"/>
                <a:gd name="connsiteX1" fmla="*/ -471 w 15751"/>
                <a:gd name="connsiteY1" fmla="*/ -907 h 134391"/>
                <a:gd name="connsiteX2" fmla="*/ -471 w 15751"/>
                <a:gd name="connsiteY2" fmla="*/ 133484 h 134391"/>
                <a:gd name="connsiteX3" fmla="*/ 15281 w 15751"/>
                <a:gd name="connsiteY3" fmla="*/ 133484 h 134391"/>
                <a:gd name="connsiteX4" fmla="*/ 15281 w 15751"/>
                <a:gd name="connsiteY4" fmla="*/ -907 h 13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51" h="134391">
                  <a:moveTo>
                    <a:pt x="15281" y="-907"/>
                  </a:moveTo>
                  <a:lnTo>
                    <a:pt x="-471" y="-907"/>
                  </a:lnTo>
                  <a:lnTo>
                    <a:pt x="-471" y="133484"/>
                  </a:lnTo>
                  <a:lnTo>
                    <a:pt x="15281" y="133484"/>
                  </a:lnTo>
                  <a:lnTo>
                    <a:pt x="15281" y="-907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9" name="Freeform: Shape 1658">
              <a:extLst>
                <a:ext uri="{FF2B5EF4-FFF2-40B4-BE49-F238E27FC236}">
                  <a16:creationId xmlns:a16="http://schemas.microsoft.com/office/drawing/2014/main" id="{2A406F13-456F-4EDB-9E1C-A8D31D9FADAF}"/>
                </a:ext>
              </a:extLst>
            </p:cNvPr>
            <p:cNvSpPr/>
            <p:nvPr/>
          </p:nvSpPr>
          <p:spPr>
            <a:xfrm flipV="1">
              <a:off x="4232471" y="3830920"/>
              <a:ext cx="105344" cy="67195"/>
            </a:xfrm>
            <a:custGeom>
              <a:avLst/>
              <a:gdLst>
                <a:gd name="connsiteX0" fmla="*/ 104865 w 105344"/>
                <a:gd name="connsiteY0" fmla="*/ -937 h 67195"/>
                <a:gd name="connsiteX1" fmla="*/ -480 w 105344"/>
                <a:gd name="connsiteY1" fmla="*/ -937 h 67195"/>
                <a:gd name="connsiteX2" fmla="*/ -480 w 105344"/>
                <a:gd name="connsiteY2" fmla="*/ 66258 h 67195"/>
                <a:gd name="connsiteX3" fmla="*/ 104865 w 105344"/>
                <a:gd name="connsiteY3" fmla="*/ 66258 h 67195"/>
                <a:gd name="connsiteX4" fmla="*/ 104865 w 105344"/>
                <a:gd name="connsiteY4" fmla="*/ -937 h 6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44" h="67195">
                  <a:moveTo>
                    <a:pt x="104865" y="-937"/>
                  </a:moveTo>
                  <a:lnTo>
                    <a:pt x="-480" y="-937"/>
                  </a:lnTo>
                  <a:lnTo>
                    <a:pt x="-480" y="66258"/>
                  </a:lnTo>
                  <a:lnTo>
                    <a:pt x="104865" y="66258"/>
                  </a:lnTo>
                  <a:lnTo>
                    <a:pt x="104865" y="-937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0" name="Freeform: Shape 1659">
              <a:extLst>
                <a:ext uri="{FF2B5EF4-FFF2-40B4-BE49-F238E27FC236}">
                  <a16:creationId xmlns:a16="http://schemas.microsoft.com/office/drawing/2014/main" id="{FC41E587-4315-4BBF-B43B-8275AAADA9F5}"/>
                </a:ext>
              </a:extLst>
            </p:cNvPr>
            <p:cNvSpPr/>
            <p:nvPr/>
          </p:nvSpPr>
          <p:spPr>
            <a:xfrm flipV="1">
              <a:off x="4249829" y="3830920"/>
              <a:ext cx="23648" cy="67195"/>
            </a:xfrm>
            <a:custGeom>
              <a:avLst/>
              <a:gdLst>
                <a:gd name="connsiteX0" fmla="*/ 23184 w 23648"/>
                <a:gd name="connsiteY0" fmla="*/ -937 h 67195"/>
                <a:gd name="connsiteX1" fmla="*/ -464 w 23648"/>
                <a:gd name="connsiteY1" fmla="*/ -937 h 67195"/>
                <a:gd name="connsiteX2" fmla="*/ -464 w 23648"/>
                <a:gd name="connsiteY2" fmla="*/ 66258 h 67195"/>
                <a:gd name="connsiteX3" fmla="*/ 23184 w 23648"/>
                <a:gd name="connsiteY3" fmla="*/ 66258 h 67195"/>
                <a:gd name="connsiteX4" fmla="*/ 23184 w 23648"/>
                <a:gd name="connsiteY4" fmla="*/ -937 h 6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48" h="67195">
                  <a:moveTo>
                    <a:pt x="23184" y="-937"/>
                  </a:moveTo>
                  <a:lnTo>
                    <a:pt x="-464" y="-937"/>
                  </a:lnTo>
                  <a:lnTo>
                    <a:pt x="-464" y="66258"/>
                  </a:lnTo>
                  <a:lnTo>
                    <a:pt x="23184" y="66258"/>
                  </a:lnTo>
                  <a:lnTo>
                    <a:pt x="23184" y="-937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1" name="Freeform: Shape 1660">
              <a:extLst>
                <a:ext uri="{FF2B5EF4-FFF2-40B4-BE49-F238E27FC236}">
                  <a16:creationId xmlns:a16="http://schemas.microsoft.com/office/drawing/2014/main" id="{DAB9E5BF-DBBA-4FDE-947B-87B0404D5B12}"/>
                </a:ext>
              </a:extLst>
            </p:cNvPr>
            <p:cNvSpPr/>
            <p:nvPr/>
          </p:nvSpPr>
          <p:spPr>
            <a:xfrm flipV="1">
              <a:off x="4251447" y="4019591"/>
              <a:ext cx="70146" cy="163255"/>
            </a:xfrm>
            <a:custGeom>
              <a:avLst/>
              <a:gdLst>
                <a:gd name="connsiteX0" fmla="*/ 69666 w 70146"/>
                <a:gd name="connsiteY0" fmla="*/ 162529 h 163255"/>
                <a:gd name="connsiteX1" fmla="*/ -481 w 70146"/>
                <a:gd name="connsiteY1" fmla="*/ 162529 h 163255"/>
                <a:gd name="connsiteX2" fmla="*/ -481 w 70146"/>
                <a:gd name="connsiteY2" fmla="*/ -726 h 163255"/>
                <a:gd name="connsiteX3" fmla="*/ 69666 w 70146"/>
                <a:gd name="connsiteY3" fmla="*/ -726 h 163255"/>
                <a:gd name="connsiteX4" fmla="*/ 69666 w 70146"/>
                <a:gd name="connsiteY4" fmla="*/ 162529 h 16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46" h="163255">
                  <a:moveTo>
                    <a:pt x="69666" y="162529"/>
                  </a:moveTo>
                  <a:lnTo>
                    <a:pt x="-481" y="162529"/>
                  </a:lnTo>
                  <a:lnTo>
                    <a:pt x="-481" y="-726"/>
                  </a:lnTo>
                  <a:lnTo>
                    <a:pt x="69666" y="-726"/>
                  </a:lnTo>
                  <a:lnTo>
                    <a:pt x="69666" y="162529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2" name="Freeform: Shape 1661">
              <a:extLst>
                <a:ext uri="{FF2B5EF4-FFF2-40B4-BE49-F238E27FC236}">
                  <a16:creationId xmlns:a16="http://schemas.microsoft.com/office/drawing/2014/main" id="{F362F30E-37E5-4F9A-8D42-3CA31C5A6BE2}"/>
                </a:ext>
              </a:extLst>
            </p:cNvPr>
            <p:cNvSpPr/>
            <p:nvPr/>
          </p:nvSpPr>
          <p:spPr>
            <a:xfrm flipV="1">
              <a:off x="4263000" y="4019591"/>
              <a:ext cx="15751" cy="163255"/>
            </a:xfrm>
            <a:custGeom>
              <a:avLst/>
              <a:gdLst>
                <a:gd name="connsiteX0" fmla="*/ 15281 w 15751"/>
                <a:gd name="connsiteY0" fmla="*/ 162529 h 163255"/>
                <a:gd name="connsiteX1" fmla="*/ -471 w 15751"/>
                <a:gd name="connsiteY1" fmla="*/ 162529 h 163255"/>
                <a:gd name="connsiteX2" fmla="*/ -471 w 15751"/>
                <a:gd name="connsiteY2" fmla="*/ -726 h 163255"/>
                <a:gd name="connsiteX3" fmla="*/ 15281 w 15751"/>
                <a:gd name="connsiteY3" fmla="*/ -726 h 163255"/>
                <a:gd name="connsiteX4" fmla="*/ 15281 w 15751"/>
                <a:gd name="connsiteY4" fmla="*/ 162529 h 16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51" h="163255">
                  <a:moveTo>
                    <a:pt x="15281" y="162529"/>
                  </a:moveTo>
                  <a:lnTo>
                    <a:pt x="-471" y="162529"/>
                  </a:lnTo>
                  <a:lnTo>
                    <a:pt x="-471" y="-726"/>
                  </a:lnTo>
                  <a:lnTo>
                    <a:pt x="15281" y="-726"/>
                  </a:lnTo>
                  <a:lnTo>
                    <a:pt x="15281" y="162529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3" name="Freeform: Shape 1662">
              <a:extLst>
                <a:ext uri="{FF2B5EF4-FFF2-40B4-BE49-F238E27FC236}">
                  <a16:creationId xmlns:a16="http://schemas.microsoft.com/office/drawing/2014/main" id="{D7AADF53-E22F-4709-957A-BA4B6BCC38B8}"/>
                </a:ext>
              </a:extLst>
            </p:cNvPr>
            <p:cNvSpPr/>
            <p:nvPr/>
          </p:nvSpPr>
          <p:spPr>
            <a:xfrm flipV="1">
              <a:off x="3950763" y="4163088"/>
              <a:ext cx="659180" cy="100710"/>
            </a:xfrm>
            <a:custGeom>
              <a:avLst/>
              <a:gdLst>
                <a:gd name="connsiteX0" fmla="*/ 18679 w 659180"/>
                <a:gd name="connsiteY0" fmla="*/ -626 h 100710"/>
                <a:gd name="connsiteX1" fmla="*/ 299 w 659180"/>
                <a:gd name="connsiteY1" fmla="*/ 13141 h 100710"/>
                <a:gd name="connsiteX2" fmla="*/ 13311 w 659180"/>
                <a:gd name="connsiteY2" fmla="*/ 36913 h 100710"/>
                <a:gd name="connsiteX3" fmla="*/ 221848 w 659180"/>
                <a:gd name="connsiteY3" fmla="*/ 97913 h 100710"/>
                <a:gd name="connsiteX4" fmla="*/ 228814 w 659180"/>
                <a:gd name="connsiteY4" fmla="*/ 99287 h 100710"/>
                <a:gd name="connsiteX5" fmla="*/ 428774 w 659180"/>
                <a:gd name="connsiteY5" fmla="*/ 100085 h 100710"/>
                <a:gd name="connsiteX6" fmla="*/ 435962 w 659180"/>
                <a:gd name="connsiteY6" fmla="*/ 98726 h 100710"/>
                <a:gd name="connsiteX7" fmla="*/ 644773 w 659180"/>
                <a:gd name="connsiteY7" fmla="*/ 39468 h 100710"/>
                <a:gd name="connsiteX8" fmla="*/ 657969 w 659180"/>
                <a:gd name="connsiteY8" fmla="*/ 15809 h 100710"/>
                <a:gd name="connsiteX9" fmla="*/ 634315 w 659180"/>
                <a:gd name="connsiteY9" fmla="*/ 2599 h 100710"/>
                <a:gd name="connsiteX10" fmla="*/ 425867 w 659180"/>
                <a:gd name="connsiteY10" fmla="*/ 61768 h 100710"/>
                <a:gd name="connsiteX11" fmla="*/ 232044 w 659180"/>
                <a:gd name="connsiteY11" fmla="*/ 60983 h 100710"/>
                <a:gd name="connsiteX12" fmla="*/ 24067 w 659180"/>
                <a:gd name="connsiteY12" fmla="*/ 137 h 100710"/>
                <a:gd name="connsiteX13" fmla="*/ 18679 w 659180"/>
                <a:gd name="connsiteY13" fmla="*/ -626 h 10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9180" h="100710">
                  <a:moveTo>
                    <a:pt x="18679" y="-626"/>
                  </a:moveTo>
                  <a:cubicBezTo>
                    <a:pt x="10390" y="-626"/>
                    <a:pt x="2745" y="4785"/>
                    <a:pt x="299" y="13141"/>
                  </a:cubicBezTo>
                  <a:cubicBezTo>
                    <a:pt x="-2673" y="23301"/>
                    <a:pt x="3156" y="33941"/>
                    <a:pt x="13311" y="36913"/>
                  </a:cubicBezTo>
                  <a:lnTo>
                    <a:pt x="221848" y="97913"/>
                  </a:lnTo>
                  <a:cubicBezTo>
                    <a:pt x="224047" y="98801"/>
                    <a:pt x="226397" y="99287"/>
                    <a:pt x="228814" y="99287"/>
                  </a:cubicBezTo>
                  <a:lnTo>
                    <a:pt x="428774" y="100085"/>
                  </a:lnTo>
                  <a:cubicBezTo>
                    <a:pt x="431176" y="99981"/>
                    <a:pt x="433740" y="99614"/>
                    <a:pt x="435962" y="98726"/>
                  </a:cubicBezTo>
                  <a:lnTo>
                    <a:pt x="644773" y="39468"/>
                  </a:lnTo>
                  <a:cubicBezTo>
                    <a:pt x="654953" y="36571"/>
                    <a:pt x="660861" y="25979"/>
                    <a:pt x="657969" y="15809"/>
                  </a:cubicBezTo>
                  <a:cubicBezTo>
                    <a:pt x="655081" y="5634"/>
                    <a:pt x="644500" y="-284"/>
                    <a:pt x="634315" y="2599"/>
                  </a:cubicBezTo>
                  <a:lnTo>
                    <a:pt x="425867" y="61768"/>
                  </a:lnTo>
                  <a:lnTo>
                    <a:pt x="232044" y="60983"/>
                  </a:lnTo>
                  <a:lnTo>
                    <a:pt x="24067" y="137"/>
                  </a:lnTo>
                  <a:cubicBezTo>
                    <a:pt x="22271" y="-383"/>
                    <a:pt x="20460" y="-626"/>
                    <a:pt x="18679" y="-62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4" name="Freeform: Shape 1663">
              <a:extLst>
                <a:ext uri="{FF2B5EF4-FFF2-40B4-BE49-F238E27FC236}">
                  <a16:creationId xmlns:a16="http://schemas.microsoft.com/office/drawing/2014/main" id="{E6EF424E-D336-4A96-98CE-6273ED92EF42}"/>
                </a:ext>
              </a:extLst>
            </p:cNvPr>
            <p:cNvSpPr/>
            <p:nvPr/>
          </p:nvSpPr>
          <p:spPr>
            <a:xfrm flipV="1">
              <a:off x="4159625" y="4163352"/>
              <a:ext cx="241462" cy="99608"/>
            </a:xfrm>
            <a:custGeom>
              <a:avLst/>
              <a:gdLst>
                <a:gd name="connsiteX0" fmla="*/ 18687 w 241462"/>
                <a:gd name="connsiteY0" fmla="*/ -626 h 99608"/>
                <a:gd name="connsiteX1" fmla="*/ 4355 w 241462"/>
                <a:gd name="connsiteY1" fmla="*/ 5813 h 99608"/>
                <a:gd name="connsiteX2" fmla="*/ 5962 w 241462"/>
                <a:gd name="connsiteY2" fmla="*/ 32865 h 99608"/>
                <a:gd name="connsiteX3" fmla="*/ 73679 w 241462"/>
                <a:gd name="connsiteY3" fmla="*/ 92971 h 99608"/>
                <a:gd name="connsiteX4" fmla="*/ 87212 w 241462"/>
                <a:gd name="connsiteY4" fmla="*/ 98712 h 99608"/>
                <a:gd name="connsiteX5" fmla="*/ 152641 w 241462"/>
                <a:gd name="connsiteY5" fmla="*/ 98980 h 99608"/>
                <a:gd name="connsiteX6" fmla="*/ 166239 w 241462"/>
                <a:gd name="connsiteY6" fmla="*/ 93393 h 99608"/>
                <a:gd name="connsiteX7" fmla="*/ 166572 w 241462"/>
                <a:gd name="connsiteY7" fmla="*/ 93060 h 99608"/>
                <a:gd name="connsiteX8" fmla="*/ 234428 w 241462"/>
                <a:gd name="connsiteY8" fmla="*/ 33778 h 99608"/>
                <a:gd name="connsiteX9" fmla="*/ 236253 w 241462"/>
                <a:gd name="connsiteY9" fmla="*/ 6750 h 99608"/>
                <a:gd name="connsiteX10" fmla="*/ 209221 w 241462"/>
                <a:gd name="connsiteY10" fmla="*/ 4925 h 99608"/>
                <a:gd name="connsiteX11" fmla="*/ 145448 w 241462"/>
                <a:gd name="connsiteY11" fmla="*/ 60641 h 99608"/>
                <a:gd name="connsiteX12" fmla="*/ 94723 w 241462"/>
                <a:gd name="connsiteY12" fmla="*/ 60438 h 99608"/>
                <a:gd name="connsiteX13" fmla="*/ 31397 w 241462"/>
                <a:gd name="connsiteY13" fmla="*/ 4201 h 99608"/>
                <a:gd name="connsiteX14" fmla="*/ 18687 w 241462"/>
                <a:gd name="connsiteY14" fmla="*/ -626 h 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1462" h="99608">
                  <a:moveTo>
                    <a:pt x="18687" y="-626"/>
                  </a:moveTo>
                  <a:cubicBezTo>
                    <a:pt x="13404" y="-626"/>
                    <a:pt x="8135" y="1547"/>
                    <a:pt x="4355" y="5813"/>
                  </a:cubicBezTo>
                  <a:cubicBezTo>
                    <a:pt x="-2670" y="13726"/>
                    <a:pt x="-1950" y="25830"/>
                    <a:pt x="5962" y="32865"/>
                  </a:cubicBezTo>
                  <a:lnTo>
                    <a:pt x="73679" y="92971"/>
                  </a:lnTo>
                  <a:cubicBezTo>
                    <a:pt x="77131" y="96489"/>
                    <a:pt x="81919" y="98686"/>
                    <a:pt x="87212" y="98712"/>
                  </a:cubicBezTo>
                  <a:lnTo>
                    <a:pt x="152641" y="98980"/>
                  </a:lnTo>
                  <a:cubicBezTo>
                    <a:pt x="157776" y="99069"/>
                    <a:pt x="162629" y="96984"/>
                    <a:pt x="166239" y="93393"/>
                  </a:cubicBezTo>
                  <a:lnTo>
                    <a:pt x="166572" y="93060"/>
                  </a:lnTo>
                  <a:lnTo>
                    <a:pt x="234428" y="33778"/>
                  </a:lnTo>
                  <a:cubicBezTo>
                    <a:pt x="242400" y="26817"/>
                    <a:pt x="243219" y="14718"/>
                    <a:pt x="236253" y="6750"/>
                  </a:cubicBezTo>
                  <a:cubicBezTo>
                    <a:pt x="229288" y="-1222"/>
                    <a:pt x="217184" y="-2026"/>
                    <a:pt x="209221" y="4925"/>
                  </a:cubicBezTo>
                  <a:lnTo>
                    <a:pt x="145448" y="60641"/>
                  </a:lnTo>
                  <a:lnTo>
                    <a:pt x="94723" y="60438"/>
                  </a:lnTo>
                  <a:lnTo>
                    <a:pt x="31397" y="4201"/>
                  </a:lnTo>
                  <a:cubicBezTo>
                    <a:pt x="27750" y="961"/>
                    <a:pt x="23206" y="-626"/>
                    <a:pt x="18687" y="-62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5" name="Freeform: Shape 1664">
              <a:extLst>
                <a:ext uri="{FF2B5EF4-FFF2-40B4-BE49-F238E27FC236}">
                  <a16:creationId xmlns:a16="http://schemas.microsoft.com/office/drawing/2014/main" id="{C823C000-1C2B-4054-B673-904B7BF3BA2E}"/>
                </a:ext>
              </a:extLst>
            </p:cNvPr>
            <p:cNvSpPr/>
            <p:nvPr/>
          </p:nvSpPr>
          <p:spPr>
            <a:xfrm flipV="1">
              <a:off x="4178724" y="4184374"/>
              <a:ext cx="61169" cy="48717"/>
            </a:xfrm>
            <a:custGeom>
              <a:avLst/>
              <a:gdLst>
                <a:gd name="connsiteX0" fmla="*/ -368 w 61169"/>
                <a:gd name="connsiteY0" fmla="*/ -630 h 48717"/>
                <a:gd name="connsiteX1" fmla="*/ 39751 w 61169"/>
                <a:gd name="connsiteY1" fmla="*/ 46841 h 48717"/>
                <a:gd name="connsiteX2" fmla="*/ 46522 w 61169"/>
                <a:gd name="connsiteY2" fmla="*/ 48087 h 48717"/>
                <a:gd name="connsiteX3" fmla="*/ 60477 w 61169"/>
                <a:gd name="connsiteY3" fmla="*/ 44495 h 48717"/>
                <a:gd name="connsiteX4" fmla="*/ 6622 w 61169"/>
                <a:gd name="connsiteY4" fmla="*/ 2992 h 48717"/>
                <a:gd name="connsiteX5" fmla="*/ -368 w 61169"/>
                <a:gd name="connsiteY5" fmla="*/ -630 h 4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69" h="48717">
                  <a:moveTo>
                    <a:pt x="-368" y="-630"/>
                  </a:moveTo>
                  <a:cubicBezTo>
                    <a:pt x="-2229" y="-630"/>
                    <a:pt x="39751" y="46841"/>
                    <a:pt x="39751" y="46841"/>
                  </a:cubicBezTo>
                  <a:cubicBezTo>
                    <a:pt x="40649" y="47720"/>
                    <a:pt x="43347" y="48087"/>
                    <a:pt x="46522" y="48087"/>
                  </a:cubicBezTo>
                  <a:cubicBezTo>
                    <a:pt x="53359" y="48087"/>
                    <a:pt x="62408" y="46400"/>
                    <a:pt x="60477" y="44495"/>
                  </a:cubicBezTo>
                  <a:lnTo>
                    <a:pt x="6622" y="2992"/>
                  </a:lnTo>
                  <a:cubicBezTo>
                    <a:pt x="5227" y="1608"/>
                    <a:pt x="1451" y="-630"/>
                    <a:pt x="-368" y="-630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6" name="Freeform: Shape 1665">
              <a:extLst>
                <a:ext uri="{FF2B5EF4-FFF2-40B4-BE49-F238E27FC236}">
                  <a16:creationId xmlns:a16="http://schemas.microsoft.com/office/drawing/2014/main" id="{C493A2B0-E5BC-481B-8D47-8B5F6D060B96}"/>
                </a:ext>
              </a:extLst>
            </p:cNvPr>
            <p:cNvSpPr/>
            <p:nvPr/>
          </p:nvSpPr>
          <p:spPr>
            <a:xfrm flipV="1">
              <a:off x="4178724" y="4184374"/>
              <a:ext cx="61169" cy="48717"/>
            </a:xfrm>
            <a:custGeom>
              <a:avLst/>
              <a:gdLst>
                <a:gd name="connsiteX0" fmla="*/ -368 w 61169"/>
                <a:gd name="connsiteY0" fmla="*/ -630 h 48717"/>
                <a:gd name="connsiteX1" fmla="*/ 39751 w 61169"/>
                <a:gd name="connsiteY1" fmla="*/ 46841 h 48717"/>
                <a:gd name="connsiteX2" fmla="*/ 46522 w 61169"/>
                <a:gd name="connsiteY2" fmla="*/ 48087 h 48717"/>
                <a:gd name="connsiteX3" fmla="*/ 60477 w 61169"/>
                <a:gd name="connsiteY3" fmla="*/ 44495 h 48717"/>
                <a:gd name="connsiteX4" fmla="*/ 6622 w 61169"/>
                <a:gd name="connsiteY4" fmla="*/ 2992 h 48717"/>
                <a:gd name="connsiteX5" fmla="*/ -368 w 61169"/>
                <a:gd name="connsiteY5" fmla="*/ -630 h 4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69" h="48717">
                  <a:moveTo>
                    <a:pt x="-368" y="-630"/>
                  </a:moveTo>
                  <a:cubicBezTo>
                    <a:pt x="-2229" y="-630"/>
                    <a:pt x="39751" y="46841"/>
                    <a:pt x="39751" y="46841"/>
                  </a:cubicBezTo>
                  <a:cubicBezTo>
                    <a:pt x="40649" y="47720"/>
                    <a:pt x="43347" y="48087"/>
                    <a:pt x="46522" y="48087"/>
                  </a:cubicBezTo>
                  <a:cubicBezTo>
                    <a:pt x="53359" y="48087"/>
                    <a:pt x="62408" y="46400"/>
                    <a:pt x="60477" y="44495"/>
                  </a:cubicBezTo>
                  <a:lnTo>
                    <a:pt x="6622" y="2992"/>
                  </a:lnTo>
                  <a:cubicBezTo>
                    <a:pt x="5227" y="1608"/>
                    <a:pt x="1451" y="-630"/>
                    <a:pt x="-368" y="-630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7" name="Freeform: Shape 1666">
              <a:extLst>
                <a:ext uri="{FF2B5EF4-FFF2-40B4-BE49-F238E27FC236}">
                  <a16:creationId xmlns:a16="http://schemas.microsoft.com/office/drawing/2014/main" id="{7BB7F4BD-E0D1-4B55-BB27-E138C87C8B94}"/>
                </a:ext>
              </a:extLst>
            </p:cNvPr>
            <p:cNvSpPr/>
            <p:nvPr/>
          </p:nvSpPr>
          <p:spPr>
            <a:xfrm flipV="1">
              <a:off x="4386135" y="4172369"/>
              <a:ext cx="196117" cy="53583"/>
            </a:xfrm>
            <a:custGeom>
              <a:avLst/>
              <a:gdLst>
                <a:gd name="connsiteX0" fmla="*/ 195490 w 196117"/>
                <a:gd name="connsiteY0" fmla="*/ -639 h 53583"/>
                <a:gd name="connsiteX1" fmla="*/ 178 w 196117"/>
                <a:gd name="connsiteY1" fmla="*/ 38895 h 53583"/>
                <a:gd name="connsiteX2" fmla="*/ 10528 w 196117"/>
                <a:gd name="connsiteY2" fmla="*/ 52945 h 53583"/>
                <a:gd name="connsiteX3" fmla="*/ 11009 w 196117"/>
                <a:gd name="connsiteY3" fmla="*/ 52880 h 53583"/>
                <a:gd name="connsiteX4" fmla="*/ 195446 w 196117"/>
                <a:gd name="connsiteY4" fmla="*/ -613 h 53583"/>
                <a:gd name="connsiteX5" fmla="*/ 195490 w 196117"/>
                <a:gd name="connsiteY5" fmla="*/ -639 h 5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117" h="53583">
                  <a:moveTo>
                    <a:pt x="195490" y="-639"/>
                  </a:moveTo>
                  <a:cubicBezTo>
                    <a:pt x="193793" y="-639"/>
                    <a:pt x="178" y="38895"/>
                    <a:pt x="178" y="38895"/>
                  </a:cubicBezTo>
                  <a:cubicBezTo>
                    <a:pt x="-3468" y="40001"/>
                    <a:pt x="6385" y="52945"/>
                    <a:pt x="10528" y="52945"/>
                  </a:cubicBezTo>
                  <a:cubicBezTo>
                    <a:pt x="10702" y="52945"/>
                    <a:pt x="10860" y="52915"/>
                    <a:pt x="11009" y="52880"/>
                  </a:cubicBezTo>
                  <a:lnTo>
                    <a:pt x="195446" y="-613"/>
                  </a:lnTo>
                  <a:cubicBezTo>
                    <a:pt x="195500" y="-629"/>
                    <a:pt x="195515" y="-639"/>
                    <a:pt x="195490" y="-639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8" name="Freeform: Shape 1667">
              <a:extLst>
                <a:ext uri="{FF2B5EF4-FFF2-40B4-BE49-F238E27FC236}">
                  <a16:creationId xmlns:a16="http://schemas.microsoft.com/office/drawing/2014/main" id="{9AA8D2F3-E831-4371-A3E1-B3ECC1E6EB0D}"/>
                </a:ext>
              </a:extLst>
            </p:cNvPr>
            <p:cNvSpPr/>
            <p:nvPr/>
          </p:nvSpPr>
          <p:spPr>
            <a:xfrm flipV="1">
              <a:off x="4386135" y="4172369"/>
              <a:ext cx="196117" cy="53583"/>
            </a:xfrm>
            <a:custGeom>
              <a:avLst/>
              <a:gdLst>
                <a:gd name="connsiteX0" fmla="*/ 195490 w 196117"/>
                <a:gd name="connsiteY0" fmla="*/ -639 h 53583"/>
                <a:gd name="connsiteX1" fmla="*/ 178 w 196117"/>
                <a:gd name="connsiteY1" fmla="*/ 38895 h 53583"/>
                <a:gd name="connsiteX2" fmla="*/ 10528 w 196117"/>
                <a:gd name="connsiteY2" fmla="*/ 52945 h 53583"/>
                <a:gd name="connsiteX3" fmla="*/ 11009 w 196117"/>
                <a:gd name="connsiteY3" fmla="*/ 52880 h 53583"/>
                <a:gd name="connsiteX4" fmla="*/ 195446 w 196117"/>
                <a:gd name="connsiteY4" fmla="*/ -613 h 53583"/>
                <a:gd name="connsiteX5" fmla="*/ 195490 w 196117"/>
                <a:gd name="connsiteY5" fmla="*/ -639 h 53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117" h="53583">
                  <a:moveTo>
                    <a:pt x="195490" y="-639"/>
                  </a:moveTo>
                  <a:cubicBezTo>
                    <a:pt x="193793" y="-639"/>
                    <a:pt x="178" y="38895"/>
                    <a:pt x="178" y="38895"/>
                  </a:cubicBezTo>
                  <a:cubicBezTo>
                    <a:pt x="-3468" y="40001"/>
                    <a:pt x="6385" y="52945"/>
                    <a:pt x="10528" y="52945"/>
                  </a:cubicBezTo>
                  <a:cubicBezTo>
                    <a:pt x="10702" y="52945"/>
                    <a:pt x="10860" y="52915"/>
                    <a:pt x="11009" y="52880"/>
                  </a:cubicBezTo>
                  <a:lnTo>
                    <a:pt x="195446" y="-613"/>
                  </a:lnTo>
                  <a:cubicBezTo>
                    <a:pt x="195500" y="-629"/>
                    <a:pt x="195515" y="-639"/>
                    <a:pt x="195490" y="-639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9" name="Freeform: Shape 1668">
              <a:extLst>
                <a:ext uri="{FF2B5EF4-FFF2-40B4-BE49-F238E27FC236}">
                  <a16:creationId xmlns:a16="http://schemas.microsoft.com/office/drawing/2014/main" id="{205B8A3C-B2E5-40B3-BACB-C6281B0FEDD1}"/>
                </a:ext>
              </a:extLst>
            </p:cNvPr>
            <p:cNvSpPr/>
            <p:nvPr/>
          </p:nvSpPr>
          <p:spPr>
            <a:xfrm flipV="1">
              <a:off x="4211615" y="3602262"/>
              <a:ext cx="510990" cy="240514"/>
            </a:xfrm>
            <a:custGeom>
              <a:avLst/>
              <a:gdLst>
                <a:gd name="connsiteX0" fmla="*/ 509419 w 510990"/>
                <a:gd name="connsiteY0" fmla="*/ 214474 h 240514"/>
                <a:gd name="connsiteX1" fmla="*/ 507732 w 510990"/>
                <a:gd name="connsiteY1" fmla="*/ 216341 h 240514"/>
                <a:gd name="connsiteX2" fmla="*/ 502196 w 510990"/>
                <a:gd name="connsiteY2" fmla="*/ 217357 h 240514"/>
                <a:gd name="connsiteX3" fmla="*/ 486504 w 510990"/>
                <a:gd name="connsiteY3" fmla="*/ 220087 h 240514"/>
                <a:gd name="connsiteX4" fmla="*/ 22554 w 510990"/>
                <a:gd name="connsiteY4" fmla="*/ 219960 h 240514"/>
                <a:gd name="connsiteX5" fmla="*/ 7596 w 510990"/>
                <a:gd name="connsiteY5" fmla="*/ 217357 h 240514"/>
                <a:gd name="connsiteX6" fmla="*/ 1961 w 510990"/>
                <a:gd name="connsiteY6" fmla="*/ 216328 h 240514"/>
                <a:gd name="connsiteX7" fmla="*/ 314 w 510990"/>
                <a:gd name="connsiteY7" fmla="*/ 214436 h 240514"/>
                <a:gd name="connsiteX8" fmla="*/ -604 w 510990"/>
                <a:gd name="connsiteY8" fmla="*/ 212798 h 240514"/>
                <a:gd name="connsiteX9" fmla="*/ 239 w 510990"/>
                <a:gd name="connsiteY9" fmla="*/ 209127 h 240514"/>
                <a:gd name="connsiteX10" fmla="*/ 3216 w 510990"/>
                <a:gd name="connsiteY10" fmla="*/ 196097 h 240514"/>
                <a:gd name="connsiteX11" fmla="*/ 25813 w 510990"/>
                <a:gd name="connsiteY11" fmla="*/ 97469 h 240514"/>
                <a:gd name="connsiteX12" fmla="*/ 30193 w 510990"/>
                <a:gd name="connsiteY12" fmla="*/ 91399 h 240514"/>
                <a:gd name="connsiteX13" fmla="*/ 48490 w 510990"/>
                <a:gd name="connsiteY13" fmla="*/ 94637 h 240514"/>
                <a:gd name="connsiteX14" fmla="*/ 50018 w 510990"/>
                <a:gd name="connsiteY14" fmla="*/ 101749 h 240514"/>
                <a:gd name="connsiteX15" fmla="*/ 47855 w 510990"/>
                <a:gd name="connsiteY15" fmla="*/ 200657 h 240514"/>
                <a:gd name="connsiteX16" fmla="*/ 461119 w 510990"/>
                <a:gd name="connsiteY16" fmla="*/ 200771 h 240514"/>
                <a:gd name="connsiteX17" fmla="*/ 440170 w 510990"/>
                <a:gd name="connsiteY17" fmla="*/ 9065 h 240514"/>
                <a:gd name="connsiteX18" fmla="*/ 441513 w 510990"/>
                <a:gd name="connsiteY18" fmla="*/ 1978 h 240514"/>
                <a:gd name="connsiteX19" fmla="*/ 458609 w 510990"/>
                <a:gd name="connsiteY19" fmla="*/ -1044 h 240514"/>
                <a:gd name="connsiteX20" fmla="*/ 462811 w 510990"/>
                <a:gd name="connsiteY20" fmla="*/ 5052 h 240514"/>
                <a:gd name="connsiteX21" fmla="*/ 506566 w 510990"/>
                <a:gd name="connsiteY21" fmla="*/ 196097 h 240514"/>
                <a:gd name="connsiteX22" fmla="*/ 509548 w 510990"/>
                <a:gd name="connsiteY22" fmla="*/ 209127 h 240514"/>
                <a:gd name="connsiteX23" fmla="*/ 510386 w 510990"/>
                <a:gd name="connsiteY23" fmla="*/ 212798 h 240514"/>
                <a:gd name="connsiteX24" fmla="*/ 509419 w 510990"/>
                <a:gd name="connsiteY24" fmla="*/ 214474 h 24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10990" h="240514">
                  <a:moveTo>
                    <a:pt x="509419" y="214474"/>
                  </a:moveTo>
                  <a:lnTo>
                    <a:pt x="507732" y="216341"/>
                  </a:lnTo>
                  <a:cubicBezTo>
                    <a:pt x="505882" y="216671"/>
                    <a:pt x="504036" y="217027"/>
                    <a:pt x="502196" y="217357"/>
                  </a:cubicBezTo>
                  <a:cubicBezTo>
                    <a:pt x="496966" y="218297"/>
                    <a:pt x="491738" y="219211"/>
                    <a:pt x="486504" y="220087"/>
                  </a:cubicBezTo>
                  <a:cubicBezTo>
                    <a:pt x="333177" y="245945"/>
                    <a:pt x="175870" y="245907"/>
                    <a:pt x="22554" y="219960"/>
                  </a:cubicBezTo>
                  <a:cubicBezTo>
                    <a:pt x="17558" y="219122"/>
                    <a:pt x="12572" y="218246"/>
                    <a:pt x="7596" y="217357"/>
                  </a:cubicBezTo>
                  <a:cubicBezTo>
                    <a:pt x="5716" y="217014"/>
                    <a:pt x="3835" y="216671"/>
                    <a:pt x="1961" y="216328"/>
                  </a:cubicBezTo>
                  <a:lnTo>
                    <a:pt x="314" y="214436"/>
                  </a:lnTo>
                  <a:lnTo>
                    <a:pt x="-604" y="212798"/>
                  </a:lnTo>
                  <a:cubicBezTo>
                    <a:pt x="-326" y="211566"/>
                    <a:pt x="-43" y="210347"/>
                    <a:pt x="239" y="209127"/>
                  </a:cubicBezTo>
                  <a:cubicBezTo>
                    <a:pt x="1232" y="204784"/>
                    <a:pt x="2224" y="200441"/>
                    <a:pt x="3216" y="196097"/>
                  </a:cubicBezTo>
                  <a:cubicBezTo>
                    <a:pt x="10752" y="163217"/>
                    <a:pt x="18287" y="130350"/>
                    <a:pt x="25813" y="97469"/>
                  </a:cubicBezTo>
                  <a:cubicBezTo>
                    <a:pt x="26651" y="93824"/>
                    <a:pt x="28611" y="91107"/>
                    <a:pt x="30193" y="91399"/>
                  </a:cubicBezTo>
                  <a:cubicBezTo>
                    <a:pt x="36285" y="92516"/>
                    <a:pt x="42382" y="93596"/>
                    <a:pt x="48490" y="94637"/>
                  </a:cubicBezTo>
                  <a:cubicBezTo>
                    <a:pt x="50072" y="94904"/>
                    <a:pt x="50762" y="98079"/>
                    <a:pt x="50018" y="101749"/>
                  </a:cubicBezTo>
                  <a:cubicBezTo>
                    <a:pt x="48782" y="134667"/>
                    <a:pt x="48063" y="167649"/>
                    <a:pt x="47855" y="200657"/>
                  </a:cubicBezTo>
                  <a:cubicBezTo>
                    <a:pt x="184627" y="221637"/>
                    <a:pt x="324332" y="221675"/>
                    <a:pt x="461119" y="200771"/>
                  </a:cubicBezTo>
                  <a:cubicBezTo>
                    <a:pt x="455142" y="136750"/>
                    <a:pt x="448157" y="72831"/>
                    <a:pt x="440170" y="9065"/>
                  </a:cubicBezTo>
                  <a:cubicBezTo>
                    <a:pt x="439425" y="5395"/>
                    <a:pt x="440030" y="2232"/>
                    <a:pt x="441513" y="1978"/>
                  </a:cubicBezTo>
                  <a:cubicBezTo>
                    <a:pt x="447219" y="1013"/>
                    <a:pt x="452919" y="10"/>
                    <a:pt x="458609" y="-1044"/>
                  </a:cubicBezTo>
                  <a:cubicBezTo>
                    <a:pt x="460097" y="-1324"/>
                    <a:pt x="461973" y="1407"/>
                    <a:pt x="462811" y="5052"/>
                  </a:cubicBezTo>
                  <a:cubicBezTo>
                    <a:pt x="477396" y="68742"/>
                    <a:pt x="491982" y="132432"/>
                    <a:pt x="506566" y="196097"/>
                  </a:cubicBezTo>
                  <a:cubicBezTo>
                    <a:pt x="507558" y="200441"/>
                    <a:pt x="508555" y="204784"/>
                    <a:pt x="509548" y="209127"/>
                  </a:cubicBezTo>
                  <a:cubicBezTo>
                    <a:pt x="509825" y="210347"/>
                    <a:pt x="510103" y="211566"/>
                    <a:pt x="510386" y="212798"/>
                  </a:cubicBezTo>
                  <a:lnTo>
                    <a:pt x="509419" y="214474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0" name="Freeform: Shape 1669">
              <a:extLst>
                <a:ext uri="{FF2B5EF4-FFF2-40B4-BE49-F238E27FC236}">
                  <a16:creationId xmlns:a16="http://schemas.microsoft.com/office/drawing/2014/main" id="{3A4B2694-58D6-406C-BF38-E7C975E00207}"/>
                </a:ext>
              </a:extLst>
            </p:cNvPr>
            <p:cNvSpPr/>
            <p:nvPr/>
          </p:nvSpPr>
          <p:spPr>
            <a:xfrm flipV="1">
              <a:off x="3910810" y="3263003"/>
              <a:ext cx="130541" cy="615237"/>
            </a:xfrm>
            <a:custGeom>
              <a:avLst/>
              <a:gdLst>
                <a:gd name="connsiteX0" fmla="*/ 130272 w 130541"/>
                <a:gd name="connsiteY0" fmla="*/ -1200 h 615237"/>
                <a:gd name="connsiteX1" fmla="*/ 104451 w 130541"/>
                <a:gd name="connsiteY1" fmla="*/ -1200 h 615237"/>
                <a:gd name="connsiteX2" fmla="*/ 69546 w 130541"/>
                <a:gd name="connsiteY2" fmla="*/ 33713 h 615237"/>
                <a:gd name="connsiteX3" fmla="*/ -269 w 130541"/>
                <a:gd name="connsiteY3" fmla="*/ 579125 h 615237"/>
                <a:gd name="connsiteX4" fmla="*/ 34635 w 130541"/>
                <a:gd name="connsiteY4" fmla="*/ 614038 h 615237"/>
                <a:gd name="connsiteX5" fmla="*/ 82454 w 130541"/>
                <a:gd name="connsiteY5" fmla="*/ 614038 h 615237"/>
                <a:gd name="connsiteX6" fmla="*/ 117200 w 130541"/>
                <a:gd name="connsiteY6" fmla="*/ 613060 h 615237"/>
                <a:gd name="connsiteX7" fmla="*/ 123779 w 130541"/>
                <a:gd name="connsiteY7" fmla="*/ 578871 h 615237"/>
                <a:gd name="connsiteX8" fmla="*/ 117369 w 130541"/>
                <a:gd name="connsiteY8" fmla="*/ 579125 h 615237"/>
                <a:gd name="connsiteX9" fmla="*/ 46963 w 130541"/>
                <a:gd name="connsiteY9" fmla="*/ 604170 h 615237"/>
                <a:gd name="connsiteX10" fmla="*/ 17630 w 130541"/>
                <a:gd name="connsiteY10" fmla="*/ 579125 h 615237"/>
                <a:gd name="connsiteX11" fmla="*/ 82821 w 130541"/>
                <a:gd name="connsiteY11" fmla="*/ 38246 h 615237"/>
                <a:gd name="connsiteX12" fmla="*/ 130272 w 130541"/>
                <a:gd name="connsiteY12" fmla="*/ -1200 h 6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541" h="615237">
                  <a:moveTo>
                    <a:pt x="130272" y="-1200"/>
                  </a:moveTo>
                  <a:lnTo>
                    <a:pt x="104451" y="-1200"/>
                  </a:lnTo>
                  <a:cubicBezTo>
                    <a:pt x="85172" y="-1200"/>
                    <a:pt x="69546" y="14421"/>
                    <a:pt x="69546" y="33713"/>
                  </a:cubicBezTo>
                  <a:lnTo>
                    <a:pt x="-269" y="579125"/>
                  </a:lnTo>
                  <a:cubicBezTo>
                    <a:pt x="-269" y="598404"/>
                    <a:pt x="15358" y="614038"/>
                    <a:pt x="34635" y="614038"/>
                  </a:cubicBezTo>
                  <a:lnTo>
                    <a:pt x="82454" y="614038"/>
                  </a:lnTo>
                  <a:cubicBezTo>
                    <a:pt x="86582" y="614038"/>
                    <a:pt x="99480" y="613733"/>
                    <a:pt x="117200" y="613060"/>
                  </a:cubicBezTo>
                  <a:cubicBezTo>
                    <a:pt x="119175" y="602112"/>
                    <a:pt x="121382" y="590682"/>
                    <a:pt x="123779" y="578871"/>
                  </a:cubicBezTo>
                  <a:lnTo>
                    <a:pt x="117369" y="579125"/>
                  </a:lnTo>
                  <a:lnTo>
                    <a:pt x="46963" y="604170"/>
                  </a:lnTo>
                  <a:lnTo>
                    <a:pt x="17630" y="579125"/>
                  </a:lnTo>
                  <a:lnTo>
                    <a:pt x="82821" y="38246"/>
                  </a:lnTo>
                  <a:lnTo>
                    <a:pt x="130272" y="-1200"/>
                  </a:ln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1" name="Freeform: Shape 1670">
              <a:extLst>
                <a:ext uri="{FF2B5EF4-FFF2-40B4-BE49-F238E27FC236}">
                  <a16:creationId xmlns:a16="http://schemas.microsoft.com/office/drawing/2014/main" id="{D25DF486-5B17-4A98-84F2-FCE8CAE76971}"/>
                </a:ext>
              </a:extLst>
            </p:cNvPr>
            <p:cNvSpPr/>
            <p:nvPr/>
          </p:nvSpPr>
          <p:spPr>
            <a:xfrm flipV="1">
              <a:off x="4560949" y="3772856"/>
              <a:ext cx="99996" cy="102704"/>
            </a:xfrm>
            <a:custGeom>
              <a:avLst/>
              <a:gdLst>
                <a:gd name="connsiteX0" fmla="*/ 12736 w 99996"/>
                <a:gd name="connsiteY0" fmla="*/ -973 h 102704"/>
                <a:gd name="connsiteX1" fmla="*/ 34202 w 99996"/>
                <a:gd name="connsiteY1" fmla="*/ 31259 h 102704"/>
                <a:gd name="connsiteX2" fmla="*/ 34202 w 99996"/>
                <a:gd name="connsiteY2" fmla="*/ 61625 h 102704"/>
                <a:gd name="connsiteX3" fmla="*/ -703 w 99996"/>
                <a:gd name="connsiteY3" fmla="*/ 96537 h 102704"/>
                <a:gd name="connsiteX4" fmla="*/ 99294 w 99996"/>
                <a:gd name="connsiteY4" fmla="*/ 101731 h 102704"/>
                <a:gd name="connsiteX5" fmla="*/ 84952 w 99996"/>
                <a:gd name="connsiteY5" fmla="*/ 3548 h 102704"/>
                <a:gd name="connsiteX6" fmla="*/ 12736 w 99996"/>
                <a:gd name="connsiteY6" fmla="*/ -973 h 10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996" h="102704">
                  <a:moveTo>
                    <a:pt x="12736" y="-973"/>
                  </a:moveTo>
                  <a:cubicBezTo>
                    <a:pt x="25343" y="4297"/>
                    <a:pt x="34202" y="16743"/>
                    <a:pt x="34202" y="31259"/>
                  </a:cubicBezTo>
                  <a:lnTo>
                    <a:pt x="34202" y="61625"/>
                  </a:lnTo>
                  <a:cubicBezTo>
                    <a:pt x="34202" y="80903"/>
                    <a:pt x="18575" y="96537"/>
                    <a:pt x="-703" y="96537"/>
                  </a:cubicBezTo>
                  <a:lnTo>
                    <a:pt x="99294" y="101731"/>
                  </a:lnTo>
                  <a:lnTo>
                    <a:pt x="84952" y="3548"/>
                  </a:lnTo>
                  <a:lnTo>
                    <a:pt x="12736" y="-973"/>
                  </a:ln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2" name="Freeform: Shape 1671">
              <a:extLst>
                <a:ext uri="{FF2B5EF4-FFF2-40B4-BE49-F238E27FC236}">
                  <a16:creationId xmlns:a16="http://schemas.microsoft.com/office/drawing/2014/main" id="{0B6513A0-C1A2-44FA-9B71-7A79E6A7AB64}"/>
                </a:ext>
              </a:extLst>
            </p:cNvPr>
            <p:cNvSpPr/>
            <p:nvPr/>
          </p:nvSpPr>
          <p:spPr>
            <a:xfrm flipV="1">
              <a:off x="3928709" y="3272871"/>
              <a:ext cx="667144" cy="605369"/>
            </a:xfrm>
            <a:custGeom>
              <a:avLst/>
              <a:gdLst>
                <a:gd name="connsiteX0" fmla="*/ 631775 w 667144"/>
                <a:gd name="connsiteY0" fmla="*/ 98995 h 605369"/>
                <a:gd name="connsiteX1" fmla="*/ 143272 w 667144"/>
                <a:gd name="connsiteY1" fmla="*/ 73709 h 605369"/>
                <a:gd name="connsiteX2" fmla="*/ 99275 w 667144"/>
                <a:gd name="connsiteY2" fmla="*/ 579130 h 605369"/>
                <a:gd name="connsiteX3" fmla="*/ 28868 w 667144"/>
                <a:gd name="connsiteY3" fmla="*/ 604174 h 605369"/>
                <a:gd name="connsiteX4" fmla="*/ -465 w 667144"/>
                <a:gd name="connsiteY4" fmla="*/ 579130 h 605369"/>
                <a:gd name="connsiteX5" fmla="*/ 64727 w 667144"/>
                <a:gd name="connsiteY5" fmla="*/ 38251 h 605369"/>
                <a:gd name="connsiteX6" fmla="*/ 112178 w 667144"/>
                <a:gd name="connsiteY6" fmla="*/ -1195 h 605369"/>
                <a:gd name="connsiteX7" fmla="*/ 212716 w 667144"/>
                <a:gd name="connsiteY7" fmla="*/ -1195 h 605369"/>
                <a:gd name="connsiteX8" fmla="*/ 631775 w 667144"/>
                <a:gd name="connsiteY8" fmla="*/ -1195 h 605369"/>
                <a:gd name="connsiteX9" fmla="*/ 666680 w 667144"/>
                <a:gd name="connsiteY9" fmla="*/ 33717 h 605369"/>
                <a:gd name="connsiteX10" fmla="*/ 666680 w 667144"/>
                <a:gd name="connsiteY10" fmla="*/ 64083 h 605369"/>
                <a:gd name="connsiteX11" fmla="*/ 631775 w 667144"/>
                <a:gd name="connsiteY11" fmla="*/ 98995 h 605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144" h="605369">
                  <a:moveTo>
                    <a:pt x="631775" y="98995"/>
                  </a:moveTo>
                  <a:lnTo>
                    <a:pt x="143272" y="73709"/>
                  </a:lnTo>
                  <a:lnTo>
                    <a:pt x="99275" y="579130"/>
                  </a:lnTo>
                  <a:lnTo>
                    <a:pt x="28868" y="604174"/>
                  </a:lnTo>
                  <a:lnTo>
                    <a:pt x="-465" y="579130"/>
                  </a:lnTo>
                  <a:lnTo>
                    <a:pt x="64727" y="38251"/>
                  </a:lnTo>
                  <a:lnTo>
                    <a:pt x="112178" y="-1195"/>
                  </a:lnTo>
                  <a:lnTo>
                    <a:pt x="212716" y="-1195"/>
                  </a:lnTo>
                  <a:lnTo>
                    <a:pt x="631775" y="-1195"/>
                  </a:lnTo>
                  <a:cubicBezTo>
                    <a:pt x="651053" y="-1195"/>
                    <a:pt x="666680" y="14426"/>
                    <a:pt x="666680" y="33717"/>
                  </a:cubicBezTo>
                  <a:lnTo>
                    <a:pt x="666680" y="64083"/>
                  </a:lnTo>
                  <a:cubicBezTo>
                    <a:pt x="666680" y="83361"/>
                    <a:pt x="651053" y="98995"/>
                    <a:pt x="631775" y="98995"/>
                  </a:cubicBez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3" name="Freeform: Shape 1672">
              <a:extLst>
                <a:ext uri="{FF2B5EF4-FFF2-40B4-BE49-F238E27FC236}">
                  <a16:creationId xmlns:a16="http://schemas.microsoft.com/office/drawing/2014/main" id="{CEDA6BFF-C90A-4D45-B22D-583E839430F7}"/>
                </a:ext>
              </a:extLst>
            </p:cNvPr>
            <p:cNvSpPr/>
            <p:nvPr/>
          </p:nvSpPr>
          <p:spPr>
            <a:xfrm flipV="1">
              <a:off x="4074768" y="3844204"/>
              <a:ext cx="520997" cy="34035"/>
            </a:xfrm>
            <a:custGeom>
              <a:avLst/>
              <a:gdLst>
                <a:gd name="connsiteX0" fmla="*/ -514 w 520997"/>
                <a:gd name="connsiteY0" fmla="*/ -940 h 34035"/>
                <a:gd name="connsiteX1" fmla="*/ 485667 w 520997"/>
                <a:gd name="connsiteY1" fmla="*/ -940 h 34035"/>
                <a:gd name="connsiteX2" fmla="*/ 520483 w 520997"/>
                <a:gd name="connsiteY2" fmla="*/ 33096 h 34035"/>
                <a:gd name="connsiteX3" fmla="*/ -514 w 520997"/>
                <a:gd name="connsiteY3" fmla="*/ -940 h 3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997" h="34035">
                  <a:moveTo>
                    <a:pt x="-514" y="-940"/>
                  </a:moveTo>
                  <a:lnTo>
                    <a:pt x="485667" y="-940"/>
                  </a:lnTo>
                  <a:cubicBezTo>
                    <a:pt x="504647" y="-940"/>
                    <a:pt x="520012" y="14223"/>
                    <a:pt x="520483" y="33096"/>
                  </a:cubicBezTo>
                  <a:cubicBezTo>
                    <a:pt x="520483" y="33096"/>
                    <a:pt x="13387" y="495"/>
                    <a:pt x="-514" y="-940"/>
                  </a:cubicBez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4" name="Freeform: Shape 1673">
              <a:extLst>
                <a:ext uri="{FF2B5EF4-FFF2-40B4-BE49-F238E27FC236}">
                  <a16:creationId xmlns:a16="http://schemas.microsoft.com/office/drawing/2014/main" id="{7CE11A05-8F0E-4F7B-928B-F8156AB37E3F}"/>
                </a:ext>
              </a:extLst>
            </p:cNvPr>
            <p:cNvSpPr/>
            <p:nvPr/>
          </p:nvSpPr>
          <p:spPr>
            <a:xfrm flipV="1">
              <a:off x="4028449" y="3297915"/>
              <a:ext cx="725069" cy="505420"/>
            </a:xfrm>
            <a:custGeom>
              <a:avLst/>
              <a:gdLst>
                <a:gd name="connsiteX0" fmla="*/ 724517 w 725069"/>
                <a:gd name="connsiteY0" fmla="*/ 34089 h 505420"/>
                <a:gd name="connsiteX1" fmla="*/ 279695 w 725069"/>
                <a:gd name="connsiteY1" fmla="*/ 34089 h 505420"/>
                <a:gd name="connsiteX2" fmla="*/ 212578 w 725069"/>
                <a:gd name="connsiteY2" fmla="*/ 495682 h 505420"/>
                <a:gd name="connsiteX3" fmla="*/ -552 w 725069"/>
                <a:gd name="connsiteY3" fmla="*/ 504203 h 505420"/>
                <a:gd name="connsiteX4" fmla="*/ 43445 w 725069"/>
                <a:gd name="connsiteY4" fmla="*/ -1217 h 505420"/>
                <a:gd name="connsiteX5" fmla="*/ 531948 w 725069"/>
                <a:gd name="connsiteY5" fmla="*/ 24068 h 505420"/>
                <a:gd name="connsiteX6" fmla="*/ 724517 w 725069"/>
                <a:gd name="connsiteY6" fmla="*/ 34089 h 505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5069" h="505420">
                  <a:moveTo>
                    <a:pt x="724517" y="34089"/>
                  </a:moveTo>
                  <a:lnTo>
                    <a:pt x="279695" y="34089"/>
                  </a:lnTo>
                  <a:lnTo>
                    <a:pt x="212578" y="495682"/>
                  </a:lnTo>
                  <a:lnTo>
                    <a:pt x="-552" y="504203"/>
                  </a:lnTo>
                  <a:lnTo>
                    <a:pt x="43445" y="-1217"/>
                  </a:lnTo>
                  <a:lnTo>
                    <a:pt x="531948" y="24068"/>
                  </a:lnTo>
                  <a:lnTo>
                    <a:pt x="724517" y="34089"/>
                  </a:ln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5" name="Freeform: Shape 1674">
              <a:extLst>
                <a:ext uri="{FF2B5EF4-FFF2-40B4-BE49-F238E27FC236}">
                  <a16:creationId xmlns:a16="http://schemas.microsoft.com/office/drawing/2014/main" id="{A25508FB-C816-44FE-98C1-E9DF06628541}"/>
                </a:ext>
              </a:extLst>
            </p:cNvPr>
            <p:cNvSpPr/>
            <p:nvPr/>
          </p:nvSpPr>
          <p:spPr>
            <a:xfrm flipV="1">
              <a:off x="4569338" y="3832749"/>
              <a:ext cx="217640" cy="42811"/>
            </a:xfrm>
            <a:custGeom>
              <a:avLst/>
              <a:gdLst>
                <a:gd name="connsiteX0" fmla="*/ 25679 w 217640"/>
                <a:gd name="connsiteY0" fmla="*/ 30410 h 42811"/>
                <a:gd name="connsiteX1" fmla="*/ -748 w 217640"/>
                <a:gd name="connsiteY1" fmla="*/ -781 h 42811"/>
                <a:gd name="connsiteX2" fmla="*/ 4267 w 217640"/>
                <a:gd name="connsiteY2" fmla="*/ -947 h 42811"/>
                <a:gd name="connsiteX3" fmla="*/ 183432 w 217640"/>
                <a:gd name="connsiteY3" fmla="*/ 10267 h 42811"/>
                <a:gd name="connsiteX4" fmla="*/ 216892 w 217640"/>
                <a:gd name="connsiteY4" fmla="*/ 41865 h 42811"/>
                <a:gd name="connsiteX5" fmla="*/ 25679 w 217640"/>
                <a:gd name="connsiteY5" fmla="*/ 30410 h 42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7640" h="42811">
                  <a:moveTo>
                    <a:pt x="25679" y="30410"/>
                  </a:moveTo>
                  <a:lnTo>
                    <a:pt x="-748" y="-781"/>
                  </a:lnTo>
                  <a:lnTo>
                    <a:pt x="4267" y="-947"/>
                  </a:lnTo>
                  <a:lnTo>
                    <a:pt x="183432" y="10267"/>
                  </a:lnTo>
                  <a:cubicBezTo>
                    <a:pt x="201306" y="10267"/>
                    <a:pt x="215871" y="24250"/>
                    <a:pt x="216892" y="41865"/>
                  </a:cubicBezTo>
                  <a:lnTo>
                    <a:pt x="25679" y="30410"/>
                  </a:ln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6" name="Freeform: Shape 1675">
              <a:extLst>
                <a:ext uri="{FF2B5EF4-FFF2-40B4-BE49-F238E27FC236}">
                  <a16:creationId xmlns:a16="http://schemas.microsoft.com/office/drawing/2014/main" id="{EA8DDE81-A9AC-4781-9F01-EFD8276699FC}"/>
                </a:ext>
              </a:extLst>
            </p:cNvPr>
            <p:cNvSpPr/>
            <p:nvPr/>
          </p:nvSpPr>
          <p:spPr>
            <a:xfrm flipV="1">
              <a:off x="3947312" y="4256332"/>
              <a:ext cx="56241" cy="56232"/>
            </a:xfrm>
            <a:custGeom>
              <a:avLst/>
              <a:gdLst>
                <a:gd name="connsiteX0" fmla="*/ 55973 w 56241"/>
                <a:gd name="connsiteY0" fmla="*/ 27567 h 56232"/>
                <a:gd name="connsiteX1" fmla="*/ 27855 w 56241"/>
                <a:gd name="connsiteY1" fmla="*/ -563 h 56232"/>
                <a:gd name="connsiteX2" fmla="*/ -269 w 56241"/>
                <a:gd name="connsiteY2" fmla="*/ 27567 h 56232"/>
                <a:gd name="connsiteX3" fmla="*/ 27855 w 56241"/>
                <a:gd name="connsiteY3" fmla="*/ 55670 h 56232"/>
                <a:gd name="connsiteX4" fmla="*/ 55973 w 56241"/>
                <a:gd name="connsiteY4" fmla="*/ 27567 h 5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1" h="56232">
                  <a:moveTo>
                    <a:pt x="55973" y="27567"/>
                  </a:moveTo>
                  <a:cubicBezTo>
                    <a:pt x="55973" y="12023"/>
                    <a:pt x="43387" y="-563"/>
                    <a:pt x="27855" y="-563"/>
                  </a:cubicBezTo>
                  <a:cubicBezTo>
                    <a:pt x="12317" y="-563"/>
                    <a:pt x="-269" y="12023"/>
                    <a:pt x="-269" y="27567"/>
                  </a:cubicBezTo>
                  <a:cubicBezTo>
                    <a:pt x="-269" y="43083"/>
                    <a:pt x="12317" y="55670"/>
                    <a:pt x="27855" y="55670"/>
                  </a:cubicBezTo>
                  <a:cubicBezTo>
                    <a:pt x="43387" y="55670"/>
                    <a:pt x="55973" y="43083"/>
                    <a:pt x="55973" y="27567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7" name="Freeform: Shape 1676">
              <a:extLst>
                <a:ext uri="{FF2B5EF4-FFF2-40B4-BE49-F238E27FC236}">
                  <a16:creationId xmlns:a16="http://schemas.microsoft.com/office/drawing/2014/main" id="{D601FDAD-222A-4052-BAA1-8AF3FF8C748D}"/>
                </a:ext>
              </a:extLst>
            </p:cNvPr>
            <p:cNvSpPr/>
            <p:nvPr/>
          </p:nvSpPr>
          <p:spPr>
            <a:xfrm flipV="1">
              <a:off x="3935336" y="4244342"/>
              <a:ext cx="80193" cy="80197"/>
            </a:xfrm>
            <a:custGeom>
              <a:avLst/>
              <a:gdLst>
                <a:gd name="connsiteX0" fmla="*/ 39831 w 80193"/>
                <a:gd name="connsiteY0" fmla="*/ 55684 h 80197"/>
                <a:gd name="connsiteX1" fmla="*/ 23683 w 80193"/>
                <a:gd name="connsiteY1" fmla="*/ 39541 h 80197"/>
                <a:gd name="connsiteX2" fmla="*/ 39831 w 80193"/>
                <a:gd name="connsiteY2" fmla="*/ 23373 h 80197"/>
                <a:gd name="connsiteX3" fmla="*/ 55983 w 80193"/>
                <a:gd name="connsiteY3" fmla="*/ 39541 h 80197"/>
                <a:gd name="connsiteX4" fmla="*/ 39831 w 80193"/>
                <a:gd name="connsiteY4" fmla="*/ 55684 h 80197"/>
                <a:gd name="connsiteX5" fmla="*/ 39831 w 80193"/>
                <a:gd name="connsiteY5" fmla="*/ -563 h 80197"/>
                <a:gd name="connsiteX6" fmla="*/ -269 w 80193"/>
                <a:gd name="connsiteY6" fmla="*/ 39541 h 80197"/>
                <a:gd name="connsiteX7" fmla="*/ 39831 w 80193"/>
                <a:gd name="connsiteY7" fmla="*/ 79635 h 80197"/>
                <a:gd name="connsiteX8" fmla="*/ 79925 w 80193"/>
                <a:gd name="connsiteY8" fmla="*/ 39541 h 80197"/>
                <a:gd name="connsiteX9" fmla="*/ 39831 w 80193"/>
                <a:gd name="connsiteY9" fmla="*/ -563 h 8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93" h="80197">
                  <a:moveTo>
                    <a:pt x="39831" y="55684"/>
                  </a:moveTo>
                  <a:cubicBezTo>
                    <a:pt x="30926" y="55684"/>
                    <a:pt x="23683" y="48445"/>
                    <a:pt x="23683" y="39541"/>
                  </a:cubicBezTo>
                  <a:cubicBezTo>
                    <a:pt x="23683" y="30626"/>
                    <a:pt x="30926" y="23373"/>
                    <a:pt x="39831" y="23373"/>
                  </a:cubicBezTo>
                  <a:cubicBezTo>
                    <a:pt x="48730" y="23373"/>
                    <a:pt x="55983" y="30626"/>
                    <a:pt x="55983" y="39541"/>
                  </a:cubicBezTo>
                  <a:cubicBezTo>
                    <a:pt x="55983" y="48445"/>
                    <a:pt x="48730" y="55684"/>
                    <a:pt x="39831" y="55684"/>
                  </a:cubicBezTo>
                  <a:close/>
                  <a:moveTo>
                    <a:pt x="39831" y="-563"/>
                  </a:moveTo>
                  <a:cubicBezTo>
                    <a:pt x="17719" y="-563"/>
                    <a:pt x="-269" y="17421"/>
                    <a:pt x="-269" y="39541"/>
                  </a:cubicBezTo>
                  <a:cubicBezTo>
                    <a:pt x="-269" y="61642"/>
                    <a:pt x="17719" y="79635"/>
                    <a:pt x="39831" y="79635"/>
                  </a:cubicBezTo>
                  <a:cubicBezTo>
                    <a:pt x="61937" y="79635"/>
                    <a:pt x="79925" y="61642"/>
                    <a:pt x="79925" y="39541"/>
                  </a:cubicBezTo>
                  <a:cubicBezTo>
                    <a:pt x="79925" y="17421"/>
                    <a:pt x="61937" y="-563"/>
                    <a:pt x="39831" y="-563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8" name="Freeform: Shape 1677">
              <a:extLst>
                <a:ext uri="{FF2B5EF4-FFF2-40B4-BE49-F238E27FC236}">
                  <a16:creationId xmlns:a16="http://schemas.microsoft.com/office/drawing/2014/main" id="{70A5CEB2-CF2A-42F0-AACA-178612AB62C3}"/>
                </a:ext>
              </a:extLst>
            </p:cNvPr>
            <p:cNvSpPr/>
            <p:nvPr/>
          </p:nvSpPr>
          <p:spPr>
            <a:xfrm flipV="1">
              <a:off x="3931720" y="4240720"/>
              <a:ext cx="87431" cy="43715"/>
            </a:xfrm>
            <a:custGeom>
              <a:avLst/>
              <a:gdLst>
                <a:gd name="connsiteX0" fmla="*/ 87163 w 87431"/>
                <a:gd name="connsiteY0" fmla="*/ -582 h 43715"/>
                <a:gd name="connsiteX1" fmla="*/ 87163 w 87431"/>
                <a:gd name="connsiteY1" fmla="*/ -582 h 43715"/>
                <a:gd name="connsiteX2" fmla="*/ 43447 w 87431"/>
                <a:gd name="connsiteY2" fmla="*/ 43134 h 43715"/>
                <a:gd name="connsiteX3" fmla="*/ -269 w 87431"/>
                <a:gd name="connsiteY3" fmla="*/ -582 h 43715"/>
                <a:gd name="connsiteX4" fmla="*/ 87163 w 87431"/>
                <a:gd name="connsiteY4" fmla="*/ -582 h 4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1" h="43715">
                  <a:moveTo>
                    <a:pt x="87163" y="-582"/>
                  </a:moveTo>
                  <a:lnTo>
                    <a:pt x="87163" y="-582"/>
                  </a:lnTo>
                  <a:cubicBezTo>
                    <a:pt x="87163" y="23522"/>
                    <a:pt x="67546" y="43134"/>
                    <a:pt x="43447" y="43134"/>
                  </a:cubicBezTo>
                  <a:cubicBezTo>
                    <a:pt x="19341" y="43134"/>
                    <a:pt x="-269" y="23522"/>
                    <a:pt x="-269" y="-582"/>
                  </a:cubicBezTo>
                  <a:lnTo>
                    <a:pt x="87163" y="-582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9" name="Freeform: Shape 1678">
              <a:extLst>
                <a:ext uri="{FF2B5EF4-FFF2-40B4-BE49-F238E27FC236}">
                  <a16:creationId xmlns:a16="http://schemas.microsoft.com/office/drawing/2014/main" id="{17FE7BA6-4330-469A-AB90-F494165FF83B}"/>
                </a:ext>
              </a:extLst>
            </p:cNvPr>
            <p:cNvSpPr/>
            <p:nvPr/>
          </p:nvSpPr>
          <p:spPr>
            <a:xfrm flipV="1">
              <a:off x="4426999" y="3102247"/>
              <a:ext cx="166562" cy="412444"/>
            </a:xfrm>
            <a:custGeom>
              <a:avLst/>
              <a:gdLst>
                <a:gd name="connsiteX0" fmla="*/ 2536 w 166562"/>
                <a:gd name="connsiteY0" fmla="*/ 411011 h 412444"/>
                <a:gd name="connsiteX1" fmla="*/ 165929 w 166562"/>
                <a:gd name="connsiteY1" fmla="*/ 74715 h 412444"/>
                <a:gd name="connsiteX2" fmla="*/ 113582 w 166562"/>
                <a:gd name="connsiteY2" fmla="*/ -1434 h 412444"/>
                <a:gd name="connsiteX3" fmla="*/ -634 w 166562"/>
                <a:gd name="connsiteY3" fmla="*/ 144514 h 412444"/>
                <a:gd name="connsiteX4" fmla="*/ 2536 w 166562"/>
                <a:gd name="connsiteY4" fmla="*/ 411011 h 41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562" h="412444">
                  <a:moveTo>
                    <a:pt x="2536" y="411011"/>
                  </a:moveTo>
                  <a:lnTo>
                    <a:pt x="165929" y="74715"/>
                  </a:lnTo>
                  <a:lnTo>
                    <a:pt x="113582" y="-1434"/>
                  </a:lnTo>
                  <a:lnTo>
                    <a:pt x="-634" y="144514"/>
                  </a:lnTo>
                  <a:lnTo>
                    <a:pt x="2536" y="411011"/>
                  </a:ln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0" name="Freeform: Shape 1679">
              <a:extLst>
                <a:ext uri="{FF2B5EF4-FFF2-40B4-BE49-F238E27FC236}">
                  <a16:creationId xmlns:a16="http://schemas.microsoft.com/office/drawing/2014/main" id="{9D3631D9-0D85-498C-B69E-0C61B7EBEB90}"/>
                </a:ext>
              </a:extLst>
            </p:cNvPr>
            <p:cNvSpPr/>
            <p:nvPr/>
          </p:nvSpPr>
          <p:spPr>
            <a:xfrm flipV="1">
              <a:off x="4523763" y="3411580"/>
              <a:ext cx="96772" cy="103110"/>
            </a:xfrm>
            <a:custGeom>
              <a:avLst/>
              <a:gdLst>
                <a:gd name="connsiteX0" fmla="*/ 8844 w 96772"/>
                <a:gd name="connsiteY0" fmla="*/ 101815 h 103110"/>
                <a:gd name="connsiteX1" fmla="*/ 77057 w 96772"/>
                <a:gd name="connsiteY1" fmla="*/ 95465 h 103110"/>
                <a:gd name="connsiteX2" fmla="*/ 96096 w 96772"/>
                <a:gd name="connsiteY2" fmla="*/ 25679 h 103110"/>
                <a:gd name="connsiteX3" fmla="*/ 51676 w 96772"/>
                <a:gd name="connsiteY3" fmla="*/ -1296 h 103110"/>
                <a:gd name="connsiteX4" fmla="*/ -676 w 96772"/>
                <a:gd name="connsiteY4" fmla="*/ 25679 h 103110"/>
                <a:gd name="connsiteX5" fmla="*/ 8844 w 96772"/>
                <a:gd name="connsiteY5" fmla="*/ 101815 h 103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72" h="103110">
                  <a:moveTo>
                    <a:pt x="8844" y="101815"/>
                  </a:moveTo>
                  <a:lnTo>
                    <a:pt x="77057" y="95465"/>
                  </a:lnTo>
                  <a:lnTo>
                    <a:pt x="96096" y="25679"/>
                  </a:lnTo>
                  <a:lnTo>
                    <a:pt x="51676" y="-1296"/>
                  </a:lnTo>
                  <a:lnTo>
                    <a:pt x="-676" y="25679"/>
                  </a:lnTo>
                  <a:lnTo>
                    <a:pt x="8844" y="101815"/>
                  </a:lnTo>
                </a:path>
              </a:pathLst>
            </a:custGeom>
            <a:solidFill>
              <a:srgbClr val="CBC1E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1" name="Freeform: Shape 1680">
              <a:extLst>
                <a:ext uri="{FF2B5EF4-FFF2-40B4-BE49-F238E27FC236}">
                  <a16:creationId xmlns:a16="http://schemas.microsoft.com/office/drawing/2014/main" id="{F72564A4-A7C1-4002-BB9C-EAD3F1A42210}"/>
                </a:ext>
              </a:extLst>
            </p:cNvPr>
            <p:cNvSpPr/>
            <p:nvPr/>
          </p:nvSpPr>
          <p:spPr>
            <a:xfrm flipV="1">
              <a:off x="4630999" y="3525423"/>
              <a:ext cx="387073" cy="493535"/>
            </a:xfrm>
            <a:custGeom>
              <a:avLst/>
              <a:gdLst>
                <a:gd name="connsiteX0" fmla="*/ 262094 w 387073"/>
                <a:gd name="connsiteY0" fmla="*/ 113003 h 493535"/>
                <a:gd name="connsiteX1" fmla="*/ 105447 w 387073"/>
                <a:gd name="connsiteY1" fmla="*/ 492516 h 493535"/>
                <a:gd name="connsiteX2" fmla="*/ -616 w 387073"/>
                <a:gd name="connsiteY2" fmla="*/ 425333 h 493535"/>
                <a:gd name="connsiteX3" fmla="*/ 11101 w 387073"/>
                <a:gd name="connsiteY3" fmla="*/ 367281 h 493535"/>
                <a:gd name="connsiteX4" fmla="*/ 195622 w 387073"/>
                <a:gd name="connsiteY4" fmla="*/ 28370 h 493535"/>
                <a:gd name="connsiteX5" fmla="*/ 384636 w 387073"/>
                <a:gd name="connsiteY5" fmla="*/ 34415 h 493535"/>
                <a:gd name="connsiteX6" fmla="*/ 262094 w 387073"/>
                <a:gd name="connsiteY6" fmla="*/ 113003 h 49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7073" h="493535">
                  <a:moveTo>
                    <a:pt x="262094" y="113003"/>
                  </a:moveTo>
                  <a:cubicBezTo>
                    <a:pt x="262094" y="113003"/>
                    <a:pt x="157562" y="285913"/>
                    <a:pt x="105447" y="492516"/>
                  </a:cubicBezTo>
                  <a:cubicBezTo>
                    <a:pt x="66603" y="466151"/>
                    <a:pt x="22957" y="463204"/>
                    <a:pt x="-616" y="425333"/>
                  </a:cubicBezTo>
                  <a:cubicBezTo>
                    <a:pt x="-2974" y="421536"/>
                    <a:pt x="13472" y="371066"/>
                    <a:pt x="11101" y="367281"/>
                  </a:cubicBezTo>
                  <a:cubicBezTo>
                    <a:pt x="114645" y="126020"/>
                    <a:pt x="204582" y="48042"/>
                    <a:pt x="195622" y="28370"/>
                  </a:cubicBezTo>
                  <a:cubicBezTo>
                    <a:pt x="195622" y="28370"/>
                    <a:pt x="260989" y="-41619"/>
                    <a:pt x="384636" y="34415"/>
                  </a:cubicBezTo>
                  <a:cubicBezTo>
                    <a:pt x="402619" y="45477"/>
                    <a:pt x="262094" y="113003"/>
                    <a:pt x="262094" y="113003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2" name="Freeform: Shape 1681">
              <a:extLst>
                <a:ext uri="{FF2B5EF4-FFF2-40B4-BE49-F238E27FC236}">
                  <a16:creationId xmlns:a16="http://schemas.microsoft.com/office/drawing/2014/main" id="{507E1A08-82A9-4DD7-8C50-F10237173B9E}"/>
                </a:ext>
              </a:extLst>
            </p:cNvPr>
            <p:cNvSpPr/>
            <p:nvPr/>
          </p:nvSpPr>
          <p:spPr>
            <a:xfrm flipV="1">
              <a:off x="4198434" y="3592598"/>
              <a:ext cx="925325" cy="718424"/>
            </a:xfrm>
            <a:custGeom>
              <a:avLst/>
              <a:gdLst>
                <a:gd name="connsiteX0" fmla="*/ 773421 w 925325"/>
                <a:gd name="connsiteY0" fmla="*/ 92361 h 718424"/>
                <a:gd name="connsiteX1" fmla="*/ 738852 w 925325"/>
                <a:gd name="connsiteY1" fmla="*/ 716656 h 718424"/>
                <a:gd name="connsiteX2" fmla="*/ 176900 w 925325"/>
                <a:gd name="connsiteY2" fmla="*/ 678848 h 718424"/>
                <a:gd name="connsiteX3" fmla="*/ -493 w 925325"/>
                <a:gd name="connsiteY3" fmla="*/ 531173 h 718424"/>
                <a:gd name="connsiteX4" fmla="*/ 312158 w 925325"/>
                <a:gd name="connsiteY4" fmla="*/ 550756 h 718424"/>
                <a:gd name="connsiteX5" fmla="*/ 605712 w 925325"/>
                <a:gd name="connsiteY5" fmla="*/ 569730 h 718424"/>
                <a:gd name="connsiteX6" fmla="*/ 682870 w 925325"/>
                <a:gd name="connsiteY6" fmla="*/ 24749 h 718424"/>
                <a:gd name="connsiteX7" fmla="*/ 924589 w 925325"/>
                <a:gd name="connsiteY7" fmla="*/ 19719 h 718424"/>
                <a:gd name="connsiteX8" fmla="*/ 773421 w 925325"/>
                <a:gd name="connsiteY8" fmla="*/ 92361 h 718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5325" h="718424">
                  <a:moveTo>
                    <a:pt x="773421" y="92361"/>
                  </a:moveTo>
                  <a:cubicBezTo>
                    <a:pt x="744211" y="122310"/>
                    <a:pt x="738852" y="716656"/>
                    <a:pt x="738852" y="716656"/>
                  </a:cubicBezTo>
                  <a:cubicBezTo>
                    <a:pt x="738852" y="716656"/>
                    <a:pt x="274213" y="726867"/>
                    <a:pt x="176900" y="678848"/>
                  </a:cubicBezTo>
                  <a:cubicBezTo>
                    <a:pt x="186891" y="649550"/>
                    <a:pt x="-8565" y="561171"/>
                    <a:pt x="-493" y="531173"/>
                  </a:cubicBezTo>
                  <a:cubicBezTo>
                    <a:pt x="6591" y="504821"/>
                    <a:pt x="160955" y="527795"/>
                    <a:pt x="312158" y="550756"/>
                  </a:cubicBezTo>
                  <a:cubicBezTo>
                    <a:pt x="464505" y="573908"/>
                    <a:pt x="613644" y="597048"/>
                    <a:pt x="605712" y="569730"/>
                  </a:cubicBezTo>
                  <a:cubicBezTo>
                    <a:pt x="634227" y="414562"/>
                    <a:pt x="682870" y="24749"/>
                    <a:pt x="682870" y="24749"/>
                  </a:cubicBezTo>
                  <a:cubicBezTo>
                    <a:pt x="682870" y="24749"/>
                    <a:pt x="896890" y="-29354"/>
                    <a:pt x="924589" y="19719"/>
                  </a:cubicBezTo>
                  <a:cubicBezTo>
                    <a:pt x="919687" y="27533"/>
                    <a:pt x="802631" y="62403"/>
                    <a:pt x="773421" y="92361"/>
                  </a:cubicBezTo>
                </a:path>
              </a:pathLst>
            </a:custGeom>
            <a:solidFill>
              <a:srgbClr val="1418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3" name="Freeform: Shape 1682">
              <a:extLst>
                <a:ext uri="{FF2B5EF4-FFF2-40B4-BE49-F238E27FC236}">
                  <a16:creationId xmlns:a16="http://schemas.microsoft.com/office/drawing/2014/main" id="{EE7782B1-CF94-4108-8269-2CBD30B2E79E}"/>
                </a:ext>
              </a:extLst>
            </p:cNvPr>
            <p:cNvSpPr/>
            <p:nvPr/>
          </p:nvSpPr>
          <p:spPr>
            <a:xfrm flipV="1">
              <a:off x="4140937" y="3036296"/>
              <a:ext cx="178241" cy="37109"/>
            </a:xfrm>
            <a:custGeom>
              <a:avLst/>
              <a:gdLst>
                <a:gd name="connsiteX0" fmla="*/ 127678 w 178241"/>
                <a:gd name="connsiteY0" fmla="*/ 35449 h 37109"/>
                <a:gd name="connsiteX1" fmla="*/ 24203 w 178241"/>
                <a:gd name="connsiteY1" fmla="*/ 15955 h 37109"/>
                <a:gd name="connsiteX2" fmla="*/ -443 w 178241"/>
                <a:gd name="connsiteY2" fmla="*/ -1660 h 37109"/>
                <a:gd name="connsiteX3" fmla="*/ 177799 w 178241"/>
                <a:gd name="connsiteY3" fmla="*/ 26369 h 37109"/>
                <a:gd name="connsiteX4" fmla="*/ 127678 w 178241"/>
                <a:gd name="connsiteY4" fmla="*/ 35449 h 3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241" h="37109">
                  <a:moveTo>
                    <a:pt x="127678" y="35449"/>
                  </a:moveTo>
                  <a:lnTo>
                    <a:pt x="24203" y="15955"/>
                  </a:lnTo>
                  <a:lnTo>
                    <a:pt x="-443" y="-1660"/>
                  </a:lnTo>
                  <a:lnTo>
                    <a:pt x="177799" y="26369"/>
                  </a:lnTo>
                  <a:lnTo>
                    <a:pt x="127678" y="35449"/>
                  </a:lnTo>
                </a:path>
              </a:pathLst>
            </a:custGeom>
            <a:solidFill>
              <a:srgbClr val="928DA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4" name="Freeform: Shape 1683">
              <a:extLst>
                <a:ext uri="{FF2B5EF4-FFF2-40B4-BE49-F238E27FC236}">
                  <a16:creationId xmlns:a16="http://schemas.microsoft.com/office/drawing/2014/main" id="{30C3D8AC-4853-44CA-B3E1-85A1D800B0A4}"/>
                </a:ext>
              </a:extLst>
            </p:cNvPr>
            <p:cNvSpPr/>
            <p:nvPr/>
          </p:nvSpPr>
          <p:spPr>
            <a:xfrm flipV="1">
              <a:off x="4036812" y="2901459"/>
              <a:ext cx="471581" cy="832723"/>
            </a:xfrm>
            <a:custGeom>
              <a:avLst/>
              <a:gdLst>
                <a:gd name="connsiteX0" fmla="*/ 8235 w 471581"/>
                <a:gd name="connsiteY0" fmla="*/ 603409 h 832723"/>
                <a:gd name="connsiteX1" fmla="*/ 138667 w 471581"/>
                <a:gd name="connsiteY1" fmla="*/ 675532 h 832723"/>
                <a:gd name="connsiteX2" fmla="*/ 122521 w 471581"/>
                <a:gd name="connsiteY2" fmla="*/ 796563 h 832723"/>
                <a:gd name="connsiteX3" fmla="*/ 164062 w 471581"/>
                <a:gd name="connsiteY3" fmla="*/ 830599 h 832723"/>
                <a:gd name="connsiteX4" fmla="*/ 222820 w 471581"/>
                <a:gd name="connsiteY4" fmla="*/ 788092 h 832723"/>
                <a:gd name="connsiteX5" fmla="*/ 238596 w 471581"/>
                <a:gd name="connsiteY5" fmla="*/ 694659 h 832723"/>
                <a:gd name="connsiteX6" fmla="*/ 376018 w 471581"/>
                <a:gd name="connsiteY6" fmla="*/ 650831 h 832723"/>
                <a:gd name="connsiteX7" fmla="*/ 471109 w 471581"/>
                <a:gd name="connsiteY7" fmla="*/ 69083 h 832723"/>
                <a:gd name="connsiteX8" fmla="*/ 113452 w 471581"/>
                <a:gd name="connsiteY8" fmla="*/ 6612 h 832723"/>
                <a:gd name="connsiteX9" fmla="*/ 8235 w 471581"/>
                <a:gd name="connsiteY9" fmla="*/ 603409 h 83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1581" h="832723">
                  <a:moveTo>
                    <a:pt x="8235" y="603409"/>
                  </a:moveTo>
                  <a:cubicBezTo>
                    <a:pt x="36071" y="625202"/>
                    <a:pt x="95959" y="655289"/>
                    <a:pt x="138667" y="675532"/>
                  </a:cubicBezTo>
                  <a:lnTo>
                    <a:pt x="122521" y="796563"/>
                  </a:lnTo>
                  <a:cubicBezTo>
                    <a:pt x="117792" y="824605"/>
                    <a:pt x="136485" y="825951"/>
                    <a:pt x="164062" y="830599"/>
                  </a:cubicBezTo>
                  <a:cubicBezTo>
                    <a:pt x="191645" y="835260"/>
                    <a:pt x="218083" y="816134"/>
                    <a:pt x="222820" y="788092"/>
                  </a:cubicBezTo>
                  <a:lnTo>
                    <a:pt x="238596" y="694659"/>
                  </a:lnTo>
                  <a:cubicBezTo>
                    <a:pt x="284737" y="688004"/>
                    <a:pt x="348421" y="672929"/>
                    <a:pt x="376018" y="650831"/>
                  </a:cubicBezTo>
                  <a:cubicBezTo>
                    <a:pt x="422909" y="614623"/>
                    <a:pt x="470077" y="73185"/>
                    <a:pt x="471109" y="69083"/>
                  </a:cubicBezTo>
                  <a:cubicBezTo>
                    <a:pt x="362793" y="7133"/>
                    <a:pt x="236225" y="-14927"/>
                    <a:pt x="113452" y="6612"/>
                  </a:cubicBezTo>
                  <a:cubicBezTo>
                    <a:pt x="112955" y="11997"/>
                    <a:pt x="-37683" y="570275"/>
                    <a:pt x="8235" y="603409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5" name="Freeform: Shape 1684">
              <a:extLst>
                <a:ext uri="{FF2B5EF4-FFF2-40B4-BE49-F238E27FC236}">
                  <a16:creationId xmlns:a16="http://schemas.microsoft.com/office/drawing/2014/main" id="{94357DD1-9BB9-4E03-957F-71DC6E001FF4}"/>
                </a:ext>
              </a:extLst>
            </p:cNvPr>
            <p:cNvSpPr/>
            <p:nvPr/>
          </p:nvSpPr>
          <p:spPr>
            <a:xfrm flipV="1">
              <a:off x="4159073" y="2901459"/>
              <a:ext cx="158781" cy="168702"/>
            </a:xfrm>
            <a:custGeom>
              <a:avLst/>
              <a:gdLst>
                <a:gd name="connsiteX0" fmla="*/ 7243 w 158781"/>
                <a:gd name="connsiteY0" fmla="*/ 80087 h 168702"/>
                <a:gd name="connsiteX1" fmla="*/ 67513 w 158781"/>
                <a:gd name="connsiteY1" fmla="*/ 10212 h 168702"/>
                <a:gd name="connsiteX2" fmla="*/ 158333 w 158781"/>
                <a:gd name="connsiteY2" fmla="*/ 22683 h 168702"/>
                <a:gd name="connsiteX3" fmla="*/ 116358 w 158781"/>
                <a:gd name="connsiteY3" fmla="*/ 30341 h 168702"/>
                <a:gd name="connsiteX4" fmla="*/ 100582 w 158781"/>
                <a:gd name="connsiteY4" fmla="*/ 123775 h 168702"/>
                <a:gd name="connsiteX5" fmla="*/ 41825 w 158781"/>
                <a:gd name="connsiteY5" fmla="*/ 166282 h 168702"/>
                <a:gd name="connsiteX6" fmla="*/ 283 w 158781"/>
                <a:gd name="connsiteY6" fmla="*/ 132246 h 168702"/>
                <a:gd name="connsiteX7" fmla="*/ 7243 w 158781"/>
                <a:gd name="connsiteY7" fmla="*/ 80087 h 16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781" h="168702">
                  <a:moveTo>
                    <a:pt x="7243" y="80087"/>
                  </a:moveTo>
                  <a:cubicBezTo>
                    <a:pt x="20117" y="51614"/>
                    <a:pt x="42763" y="27395"/>
                    <a:pt x="67513" y="10212"/>
                  </a:cubicBezTo>
                  <a:cubicBezTo>
                    <a:pt x="99739" y="-12153"/>
                    <a:pt x="132208" y="-266"/>
                    <a:pt x="158333" y="22683"/>
                  </a:cubicBezTo>
                  <a:cubicBezTo>
                    <a:pt x="143747" y="25858"/>
                    <a:pt x="129356" y="28474"/>
                    <a:pt x="116358" y="30341"/>
                  </a:cubicBezTo>
                  <a:lnTo>
                    <a:pt x="100582" y="123775"/>
                  </a:lnTo>
                  <a:cubicBezTo>
                    <a:pt x="95845" y="151816"/>
                    <a:pt x="69408" y="170943"/>
                    <a:pt x="41825" y="166282"/>
                  </a:cubicBezTo>
                  <a:cubicBezTo>
                    <a:pt x="14248" y="161634"/>
                    <a:pt x="-4445" y="160287"/>
                    <a:pt x="283" y="132246"/>
                  </a:cubicBezTo>
                  <a:lnTo>
                    <a:pt x="7243" y="80087"/>
                  </a:lnTo>
                </a:path>
              </a:pathLst>
            </a:custGeom>
            <a:solidFill>
              <a:srgbClr val="AB6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6" name="Freeform: Shape 1685">
              <a:extLst>
                <a:ext uri="{FF2B5EF4-FFF2-40B4-BE49-F238E27FC236}">
                  <a16:creationId xmlns:a16="http://schemas.microsoft.com/office/drawing/2014/main" id="{E5EDE54A-8CE8-44A6-B3B7-A22FA9AE5999}"/>
                </a:ext>
              </a:extLst>
            </p:cNvPr>
            <p:cNvSpPr/>
            <p:nvPr/>
          </p:nvSpPr>
          <p:spPr>
            <a:xfrm flipV="1">
              <a:off x="4036812" y="3058026"/>
              <a:ext cx="454243" cy="669794"/>
            </a:xfrm>
            <a:custGeom>
              <a:avLst/>
              <a:gdLst>
                <a:gd name="connsiteX0" fmla="*/ 8241 w 454243"/>
                <a:gd name="connsiteY0" fmla="*/ 597114 h 669794"/>
                <a:gd name="connsiteX1" fmla="*/ 60485 w 454243"/>
                <a:gd name="connsiteY1" fmla="*/ 629727 h 669794"/>
                <a:gd name="connsiteX2" fmla="*/ 203870 w 454243"/>
                <a:gd name="connsiteY2" fmla="*/ 599679 h 669794"/>
                <a:gd name="connsiteX3" fmla="*/ 326419 w 454243"/>
                <a:gd name="connsiteY3" fmla="*/ 668437 h 669794"/>
                <a:gd name="connsiteX4" fmla="*/ 376024 w 454243"/>
                <a:gd name="connsiteY4" fmla="*/ 644535 h 669794"/>
                <a:gd name="connsiteX5" fmla="*/ 453777 w 454243"/>
                <a:gd name="connsiteY5" fmla="*/ 232904 h 669794"/>
                <a:gd name="connsiteX6" fmla="*/ 113457 w 454243"/>
                <a:gd name="connsiteY6" fmla="*/ 317 h 669794"/>
                <a:gd name="connsiteX7" fmla="*/ 8241 w 454243"/>
                <a:gd name="connsiteY7" fmla="*/ 597114 h 669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4243" h="669794">
                  <a:moveTo>
                    <a:pt x="8241" y="597114"/>
                  </a:moveTo>
                  <a:cubicBezTo>
                    <a:pt x="20693" y="606867"/>
                    <a:pt x="39594" y="618285"/>
                    <a:pt x="60485" y="629727"/>
                  </a:cubicBezTo>
                  <a:cubicBezTo>
                    <a:pt x="83022" y="602156"/>
                    <a:pt x="140375" y="588960"/>
                    <a:pt x="203870" y="599679"/>
                  </a:cubicBezTo>
                  <a:cubicBezTo>
                    <a:pt x="263094" y="609674"/>
                    <a:pt x="310391" y="637588"/>
                    <a:pt x="326419" y="668437"/>
                  </a:cubicBezTo>
                  <a:cubicBezTo>
                    <a:pt x="346635" y="661757"/>
                    <a:pt x="364495" y="653768"/>
                    <a:pt x="376024" y="644535"/>
                  </a:cubicBezTo>
                  <a:cubicBezTo>
                    <a:pt x="422915" y="608328"/>
                    <a:pt x="452745" y="236981"/>
                    <a:pt x="453777" y="232904"/>
                  </a:cubicBezTo>
                  <a:cubicBezTo>
                    <a:pt x="345464" y="170954"/>
                    <a:pt x="236231" y="-21222"/>
                    <a:pt x="113457" y="317"/>
                  </a:cubicBezTo>
                  <a:cubicBezTo>
                    <a:pt x="112961" y="5702"/>
                    <a:pt x="-37677" y="563980"/>
                    <a:pt x="8241" y="597114"/>
                  </a:cubicBezTo>
                </a:path>
              </a:pathLst>
            </a:custGeom>
            <a:solidFill>
              <a:srgbClr val="E8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7" name="Freeform: Shape 1686">
              <a:extLst>
                <a:ext uri="{FF2B5EF4-FFF2-40B4-BE49-F238E27FC236}">
                  <a16:creationId xmlns:a16="http://schemas.microsoft.com/office/drawing/2014/main" id="{C6E0F15F-2916-4029-84E7-ED0041F61227}"/>
                </a:ext>
              </a:extLst>
            </p:cNvPr>
            <p:cNvSpPr/>
            <p:nvPr/>
          </p:nvSpPr>
          <p:spPr>
            <a:xfrm flipV="1">
              <a:off x="4148837" y="3458142"/>
              <a:ext cx="595954" cy="337657"/>
            </a:xfrm>
            <a:custGeom>
              <a:avLst/>
              <a:gdLst>
                <a:gd name="connsiteX0" fmla="*/ 475576 w 595954"/>
                <a:gd name="connsiteY0" fmla="*/ 185598 h 337657"/>
                <a:gd name="connsiteX1" fmla="*/ 595364 w 595954"/>
                <a:gd name="connsiteY1" fmla="*/ 240119 h 337657"/>
                <a:gd name="connsiteX2" fmla="*/ 466722 w 595954"/>
                <a:gd name="connsiteY2" fmla="*/ 333006 h 337657"/>
                <a:gd name="connsiteX3" fmla="*/ 24659 w 595954"/>
                <a:gd name="connsiteY3" fmla="*/ 141821 h 337657"/>
                <a:gd name="connsiteX4" fmla="*/ 101900 w 595954"/>
                <a:gd name="connsiteY4" fmla="*/ -635 h 337657"/>
                <a:gd name="connsiteX5" fmla="*/ 475264 w 595954"/>
                <a:gd name="connsiteY5" fmla="*/ 186322 h 337657"/>
                <a:gd name="connsiteX6" fmla="*/ 475576 w 595954"/>
                <a:gd name="connsiteY6" fmla="*/ 185598 h 33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5954" h="337657">
                  <a:moveTo>
                    <a:pt x="475576" y="185598"/>
                  </a:moveTo>
                  <a:cubicBezTo>
                    <a:pt x="515487" y="203822"/>
                    <a:pt x="555373" y="222085"/>
                    <a:pt x="595364" y="240119"/>
                  </a:cubicBezTo>
                  <a:cubicBezTo>
                    <a:pt x="581920" y="291287"/>
                    <a:pt x="594490" y="351789"/>
                    <a:pt x="466722" y="333006"/>
                  </a:cubicBezTo>
                  <a:cubicBezTo>
                    <a:pt x="446079" y="329958"/>
                    <a:pt x="57296" y="188595"/>
                    <a:pt x="24659" y="141821"/>
                  </a:cubicBezTo>
                  <a:cubicBezTo>
                    <a:pt x="-58983" y="21921"/>
                    <a:pt x="91061" y="-5435"/>
                    <a:pt x="101900" y="-635"/>
                  </a:cubicBezTo>
                  <a:cubicBezTo>
                    <a:pt x="115865" y="5550"/>
                    <a:pt x="475264" y="186322"/>
                    <a:pt x="475264" y="186322"/>
                  </a:cubicBezTo>
                  <a:lnTo>
                    <a:pt x="475576" y="185598"/>
                  </a:lnTo>
                </a:path>
              </a:pathLst>
            </a:custGeom>
            <a:solidFill>
              <a:srgbClr val="15212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8" name="Freeform: Shape 1687">
              <a:extLst>
                <a:ext uri="{FF2B5EF4-FFF2-40B4-BE49-F238E27FC236}">
                  <a16:creationId xmlns:a16="http://schemas.microsoft.com/office/drawing/2014/main" id="{9DE389AA-77CF-4876-8809-DE53DD01386A}"/>
                </a:ext>
              </a:extLst>
            </p:cNvPr>
            <p:cNvSpPr/>
            <p:nvPr/>
          </p:nvSpPr>
          <p:spPr>
            <a:xfrm flipV="1">
              <a:off x="4017425" y="3039674"/>
              <a:ext cx="473629" cy="748726"/>
            </a:xfrm>
            <a:custGeom>
              <a:avLst/>
              <a:gdLst>
                <a:gd name="connsiteX0" fmla="*/ 7116 w 473629"/>
                <a:gd name="connsiteY0" fmla="*/ 645864 h 748726"/>
                <a:gd name="connsiteX1" fmla="*/ 148622 w 473629"/>
                <a:gd name="connsiteY1" fmla="*/ 726292 h 748726"/>
                <a:gd name="connsiteX2" fmla="*/ 253574 w 473629"/>
                <a:gd name="connsiteY2" fmla="*/ 580941 h 748726"/>
                <a:gd name="connsiteX3" fmla="*/ 273032 w 473629"/>
                <a:gd name="connsiteY3" fmla="*/ 747387 h 748726"/>
                <a:gd name="connsiteX4" fmla="*/ 369065 w 473629"/>
                <a:gd name="connsiteY4" fmla="*/ 725822 h 748726"/>
                <a:gd name="connsiteX5" fmla="*/ 435373 w 473629"/>
                <a:gd name="connsiteY5" fmla="*/ 625848 h 748726"/>
                <a:gd name="connsiteX6" fmla="*/ 473170 w 473629"/>
                <a:gd name="connsiteY6" fmla="*/ 281730 h 748726"/>
                <a:gd name="connsiteX7" fmla="*/ 138784 w 473629"/>
                <a:gd name="connsiteY7" fmla="*/ 25788 h 748726"/>
                <a:gd name="connsiteX8" fmla="*/ 7116 w 473629"/>
                <a:gd name="connsiteY8" fmla="*/ 645864 h 74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3629" h="748726">
                  <a:moveTo>
                    <a:pt x="7116" y="645864"/>
                  </a:moveTo>
                  <a:cubicBezTo>
                    <a:pt x="32893" y="666552"/>
                    <a:pt x="106964" y="706036"/>
                    <a:pt x="148622" y="726292"/>
                  </a:cubicBezTo>
                  <a:cubicBezTo>
                    <a:pt x="156892" y="676851"/>
                    <a:pt x="243569" y="630077"/>
                    <a:pt x="253574" y="580941"/>
                  </a:cubicBezTo>
                  <a:cubicBezTo>
                    <a:pt x="247215" y="629506"/>
                    <a:pt x="287418" y="699762"/>
                    <a:pt x="273032" y="747387"/>
                  </a:cubicBezTo>
                  <a:cubicBezTo>
                    <a:pt x="317109" y="739539"/>
                    <a:pt x="369065" y="725822"/>
                    <a:pt x="369065" y="725822"/>
                  </a:cubicBezTo>
                  <a:cubicBezTo>
                    <a:pt x="369065" y="725822"/>
                    <a:pt x="418699" y="716526"/>
                    <a:pt x="435373" y="625848"/>
                  </a:cubicBezTo>
                  <a:cubicBezTo>
                    <a:pt x="471121" y="431386"/>
                    <a:pt x="450722" y="393540"/>
                    <a:pt x="473170" y="281730"/>
                  </a:cubicBezTo>
                  <a:cubicBezTo>
                    <a:pt x="203882" y="148317"/>
                    <a:pt x="243028" y="-79927"/>
                    <a:pt x="138784" y="25788"/>
                  </a:cubicBezTo>
                  <a:cubicBezTo>
                    <a:pt x="138784" y="25788"/>
                    <a:pt x="-38768" y="612310"/>
                    <a:pt x="7116" y="645864"/>
                  </a:cubicBez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9" name="Freeform: Shape 1688">
              <a:extLst>
                <a:ext uri="{FF2B5EF4-FFF2-40B4-BE49-F238E27FC236}">
                  <a16:creationId xmlns:a16="http://schemas.microsoft.com/office/drawing/2014/main" id="{B20A9C03-E0ED-4EC2-90B9-5CDD522ACEF9}"/>
                </a:ext>
              </a:extLst>
            </p:cNvPr>
            <p:cNvSpPr/>
            <p:nvPr/>
          </p:nvSpPr>
          <p:spPr>
            <a:xfrm flipV="1">
              <a:off x="4137103" y="3694967"/>
              <a:ext cx="71491" cy="93433"/>
            </a:xfrm>
            <a:custGeom>
              <a:avLst/>
              <a:gdLst>
                <a:gd name="connsiteX0" fmla="*/ -404 w 71491"/>
                <a:gd name="connsiteY0" fmla="*/ -1047 h 93433"/>
                <a:gd name="connsiteX1" fmla="*/ 71088 w 71491"/>
                <a:gd name="connsiteY1" fmla="*/ -1047 h 93433"/>
                <a:gd name="connsiteX2" fmla="*/ 71088 w 71491"/>
                <a:gd name="connsiteY2" fmla="*/ 92387 h 93433"/>
                <a:gd name="connsiteX3" fmla="*/ -404 w 71491"/>
                <a:gd name="connsiteY3" fmla="*/ 92387 h 9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91" h="93433">
                  <a:moveTo>
                    <a:pt x="-404" y="-1047"/>
                  </a:moveTo>
                  <a:lnTo>
                    <a:pt x="71088" y="-1047"/>
                  </a:lnTo>
                  <a:lnTo>
                    <a:pt x="71088" y="92387"/>
                  </a:lnTo>
                  <a:lnTo>
                    <a:pt x="-404" y="92387"/>
                  </a:lnTo>
                  <a:close/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0" name="Freeform: Shape 1689">
              <a:extLst>
                <a:ext uri="{FF2B5EF4-FFF2-40B4-BE49-F238E27FC236}">
                  <a16:creationId xmlns:a16="http://schemas.microsoft.com/office/drawing/2014/main" id="{C45056D4-0C2D-4E3F-86A9-5C80BF15C72D}"/>
                </a:ext>
              </a:extLst>
            </p:cNvPr>
            <p:cNvSpPr/>
            <p:nvPr/>
          </p:nvSpPr>
          <p:spPr>
            <a:xfrm flipV="1">
              <a:off x="4208594" y="3694078"/>
              <a:ext cx="71447" cy="93306"/>
            </a:xfrm>
            <a:custGeom>
              <a:avLst/>
              <a:gdLst>
                <a:gd name="connsiteX0" fmla="*/ -452 w 71447"/>
                <a:gd name="connsiteY0" fmla="*/ -1048 h 93306"/>
                <a:gd name="connsiteX1" fmla="*/ -452 w 71447"/>
                <a:gd name="connsiteY1" fmla="*/ -1048 h 93306"/>
                <a:gd name="connsiteX2" fmla="*/ 70995 w 71447"/>
                <a:gd name="connsiteY2" fmla="*/ 92259 h 93306"/>
                <a:gd name="connsiteX3" fmla="*/ -452 w 71447"/>
                <a:gd name="connsiteY3" fmla="*/ -1048 h 93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47" h="93306">
                  <a:moveTo>
                    <a:pt x="-452" y="-1048"/>
                  </a:moveTo>
                  <a:lnTo>
                    <a:pt x="-452" y="-1048"/>
                  </a:lnTo>
                  <a:cubicBezTo>
                    <a:pt x="22329" y="5518"/>
                    <a:pt x="39166" y="43237"/>
                    <a:pt x="70995" y="92259"/>
                  </a:cubicBezTo>
                  <a:cubicBezTo>
                    <a:pt x="39171" y="43237"/>
                    <a:pt x="22334" y="5505"/>
                    <a:pt x="-452" y="-1048"/>
                  </a:cubicBezTo>
                </a:path>
              </a:pathLst>
            </a:custGeom>
            <a:solidFill>
              <a:srgbClr val="182125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1" name="Freeform: Shape 1690">
              <a:extLst>
                <a:ext uri="{FF2B5EF4-FFF2-40B4-BE49-F238E27FC236}">
                  <a16:creationId xmlns:a16="http://schemas.microsoft.com/office/drawing/2014/main" id="{1DC1AD0C-8C19-4BE2-B329-1B71704F8D36}"/>
                </a:ext>
              </a:extLst>
            </p:cNvPr>
            <p:cNvSpPr/>
            <p:nvPr/>
          </p:nvSpPr>
          <p:spPr>
            <a:xfrm flipV="1">
              <a:off x="4137107" y="3547000"/>
              <a:ext cx="283060" cy="241400"/>
            </a:xfrm>
            <a:custGeom>
              <a:avLst/>
              <a:gdLst>
                <a:gd name="connsiteX0" fmla="*/ 63828 w 283060"/>
                <a:gd name="connsiteY0" fmla="*/ -1113 h 241400"/>
                <a:gd name="connsiteX1" fmla="*/ 63814 w 283060"/>
                <a:gd name="connsiteY1" fmla="*/ -1113 h 241400"/>
                <a:gd name="connsiteX2" fmla="*/ 20317 w 283060"/>
                <a:gd name="connsiteY2" fmla="*/ 24770 h 241400"/>
                <a:gd name="connsiteX3" fmla="*/ 19086 w 283060"/>
                <a:gd name="connsiteY3" fmla="*/ 26014 h 241400"/>
                <a:gd name="connsiteX4" fmla="*/ 19086 w 283060"/>
                <a:gd name="connsiteY4" fmla="*/ 26014 h 241400"/>
                <a:gd name="connsiteX5" fmla="*/ 19086 w 283060"/>
                <a:gd name="connsiteY5" fmla="*/ 26014 h 241400"/>
                <a:gd name="connsiteX6" fmla="*/ 19086 w 283060"/>
                <a:gd name="connsiteY6" fmla="*/ 26014 h 241400"/>
                <a:gd name="connsiteX7" fmla="*/ 19086 w 283060"/>
                <a:gd name="connsiteY7" fmla="*/ 26014 h 241400"/>
                <a:gd name="connsiteX8" fmla="*/ 19081 w 283060"/>
                <a:gd name="connsiteY8" fmla="*/ 26027 h 241400"/>
                <a:gd name="connsiteX9" fmla="*/ 19081 w 283060"/>
                <a:gd name="connsiteY9" fmla="*/ 26027 h 241400"/>
                <a:gd name="connsiteX10" fmla="*/ 19081 w 283060"/>
                <a:gd name="connsiteY10" fmla="*/ 26027 h 241400"/>
                <a:gd name="connsiteX11" fmla="*/ 19061 w 283060"/>
                <a:gd name="connsiteY11" fmla="*/ 26103 h 241400"/>
                <a:gd name="connsiteX12" fmla="*/ 19050 w 283060"/>
                <a:gd name="connsiteY12" fmla="*/ 26128 h 241400"/>
                <a:gd name="connsiteX13" fmla="*/ 19047 w 283060"/>
                <a:gd name="connsiteY13" fmla="*/ 26141 h 241400"/>
                <a:gd name="connsiteX14" fmla="*/ 19041 w 283060"/>
                <a:gd name="connsiteY14" fmla="*/ 26154 h 241400"/>
                <a:gd name="connsiteX15" fmla="*/ 19041 w 283060"/>
                <a:gd name="connsiteY15" fmla="*/ 26167 h 241400"/>
                <a:gd name="connsiteX16" fmla="*/ 19036 w 283060"/>
                <a:gd name="connsiteY16" fmla="*/ 26179 h 241400"/>
                <a:gd name="connsiteX17" fmla="*/ 19026 w 283060"/>
                <a:gd name="connsiteY17" fmla="*/ 26205 h 241400"/>
                <a:gd name="connsiteX18" fmla="*/ 19026 w 283060"/>
                <a:gd name="connsiteY18" fmla="*/ 26217 h 241400"/>
                <a:gd name="connsiteX19" fmla="*/ 19011 w 283060"/>
                <a:gd name="connsiteY19" fmla="*/ 26256 h 241400"/>
                <a:gd name="connsiteX20" fmla="*/ 19011 w 283060"/>
                <a:gd name="connsiteY20" fmla="*/ 26256 h 241400"/>
                <a:gd name="connsiteX21" fmla="*/ 18992 w 283060"/>
                <a:gd name="connsiteY21" fmla="*/ 26332 h 241400"/>
                <a:gd name="connsiteX22" fmla="*/ 18987 w 283060"/>
                <a:gd name="connsiteY22" fmla="*/ 26344 h 241400"/>
                <a:gd name="connsiteX23" fmla="*/ 18972 w 283060"/>
                <a:gd name="connsiteY23" fmla="*/ 26382 h 241400"/>
                <a:gd name="connsiteX24" fmla="*/ 18941 w 283060"/>
                <a:gd name="connsiteY24" fmla="*/ 26484 h 241400"/>
                <a:gd name="connsiteX25" fmla="*/ 18937 w 283060"/>
                <a:gd name="connsiteY25" fmla="*/ 26509 h 241400"/>
                <a:gd name="connsiteX26" fmla="*/ -476 w 283060"/>
                <a:gd name="connsiteY26" fmla="*/ 92321 h 241400"/>
                <a:gd name="connsiteX27" fmla="*/ 152714 w 283060"/>
                <a:gd name="connsiteY27" fmla="*/ 178985 h 241400"/>
                <a:gd name="connsiteX28" fmla="*/ 207581 w 283060"/>
                <a:gd name="connsiteY28" fmla="*/ 176433 h 241400"/>
                <a:gd name="connsiteX29" fmla="*/ 142458 w 283060"/>
                <a:gd name="connsiteY29" fmla="*/ 93210 h 241400"/>
                <a:gd name="connsiteX30" fmla="*/ 71011 w 283060"/>
                <a:gd name="connsiteY30" fmla="*/ -97 h 241400"/>
                <a:gd name="connsiteX31" fmla="*/ 63858 w 283060"/>
                <a:gd name="connsiteY31" fmla="*/ -1113 h 241400"/>
                <a:gd name="connsiteX32" fmla="*/ 63828 w 283060"/>
                <a:gd name="connsiteY32" fmla="*/ -1113 h 241400"/>
                <a:gd name="connsiteX33" fmla="*/ 233229 w 283060"/>
                <a:gd name="connsiteY33" fmla="*/ 201261 h 241400"/>
                <a:gd name="connsiteX34" fmla="*/ 223228 w 283060"/>
                <a:gd name="connsiteY34" fmla="*/ 202074 h 241400"/>
                <a:gd name="connsiteX35" fmla="*/ 228909 w 283060"/>
                <a:gd name="connsiteY35" fmla="*/ 207497 h 241400"/>
                <a:gd name="connsiteX36" fmla="*/ 230278 w 283060"/>
                <a:gd name="connsiteY36" fmla="*/ 217022 h 241400"/>
                <a:gd name="connsiteX37" fmla="*/ 279708 w 283060"/>
                <a:gd name="connsiteY37" fmla="*/ 239031 h 241400"/>
                <a:gd name="connsiteX38" fmla="*/ 282585 w 283060"/>
                <a:gd name="connsiteY38" fmla="*/ 240288 h 241400"/>
                <a:gd name="connsiteX39" fmla="*/ 233229 w 283060"/>
                <a:gd name="connsiteY39" fmla="*/ 201261 h 241400"/>
                <a:gd name="connsiteX40" fmla="*/ 220529 w 283060"/>
                <a:gd name="connsiteY40" fmla="*/ 202290 h 241400"/>
                <a:gd name="connsiteX41" fmla="*/ 201717 w 283060"/>
                <a:gd name="connsiteY41" fmla="*/ 203585 h 241400"/>
                <a:gd name="connsiteX42" fmla="*/ 203965 w 283060"/>
                <a:gd name="connsiteY42" fmla="*/ 204665 h 241400"/>
                <a:gd name="connsiteX43" fmla="*/ 220529 w 283060"/>
                <a:gd name="connsiteY43" fmla="*/ 202290 h 241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060" h="241400">
                  <a:moveTo>
                    <a:pt x="63828" y="-1113"/>
                  </a:moveTo>
                  <a:cubicBezTo>
                    <a:pt x="63823" y="-1113"/>
                    <a:pt x="63818" y="-1113"/>
                    <a:pt x="63814" y="-1113"/>
                  </a:cubicBezTo>
                  <a:cubicBezTo>
                    <a:pt x="52031" y="-1100"/>
                    <a:pt x="38329" y="6774"/>
                    <a:pt x="20317" y="24770"/>
                  </a:cubicBezTo>
                  <a:cubicBezTo>
                    <a:pt x="19909" y="25176"/>
                    <a:pt x="19497" y="25595"/>
                    <a:pt x="19086" y="26014"/>
                  </a:cubicBezTo>
                  <a:lnTo>
                    <a:pt x="19086" y="26014"/>
                  </a:lnTo>
                  <a:lnTo>
                    <a:pt x="19086" y="26014"/>
                  </a:lnTo>
                  <a:lnTo>
                    <a:pt x="19086" y="26014"/>
                  </a:lnTo>
                  <a:lnTo>
                    <a:pt x="19086" y="26014"/>
                  </a:lnTo>
                  <a:cubicBezTo>
                    <a:pt x="19086" y="26014"/>
                    <a:pt x="19086" y="26027"/>
                    <a:pt x="19081" y="26027"/>
                  </a:cubicBezTo>
                  <a:lnTo>
                    <a:pt x="19081" y="26027"/>
                  </a:lnTo>
                  <a:lnTo>
                    <a:pt x="19081" y="26027"/>
                  </a:lnTo>
                  <a:cubicBezTo>
                    <a:pt x="19076" y="26052"/>
                    <a:pt x="19066" y="26065"/>
                    <a:pt x="19061" y="26103"/>
                  </a:cubicBezTo>
                  <a:cubicBezTo>
                    <a:pt x="19055" y="26116"/>
                    <a:pt x="19050" y="26116"/>
                    <a:pt x="19050" y="26128"/>
                  </a:cubicBezTo>
                  <a:lnTo>
                    <a:pt x="19047" y="26141"/>
                  </a:lnTo>
                  <a:lnTo>
                    <a:pt x="19041" y="26154"/>
                  </a:lnTo>
                  <a:cubicBezTo>
                    <a:pt x="19041" y="26167"/>
                    <a:pt x="19041" y="26167"/>
                    <a:pt x="19041" y="26167"/>
                  </a:cubicBezTo>
                  <a:cubicBezTo>
                    <a:pt x="19041" y="26167"/>
                    <a:pt x="19036" y="26167"/>
                    <a:pt x="19036" y="26179"/>
                  </a:cubicBezTo>
                  <a:cubicBezTo>
                    <a:pt x="19036" y="26179"/>
                    <a:pt x="19031" y="26192"/>
                    <a:pt x="19026" y="26205"/>
                  </a:cubicBezTo>
                  <a:cubicBezTo>
                    <a:pt x="19026" y="26217"/>
                    <a:pt x="19026" y="26217"/>
                    <a:pt x="19026" y="26217"/>
                  </a:cubicBezTo>
                  <a:cubicBezTo>
                    <a:pt x="19021" y="26230"/>
                    <a:pt x="19016" y="26243"/>
                    <a:pt x="19011" y="26256"/>
                  </a:cubicBezTo>
                  <a:lnTo>
                    <a:pt x="19011" y="26256"/>
                  </a:lnTo>
                  <a:cubicBezTo>
                    <a:pt x="19006" y="26281"/>
                    <a:pt x="18996" y="26306"/>
                    <a:pt x="18992" y="26332"/>
                  </a:cubicBezTo>
                  <a:cubicBezTo>
                    <a:pt x="18987" y="26332"/>
                    <a:pt x="18987" y="26344"/>
                    <a:pt x="18987" y="26344"/>
                  </a:cubicBezTo>
                  <a:cubicBezTo>
                    <a:pt x="18982" y="26357"/>
                    <a:pt x="18977" y="26370"/>
                    <a:pt x="18972" y="26382"/>
                  </a:cubicBezTo>
                  <a:cubicBezTo>
                    <a:pt x="18961" y="26420"/>
                    <a:pt x="18951" y="26459"/>
                    <a:pt x="18941" y="26484"/>
                  </a:cubicBezTo>
                  <a:cubicBezTo>
                    <a:pt x="18941" y="26497"/>
                    <a:pt x="18937" y="26497"/>
                    <a:pt x="18937" y="26509"/>
                  </a:cubicBezTo>
                  <a:cubicBezTo>
                    <a:pt x="17811" y="30230"/>
                    <a:pt x="10394" y="54856"/>
                    <a:pt x="-476" y="92321"/>
                  </a:cubicBezTo>
                  <a:cubicBezTo>
                    <a:pt x="49645" y="122839"/>
                    <a:pt x="100658" y="151896"/>
                    <a:pt x="152714" y="178985"/>
                  </a:cubicBezTo>
                  <a:cubicBezTo>
                    <a:pt x="171014" y="178528"/>
                    <a:pt x="189310" y="177664"/>
                    <a:pt x="207581" y="176433"/>
                  </a:cubicBezTo>
                  <a:cubicBezTo>
                    <a:pt x="179790" y="147489"/>
                    <a:pt x="159088" y="118813"/>
                    <a:pt x="142458" y="93210"/>
                  </a:cubicBezTo>
                  <a:cubicBezTo>
                    <a:pt x="110630" y="44188"/>
                    <a:pt x="93792" y="6469"/>
                    <a:pt x="71011" y="-97"/>
                  </a:cubicBezTo>
                  <a:cubicBezTo>
                    <a:pt x="68695" y="-770"/>
                    <a:pt x="66318" y="-1113"/>
                    <a:pt x="63858" y="-1113"/>
                  </a:cubicBezTo>
                  <a:cubicBezTo>
                    <a:pt x="63848" y="-1113"/>
                    <a:pt x="63838" y="-1113"/>
                    <a:pt x="63828" y="-1113"/>
                  </a:cubicBezTo>
                  <a:moveTo>
                    <a:pt x="233229" y="201261"/>
                  </a:moveTo>
                  <a:cubicBezTo>
                    <a:pt x="229895" y="201540"/>
                    <a:pt x="226562" y="201820"/>
                    <a:pt x="223228" y="202074"/>
                  </a:cubicBezTo>
                  <a:cubicBezTo>
                    <a:pt x="226080" y="202340"/>
                    <a:pt x="228487" y="204538"/>
                    <a:pt x="228909" y="207497"/>
                  </a:cubicBezTo>
                  <a:lnTo>
                    <a:pt x="230278" y="217022"/>
                  </a:lnTo>
                  <a:cubicBezTo>
                    <a:pt x="246658" y="224553"/>
                    <a:pt x="263149" y="231868"/>
                    <a:pt x="279708" y="239031"/>
                  </a:cubicBezTo>
                  <a:lnTo>
                    <a:pt x="282585" y="240288"/>
                  </a:lnTo>
                  <a:cubicBezTo>
                    <a:pt x="264279" y="227575"/>
                    <a:pt x="247918" y="214469"/>
                    <a:pt x="233229" y="201261"/>
                  </a:cubicBezTo>
                  <a:moveTo>
                    <a:pt x="220529" y="202290"/>
                  </a:moveTo>
                  <a:cubicBezTo>
                    <a:pt x="214263" y="202760"/>
                    <a:pt x="207983" y="203191"/>
                    <a:pt x="201717" y="203585"/>
                  </a:cubicBezTo>
                  <a:cubicBezTo>
                    <a:pt x="202461" y="203941"/>
                    <a:pt x="203215" y="204309"/>
                    <a:pt x="203965" y="204665"/>
                  </a:cubicBezTo>
                  <a:lnTo>
                    <a:pt x="220529" y="202290"/>
                  </a:ln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2" name="Freeform: Shape 1691">
              <a:extLst>
                <a:ext uri="{FF2B5EF4-FFF2-40B4-BE49-F238E27FC236}">
                  <a16:creationId xmlns:a16="http://schemas.microsoft.com/office/drawing/2014/main" id="{0A2AF332-4970-4066-84F5-3108B5A315AE}"/>
                </a:ext>
              </a:extLst>
            </p:cNvPr>
            <p:cNvSpPr/>
            <p:nvPr/>
          </p:nvSpPr>
          <p:spPr>
            <a:xfrm flipV="1">
              <a:off x="4489010" y="3494739"/>
              <a:ext cx="2044" cy="10807"/>
            </a:xfrm>
            <a:custGeom>
              <a:avLst/>
              <a:gdLst>
                <a:gd name="connsiteX0" fmla="*/ 978 w 2044"/>
                <a:gd name="connsiteY0" fmla="*/ -1263 h 10807"/>
                <a:gd name="connsiteX1" fmla="*/ 1425 w 2044"/>
                <a:gd name="connsiteY1" fmla="*/ -1047 h 10807"/>
                <a:gd name="connsiteX2" fmla="*/ 1425 w 2044"/>
                <a:gd name="connsiteY2" fmla="*/ -1047 h 10807"/>
                <a:gd name="connsiteX3" fmla="*/ 978 w 2044"/>
                <a:gd name="connsiteY3" fmla="*/ -1263 h 10807"/>
                <a:gd name="connsiteX4" fmla="*/ 978 w 2044"/>
                <a:gd name="connsiteY4" fmla="*/ -1263 h 10807"/>
                <a:gd name="connsiteX5" fmla="*/ 1425 w 2044"/>
                <a:gd name="connsiteY5" fmla="*/ -1047 h 10807"/>
                <a:gd name="connsiteX6" fmla="*/ -620 w 2044"/>
                <a:gd name="connsiteY6" fmla="*/ 9545 h 10807"/>
                <a:gd name="connsiteX7" fmla="*/ -615 w 2044"/>
                <a:gd name="connsiteY7" fmla="*/ 9545 h 10807"/>
                <a:gd name="connsiteX8" fmla="*/ 1425 w 2044"/>
                <a:gd name="connsiteY8" fmla="*/ -1047 h 1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4" h="10807">
                  <a:moveTo>
                    <a:pt x="978" y="-1263"/>
                  </a:moveTo>
                  <a:cubicBezTo>
                    <a:pt x="1126" y="-1186"/>
                    <a:pt x="1275" y="-1123"/>
                    <a:pt x="1425" y="-1047"/>
                  </a:cubicBezTo>
                  <a:lnTo>
                    <a:pt x="1425" y="-1047"/>
                  </a:lnTo>
                  <a:cubicBezTo>
                    <a:pt x="1275" y="-1123"/>
                    <a:pt x="1126" y="-1186"/>
                    <a:pt x="978" y="-1263"/>
                  </a:cubicBezTo>
                  <a:lnTo>
                    <a:pt x="978" y="-1263"/>
                  </a:lnTo>
                  <a:moveTo>
                    <a:pt x="1425" y="-1047"/>
                  </a:moveTo>
                  <a:cubicBezTo>
                    <a:pt x="699" y="2560"/>
                    <a:pt x="20" y="6091"/>
                    <a:pt x="-620" y="9545"/>
                  </a:cubicBezTo>
                  <a:lnTo>
                    <a:pt x="-615" y="9545"/>
                  </a:lnTo>
                  <a:cubicBezTo>
                    <a:pt x="20" y="6091"/>
                    <a:pt x="699" y="2560"/>
                    <a:pt x="1425" y="-1047"/>
                  </a:cubicBezTo>
                </a:path>
              </a:pathLst>
            </a:custGeom>
            <a:solidFill>
              <a:srgbClr val="B46D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3" name="Freeform: Shape 1692">
              <a:extLst>
                <a:ext uri="{FF2B5EF4-FFF2-40B4-BE49-F238E27FC236}">
                  <a16:creationId xmlns:a16="http://schemas.microsoft.com/office/drawing/2014/main" id="{67E2AF0A-8CD1-4F84-9AB4-760C4497AE65}"/>
                </a:ext>
              </a:extLst>
            </p:cNvPr>
            <p:cNvSpPr/>
            <p:nvPr/>
          </p:nvSpPr>
          <p:spPr>
            <a:xfrm flipV="1">
              <a:off x="4478369" y="3392428"/>
              <a:ext cx="10646" cy="102311"/>
            </a:xfrm>
            <a:custGeom>
              <a:avLst/>
              <a:gdLst>
                <a:gd name="connsiteX0" fmla="*/ 10026 w 10646"/>
                <a:gd name="connsiteY0" fmla="*/ -1313 h 102311"/>
                <a:gd name="connsiteX1" fmla="*/ -616 w 10646"/>
                <a:gd name="connsiteY1" fmla="*/ 100998 h 102311"/>
                <a:gd name="connsiteX2" fmla="*/ -611 w 10646"/>
                <a:gd name="connsiteY2" fmla="*/ 100998 h 102311"/>
                <a:gd name="connsiteX3" fmla="*/ 10031 w 10646"/>
                <a:gd name="connsiteY3" fmla="*/ -1313 h 102311"/>
                <a:gd name="connsiteX4" fmla="*/ 10026 w 10646"/>
                <a:gd name="connsiteY4" fmla="*/ -1313 h 102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" h="102311">
                  <a:moveTo>
                    <a:pt x="10026" y="-1313"/>
                  </a:moveTo>
                  <a:cubicBezTo>
                    <a:pt x="2788" y="37930"/>
                    <a:pt x="859" y="68270"/>
                    <a:pt x="-616" y="100998"/>
                  </a:cubicBezTo>
                  <a:cubicBezTo>
                    <a:pt x="-611" y="100998"/>
                    <a:pt x="-611" y="100998"/>
                    <a:pt x="-611" y="100998"/>
                  </a:cubicBezTo>
                  <a:cubicBezTo>
                    <a:pt x="863" y="68270"/>
                    <a:pt x="2793" y="37930"/>
                    <a:pt x="10031" y="-1313"/>
                  </a:cubicBezTo>
                  <a:lnTo>
                    <a:pt x="10026" y="-1313"/>
                  </a:lnTo>
                </a:path>
              </a:pathLst>
            </a:custGeom>
            <a:solidFill>
              <a:srgbClr val="AFAAA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4" name="Freeform: Shape 1693">
              <a:extLst>
                <a:ext uri="{FF2B5EF4-FFF2-40B4-BE49-F238E27FC236}">
                  <a16:creationId xmlns:a16="http://schemas.microsoft.com/office/drawing/2014/main" id="{27A3EDD6-F363-49A0-8A91-12FD6309CAA4}"/>
                </a:ext>
              </a:extLst>
            </p:cNvPr>
            <p:cNvSpPr/>
            <p:nvPr/>
          </p:nvSpPr>
          <p:spPr>
            <a:xfrm flipV="1">
              <a:off x="4165879" y="3392428"/>
              <a:ext cx="325176" cy="162635"/>
            </a:xfrm>
            <a:custGeom>
              <a:avLst/>
              <a:gdLst>
                <a:gd name="connsiteX0" fmla="*/ 21330 w 325176"/>
                <a:gd name="connsiteY0" fmla="*/ -1286 h 162635"/>
                <a:gd name="connsiteX1" fmla="*/ 4047 w 325176"/>
                <a:gd name="connsiteY1" fmla="*/ 4150 h 162635"/>
                <a:gd name="connsiteX2" fmla="*/ -473 w 325176"/>
                <a:gd name="connsiteY2" fmla="*/ 22907 h 162635"/>
                <a:gd name="connsiteX3" fmla="*/ 117434 w 325176"/>
                <a:gd name="connsiteY3" fmla="*/ 94751 h 162635"/>
                <a:gd name="connsiteX4" fmla="*/ 135779 w 325176"/>
                <a:gd name="connsiteY4" fmla="*/ 103882 h 162635"/>
                <a:gd name="connsiteX5" fmla="*/ 121491 w 325176"/>
                <a:gd name="connsiteY5" fmla="*/ 4365 h 162635"/>
                <a:gd name="connsiteX6" fmla="*/ 121209 w 325176"/>
                <a:gd name="connsiteY6" fmla="*/ 4365 h 162635"/>
                <a:gd name="connsiteX7" fmla="*/ 43089 w 325176"/>
                <a:gd name="connsiteY7" fmla="*/ 1140 h 162635"/>
                <a:gd name="connsiteX8" fmla="*/ 21330 w 325176"/>
                <a:gd name="connsiteY8" fmla="*/ -1286 h 162635"/>
                <a:gd name="connsiteX9" fmla="*/ 204731 w 325176"/>
                <a:gd name="connsiteY9" fmla="*/ 6194 h 162635"/>
                <a:gd name="connsiteX10" fmla="*/ 218953 w 325176"/>
                <a:gd name="connsiteY10" fmla="*/ 105216 h 162635"/>
                <a:gd name="connsiteX11" fmla="*/ 213576 w 325176"/>
                <a:gd name="connsiteY11" fmla="*/ 112404 h 162635"/>
                <a:gd name="connsiteX12" fmla="*/ 187978 w 325176"/>
                <a:gd name="connsiteY12" fmla="*/ 116087 h 162635"/>
                <a:gd name="connsiteX13" fmla="*/ 189555 w 325176"/>
                <a:gd name="connsiteY13" fmla="*/ 127047 h 162635"/>
                <a:gd name="connsiteX14" fmla="*/ 311986 w 325176"/>
                <a:gd name="connsiteY14" fmla="*/ 161350 h 162635"/>
                <a:gd name="connsiteX15" fmla="*/ 322622 w 325176"/>
                <a:gd name="connsiteY15" fmla="*/ 59039 h 162635"/>
                <a:gd name="connsiteX16" fmla="*/ 324667 w 325176"/>
                <a:gd name="connsiteY16" fmla="*/ 48447 h 162635"/>
                <a:gd name="connsiteX17" fmla="*/ 324667 w 325176"/>
                <a:gd name="connsiteY17" fmla="*/ 48447 h 162635"/>
                <a:gd name="connsiteX18" fmla="*/ 324220 w 325176"/>
                <a:gd name="connsiteY18" fmla="*/ 48231 h 162635"/>
                <a:gd name="connsiteX19" fmla="*/ 322419 w 325176"/>
                <a:gd name="connsiteY19" fmla="*/ 47329 h 162635"/>
                <a:gd name="connsiteX20" fmla="*/ 319467 w 325176"/>
                <a:gd name="connsiteY20" fmla="*/ 45843 h 162635"/>
                <a:gd name="connsiteX21" fmla="*/ 318525 w 325176"/>
                <a:gd name="connsiteY21" fmla="*/ 45361 h 162635"/>
                <a:gd name="connsiteX22" fmla="*/ 317677 w 325176"/>
                <a:gd name="connsiteY22" fmla="*/ 44929 h 162635"/>
                <a:gd name="connsiteX23" fmla="*/ 309555 w 325176"/>
                <a:gd name="connsiteY23" fmla="*/ 45120 h 162635"/>
                <a:gd name="connsiteX24" fmla="*/ 299757 w 325176"/>
                <a:gd name="connsiteY24" fmla="*/ 44891 h 162635"/>
                <a:gd name="connsiteX25" fmla="*/ 254241 w 325176"/>
                <a:gd name="connsiteY25" fmla="*/ 41729 h 162635"/>
                <a:gd name="connsiteX26" fmla="*/ 204731 w 325176"/>
                <a:gd name="connsiteY26" fmla="*/ 6194 h 162635"/>
                <a:gd name="connsiteX27" fmla="*/ 170436 w 325176"/>
                <a:gd name="connsiteY27" fmla="*/ 118602 h 162635"/>
                <a:gd name="connsiteX28" fmla="*/ 168993 w 325176"/>
                <a:gd name="connsiteY28" fmla="*/ 118818 h 162635"/>
                <a:gd name="connsiteX29" fmla="*/ 170560 w 325176"/>
                <a:gd name="connsiteY29" fmla="*/ 119465 h 162635"/>
                <a:gd name="connsiteX30" fmla="*/ 170436 w 325176"/>
                <a:gd name="connsiteY30" fmla="*/ 118602 h 16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25176" h="162635">
                  <a:moveTo>
                    <a:pt x="21330" y="-1286"/>
                  </a:moveTo>
                  <a:cubicBezTo>
                    <a:pt x="14569" y="-1286"/>
                    <a:pt x="8159" y="-29"/>
                    <a:pt x="4047" y="4150"/>
                  </a:cubicBezTo>
                  <a:cubicBezTo>
                    <a:pt x="-270" y="8531"/>
                    <a:pt x="-661" y="15897"/>
                    <a:pt x="-473" y="22907"/>
                  </a:cubicBezTo>
                  <a:cubicBezTo>
                    <a:pt x="35712" y="51482"/>
                    <a:pt x="76560" y="73682"/>
                    <a:pt x="117434" y="94751"/>
                  </a:cubicBezTo>
                  <a:cubicBezTo>
                    <a:pt x="123531" y="97888"/>
                    <a:pt x="129647" y="100936"/>
                    <a:pt x="135779" y="103882"/>
                  </a:cubicBezTo>
                  <a:lnTo>
                    <a:pt x="121491" y="4365"/>
                  </a:lnTo>
                  <a:cubicBezTo>
                    <a:pt x="121397" y="4365"/>
                    <a:pt x="121303" y="4365"/>
                    <a:pt x="121209" y="4365"/>
                  </a:cubicBezTo>
                  <a:cubicBezTo>
                    <a:pt x="95074" y="3959"/>
                    <a:pt x="68995" y="4581"/>
                    <a:pt x="43089" y="1140"/>
                  </a:cubicBezTo>
                  <a:cubicBezTo>
                    <a:pt x="37315" y="365"/>
                    <a:pt x="29089" y="-1286"/>
                    <a:pt x="21330" y="-1286"/>
                  </a:cubicBezTo>
                  <a:moveTo>
                    <a:pt x="204731" y="6194"/>
                  </a:moveTo>
                  <a:lnTo>
                    <a:pt x="218953" y="105216"/>
                  </a:lnTo>
                  <a:cubicBezTo>
                    <a:pt x="219455" y="108683"/>
                    <a:pt x="217043" y="111909"/>
                    <a:pt x="213576" y="112404"/>
                  </a:cubicBezTo>
                  <a:lnTo>
                    <a:pt x="187978" y="116087"/>
                  </a:lnTo>
                  <a:lnTo>
                    <a:pt x="189555" y="127047"/>
                  </a:lnTo>
                  <a:cubicBezTo>
                    <a:pt x="229426" y="142300"/>
                    <a:pt x="270195" y="153692"/>
                    <a:pt x="311986" y="161350"/>
                  </a:cubicBezTo>
                  <a:cubicBezTo>
                    <a:pt x="313455" y="128622"/>
                    <a:pt x="315384" y="98282"/>
                    <a:pt x="322622" y="59039"/>
                  </a:cubicBezTo>
                  <a:cubicBezTo>
                    <a:pt x="323262" y="55584"/>
                    <a:pt x="323941" y="52054"/>
                    <a:pt x="324667" y="48447"/>
                  </a:cubicBezTo>
                  <a:lnTo>
                    <a:pt x="324667" y="48447"/>
                  </a:lnTo>
                  <a:cubicBezTo>
                    <a:pt x="324517" y="48371"/>
                    <a:pt x="324368" y="48307"/>
                    <a:pt x="324220" y="48231"/>
                  </a:cubicBezTo>
                  <a:cubicBezTo>
                    <a:pt x="323615" y="47926"/>
                    <a:pt x="323025" y="47634"/>
                    <a:pt x="322419" y="47329"/>
                  </a:cubicBezTo>
                  <a:cubicBezTo>
                    <a:pt x="321437" y="46834"/>
                    <a:pt x="320440" y="46339"/>
                    <a:pt x="319467" y="45843"/>
                  </a:cubicBezTo>
                  <a:cubicBezTo>
                    <a:pt x="319145" y="45678"/>
                    <a:pt x="318847" y="45526"/>
                    <a:pt x="318525" y="45361"/>
                  </a:cubicBezTo>
                  <a:cubicBezTo>
                    <a:pt x="318252" y="45221"/>
                    <a:pt x="317950" y="45069"/>
                    <a:pt x="317677" y="44929"/>
                  </a:cubicBezTo>
                  <a:cubicBezTo>
                    <a:pt x="314978" y="45069"/>
                    <a:pt x="312269" y="45120"/>
                    <a:pt x="309555" y="45120"/>
                  </a:cubicBezTo>
                  <a:cubicBezTo>
                    <a:pt x="306296" y="45120"/>
                    <a:pt x="303027" y="45043"/>
                    <a:pt x="299757" y="44891"/>
                  </a:cubicBezTo>
                  <a:cubicBezTo>
                    <a:pt x="284904" y="44243"/>
                    <a:pt x="268891" y="44294"/>
                    <a:pt x="254241" y="41729"/>
                  </a:cubicBezTo>
                  <a:cubicBezTo>
                    <a:pt x="232795" y="37957"/>
                    <a:pt x="223856" y="14170"/>
                    <a:pt x="204731" y="6194"/>
                  </a:cubicBezTo>
                  <a:moveTo>
                    <a:pt x="170436" y="118602"/>
                  </a:moveTo>
                  <a:lnTo>
                    <a:pt x="168993" y="118818"/>
                  </a:lnTo>
                  <a:cubicBezTo>
                    <a:pt x="169514" y="119033"/>
                    <a:pt x="170039" y="119249"/>
                    <a:pt x="170560" y="119465"/>
                  </a:cubicBezTo>
                  <a:lnTo>
                    <a:pt x="170436" y="118602"/>
                  </a:lnTo>
                </a:path>
              </a:pathLst>
            </a:custGeom>
            <a:solidFill>
              <a:srgbClr val="ABA2A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5" name="Freeform: Shape 1694">
              <a:extLst>
                <a:ext uri="{FF2B5EF4-FFF2-40B4-BE49-F238E27FC236}">
                  <a16:creationId xmlns:a16="http://schemas.microsoft.com/office/drawing/2014/main" id="{80C347C1-5F6D-4C19-A5EF-CA98804BA075}"/>
                </a:ext>
              </a:extLst>
            </p:cNvPr>
            <p:cNvSpPr/>
            <p:nvPr/>
          </p:nvSpPr>
          <p:spPr>
            <a:xfrm flipV="1">
              <a:off x="4021537" y="3221995"/>
              <a:ext cx="462611" cy="472972"/>
            </a:xfrm>
            <a:custGeom>
              <a:avLst/>
              <a:gdLst>
                <a:gd name="connsiteX0" fmla="*/ 444150 w 462611"/>
                <a:gd name="connsiteY0" fmla="*/ 184780 h 472972"/>
                <a:gd name="connsiteX1" fmla="*/ 398634 w 462611"/>
                <a:gd name="connsiteY1" fmla="*/ 181618 h 472972"/>
                <a:gd name="connsiteX2" fmla="*/ 343369 w 462611"/>
                <a:gd name="connsiteY2" fmla="*/ 144267 h 472972"/>
                <a:gd name="connsiteX3" fmla="*/ 308474 w 462611"/>
                <a:gd name="connsiteY3" fmla="*/ 144344 h 472972"/>
                <a:gd name="connsiteX4" fmla="*/ 265602 w 462611"/>
                <a:gd name="connsiteY4" fmla="*/ 144255 h 472972"/>
                <a:gd name="connsiteX5" fmla="*/ 187482 w 462611"/>
                <a:gd name="connsiteY5" fmla="*/ 141029 h 472972"/>
                <a:gd name="connsiteX6" fmla="*/ 148440 w 462611"/>
                <a:gd name="connsiteY6" fmla="*/ 144039 h 472972"/>
                <a:gd name="connsiteX7" fmla="*/ 144173 w 462611"/>
                <a:gd name="connsiteY7" fmla="*/ 174036 h 472972"/>
                <a:gd name="connsiteX8" fmla="*/ 143225 w 462611"/>
                <a:gd name="connsiteY8" fmla="*/ 217838 h 472972"/>
                <a:gd name="connsiteX9" fmla="*/ 145890 w 462611"/>
                <a:gd name="connsiteY9" fmla="*/ 308503 h 472972"/>
                <a:gd name="connsiteX10" fmla="*/ 144654 w 462611"/>
                <a:gd name="connsiteY10" fmla="*/ 349169 h 472972"/>
                <a:gd name="connsiteX11" fmla="*/ 96370 w 462611"/>
                <a:gd name="connsiteY11" fmla="*/ 415831 h 472972"/>
                <a:gd name="connsiteX12" fmla="*/ -458 w 462611"/>
                <a:gd name="connsiteY12" fmla="*/ 471673 h 472972"/>
                <a:gd name="connsiteX13" fmla="*/ 115108 w 462611"/>
                <a:gd name="connsiteY13" fmla="*/ -1300 h 472972"/>
                <a:gd name="connsiteX14" fmla="*/ 284632 w 462611"/>
                <a:gd name="connsiteY14" fmla="*/ 93785 h 472972"/>
                <a:gd name="connsiteX15" fmla="*/ 395296 w 462611"/>
                <a:gd name="connsiteY15" fmla="*/ 145410 h 472972"/>
                <a:gd name="connsiteX16" fmla="*/ 398292 w 462611"/>
                <a:gd name="connsiteY16" fmla="*/ 146719 h 472972"/>
                <a:gd name="connsiteX17" fmla="*/ 462153 w 462611"/>
                <a:gd name="connsiteY17" fmla="*/ 184818 h 472972"/>
                <a:gd name="connsiteX18" fmla="*/ 444150 w 462611"/>
                <a:gd name="connsiteY18" fmla="*/ 184780 h 47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62611" h="472972">
                  <a:moveTo>
                    <a:pt x="444150" y="184780"/>
                  </a:moveTo>
                  <a:cubicBezTo>
                    <a:pt x="429297" y="184133"/>
                    <a:pt x="413284" y="184183"/>
                    <a:pt x="398634" y="181618"/>
                  </a:cubicBezTo>
                  <a:cubicBezTo>
                    <a:pt x="375148" y="177491"/>
                    <a:pt x="366656" y="149347"/>
                    <a:pt x="343369" y="144267"/>
                  </a:cubicBezTo>
                  <a:cubicBezTo>
                    <a:pt x="331979" y="141804"/>
                    <a:pt x="319963" y="143797"/>
                    <a:pt x="308474" y="144344"/>
                  </a:cubicBezTo>
                  <a:cubicBezTo>
                    <a:pt x="294222" y="145029"/>
                    <a:pt x="279869" y="144458"/>
                    <a:pt x="265602" y="144255"/>
                  </a:cubicBezTo>
                  <a:cubicBezTo>
                    <a:pt x="239467" y="143848"/>
                    <a:pt x="213388" y="144471"/>
                    <a:pt x="187482" y="141029"/>
                  </a:cubicBezTo>
                  <a:cubicBezTo>
                    <a:pt x="176672" y="139581"/>
                    <a:pt x="157270" y="135073"/>
                    <a:pt x="148440" y="144039"/>
                  </a:cubicBezTo>
                  <a:cubicBezTo>
                    <a:pt x="141619" y="150973"/>
                    <a:pt x="144600" y="165349"/>
                    <a:pt x="144173" y="174036"/>
                  </a:cubicBezTo>
                  <a:cubicBezTo>
                    <a:pt x="143454" y="188628"/>
                    <a:pt x="143201" y="203233"/>
                    <a:pt x="143225" y="217838"/>
                  </a:cubicBezTo>
                  <a:cubicBezTo>
                    <a:pt x="143265" y="248090"/>
                    <a:pt x="144833" y="278277"/>
                    <a:pt x="145890" y="308503"/>
                  </a:cubicBezTo>
                  <a:cubicBezTo>
                    <a:pt x="146351" y="321534"/>
                    <a:pt x="149039" y="336634"/>
                    <a:pt x="144654" y="349169"/>
                  </a:cubicBezTo>
                  <a:cubicBezTo>
                    <a:pt x="139639" y="363494"/>
                    <a:pt x="107696" y="407131"/>
                    <a:pt x="96370" y="415831"/>
                  </a:cubicBezTo>
                  <a:cubicBezTo>
                    <a:pt x="72930" y="433827"/>
                    <a:pt x="14628" y="460941"/>
                    <a:pt x="-458" y="471673"/>
                  </a:cubicBezTo>
                  <a:cubicBezTo>
                    <a:pt x="16524" y="347086"/>
                    <a:pt x="81919" y="113051"/>
                    <a:pt x="115108" y="-1300"/>
                  </a:cubicBezTo>
                  <a:cubicBezTo>
                    <a:pt x="170461" y="32406"/>
                    <a:pt x="226897" y="64321"/>
                    <a:pt x="284632" y="93785"/>
                  </a:cubicBezTo>
                  <a:cubicBezTo>
                    <a:pt x="320906" y="112302"/>
                    <a:pt x="357920" y="129243"/>
                    <a:pt x="395296" y="145410"/>
                  </a:cubicBezTo>
                  <a:lnTo>
                    <a:pt x="398292" y="146719"/>
                  </a:lnTo>
                  <a:cubicBezTo>
                    <a:pt x="417352" y="159939"/>
                    <a:pt x="438549" y="172741"/>
                    <a:pt x="462153" y="184818"/>
                  </a:cubicBezTo>
                  <a:cubicBezTo>
                    <a:pt x="456186" y="185110"/>
                    <a:pt x="450168" y="185047"/>
                    <a:pt x="444150" y="184780"/>
                  </a:cubicBezTo>
                </a:path>
              </a:pathLst>
            </a:custGeom>
            <a:solidFill>
              <a:srgbClr val="EF573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6" name="Freeform: Shape 1695">
              <a:extLst>
                <a:ext uri="{FF2B5EF4-FFF2-40B4-BE49-F238E27FC236}">
                  <a16:creationId xmlns:a16="http://schemas.microsoft.com/office/drawing/2014/main" id="{E885C54E-2F7F-4493-B977-F5CA9C52CF0D}"/>
                </a:ext>
              </a:extLst>
            </p:cNvPr>
            <p:cNvSpPr/>
            <p:nvPr/>
          </p:nvSpPr>
          <p:spPr>
            <a:xfrm flipV="1">
              <a:off x="4326654" y="3255447"/>
              <a:ext cx="122462" cy="113136"/>
            </a:xfrm>
            <a:custGeom>
              <a:avLst/>
              <a:gdLst>
                <a:gd name="connsiteX0" fmla="*/ 107474 w 122462"/>
                <a:gd name="connsiteY0" fmla="*/ 111261 h 113136"/>
                <a:gd name="connsiteX1" fmla="*/ 109567 w 122462"/>
                <a:gd name="connsiteY1" fmla="*/ 111706 h 113136"/>
                <a:gd name="connsiteX2" fmla="*/ 121514 w 122462"/>
                <a:gd name="connsiteY2" fmla="*/ 40967 h 113136"/>
                <a:gd name="connsiteX3" fmla="*/ 98103 w 122462"/>
                <a:gd name="connsiteY3" fmla="*/ 8049 h 113136"/>
                <a:gd name="connsiteX4" fmla="*/ 44297 w 122462"/>
                <a:gd name="connsiteY4" fmla="*/ -1032 h 113136"/>
                <a:gd name="connsiteX5" fmla="*/ 11376 w 122462"/>
                <a:gd name="connsiteY5" fmla="*/ 22374 h 113136"/>
                <a:gd name="connsiteX6" fmla="*/ -550 w 122462"/>
                <a:gd name="connsiteY6" fmla="*/ 93024 h 113136"/>
                <a:gd name="connsiteX7" fmla="*/ 107474 w 122462"/>
                <a:gd name="connsiteY7" fmla="*/ 111261 h 11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462" h="113136">
                  <a:moveTo>
                    <a:pt x="107474" y="111261"/>
                  </a:moveTo>
                  <a:lnTo>
                    <a:pt x="109567" y="111706"/>
                  </a:lnTo>
                  <a:lnTo>
                    <a:pt x="121514" y="40967"/>
                  </a:lnTo>
                  <a:cubicBezTo>
                    <a:pt x="124128" y="25486"/>
                    <a:pt x="113596" y="10665"/>
                    <a:pt x="98103" y="8049"/>
                  </a:cubicBezTo>
                  <a:lnTo>
                    <a:pt x="44297" y="-1032"/>
                  </a:lnTo>
                  <a:cubicBezTo>
                    <a:pt x="28804" y="-3648"/>
                    <a:pt x="13991" y="6893"/>
                    <a:pt x="11376" y="22374"/>
                  </a:cubicBezTo>
                  <a:lnTo>
                    <a:pt x="-550" y="93024"/>
                  </a:lnTo>
                  <a:lnTo>
                    <a:pt x="107474" y="111261"/>
                  </a:ln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7" name="Freeform: Shape 1696">
              <a:extLst>
                <a:ext uri="{FF2B5EF4-FFF2-40B4-BE49-F238E27FC236}">
                  <a16:creationId xmlns:a16="http://schemas.microsoft.com/office/drawing/2014/main" id="{50D60BCF-3C0F-473B-AFDA-292CFFCD157D}"/>
                </a:ext>
              </a:extLst>
            </p:cNvPr>
            <p:cNvSpPr/>
            <p:nvPr/>
          </p:nvSpPr>
          <p:spPr>
            <a:xfrm flipV="1">
              <a:off x="3989311" y="3581169"/>
              <a:ext cx="536057" cy="279061"/>
            </a:xfrm>
            <a:custGeom>
              <a:avLst/>
              <a:gdLst>
                <a:gd name="connsiteX0" fmla="*/ 534580 w 536057"/>
                <a:gd name="connsiteY0" fmla="*/ 249008 h 279061"/>
                <a:gd name="connsiteX1" fmla="*/ 532809 w 536057"/>
                <a:gd name="connsiteY1" fmla="*/ 251179 h 279061"/>
                <a:gd name="connsiteX2" fmla="*/ 527000 w 536057"/>
                <a:gd name="connsiteY2" fmla="*/ 252360 h 279061"/>
                <a:gd name="connsiteX3" fmla="*/ 510545 w 536057"/>
                <a:gd name="connsiteY3" fmla="*/ 255535 h 279061"/>
                <a:gd name="connsiteX4" fmla="*/ 23824 w 536057"/>
                <a:gd name="connsiteY4" fmla="*/ 255383 h 279061"/>
                <a:gd name="connsiteX5" fmla="*/ 8137 w 536057"/>
                <a:gd name="connsiteY5" fmla="*/ 252360 h 279061"/>
                <a:gd name="connsiteX6" fmla="*/ 2218 w 536057"/>
                <a:gd name="connsiteY6" fmla="*/ 251167 h 279061"/>
                <a:gd name="connsiteX7" fmla="*/ 501 w 536057"/>
                <a:gd name="connsiteY7" fmla="*/ 248957 h 279061"/>
                <a:gd name="connsiteX8" fmla="*/ -461 w 536057"/>
                <a:gd name="connsiteY8" fmla="*/ 247064 h 279061"/>
                <a:gd name="connsiteX9" fmla="*/ 412 w 536057"/>
                <a:gd name="connsiteY9" fmla="*/ 242810 h 279061"/>
                <a:gd name="connsiteX10" fmla="*/ 3548 w 536057"/>
                <a:gd name="connsiteY10" fmla="*/ 227710 h 279061"/>
                <a:gd name="connsiteX11" fmla="*/ 27246 w 536057"/>
                <a:gd name="connsiteY11" fmla="*/ 113258 h 279061"/>
                <a:gd name="connsiteX12" fmla="*/ 31840 w 536057"/>
                <a:gd name="connsiteY12" fmla="*/ 106209 h 279061"/>
                <a:gd name="connsiteX13" fmla="*/ 51033 w 536057"/>
                <a:gd name="connsiteY13" fmla="*/ 109968 h 279061"/>
                <a:gd name="connsiteX14" fmla="*/ 52641 w 536057"/>
                <a:gd name="connsiteY14" fmla="*/ 118211 h 279061"/>
                <a:gd name="connsiteX15" fmla="*/ 50369 w 536057"/>
                <a:gd name="connsiteY15" fmla="*/ 232993 h 279061"/>
                <a:gd name="connsiteX16" fmla="*/ 483914 w 536057"/>
                <a:gd name="connsiteY16" fmla="*/ 233120 h 279061"/>
                <a:gd name="connsiteX17" fmla="*/ 461932 w 536057"/>
                <a:gd name="connsiteY17" fmla="*/ 10680 h 279061"/>
                <a:gd name="connsiteX18" fmla="*/ 463342 w 536057"/>
                <a:gd name="connsiteY18" fmla="*/ 2463 h 279061"/>
                <a:gd name="connsiteX19" fmla="*/ 481285 w 536057"/>
                <a:gd name="connsiteY19" fmla="*/ -1042 h 279061"/>
                <a:gd name="connsiteX20" fmla="*/ 485685 w 536057"/>
                <a:gd name="connsiteY20" fmla="*/ 6032 h 279061"/>
                <a:gd name="connsiteX21" fmla="*/ 531589 w 536057"/>
                <a:gd name="connsiteY21" fmla="*/ 227710 h 279061"/>
                <a:gd name="connsiteX22" fmla="*/ 534719 w 536057"/>
                <a:gd name="connsiteY22" fmla="*/ 242810 h 279061"/>
                <a:gd name="connsiteX23" fmla="*/ 535597 w 536057"/>
                <a:gd name="connsiteY23" fmla="*/ 247064 h 279061"/>
                <a:gd name="connsiteX24" fmla="*/ 534580 w 536057"/>
                <a:gd name="connsiteY24" fmla="*/ 249008 h 27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36057" h="279061">
                  <a:moveTo>
                    <a:pt x="534580" y="249008"/>
                  </a:moveTo>
                  <a:cubicBezTo>
                    <a:pt x="534199" y="250163"/>
                    <a:pt x="533627" y="251027"/>
                    <a:pt x="532809" y="251179"/>
                  </a:cubicBezTo>
                  <a:cubicBezTo>
                    <a:pt x="530874" y="251573"/>
                    <a:pt x="528940" y="251979"/>
                    <a:pt x="527000" y="252360"/>
                  </a:cubicBezTo>
                  <a:cubicBezTo>
                    <a:pt x="521513" y="253453"/>
                    <a:pt x="516036" y="254507"/>
                    <a:pt x="510545" y="255535"/>
                  </a:cubicBezTo>
                  <a:cubicBezTo>
                    <a:pt x="349691" y="285533"/>
                    <a:pt x="184661" y="285482"/>
                    <a:pt x="23824" y="255383"/>
                  </a:cubicBezTo>
                  <a:cubicBezTo>
                    <a:pt x="18589" y="254418"/>
                    <a:pt x="13360" y="253402"/>
                    <a:pt x="8137" y="252360"/>
                  </a:cubicBezTo>
                  <a:cubicBezTo>
                    <a:pt x="6162" y="251967"/>
                    <a:pt x="4188" y="251560"/>
                    <a:pt x="2218" y="251167"/>
                  </a:cubicBezTo>
                  <a:cubicBezTo>
                    <a:pt x="1420" y="251002"/>
                    <a:pt x="858" y="250138"/>
                    <a:pt x="501" y="248957"/>
                  </a:cubicBezTo>
                  <a:lnTo>
                    <a:pt x="-461" y="247064"/>
                  </a:lnTo>
                  <a:cubicBezTo>
                    <a:pt x="-168" y="245642"/>
                    <a:pt x="119" y="244220"/>
                    <a:pt x="412" y="242810"/>
                  </a:cubicBezTo>
                  <a:cubicBezTo>
                    <a:pt x="1459" y="237781"/>
                    <a:pt x="2500" y="232739"/>
                    <a:pt x="3548" y="227710"/>
                  </a:cubicBezTo>
                  <a:cubicBezTo>
                    <a:pt x="11445" y="189559"/>
                    <a:pt x="19343" y="151408"/>
                    <a:pt x="27246" y="113258"/>
                  </a:cubicBezTo>
                  <a:cubicBezTo>
                    <a:pt x="28124" y="109029"/>
                    <a:pt x="30188" y="105879"/>
                    <a:pt x="31840" y="106209"/>
                  </a:cubicBezTo>
                  <a:cubicBezTo>
                    <a:pt x="38234" y="107530"/>
                    <a:pt x="44634" y="108774"/>
                    <a:pt x="51033" y="109968"/>
                  </a:cubicBezTo>
                  <a:cubicBezTo>
                    <a:pt x="52701" y="110273"/>
                    <a:pt x="53415" y="113969"/>
                    <a:pt x="52641" y="118211"/>
                  </a:cubicBezTo>
                  <a:cubicBezTo>
                    <a:pt x="51341" y="156425"/>
                    <a:pt x="50588" y="194677"/>
                    <a:pt x="50369" y="232993"/>
                  </a:cubicBezTo>
                  <a:cubicBezTo>
                    <a:pt x="193853" y="257339"/>
                    <a:pt x="340415" y="257377"/>
                    <a:pt x="483914" y="233120"/>
                  </a:cubicBezTo>
                  <a:cubicBezTo>
                    <a:pt x="477634" y="158838"/>
                    <a:pt x="470311" y="84683"/>
                    <a:pt x="461932" y="10680"/>
                  </a:cubicBezTo>
                  <a:cubicBezTo>
                    <a:pt x="461153" y="6425"/>
                    <a:pt x="461793" y="2755"/>
                    <a:pt x="463342" y="2463"/>
                  </a:cubicBezTo>
                  <a:cubicBezTo>
                    <a:pt x="469333" y="1346"/>
                    <a:pt x="475311" y="164"/>
                    <a:pt x="481285" y="-1042"/>
                  </a:cubicBezTo>
                  <a:cubicBezTo>
                    <a:pt x="482837" y="-1372"/>
                    <a:pt x="484807" y="1803"/>
                    <a:pt x="485685" y="6032"/>
                  </a:cubicBezTo>
                  <a:cubicBezTo>
                    <a:pt x="500984" y="79933"/>
                    <a:pt x="516289" y="153809"/>
                    <a:pt x="531589" y="227710"/>
                  </a:cubicBezTo>
                  <a:cubicBezTo>
                    <a:pt x="532635" y="232739"/>
                    <a:pt x="533677" y="237781"/>
                    <a:pt x="534719" y="242810"/>
                  </a:cubicBezTo>
                  <a:cubicBezTo>
                    <a:pt x="535006" y="244220"/>
                    <a:pt x="535305" y="245642"/>
                    <a:pt x="535597" y="247064"/>
                  </a:cubicBezTo>
                  <a:lnTo>
                    <a:pt x="534580" y="249008"/>
                  </a:lnTo>
                </a:path>
              </a:pathLst>
            </a:custGeom>
            <a:solidFill>
              <a:srgbClr val="2E2A2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8" name="Freeform: Shape 1697">
              <a:extLst>
                <a:ext uri="{FF2B5EF4-FFF2-40B4-BE49-F238E27FC236}">
                  <a16:creationId xmlns:a16="http://schemas.microsoft.com/office/drawing/2014/main" id="{4A2FE48C-3CEC-4EF3-BE07-0170D43F1637}"/>
                </a:ext>
              </a:extLst>
            </p:cNvPr>
            <p:cNvSpPr/>
            <p:nvPr/>
          </p:nvSpPr>
          <p:spPr>
            <a:xfrm flipV="1">
              <a:off x="4868224" y="4199168"/>
              <a:ext cx="291258" cy="119224"/>
            </a:xfrm>
            <a:custGeom>
              <a:avLst/>
              <a:gdLst>
                <a:gd name="connsiteX0" fmla="*/ 120079 w 291258"/>
                <a:gd name="connsiteY0" fmla="*/ 116670 h 119224"/>
                <a:gd name="connsiteX1" fmla="*/ 78766 w 291258"/>
                <a:gd name="connsiteY1" fmla="*/ 91578 h 119224"/>
                <a:gd name="connsiteX2" fmla="*/ 70777 w 291258"/>
                <a:gd name="connsiteY2" fmla="*/ 78823 h 119224"/>
                <a:gd name="connsiteX3" fmla="*/ -978 w 291258"/>
                <a:gd name="connsiteY3" fmla="*/ 82608 h 119224"/>
                <a:gd name="connsiteX4" fmla="*/ 22086 w 291258"/>
                <a:gd name="connsiteY4" fmla="*/ 28242 h 119224"/>
                <a:gd name="connsiteX5" fmla="*/ 289356 w 291258"/>
                <a:gd name="connsiteY5" fmla="*/ 38223 h 119224"/>
                <a:gd name="connsiteX6" fmla="*/ 120079 w 291258"/>
                <a:gd name="connsiteY6" fmla="*/ 116670 h 119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258" h="119224">
                  <a:moveTo>
                    <a:pt x="120079" y="116670"/>
                  </a:moveTo>
                  <a:cubicBezTo>
                    <a:pt x="83757" y="127276"/>
                    <a:pt x="78766" y="91578"/>
                    <a:pt x="78766" y="91578"/>
                  </a:cubicBezTo>
                  <a:lnTo>
                    <a:pt x="70777" y="78823"/>
                  </a:lnTo>
                  <a:cubicBezTo>
                    <a:pt x="50927" y="51315"/>
                    <a:pt x="-978" y="82608"/>
                    <a:pt x="-978" y="82608"/>
                  </a:cubicBezTo>
                  <a:cubicBezTo>
                    <a:pt x="-978" y="82608"/>
                    <a:pt x="927" y="38590"/>
                    <a:pt x="22086" y="28242"/>
                  </a:cubicBezTo>
                  <a:cubicBezTo>
                    <a:pt x="91973" y="-5935"/>
                    <a:pt x="208267" y="-17772"/>
                    <a:pt x="289356" y="38223"/>
                  </a:cubicBezTo>
                  <a:cubicBezTo>
                    <a:pt x="303860" y="68718"/>
                    <a:pt x="143205" y="91880"/>
                    <a:pt x="120079" y="116670"/>
                  </a:cubicBezTo>
                </a:path>
              </a:pathLst>
            </a:custGeom>
            <a:solidFill>
              <a:srgbClr val="5933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9" name="Freeform: Shape 1698">
              <a:extLst>
                <a:ext uri="{FF2B5EF4-FFF2-40B4-BE49-F238E27FC236}">
                  <a16:creationId xmlns:a16="http://schemas.microsoft.com/office/drawing/2014/main" id="{1C7A2C36-F262-42A3-BFBD-6885524F6AEF}"/>
                </a:ext>
              </a:extLst>
            </p:cNvPr>
            <p:cNvSpPr/>
            <p:nvPr/>
          </p:nvSpPr>
          <p:spPr>
            <a:xfrm flipV="1">
              <a:off x="4885477" y="4275486"/>
              <a:ext cx="278870" cy="46945"/>
            </a:xfrm>
            <a:custGeom>
              <a:avLst/>
              <a:gdLst>
                <a:gd name="connsiteX0" fmla="*/ 216520 w 278870"/>
                <a:gd name="connsiteY0" fmla="*/ 10994 h 46945"/>
                <a:gd name="connsiteX1" fmla="*/ 276134 w 278870"/>
                <a:gd name="connsiteY1" fmla="*/ 39364 h 46945"/>
                <a:gd name="connsiteX2" fmla="*/ 276236 w 278870"/>
                <a:gd name="connsiteY2" fmla="*/ 45170 h 46945"/>
                <a:gd name="connsiteX3" fmla="*/ 268044 w 278870"/>
                <a:gd name="connsiteY3" fmla="*/ 45229 h 46945"/>
                <a:gd name="connsiteX4" fmla="*/ 8114 w 278870"/>
                <a:gd name="connsiteY4" fmla="*/ 35694 h 46945"/>
                <a:gd name="connsiteX5" fmla="*/ 49 w 278870"/>
                <a:gd name="connsiteY5" fmla="*/ 34651 h 46945"/>
                <a:gd name="connsiteX6" fmla="*/ 1523 w 278870"/>
                <a:gd name="connsiteY6" fmla="*/ 28947 h 46945"/>
                <a:gd name="connsiteX7" fmla="*/ 216520 w 278870"/>
                <a:gd name="connsiteY7" fmla="*/ 10994 h 46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870" h="46945">
                  <a:moveTo>
                    <a:pt x="216520" y="10994"/>
                  </a:moveTo>
                  <a:cubicBezTo>
                    <a:pt x="237717" y="17443"/>
                    <a:pt x="257897" y="26765"/>
                    <a:pt x="276134" y="39364"/>
                  </a:cubicBezTo>
                  <a:cubicBezTo>
                    <a:pt x="278433" y="40952"/>
                    <a:pt x="278471" y="43541"/>
                    <a:pt x="276236" y="45170"/>
                  </a:cubicBezTo>
                  <a:cubicBezTo>
                    <a:pt x="274013" y="46781"/>
                    <a:pt x="270355" y="46807"/>
                    <a:pt x="268044" y="45229"/>
                  </a:cubicBezTo>
                  <a:cubicBezTo>
                    <a:pt x="191997" y="-7283"/>
                    <a:pt x="79704" y="679"/>
                    <a:pt x="8114" y="35694"/>
                  </a:cubicBezTo>
                  <a:cubicBezTo>
                    <a:pt x="5472" y="36974"/>
                    <a:pt x="1878" y="36493"/>
                    <a:pt x="49" y="34651"/>
                  </a:cubicBezTo>
                  <a:cubicBezTo>
                    <a:pt x="-1779" y="32787"/>
                    <a:pt x="-1119" y="30232"/>
                    <a:pt x="1523" y="28947"/>
                  </a:cubicBezTo>
                  <a:cubicBezTo>
                    <a:pt x="59917" y="387"/>
                    <a:pt x="144105" y="-11028"/>
                    <a:pt x="216520" y="10994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0" name="Freeform: Shape 1699">
              <a:extLst>
                <a:ext uri="{FF2B5EF4-FFF2-40B4-BE49-F238E27FC236}">
                  <a16:creationId xmlns:a16="http://schemas.microsoft.com/office/drawing/2014/main" id="{EC243D7A-0D32-4E17-9738-21B3F84D5823}"/>
                </a:ext>
              </a:extLst>
            </p:cNvPr>
            <p:cNvSpPr/>
            <p:nvPr/>
          </p:nvSpPr>
          <p:spPr>
            <a:xfrm flipV="1">
              <a:off x="4172737" y="3119189"/>
              <a:ext cx="181947" cy="335507"/>
            </a:xfrm>
            <a:custGeom>
              <a:avLst/>
              <a:gdLst>
                <a:gd name="connsiteX0" fmla="*/ 181482 w 181947"/>
                <a:gd name="connsiteY0" fmla="*/ -1453 h 335507"/>
                <a:gd name="connsiteX1" fmla="*/ 146055 w 181947"/>
                <a:gd name="connsiteY1" fmla="*/ 332874 h 335507"/>
                <a:gd name="connsiteX2" fmla="*/ 140197 w 181947"/>
                <a:gd name="connsiteY2" fmla="*/ 334055 h 335507"/>
                <a:gd name="connsiteX3" fmla="*/ 171689 w 181947"/>
                <a:gd name="connsiteY3" fmla="*/ 28037 h 335507"/>
                <a:gd name="connsiteX4" fmla="*/ 5195 w 181947"/>
                <a:gd name="connsiteY4" fmla="*/ 314815 h 335507"/>
                <a:gd name="connsiteX5" fmla="*/ -466 w 181947"/>
                <a:gd name="connsiteY5" fmla="*/ 311932 h 335507"/>
                <a:gd name="connsiteX6" fmla="*/ 181482 w 181947"/>
                <a:gd name="connsiteY6" fmla="*/ -1453 h 335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947" h="335507">
                  <a:moveTo>
                    <a:pt x="181482" y="-1453"/>
                  </a:moveTo>
                  <a:lnTo>
                    <a:pt x="146055" y="332874"/>
                  </a:lnTo>
                  <a:lnTo>
                    <a:pt x="140197" y="334055"/>
                  </a:lnTo>
                  <a:lnTo>
                    <a:pt x="171689" y="28037"/>
                  </a:lnTo>
                  <a:lnTo>
                    <a:pt x="5195" y="314815"/>
                  </a:lnTo>
                  <a:lnTo>
                    <a:pt x="-466" y="311932"/>
                  </a:lnTo>
                  <a:lnTo>
                    <a:pt x="181482" y="-1453"/>
                  </a:lnTo>
                </a:path>
              </a:pathLst>
            </a:custGeom>
            <a:solidFill>
              <a:srgbClr val="3A72C1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1" name="Freeform: Shape 1700">
              <a:extLst>
                <a:ext uri="{FF2B5EF4-FFF2-40B4-BE49-F238E27FC236}">
                  <a16:creationId xmlns:a16="http://schemas.microsoft.com/office/drawing/2014/main" id="{2C73AE37-13AB-41A8-871E-DED70159D498}"/>
                </a:ext>
              </a:extLst>
            </p:cNvPr>
            <p:cNvSpPr/>
            <p:nvPr/>
          </p:nvSpPr>
          <p:spPr>
            <a:xfrm flipV="1">
              <a:off x="4334721" y="3416330"/>
              <a:ext cx="22349" cy="36017"/>
            </a:xfrm>
            <a:custGeom>
              <a:avLst/>
              <a:gdLst>
                <a:gd name="connsiteX0" fmla="*/ -522 w 22349"/>
                <a:gd name="connsiteY0" fmla="*/ 1206 h 36017"/>
                <a:gd name="connsiteX1" fmla="*/ 17025 w 22349"/>
                <a:gd name="connsiteY1" fmla="*/ -1321 h 36017"/>
                <a:gd name="connsiteX2" fmla="*/ 21828 w 22349"/>
                <a:gd name="connsiteY2" fmla="*/ 32169 h 36017"/>
                <a:gd name="connsiteX3" fmla="*/ 4290 w 22349"/>
                <a:gd name="connsiteY3" fmla="*/ 34696 h 36017"/>
                <a:gd name="connsiteX4" fmla="*/ -522 w 22349"/>
                <a:gd name="connsiteY4" fmla="*/ 1206 h 36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49" h="36017">
                  <a:moveTo>
                    <a:pt x="-522" y="1206"/>
                  </a:moveTo>
                  <a:lnTo>
                    <a:pt x="17025" y="-1321"/>
                  </a:lnTo>
                  <a:lnTo>
                    <a:pt x="21828" y="32169"/>
                  </a:lnTo>
                  <a:lnTo>
                    <a:pt x="4290" y="34696"/>
                  </a:lnTo>
                  <a:lnTo>
                    <a:pt x="-522" y="1206"/>
                  </a:lnTo>
                </a:path>
              </a:pathLst>
            </a:custGeom>
            <a:solidFill>
              <a:srgbClr val="2C3A9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2" name="Freeform: Shape 1701">
              <a:extLst>
                <a:ext uri="{FF2B5EF4-FFF2-40B4-BE49-F238E27FC236}">
                  <a16:creationId xmlns:a16="http://schemas.microsoft.com/office/drawing/2014/main" id="{53C420CD-F08D-4A05-B023-DC84F9267194}"/>
                </a:ext>
              </a:extLst>
            </p:cNvPr>
            <p:cNvSpPr/>
            <p:nvPr/>
          </p:nvSpPr>
          <p:spPr>
            <a:xfrm flipV="1">
              <a:off x="4291476" y="3437780"/>
              <a:ext cx="87590" cy="141109"/>
            </a:xfrm>
            <a:custGeom>
              <a:avLst/>
              <a:gdLst>
                <a:gd name="connsiteX0" fmla="*/ 68224 w 87590"/>
                <a:gd name="connsiteY0" fmla="*/ -1255 h 141109"/>
                <a:gd name="connsiteX1" fmla="*/ -514 w 87590"/>
                <a:gd name="connsiteY1" fmla="*/ 8625 h 141109"/>
                <a:gd name="connsiteX2" fmla="*/ 18327 w 87590"/>
                <a:gd name="connsiteY2" fmla="*/ 139854 h 141109"/>
                <a:gd name="connsiteX3" fmla="*/ 87076 w 87590"/>
                <a:gd name="connsiteY3" fmla="*/ 129974 h 141109"/>
                <a:gd name="connsiteX4" fmla="*/ 68224 w 87590"/>
                <a:gd name="connsiteY4" fmla="*/ -1255 h 141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590" h="141109">
                  <a:moveTo>
                    <a:pt x="68224" y="-1255"/>
                  </a:moveTo>
                  <a:lnTo>
                    <a:pt x="-514" y="8625"/>
                  </a:lnTo>
                  <a:lnTo>
                    <a:pt x="18327" y="139854"/>
                  </a:lnTo>
                  <a:lnTo>
                    <a:pt x="87076" y="129974"/>
                  </a:lnTo>
                  <a:lnTo>
                    <a:pt x="68224" y="-1255"/>
                  </a:lnTo>
                </a:path>
              </a:pathLst>
            </a:custGeom>
            <a:solidFill>
              <a:srgbClr val="66686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3" name="Freeform: Shape 1702">
              <a:extLst>
                <a:ext uri="{FF2B5EF4-FFF2-40B4-BE49-F238E27FC236}">
                  <a16:creationId xmlns:a16="http://schemas.microsoft.com/office/drawing/2014/main" id="{0463E7B1-72AF-4832-993F-185BD54F9AE9}"/>
                </a:ext>
              </a:extLst>
            </p:cNvPr>
            <p:cNvSpPr/>
            <p:nvPr/>
          </p:nvSpPr>
          <p:spPr>
            <a:xfrm flipV="1">
              <a:off x="4297678" y="3443114"/>
              <a:ext cx="74310" cy="124472"/>
            </a:xfrm>
            <a:custGeom>
              <a:avLst/>
              <a:gdLst>
                <a:gd name="connsiteX0" fmla="*/ 58645 w 74310"/>
                <a:gd name="connsiteY0" fmla="*/ -1258 h 124472"/>
                <a:gd name="connsiteX1" fmla="*/ -514 w 74310"/>
                <a:gd name="connsiteY1" fmla="*/ 4825 h 124472"/>
                <a:gd name="connsiteX2" fmla="*/ 16487 w 74310"/>
                <a:gd name="connsiteY2" fmla="*/ 123215 h 124472"/>
                <a:gd name="connsiteX3" fmla="*/ 73796 w 74310"/>
                <a:gd name="connsiteY3" fmla="*/ 111150 h 124472"/>
                <a:gd name="connsiteX4" fmla="*/ 58645 w 74310"/>
                <a:gd name="connsiteY4" fmla="*/ -1258 h 124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10" h="124472">
                  <a:moveTo>
                    <a:pt x="58645" y="-1258"/>
                  </a:moveTo>
                  <a:lnTo>
                    <a:pt x="-514" y="4825"/>
                  </a:lnTo>
                  <a:lnTo>
                    <a:pt x="16487" y="123215"/>
                  </a:lnTo>
                  <a:lnTo>
                    <a:pt x="73796" y="111150"/>
                  </a:lnTo>
                  <a:lnTo>
                    <a:pt x="58645" y="-1258"/>
                  </a:lnTo>
                </a:path>
              </a:pathLst>
            </a:custGeom>
            <a:solidFill>
              <a:srgbClr val="E8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4" name="Freeform: Shape 1703">
              <a:extLst>
                <a:ext uri="{FF2B5EF4-FFF2-40B4-BE49-F238E27FC236}">
                  <a16:creationId xmlns:a16="http://schemas.microsoft.com/office/drawing/2014/main" id="{1219DEAC-FEA4-4447-A1D0-89877C8AD160}"/>
                </a:ext>
              </a:extLst>
            </p:cNvPr>
            <p:cNvSpPr/>
            <p:nvPr/>
          </p:nvSpPr>
          <p:spPr>
            <a:xfrm flipV="1">
              <a:off x="4285129" y="3431429"/>
              <a:ext cx="100278" cy="153811"/>
            </a:xfrm>
            <a:custGeom>
              <a:avLst/>
              <a:gdLst>
                <a:gd name="connsiteX0" fmla="*/ 24675 w 100278"/>
                <a:gd name="connsiteY0" fmla="*/ 146205 h 153811"/>
                <a:gd name="connsiteX1" fmla="*/ 93423 w 100278"/>
                <a:gd name="connsiteY1" fmla="*/ 136325 h 153811"/>
                <a:gd name="connsiteX2" fmla="*/ 74572 w 100278"/>
                <a:gd name="connsiteY2" fmla="*/ 5096 h 153811"/>
                <a:gd name="connsiteX3" fmla="*/ 5833 w 100278"/>
                <a:gd name="connsiteY3" fmla="*/ 14976 h 153811"/>
                <a:gd name="connsiteX4" fmla="*/ 24675 w 100278"/>
                <a:gd name="connsiteY4" fmla="*/ 146205 h 153811"/>
                <a:gd name="connsiteX5" fmla="*/ 18395 w 100278"/>
                <a:gd name="connsiteY5" fmla="*/ 147107 h 153811"/>
                <a:gd name="connsiteX6" fmla="*/ -447 w 100278"/>
                <a:gd name="connsiteY6" fmla="*/ 15865 h 153811"/>
                <a:gd name="connsiteX7" fmla="*/ 4925 w 100278"/>
                <a:gd name="connsiteY7" fmla="*/ 8677 h 153811"/>
                <a:gd name="connsiteX8" fmla="*/ 73664 w 100278"/>
                <a:gd name="connsiteY8" fmla="*/ -1191 h 153811"/>
                <a:gd name="connsiteX9" fmla="*/ 80848 w 100278"/>
                <a:gd name="connsiteY9" fmla="*/ 4194 h 153811"/>
                <a:gd name="connsiteX10" fmla="*/ 99698 w 100278"/>
                <a:gd name="connsiteY10" fmla="*/ 135423 h 153811"/>
                <a:gd name="connsiteX11" fmla="*/ 94321 w 100278"/>
                <a:gd name="connsiteY11" fmla="*/ 142611 h 153811"/>
                <a:gd name="connsiteX12" fmla="*/ 25583 w 100278"/>
                <a:gd name="connsiteY12" fmla="*/ 152492 h 153811"/>
                <a:gd name="connsiteX13" fmla="*/ 18395 w 100278"/>
                <a:gd name="connsiteY13" fmla="*/ 147107 h 15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278" h="153811">
                  <a:moveTo>
                    <a:pt x="24675" y="146205"/>
                  </a:moveTo>
                  <a:lnTo>
                    <a:pt x="93423" y="136325"/>
                  </a:lnTo>
                  <a:lnTo>
                    <a:pt x="74572" y="5096"/>
                  </a:lnTo>
                  <a:lnTo>
                    <a:pt x="5833" y="14976"/>
                  </a:lnTo>
                  <a:lnTo>
                    <a:pt x="24675" y="146205"/>
                  </a:lnTo>
                  <a:moveTo>
                    <a:pt x="18395" y="147107"/>
                  </a:moveTo>
                  <a:lnTo>
                    <a:pt x="-447" y="15865"/>
                  </a:lnTo>
                  <a:cubicBezTo>
                    <a:pt x="-954" y="12398"/>
                    <a:pt x="1453" y="9185"/>
                    <a:pt x="4925" y="8677"/>
                  </a:cubicBezTo>
                  <a:lnTo>
                    <a:pt x="73664" y="-1191"/>
                  </a:lnTo>
                  <a:cubicBezTo>
                    <a:pt x="77132" y="-1686"/>
                    <a:pt x="80351" y="727"/>
                    <a:pt x="80848" y="4194"/>
                  </a:cubicBezTo>
                  <a:lnTo>
                    <a:pt x="99698" y="135423"/>
                  </a:lnTo>
                  <a:cubicBezTo>
                    <a:pt x="100200" y="138890"/>
                    <a:pt x="97788" y="142116"/>
                    <a:pt x="94321" y="142611"/>
                  </a:cubicBezTo>
                  <a:lnTo>
                    <a:pt x="25583" y="152492"/>
                  </a:lnTo>
                  <a:cubicBezTo>
                    <a:pt x="22111" y="152987"/>
                    <a:pt x="18895" y="150574"/>
                    <a:pt x="18395" y="147107"/>
                  </a:cubicBezTo>
                </a:path>
              </a:pathLst>
            </a:custGeom>
            <a:solidFill>
              <a:srgbClr val="2C3A9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5" name="Freeform: Shape 1704">
              <a:extLst>
                <a:ext uri="{FF2B5EF4-FFF2-40B4-BE49-F238E27FC236}">
                  <a16:creationId xmlns:a16="http://schemas.microsoft.com/office/drawing/2014/main" id="{E4171319-D5D9-41AE-9C65-574BADCBF102}"/>
                </a:ext>
              </a:extLst>
            </p:cNvPr>
            <p:cNvSpPr/>
            <p:nvPr/>
          </p:nvSpPr>
          <p:spPr>
            <a:xfrm flipV="1">
              <a:off x="4321724" y="3452144"/>
              <a:ext cx="36140" cy="49339"/>
            </a:xfrm>
            <a:custGeom>
              <a:avLst/>
              <a:gdLst>
                <a:gd name="connsiteX0" fmla="*/ -518 w 36140"/>
                <a:gd name="connsiteY0" fmla="*/ 2984 h 49339"/>
                <a:gd name="connsiteX1" fmla="*/ 29148 w 36140"/>
                <a:gd name="connsiteY1" fmla="*/ -1283 h 49339"/>
                <a:gd name="connsiteX2" fmla="*/ 35623 w 36140"/>
                <a:gd name="connsiteY2" fmla="*/ 43802 h 49339"/>
                <a:gd name="connsiteX3" fmla="*/ 5956 w 36140"/>
                <a:gd name="connsiteY3" fmla="*/ 48056 h 49339"/>
                <a:gd name="connsiteX4" fmla="*/ -518 w 36140"/>
                <a:gd name="connsiteY4" fmla="*/ 2984 h 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40" h="49339">
                  <a:moveTo>
                    <a:pt x="-518" y="2984"/>
                  </a:moveTo>
                  <a:lnTo>
                    <a:pt x="29148" y="-1283"/>
                  </a:lnTo>
                  <a:lnTo>
                    <a:pt x="35623" y="43802"/>
                  </a:lnTo>
                  <a:lnTo>
                    <a:pt x="5956" y="48056"/>
                  </a:lnTo>
                  <a:lnTo>
                    <a:pt x="-518" y="2984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6" name="Freeform: Shape 1705">
              <a:extLst>
                <a:ext uri="{FF2B5EF4-FFF2-40B4-BE49-F238E27FC236}">
                  <a16:creationId xmlns:a16="http://schemas.microsoft.com/office/drawing/2014/main" id="{8D8BAE93-4C7B-4C8B-8E9E-2EB071CF6967}"/>
                </a:ext>
              </a:extLst>
            </p:cNvPr>
            <p:cNvSpPr/>
            <p:nvPr/>
          </p:nvSpPr>
          <p:spPr>
            <a:xfrm flipV="1">
              <a:off x="4332855" y="3441018"/>
              <a:ext cx="46211" cy="137870"/>
            </a:xfrm>
            <a:custGeom>
              <a:avLst/>
              <a:gdLst>
                <a:gd name="connsiteX0" fmla="*/ 26831 w 46211"/>
                <a:gd name="connsiteY0" fmla="*/ -1254 h 137870"/>
                <a:gd name="connsiteX1" fmla="*/ 8228 w 46211"/>
                <a:gd name="connsiteY1" fmla="*/ 1426 h 137870"/>
                <a:gd name="connsiteX2" fmla="*/ 7563 w 46211"/>
                <a:gd name="connsiteY2" fmla="*/ 11688 h 137870"/>
                <a:gd name="connsiteX3" fmla="*/ 23453 w 46211"/>
                <a:gd name="connsiteY3" fmla="*/ 10049 h 137870"/>
                <a:gd name="connsiteX4" fmla="*/ 38604 w 46211"/>
                <a:gd name="connsiteY4" fmla="*/ 122457 h 137870"/>
                <a:gd name="connsiteX5" fmla="*/ -141 w 46211"/>
                <a:gd name="connsiteY5" fmla="*/ 130610 h 137870"/>
                <a:gd name="connsiteX6" fmla="*/ -529 w 46211"/>
                <a:gd name="connsiteY6" fmla="*/ 136617 h 137870"/>
                <a:gd name="connsiteX7" fmla="*/ 45683 w 46211"/>
                <a:gd name="connsiteY7" fmla="*/ 129975 h 137870"/>
                <a:gd name="connsiteX8" fmla="*/ 26831 w 46211"/>
                <a:gd name="connsiteY8" fmla="*/ -1254 h 13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211" h="137870">
                  <a:moveTo>
                    <a:pt x="26831" y="-1254"/>
                  </a:moveTo>
                  <a:lnTo>
                    <a:pt x="8228" y="1426"/>
                  </a:lnTo>
                  <a:lnTo>
                    <a:pt x="7563" y="11688"/>
                  </a:lnTo>
                  <a:lnTo>
                    <a:pt x="23453" y="10049"/>
                  </a:lnTo>
                  <a:lnTo>
                    <a:pt x="38604" y="122457"/>
                  </a:lnTo>
                  <a:lnTo>
                    <a:pt x="-141" y="130610"/>
                  </a:lnTo>
                  <a:lnTo>
                    <a:pt x="-529" y="136617"/>
                  </a:lnTo>
                  <a:lnTo>
                    <a:pt x="45683" y="129975"/>
                  </a:lnTo>
                  <a:lnTo>
                    <a:pt x="26831" y="-1254"/>
                  </a:lnTo>
                </a:path>
              </a:pathLst>
            </a:custGeom>
            <a:solidFill>
              <a:srgbClr val="A9A5A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7" name="Freeform: Shape 1706">
              <a:extLst>
                <a:ext uri="{FF2B5EF4-FFF2-40B4-BE49-F238E27FC236}">
                  <a16:creationId xmlns:a16="http://schemas.microsoft.com/office/drawing/2014/main" id="{B0BA4211-E8A9-4822-96D2-6486790AB4C1}"/>
                </a:ext>
              </a:extLst>
            </p:cNvPr>
            <p:cNvSpPr/>
            <p:nvPr/>
          </p:nvSpPr>
          <p:spPr>
            <a:xfrm flipV="1">
              <a:off x="4333243" y="3447026"/>
              <a:ext cx="38745" cy="120560"/>
            </a:xfrm>
            <a:custGeom>
              <a:avLst/>
              <a:gdLst>
                <a:gd name="connsiteX0" fmla="*/ 23068 w 38745"/>
                <a:gd name="connsiteY0" fmla="*/ -1256 h 120560"/>
                <a:gd name="connsiteX1" fmla="*/ 7177 w 38745"/>
                <a:gd name="connsiteY1" fmla="*/ 382 h 120560"/>
                <a:gd name="connsiteX2" fmla="*/ 2867 w 38745"/>
                <a:gd name="connsiteY2" fmla="*/ 66968 h 120560"/>
                <a:gd name="connsiteX3" fmla="*/ 17621 w 38745"/>
                <a:gd name="connsiteY3" fmla="*/ 64847 h 120560"/>
                <a:gd name="connsiteX4" fmla="*/ 24095 w 38745"/>
                <a:gd name="connsiteY4" fmla="*/ 109932 h 120560"/>
                <a:gd name="connsiteX5" fmla="*/ -144 w 38745"/>
                <a:gd name="connsiteY5" fmla="*/ 113399 h 120560"/>
                <a:gd name="connsiteX6" fmla="*/ -526 w 38745"/>
                <a:gd name="connsiteY6" fmla="*/ 119305 h 120560"/>
                <a:gd name="connsiteX7" fmla="*/ 38219 w 38745"/>
                <a:gd name="connsiteY7" fmla="*/ 111151 h 120560"/>
                <a:gd name="connsiteX8" fmla="*/ 23068 w 38745"/>
                <a:gd name="connsiteY8" fmla="*/ -1256 h 12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45" h="120560">
                  <a:moveTo>
                    <a:pt x="23068" y="-1256"/>
                  </a:moveTo>
                  <a:lnTo>
                    <a:pt x="7177" y="382"/>
                  </a:lnTo>
                  <a:lnTo>
                    <a:pt x="2867" y="66968"/>
                  </a:lnTo>
                  <a:lnTo>
                    <a:pt x="17621" y="64847"/>
                  </a:lnTo>
                  <a:lnTo>
                    <a:pt x="24095" y="109932"/>
                  </a:lnTo>
                  <a:lnTo>
                    <a:pt x="-144" y="113399"/>
                  </a:lnTo>
                  <a:lnTo>
                    <a:pt x="-526" y="119305"/>
                  </a:lnTo>
                  <a:lnTo>
                    <a:pt x="38219" y="111151"/>
                  </a:lnTo>
                  <a:lnTo>
                    <a:pt x="23068" y="-1256"/>
                  </a:lnTo>
                </a:path>
              </a:pathLst>
            </a:custGeom>
            <a:solidFill>
              <a:srgbClr val="F4F4F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8" name="Freeform: Shape 1707">
              <a:extLst>
                <a:ext uri="{FF2B5EF4-FFF2-40B4-BE49-F238E27FC236}">
                  <a16:creationId xmlns:a16="http://schemas.microsoft.com/office/drawing/2014/main" id="{A28A9A3E-07B5-4C87-B512-9B1053EABB42}"/>
                </a:ext>
              </a:extLst>
            </p:cNvPr>
            <p:cNvSpPr/>
            <p:nvPr/>
          </p:nvSpPr>
          <p:spPr>
            <a:xfrm flipV="1">
              <a:off x="4341612" y="3447661"/>
              <a:ext cx="37454" cy="131228"/>
            </a:xfrm>
            <a:custGeom>
              <a:avLst/>
              <a:gdLst>
                <a:gd name="connsiteX0" fmla="*/ 18071 w 37454"/>
                <a:gd name="connsiteY0" fmla="*/ -1251 h 131228"/>
                <a:gd name="connsiteX1" fmla="*/ -532 w 37454"/>
                <a:gd name="connsiteY1" fmla="*/ 1416 h 131228"/>
                <a:gd name="connsiteX2" fmla="*/ -532 w 37454"/>
                <a:gd name="connsiteY2" fmla="*/ 1429 h 131228"/>
                <a:gd name="connsiteX3" fmla="*/ 18071 w 37454"/>
                <a:gd name="connsiteY3" fmla="*/ -1251 h 131228"/>
                <a:gd name="connsiteX4" fmla="*/ 36923 w 37454"/>
                <a:gd name="connsiteY4" fmla="*/ 129978 h 131228"/>
                <a:gd name="connsiteX5" fmla="*/ 18071 w 37454"/>
                <a:gd name="connsiteY5" fmla="*/ -1251 h 131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454" h="131228">
                  <a:moveTo>
                    <a:pt x="18071" y="-1251"/>
                  </a:moveTo>
                  <a:lnTo>
                    <a:pt x="-532" y="1416"/>
                  </a:lnTo>
                  <a:lnTo>
                    <a:pt x="-532" y="1429"/>
                  </a:lnTo>
                  <a:lnTo>
                    <a:pt x="18071" y="-1251"/>
                  </a:lnTo>
                  <a:lnTo>
                    <a:pt x="36923" y="129978"/>
                  </a:lnTo>
                  <a:lnTo>
                    <a:pt x="18071" y="-1251"/>
                  </a:lnTo>
                </a:path>
              </a:pathLst>
            </a:custGeom>
            <a:solidFill>
              <a:srgbClr val="877FC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9" name="Freeform: Shape 1708">
              <a:extLst>
                <a:ext uri="{FF2B5EF4-FFF2-40B4-BE49-F238E27FC236}">
                  <a16:creationId xmlns:a16="http://schemas.microsoft.com/office/drawing/2014/main" id="{D15FA73D-D9F4-4D62-8CC6-FC7950528B13}"/>
                </a:ext>
              </a:extLst>
            </p:cNvPr>
            <p:cNvSpPr/>
            <p:nvPr/>
          </p:nvSpPr>
          <p:spPr>
            <a:xfrm flipV="1">
              <a:off x="4333625" y="3452931"/>
              <a:ext cx="24239" cy="48551"/>
            </a:xfrm>
            <a:custGeom>
              <a:avLst/>
              <a:gdLst>
                <a:gd name="connsiteX0" fmla="*/ 17243 w 24239"/>
                <a:gd name="connsiteY0" fmla="*/ -1283 h 48551"/>
                <a:gd name="connsiteX1" fmla="*/ 2490 w 24239"/>
                <a:gd name="connsiteY1" fmla="*/ 838 h 48551"/>
                <a:gd name="connsiteX2" fmla="*/ -522 w 24239"/>
                <a:gd name="connsiteY2" fmla="*/ 47269 h 48551"/>
                <a:gd name="connsiteX3" fmla="*/ 23718 w 24239"/>
                <a:gd name="connsiteY3" fmla="*/ 43802 h 48551"/>
                <a:gd name="connsiteX4" fmla="*/ 17243 w 24239"/>
                <a:gd name="connsiteY4" fmla="*/ -1283 h 4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39" h="48551">
                  <a:moveTo>
                    <a:pt x="17243" y="-1283"/>
                  </a:moveTo>
                  <a:lnTo>
                    <a:pt x="2490" y="838"/>
                  </a:lnTo>
                  <a:lnTo>
                    <a:pt x="-522" y="47269"/>
                  </a:lnTo>
                  <a:lnTo>
                    <a:pt x="23718" y="43802"/>
                  </a:lnTo>
                  <a:lnTo>
                    <a:pt x="17243" y="-1283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0" name="Freeform: Shape 1709">
              <a:extLst>
                <a:ext uri="{FF2B5EF4-FFF2-40B4-BE49-F238E27FC236}">
                  <a16:creationId xmlns:a16="http://schemas.microsoft.com/office/drawing/2014/main" id="{71A1A918-E58C-47AD-BB4F-2E2CC0821087}"/>
                </a:ext>
              </a:extLst>
            </p:cNvPr>
            <p:cNvSpPr/>
            <p:nvPr/>
          </p:nvSpPr>
          <p:spPr>
            <a:xfrm flipV="1">
              <a:off x="4291476" y="3437780"/>
              <a:ext cx="29428" cy="135457"/>
            </a:xfrm>
            <a:custGeom>
              <a:avLst/>
              <a:gdLst>
                <a:gd name="connsiteX0" fmla="*/ 28934 w 29428"/>
                <a:gd name="connsiteY0" fmla="*/ -1258 h 135457"/>
                <a:gd name="connsiteX1" fmla="*/ -495 w 29428"/>
                <a:gd name="connsiteY1" fmla="*/ 2971 h 135457"/>
                <a:gd name="connsiteX2" fmla="*/ 18347 w 29428"/>
                <a:gd name="connsiteY2" fmla="*/ 134200 h 135457"/>
                <a:gd name="connsiteX3" fmla="*/ 20178 w 29428"/>
                <a:gd name="connsiteY3" fmla="*/ 133933 h 135457"/>
                <a:gd name="connsiteX4" fmla="*/ 21189 w 29428"/>
                <a:gd name="connsiteY4" fmla="*/ 118300 h 135457"/>
                <a:gd name="connsiteX5" fmla="*/ 5707 w 29428"/>
                <a:gd name="connsiteY5" fmla="*/ 10477 h 135457"/>
                <a:gd name="connsiteX6" fmla="*/ 28324 w 29428"/>
                <a:gd name="connsiteY6" fmla="*/ 8153 h 135457"/>
                <a:gd name="connsiteX7" fmla="*/ 28934 w 29428"/>
                <a:gd name="connsiteY7" fmla="*/ -1258 h 135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428" h="135457">
                  <a:moveTo>
                    <a:pt x="28934" y="-1258"/>
                  </a:moveTo>
                  <a:lnTo>
                    <a:pt x="-495" y="2971"/>
                  </a:lnTo>
                  <a:lnTo>
                    <a:pt x="18347" y="134200"/>
                  </a:lnTo>
                  <a:lnTo>
                    <a:pt x="20178" y="133933"/>
                  </a:lnTo>
                  <a:lnTo>
                    <a:pt x="21189" y="118300"/>
                  </a:lnTo>
                  <a:lnTo>
                    <a:pt x="5707" y="10477"/>
                  </a:lnTo>
                  <a:lnTo>
                    <a:pt x="28324" y="8153"/>
                  </a:lnTo>
                  <a:lnTo>
                    <a:pt x="28934" y="-1258"/>
                  </a:lnTo>
                </a:path>
              </a:pathLst>
            </a:custGeom>
            <a:solidFill>
              <a:srgbClr val="A9A5A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1" name="Freeform: Shape 1710">
              <a:extLst>
                <a:ext uri="{FF2B5EF4-FFF2-40B4-BE49-F238E27FC236}">
                  <a16:creationId xmlns:a16="http://schemas.microsoft.com/office/drawing/2014/main" id="{435FB81A-C7FD-458F-B0E1-8DF837E2DDD1}"/>
                </a:ext>
              </a:extLst>
            </p:cNvPr>
            <p:cNvSpPr/>
            <p:nvPr/>
          </p:nvSpPr>
          <p:spPr>
            <a:xfrm flipV="1">
              <a:off x="4297678" y="3453680"/>
              <a:ext cx="22617" cy="110146"/>
            </a:xfrm>
            <a:custGeom>
              <a:avLst/>
              <a:gdLst>
                <a:gd name="connsiteX0" fmla="*/ 22121 w 22617"/>
                <a:gd name="connsiteY0" fmla="*/ -1255 h 110146"/>
                <a:gd name="connsiteX1" fmla="*/ -497 w 22617"/>
                <a:gd name="connsiteY1" fmla="*/ 1069 h 110146"/>
                <a:gd name="connsiteX2" fmla="*/ 14986 w 22617"/>
                <a:gd name="connsiteY2" fmla="*/ 108892 h 110146"/>
                <a:gd name="connsiteX3" fmla="*/ 22121 w 22617"/>
                <a:gd name="connsiteY3" fmla="*/ -1255 h 110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17" h="110146">
                  <a:moveTo>
                    <a:pt x="22121" y="-1255"/>
                  </a:moveTo>
                  <a:lnTo>
                    <a:pt x="-497" y="1069"/>
                  </a:lnTo>
                  <a:lnTo>
                    <a:pt x="14986" y="108892"/>
                  </a:lnTo>
                  <a:lnTo>
                    <a:pt x="22121" y="-1255"/>
                  </a:lnTo>
                </a:path>
              </a:pathLst>
            </a:custGeom>
            <a:solidFill>
              <a:srgbClr val="F4F4F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2" name="Freeform: Shape 1711">
              <a:extLst>
                <a:ext uri="{FF2B5EF4-FFF2-40B4-BE49-F238E27FC236}">
                  <a16:creationId xmlns:a16="http://schemas.microsoft.com/office/drawing/2014/main" id="{B655B611-A806-49FD-8861-7C474A9D6432}"/>
                </a:ext>
              </a:extLst>
            </p:cNvPr>
            <p:cNvSpPr/>
            <p:nvPr/>
          </p:nvSpPr>
          <p:spPr>
            <a:xfrm flipV="1">
              <a:off x="4291476" y="3437780"/>
              <a:ext cx="29428" cy="135457"/>
            </a:xfrm>
            <a:custGeom>
              <a:avLst/>
              <a:gdLst>
                <a:gd name="connsiteX0" fmla="*/ 28934 w 29428"/>
                <a:gd name="connsiteY0" fmla="*/ -1258 h 135457"/>
                <a:gd name="connsiteX1" fmla="*/ -495 w 29428"/>
                <a:gd name="connsiteY1" fmla="*/ 2971 h 135457"/>
                <a:gd name="connsiteX2" fmla="*/ 28934 w 29428"/>
                <a:gd name="connsiteY2" fmla="*/ -1258 h 135457"/>
                <a:gd name="connsiteX3" fmla="*/ 28934 w 29428"/>
                <a:gd name="connsiteY3" fmla="*/ -1258 h 135457"/>
                <a:gd name="connsiteX4" fmla="*/ 20178 w 29428"/>
                <a:gd name="connsiteY4" fmla="*/ 133933 h 135457"/>
                <a:gd name="connsiteX5" fmla="*/ 18347 w 29428"/>
                <a:gd name="connsiteY5" fmla="*/ 134200 h 135457"/>
                <a:gd name="connsiteX6" fmla="*/ 20178 w 29428"/>
                <a:gd name="connsiteY6" fmla="*/ 133933 h 135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428" h="135457">
                  <a:moveTo>
                    <a:pt x="28934" y="-1258"/>
                  </a:moveTo>
                  <a:lnTo>
                    <a:pt x="-495" y="2971"/>
                  </a:lnTo>
                  <a:lnTo>
                    <a:pt x="28934" y="-1258"/>
                  </a:lnTo>
                  <a:lnTo>
                    <a:pt x="28934" y="-1258"/>
                  </a:lnTo>
                  <a:moveTo>
                    <a:pt x="20178" y="133933"/>
                  </a:moveTo>
                  <a:lnTo>
                    <a:pt x="18347" y="134200"/>
                  </a:lnTo>
                  <a:lnTo>
                    <a:pt x="20178" y="133933"/>
                  </a:lnTo>
                </a:path>
              </a:pathLst>
            </a:custGeom>
            <a:solidFill>
              <a:srgbClr val="877FC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3" name="Freeform: Shape 1712">
              <a:extLst>
                <a:ext uri="{FF2B5EF4-FFF2-40B4-BE49-F238E27FC236}">
                  <a16:creationId xmlns:a16="http://schemas.microsoft.com/office/drawing/2014/main" id="{53120876-CD05-42C2-A4DB-600424D3F8A9}"/>
                </a:ext>
              </a:extLst>
            </p:cNvPr>
            <p:cNvSpPr/>
            <p:nvPr/>
          </p:nvSpPr>
          <p:spPr>
            <a:xfrm flipV="1">
              <a:off x="4341134" y="3423294"/>
              <a:ext cx="11102" cy="11100"/>
            </a:xfrm>
            <a:custGeom>
              <a:avLst/>
              <a:gdLst>
                <a:gd name="connsiteX0" fmla="*/ -466 w 11102"/>
                <a:gd name="connsiteY0" fmla="*/ 5017 h 11100"/>
                <a:gd name="connsiteX1" fmla="*/ 4242 w 11102"/>
                <a:gd name="connsiteY1" fmla="*/ -1270 h 11100"/>
                <a:gd name="connsiteX2" fmla="*/ 10522 w 11102"/>
                <a:gd name="connsiteY2" fmla="*/ 3442 h 11100"/>
                <a:gd name="connsiteX3" fmla="*/ 5824 w 11102"/>
                <a:gd name="connsiteY3" fmla="*/ 9716 h 11100"/>
                <a:gd name="connsiteX4" fmla="*/ -466 w 11102"/>
                <a:gd name="connsiteY4" fmla="*/ 5017 h 1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02" h="11100">
                  <a:moveTo>
                    <a:pt x="-466" y="5017"/>
                  </a:moveTo>
                  <a:cubicBezTo>
                    <a:pt x="-898" y="1981"/>
                    <a:pt x="1205" y="-838"/>
                    <a:pt x="4242" y="-1270"/>
                  </a:cubicBezTo>
                  <a:cubicBezTo>
                    <a:pt x="7277" y="-1702"/>
                    <a:pt x="10085" y="394"/>
                    <a:pt x="10522" y="3442"/>
                  </a:cubicBezTo>
                  <a:cubicBezTo>
                    <a:pt x="10964" y="6464"/>
                    <a:pt x="8856" y="9284"/>
                    <a:pt x="5824" y="9716"/>
                  </a:cubicBezTo>
                  <a:cubicBezTo>
                    <a:pt x="2783" y="10160"/>
                    <a:pt x="-34" y="8052"/>
                    <a:pt x="-466" y="5017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4" name="Freeform: Shape 1713">
              <a:extLst>
                <a:ext uri="{FF2B5EF4-FFF2-40B4-BE49-F238E27FC236}">
                  <a16:creationId xmlns:a16="http://schemas.microsoft.com/office/drawing/2014/main" id="{C6BB632E-A009-4E7D-9802-8AD2A1CA9B0A}"/>
                </a:ext>
              </a:extLst>
            </p:cNvPr>
            <p:cNvSpPr/>
            <p:nvPr/>
          </p:nvSpPr>
          <p:spPr>
            <a:xfrm flipV="1">
              <a:off x="4272174" y="3039674"/>
              <a:ext cx="76209" cy="136867"/>
            </a:xfrm>
            <a:custGeom>
              <a:avLst/>
              <a:gdLst>
                <a:gd name="connsiteX0" fmla="*/ 75713 w 76209"/>
                <a:gd name="connsiteY0" fmla="*/ 7087 h 136867"/>
                <a:gd name="connsiteX1" fmla="*/ 16325 w 76209"/>
                <a:gd name="connsiteY1" fmla="*/ 13348 h 136867"/>
                <a:gd name="connsiteX2" fmla="*/ -497 w 76209"/>
                <a:gd name="connsiteY2" fmla="*/ -1612 h 136867"/>
                <a:gd name="connsiteX3" fmla="*/ 18245 w 76209"/>
                <a:gd name="connsiteY3" fmla="*/ 135255 h 136867"/>
                <a:gd name="connsiteX4" fmla="*/ 46508 w 76209"/>
                <a:gd name="connsiteY4" fmla="*/ 129553 h 136867"/>
                <a:gd name="connsiteX5" fmla="*/ 75713 w 76209"/>
                <a:gd name="connsiteY5" fmla="*/ 7087 h 13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9" h="136867">
                  <a:moveTo>
                    <a:pt x="75713" y="7087"/>
                  </a:moveTo>
                  <a:cubicBezTo>
                    <a:pt x="60795" y="13780"/>
                    <a:pt x="31625" y="19127"/>
                    <a:pt x="16325" y="13348"/>
                  </a:cubicBezTo>
                  <a:cubicBezTo>
                    <a:pt x="6235" y="9538"/>
                    <a:pt x="9876" y="1004"/>
                    <a:pt x="-497" y="-1612"/>
                  </a:cubicBezTo>
                  <a:cubicBezTo>
                    <a:pt x="5689" y="43142"/>
                    <a:pt x="29908" y="96635"/>
                    <a:pt x="18245" y="135255"/>
                  </a:cubicBezTo>
                  <a:cubicBezTo>
                    <a:pt x="27373" y="133630"/>
                    <a:pt x="36903" y="131725"/>
                    <a:pt x="46508" y="129553"/>
                  </a:cubicBezTo>
                  <a:cubicBezTo>
                    <a:pt x="59892" y="114173"/>
                    <a:pt x="75643" y="48235"/>
                    <a:pt x="75713" y="7087"/>
                  </a:cubicBez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5" name="Freeform: Shape 1714">
              <a:extLst>
                <a:ext uri="{FF2B5EF4-FFF2-40B4-BE49-F238E27FC236}">
                  <a16:creationId xmlns:a16="http://schemas.microsoft.com/office/drawing/2014/main" id="{0FCD8F11-C238-4EF8-9DFF-7AD8210D93A5}"/>
                </a:ext>
              </a:extLst>
            </p:cNvPr>
            <p:cNvSpPr/>
            <p:nvPr/>
          </p:nvSpPr>
          <p:spPr>
            <a:xfrm flipV="1">
              <a:off x="4140937" y="3055790"/>
              <a:ext cx="115470" cy="152895"/>
            </a:xfrm>
            <a:custGeom>
              <a:avLst/>
              <a:gdLst>
                <a:gd name="connsiteX0" fmla="*/ 50998 w 115470"/>
                <a:gd name="connsiteY0" fmla="*/ -1591 h 152895"/>
                <a:gd name="connsiteX1" fmla="*/ 48776 w 115470"/>
                <a:gd name="connsiteY1" fmla="*/ 10 h 152895"/>
                <a:gd name="connsiteX2" fmla="*/ -421 w 115470"/>
                <a:gd name="connsiteY2" fmla="*/ 143456 h 152895"/>
                <a:gd name="connsiteX3" fmla="*/ 24224 w 115470"/>
                <a:gd name="connsiteY3" fmla="*/ 151304 h 152895"/>
                <a:gd name="connsiteX4" fmla="*/ 115049 w 115470"/>
                <a:gd name="connsiteY4" fmla="*/ 31556 h 152895"/>
                <a:gd name="connsiteX5" fmla="*/ 50998 w 115470"/>
                <a:gd name="connsiteY5" fmla="*/ -1591 h 15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470" h="152895">
                  <a:moveTo>
                    <a:pt x="50998" y="-1591"/>
                  </a:moveTo>
                  <a:lnTo>
                    <a:pt x="48776" y="10"/>
                  </a:lnTo>
                  <a:cubicBezTo>
                    <a:pt x="18212" y="37487"/>
                    <a:pt x="765" y="95145"/>
                    <a:pt x="-421" y="143456"/>
                  </a:cubicBezTo>
                  <a:cubicBezTo>
                    <a:pt x="8349" y="147875"/>
                    <a:pt x="16065" y="147329"/>
                    <a:pt x="24224" y="151304"/>
                  </a:cubicBezTo>
                  <a:cubicBezTo>
                    <a:pt x="30769" y="112214"/>
                    <a:pt x="87139" y="69809"/>
                    <a:pt x="115049" y="31556"/>
                  </a:cubicBezTo>
                  <a:cubicBezTo>
                    <a:pt x="93995" y="42148"/>
                    <a:pt x="52070" y="-1692"/>
                    <a:pt x="50998" y="-1591"/>
                  </a:cubicBez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6" name="Freeform: Shape 1715">
              <a:extLst>
                <a:ext uri="{FF2B5EF4-FFF2-40B4-BE49-F238E27FC236}">
                  <a16:creationId xmlns:a16="http://schemas.microsoft.com/office/drawing/2014/main" id="{0616BFA1-6CBA-4D51-AAA6-E93C55B9EC62}"/>
                </a:ext>
              </a:extLst>
            </p:cNvPr>
            <p:cNvSpPr/>
            <p:nvPr/>
          </p:nvSpPr>
          <p:spPr>
            <a:xfrm flipV="1">
              <a:off x="4000275" y="3141198"/>
              <a:ext cx="396581" cy="539425"/>
            </a:xfrm>
            <a:custGeom>
              <a:avLst/>
              <a:gdLst>
                <a:gd name="connsiteX0" fmla="*/ 24304 w 396581"/>
                <a:gd name="connsiteY0" fmla="*/ 538084 h 539425"/>
                <a:gd name="connsiteX1" fmla="*/ 140762 w 396581"/>
                <a:gd name="connsiteY1" fmla="*/ 367650 h 539425"/>
                <a:gd name="connsiteX2" fmla="*/ 151864 w 396581"/>
                <a:gd name="connsiteY2" fmla="*/ 153491 h 539425"/>
                <a:gd name="connsiteX3" fmla="*/ 377130 w 396581"/>
                <a:gd name="connsiteY3" fmla="*/ 212190 h 539425"/>
                <a:gd name="connsiteX4" fmla="*/ 396161 w 396581"/>
                <a:gd name="connsiteY4" fmla="*/ 139216 h 539425"/>
                <a:gd name="connsiteX5" fmla="*/ 96342 w 396581"/>
                <a:gd name="connsiteY5" fmla="*/ -382 h 539425"/>
                <a:gd name="connsiteX6" fmla="*/ -421 w 396581"/>
                <a:gd name="connsiteY6" fmla="*/ 351788 h 539425"/>
                <a:gd name="connsiteX7" fmla="*/ 24304 w 396581"/>
                <a:gd name="connsiteY7" fmla="*/ 538084 h 53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581" h="539425">
                  <a:moveTo>
                    <a:pt x="24304" y="538084"/>
                  </a:moveTo>
                  <a:lnTo>
                    <a:pt x="140762" y="367650"/>
                  </a:lnTo>
                  <a:lnTo>
                    <a:pt x="151864" y="153491"/>
                  </a:lnTo>
                  <a:lnTo>
                    <a:pt x="377130" y="212190"/>
                  </a:lnTo>
                  <a:lnTo>
                    <a:pt x="396161" y="139216"/>
                  </a:lnTo>
                  <a:cubicBezTo>
                    <a:pt x="396161" y="139216"/>
                    <a:pt x="132964" y="-14860"/>
                    <a:pt x="96342" y="-382"/>
                  </a:cubicBezTo>
                  <a:cubicBezTo>
                    <a:pt x="59726" y="14083"/>
                    <a:pt x="-421" y="351788"/>
                    <a:pt x="-421" y="351788"/>
                  </a:cubicBezTo>
                  <a:lnTo>
                    <a:pt x="24304" y="538084"/>
                  </a:ln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7" name="Freeform: Shape 1716">
              <a:extLst>
                <a:ext uri="{FF2B5EF4-FFF2-40B4-BE49-F238E27FC236}">
                  <a16:creationId xmlns:a16="http://schemas.microsoft.com/office/drawing/2014/main" id="{5DDF882E-6837-4B6A-85C6-80AD2F32D451}"/>
                </a:ext>
              </a:extLst>
            </p:cNvPr>
            <p:cNvSpPr/>
            <p:nvPr/>
          </p:nvSpPr>
          <p:spPr>
            <a:xfrm flipV="1">
              <a:off x="4377826" y="3416343"/>
              <a:ext cx="136420" cy="123722"/>
            </a:xfrm>
            <a:custGeom>
              <a:avLst/>
              <a:gdLst>
                <a:gd name="connsiteX0" fmla="*/ -590 w 136420"/>
                <a:gd name="connsiteY0" fmla="*/ 71692 h 123722"/>
                <a:gd name="connsiteX1" fmla="*/ 40656 w 136420"/>
                <a:gd name="connsiteY1" fmla="*/ 122441 h 123722"/>
                <a:gd name="connsiteX2" fmla="*/ 129486 w 136420"/>
                <a:gd name="connsiteY2" fmla="*/ 117691 h 123722"/>
                <a:gd name="connsiteX3" fmla="*/ 135830 w 136420"/>
                <a:gd name="connsiteY3" fmla="*/ 66929 h 123722"/>
                <a:gd name="connsiteX4" fmla="*/ 42233 w 136420"/>
                <a:gd name="connsiteY4" fmla="*/ 3480 h 123722"/>
                <a:gd name="connsiteX5" fmla="*/ 18441 w 136420"/>
                <a:gd name="connsiteY5" fmla="*/ -1282 h 123722"/>
                <a:gd name="connsiteX6" fmla="*/ -590 w 136420"/>
                <a:gd name="connsiteY6" fmla="*/ 71692 h 12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420" h="123722">
                  <a:moveTo>
                    <a:pt x="-590" y="71692"/>
                  </a:moveTo>
                  <a:lnTo>
                    <a:pt x="40656" y="122441"/>
                  </a:lnTo>
                  <a:lnTo>
                    <a:pt x="129486" y="117691"/>
                  </a:lnTo>
                  <a:lnTo>
                    <a:pt x="135830" y="66929"/>
                  </a:lnTo>
                  <a:lnTo>
                    <a:pt x="42233" y="3480"/>
                  </a:lnTo>
                  <a:lnTo>
                    <a:pt x="18441" y="-1282"/>
                  </a:lnTo>
                  <a:lnTo>
                    <a:pt x="-590" y="71692"/>
                  </a:lnTo>
                </a:path>
              </a:pathLst>
            </a:custGeom>
            <a:solidFill>
              <a:srgbClr val="AB6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8" name="Freeform: Shape 1717">
              <a:extLst>
                <a:ext uri="{FF2B5EF4-FFF2-40B4-BE49-F238E27FC236}">
                  <a16:creationId xmlns:a16="http://schemas.microsoft.com/office/drawing/2014/main" id="{F9F34390-6261-4A5E-ACD2-F18AEC4546E0}"/>
                </a:ext>
              </a:extLst>
            </p:cNvPr>
            <p:cNvSpPr/>
            <p:nvPr/>
          </p:nvSpPr>
          <p:spPr>
            <a:xfrm flipV="1">
              <a:off x="4382583" y="3392543"/>
              <a:ext cx="150699" cy="142760"/>
            </a:xfrm>
            <a:custGeom>
              <a:avLst/>
              <a:gdLst>
                <a:gd name="connsiteX0" fmla="*/ 150101 w 150699"/>
                <a:gd name="connsiteY0" fmla="*/ 122428 h 142760"/>
                <a:gd name="connsiteX1" fmla="*/ 69202 w 150699"/>
                <a:gd name="connsiteY1" fmla="*/ 141465 h 142760"/>
                <a:gd name="connsiteX2" fmla="*/ -598 w 150699"/>
                <a:gd name="connsiteY2" fmla="*/ 101803 h 142760"/>
                <a:gd name="connsiteX3" fmla="*/ 37467 w 150699"/>
                <a:gd name="connsiteY3" fmla="*/ -1295 h 142760"/>
                <a:gd name="connsiteX4" fmla="*/ 140581 w 150699"/>
                <a:gd name="connsiteY4" fmla="*/ 46292 h 142760"/>
                <a:gd name="connsiteX5" fmla="*/ 150101 w 150699"/>
                <a:gd name="connsiteY5" fmla="*/ 122428 h 14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699" h="142760">
                  <a:moveTo>
                    <a:pt x="150101" y="122428"/>
                  </a:moveTo>
                  <a:lnTo>
                    <a:pt x="69202" y="141465"/>
                  </a:lnTo>
                  <a:lnTo>
                    <a:pt x="-598" y="101803"/>
                  </a:lnTo>
                  <a:lnTo>
                    <a:pt x="37467" y="-1295"/>
                  </a:lnTo>
                  <a:lnTo>
                    <a:pt x="140581" y="46292"/>
                  </a:lnTo>
                  <a:lnTo>
                    <a:pt x="150101" y="122428"/>
                  </a:ln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9" name="Freeform: Shape 1718">
              <a:extLst>
                <a:ext uri="{FF2B5EF4-FFF2-40B4-BE49-F238E27FC236}">
                  <a16:creationId xmlns:a16="http://schemas.microsoft.com/office/drawing/2014/main" id="{B88BA994-F8E3-4E32-8862-CAE355613D44}"/>
                </a:ext>
              </a:extLst>
            </p:cNvPr>
            <p:cNvSpPr/>
            <p:nvPr/>
          </p:nvSpPr>
          <p:spPr>
            <a:xfrm flipV="1">
              <a:off x="4453431" y="3404722"/>
              <a:ext cx="79948" cy="101663"/>
            </a:xfrm>
            <a:custGeom>
              <a:avLst/>
              <a:gdLst>
                <a:gd name="connsiteX0" fmla="*/ 79229 w 79948"/>
                <a:gd name="connsiteY0" fmla="*/ 93503 h 101663"/>
                <a:gd name="connsiteX1" fmla="*/ -622 w 79948"/>
                <a:gd name="connsiteY1" fmla="*/ 100361 h 101663"/>
                <a:gd name="connsiteX2" fmla="*/ 29277 w 79948"/>
                <a:gd name="connsiteY2" fmla="*/ -1302 h 101663"/>
                <a:gd name="connsiteX3" fmla="*/ 69709 w 79948"/>
                <a:gd name="connsiteY3" fmla="*/ 17367 h 101663"/>
                <a:gd name="connsiteX4" fmla="*/ 79229 w 79948"/>
                <a:gd name="connsiteY4" fmla="*/ 93503 h 10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948" h="101663">
                  <a:moveTo>
                    <a:pt x="79229" y="93503"/>
                  </a:moveTo>
                  <a:cubicBezTo>
                    <a:pt x="82552" y="95395"/>
                    <a:pt x="-622" y="100361"/>
                    <a:pt x="-622" y="100361"/>
                  </a:cubicBezTo>
                  <a:lnTo>
                    <a:pt x="29277" y="-1302"/>
                  </a:lnTo>
                  <a:lnTo>
                    <a:pt x="69709" y="17367"/>
                  </a:lnTo>
                  <a:lnTo>
                    <a:pt x="79229" y="93503"/>
                  </a:lnTo>
                </a:path>
              </a:pathLst>
            </a:custGeom>
            <a:solidFill>
              <a:srgbClr val="AB6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0" name="Freeform: Shape 1719">
              <a:extLst>
                <a:ext uri="{FF2B5EF4-FFF2-40B4-BE49-F238E27FC236}">
                  <a16:creationId xmlns:a16="http://schemas.microsoft.com/office/drawing/2014/main" id="{B6560870-090F-4E20-BC46-72748D1355F5}"/>
                </a:ext>
              </a:extLst>
            </p:cNvPr>
            <p:cNvSpPr/>
            <p:nvPr/>
          </p:nvSpPr>
          <p:spPr>
            <a:xfrm flipV="1">
              <a:off x="4097926" y="2756919"/>
              <a:ext cx="65434" cy="181726"/>
            </a:xfrm>
            <a:custGeom>
              <a:avLst/>
              <a:gdLst>
                <a:gd name="connsiteX0" fmla="*/ 48099 w 65434"/>
                <a:gd name="connsiteY0" fmla="*/ 178558 h 181726"/>
                <a:gd name="connsiteX1" fmla="*/ 3123 w 65434"/>
                <a:gd name="connsiteY1" fmla="*/ 170989 h 181726"/>
                <a:gd name="connsiteX2" fmla="*/ 65060 w 65434"/>
                <a:gd name="connsiteY2" fmla="*/ -1845 h 181726"/>
                <a:gd name="connsiteX3" fmla="*/ 48099 w 65434"/>
                <a:gd name="connsiteY3" fmla="*/ 178558 h 18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34" h="181726">
                  <a:moveTo>
                    <a:pt x="48099" y="178558"/>
                  </a:moveTo>
                  <a:cubicBezTo>
                    <a:pt x="48099" y="178558"/>
                    <a:pt x="14151" y="184565"/>
                    <a:pt x="3123" y="170989"/>
                  </a:cubicBezTo>
                  <a:cubicBezTo>
                    <a:pt x="-7910" y="157413"/>
                    <a:pt x="5688" y="83461"/>
                    <a:pt x="65060" y="-1845"/>
                  </a:cubicBezTo>
                  <a:lnTo>
                    <a:pt x="48099" y="178558"/>
                  </a:ln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1" name="Freeform: Shape 1720">
              <a:extLst>
                <a:ext uri="{FF2B5EF4-FFF2-40B4-BE49-F238E27FC236}">
                  <a16:creationId xmlns:a16="http://schemas.microsoft.com/office/drawing/2014/main" id="{4E7BE9BD-8E56-488C-A910-6315CCC0EEB7}"/>
                </a:ext>
              </a:extLst>
            </p:cNvPr>
            <p:cNvSpPr/>
            <p:nvPr/>
          </p:nvSpPr>
          <p:spPr>
            <a:xfrm flipV="1">
              <a:off x="4121885" y="2859223"/>
              <a:ext cx="53444" cy="69920"/>
            </a:xfrm>
            <a:custGeom>
              <a:avLst/>
              <a:gdLst>
                <a:gd name="connsiteX0" fmla="*/ 5310 w 53444"/>
                <a:gd name="connsiteY0" fmla="*/ 22768 h 69920"/>
                <a:gd name="connsiteX1" fmla="*/ 42824 w 53444"/>
                <a:gd name="connsiteY1" fmla="*/ -219 h 69920"/>
                <a:gd name="connsiteX2" fmla="*/ 47360 w 53444"/>
                <a:gd name="connsiteY2" fmla="*/ 43546 h 69920"/>
                <a:gd name="connsiteX3" fmla="*/ 9845 w 53444"/>
                <a:gd name="connsiteY3" fmla="*/ 66533 h 69920"/>
                <a:gd name="connsiteX4" fmla="*/ 5310 w 53444"/>
                <a:gd name="connsiteY4" fmla="*/ 22768 h 6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444" h="69920">
                  <a:moveTo>
                    <a:pt x="5310" y="22768"/>
                  </a:moveTo>
                  <a:cubicBezTo>
                    <a:pt x="14413" y="4341"/>
                    <a:pt x="31212" y="-5946"/>
                    <a:pt x="42824" y="-219"/>
                  </a:cubicBezTo>
                  <a:cubicBezTo>
                    <a:pt x="54439" y="5522"/>
                    <a:pt x="56468" y="25118"/>
                    <a:pt x="47360" y="43546"/>
                  </a:cubicBezTo>
                  <a:cubicBezTo>
                    <a:pt x="38256" y="61973"/>
                    <a:pt x="21458" y="72260"/>
                    <a:pt x="9845" y="66533"/>
                  </a:cubicBezTo>
                  <a:cubicBezTo>
                    <a:pt x="-1769" y="60792"/>
                    <a:pt x="-3797" y="41196"/>
                    <a:pt x="5310" y="22768"/>
                  </a:cubicBezTo>
                </a:path>
              </a:pathLst>
            </a:custGeom>
            <a:solidFill>
              <a:srgbClr val="DD73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2" name="Freeform: Shape 1721">
              <a:extLst>
                <a:ext uri="{FF2B5EF4-FFF2-40B4-BE49-F238E27FC236}">
                  <a16:creationId xmlns:a16="http://schemas.microsoft.com/office/drawing/2014/main" id="{9DB8B74C-A680-4E72-AF2B-127099887B1E}"/>
                </a:ext>
              </a:extLst>
            </p:cNvPr>
            <p:cNvSpPr/>
            <p:nvPr/>
          </p:nvSpPr>
          <p:spPr>
            <a:xfrm flipV="1">
              <a:off x="4276876" y="2738776"/>
              <a:ext cx="89302" cy="192974"/>
            </a:xfrm>
            <a:custGeom>
              <a:avLst/>
              <a:gdLst>
                <a:gd name="connsiteX0" fmla="*/ 79019 w 89302"/>
                <a:gd name="connsiteY0" fmla="*/ 178382 h 192974"/>
                <a:gd name="connsiteX1" fmla="*/ 62912 w 89302"/>
                <a:gd name="connsiteY1" fmla="*/ -1856 h 192974"/>
                <a:gd name="connsiteX2" fmla="*/ 3767 w 89302"/>
                <a:gd name="connsiteY2" fmla="*/ 123277 h 192974"/>
                <a:gd name="connsiteX3" fmla="*/ 31290 w 89302"/>
                <a:gd name="connsiteY3" fmla="*/ 189914 h 192974"/>
                <a:gd name="connsiteX4" fmla="*/ 79019 w 89302"/>
                <a:gd name="connsiteY4" fmla="*/ 178382 h 192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302" h="192974">
                  <a:moveTo>
                    <a:pt x="79019" y="178382"/>
                  </a:moveTo>
                  <a:cubicBezTo>
                    <a:pt x="108150" y="78941"/>
                    <a:pt x="62912" y="-1856"/>
                    <a:pt x="62912" y="-1856"/>
                  </a:cubicBezTo>
                  <a:cubicBezTo>
                    <a:pt x="62912" y="-1856"/>
                    <a:pt x="14358" y="73214"/>
                    <a:pt x="3767" y="123277"/>
                  </a:cubicBezTo>
                  <a:cubicBezTo>
                    <a:pt x="-6829" y="173353"/>
                    <a:pt x="2264" y="184084"/>
                    <a:pt x="31290" y="189914"/>
                  </a:cubicBezTo>
                  <a:cubicBezTo>
                    <a:pt x="60312" y="195768"/>
                    <a:pt x="79019" y="178382"/>
                    <a:pt x="79019" y="178382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3" name="Freeform: Shape 1722">
              <a:extLst>
                <a:ext uri="{FF2B5EF4-FFF2-40B4-BE49-F238E27FC236}">
                  <a16:creationId xmlns:a16="http://schemas.microsoft.com/office/drawing/2014/main" id="{36622AB3-C893-42C8-AAA7-B0DEB5A81D04}"/>
                </a:ext>
              </a:extLst>
            </p:cNvPr>
            <p:cNvSpPr/>
            <p:nvPr/>
          </p:nvSpPr>
          <p:spPr>
            <a:xfrm flipV="1">
              <a:off x="4130004" y="2753133"/>
              <a:ext cx="93141" cy="195673"/>
            </a:xfrm>
            <a:custGeom>
              <a:avLst/>
              <a:gdLst>
                <a:gd name="connsiteX0" fmla="*/ 660 w 93141"/>
                <a:gd name="connsiteY0" fmla="*/ 154939 h 195673"/>
                <a:gd name="connsiteX1" fmla="*/ 40541 w 93141"/>
                <a:gd name="connsiteY1" fmla="*/ -1842 h 195673"/>
                <a:gd name="connsiteX2" fmla="*/ 92735 w 93141"/>
                <a:gd name="connsiteY2" fmla="*/ 134251 h 195673"/>
                <a:gd name="connsiteX3" fmla="*/ 46865 w 93141"/>
                <a:gd name="connsiteY3" fmla="*/ 193827 h 195673"/>
                <a:gd name="connsiteX4" fmla="*/ 660 w 93141"/>
                <a:gd name="connsiteY4" fmla="*/ 154939 h 19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141" h="195673">
                  <a:moveTo>
                    <a:pt x="660" y="154939"/>
                  </a:moveTo>
                  <a:cubicBezTo>
                    <a:pt x="-8151" y="51638"/>
                    <a:pt x="40541" y="-1842"/>
                    <a:pt x="40541" y="-1842"/>
                  </a:cubicBezTo>
                  <a:cubicBezTo>
                    <a:pt x="40541" y="-1842"/>
                    <a:pt x="92784" y="83070"/>
                    <a:pt x="92735" y="134251"/>
                  </a:cubicBezTo>
                  <a:cubicBezTo>
                    <a:pt x="92689" y="185432"/>
                    <a:pt x="80178" y="194068"/>
                    <a:pt x="46865" y="193827"/>
                  </a:cubicBezTo>
                  <a:cubicBezTo>
                    <a:pt x="13553" y="193598"/>
                    <a:pt x="660" y="154939"/>
                    <a:pt x="660" y="154939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4" name="Freeform: Shape 1723">
              <a:extLst>
                <a:ext uri="{FF2B5EF4-FFF2-40B4-BE49-F238E27FC236}">
                  <a16:creationId xmlns:a16="http://schemas.microsoft.com/office/drawing/2014/main" id="{2928A8E1-F756-4208-872D-55C1C06FBD77}"/>
                </a:ext>
              </a:extLst>
            </p:cNvPr>
            <p:cNvSpPr/>
            <p:nvPr/>
          </p:nvSpPr>
          <p:spPr>
            <a:xfrm flipV="1">
              <a:off x="4145103" y="2726600"/>
              <a:ext cx="216779" cy="302359"/>
            </a:xfrm>
            <a:custGeom>
              <a:avLst/>
              <a:gdLst>
                <a:gd name="connsiteX0" fmla="*/ 95978 w 216779"/>
                <a:gd name="connsiteY0" fmla="*/ 299709 h 302359"/>
                <a:gd name="connsiteX1" fmla="*/ 214471 w 216779"/>
                <a:gd name="connsiteY1" fmla="*/ 204917 h 302359"/>
                <a:gd name="connsiteX2" fmla="*/ 214653 w 216779"/>
                <a:gd name="connsiteY2" fmla="*/ 202859 h 302359"/>
                <a:gd name="connsiteX3" fmla="*/ 211751 w 216779"/>
                <a:gd name="connsiteY3" fmla="*/ 74551 h 302359"/>
                <a:gd name="connsiteX4" fmla="*/ 168175 w 216779"/>
                <a:gd name="connsiteY4" fmla="*/ 9134 h 302359"/>
                <a:gd name="connsiteX5" fmla="*/ 153282 w 216779"/>
                <a:gd name="connsiteY5" fmla="*/ 1781 h 302359"/>
                <a:gd name="connsiteX6" fmla="*/ 148426 w 216779"/>
                <a:gd name="connsiteY6" fmla="*/ 1260 h 302359"/>
                <a:gd name="connsiteX7" fmla="*/ 125209 w 216779"/>
                <a:gd name="connsiteY7" fmla="*/ -1178 h 302359"/>
                <a:gd name="connsiteX8" fmla="*/ 120346 w 216779"/>
                <a:gd name="connsiteY8" fmla="*/ -1686 h 302359"/>
                <a:gd name="connsiteX9" fmla="*/ 104254 w 216779"/>
                <a:gd name="connsiteY9" fmla="*/ 2416 h 302359"/>
                <a:gd name="connsiteX10" fmla="*/ 29541 w 216779"/>
                <a:gd name="connsiteY10" fmla="*/ 55400 h 302359"/>
                <a:gd name="connsiteX11" fmla="*/ 29 w 216779"/>
                <a:gd name="connsiteY11" fmla="*/ 180304 h 302359"/>
                <a:gd name="connsiteX12" fmla="*/ -214 w 216779"/>
                <a:gd name="connsiteY12" fmla="*/ 182349 h 302359"/>
                <a:gd name="connsiteX13" fmla="*/ 95978 w 216779"/>
                <a:gd name="connsiteY13" fmla="*/ 299709 h 302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6779" h="302359">
                  <a:moveTo>
                    <a:pt x="95978" y="299709"/>
                  </a:moveTo>
                  <a:cubicBezTo>
                    <a:pt x="196868" y="310314"/>
                    <a:pt x="212902" y="216296"/>
                    <a:pt x="214471" y="204917"/>
                  </a:cubicBezTo>
                  <a:lnTo>
                    <a:pt x="214653" y="202859"/>
                  </a:lnTo>
                  <a:cubicBezTo>
                    <a:pt x="215150" y="192255"/>
                    <a:pt x="219510" y="94186"/>
                    <a:pt x="211751" y="74551"/>
                  </a:cubicBezTo>
                  <a:cubicBezTo>
                    <a:pt x="205323" y="58270"/>
                    <a:pt x="181956" y="23713"/>
                    <a:pt x="168175" y="9134"/>
                  </a:cubicBezTo>
                  <a:cubicBezTo>
                    <a:pt x="164246" y="4981"/>
                    <a:pt x="158972" y="2378"/>
                    <a:pt x="153282" y="1781"/>
                  </a:cubicBezTo>
                  <a:lnTo>
                    <a:pt x="148426" y="1260"/>
                  </a:lnTo>
                  <a:lnTo>
                    <a:pt x="125209" y="-1178"/>
                  </a:lnTo>
                  <a:lnTo>
                    <a:pt x="120346" y="-1686"/>
                  </a:lnTo>
                  <a:cubicBezTo>
                    <a:pt x="114661" y="-2283"/>
                    <a:pt x="108962" y="-836"/>
                    <a:pt x="104254" y="2416"/>
                  </a:cubicBezTo>
                  <a:cubicBezTo>
                    <a:pt x="87739" y="13808"/>
                    <a:pt x="39220" y="40808"/>
                    <a:pt x="29541" y="55400"/>
                  </a:cubicBezTo>
                  <a:cubicBezTo>
                    <a:pt x="17879" y="73002"/>
                    <a:pt x="1751" y="169827"/>
                    <a:pt x="29" y="180304"/>
                  </a:cubicBezTo>
                  <a:lnTo>
                    <a:pt x="-214" y="182349"/>
                  </a:lnTo>
                  <a:cubicBezTo>
                    <a:pt x="-1048" y="193804"/>
                    <a:pt x="-4913" y="289105"/>
                    <a:pt x="95978" y="299709"/>
                  </a:cubicBezTo>
                </a:path>
              </a:pathLst>
            </a:custGeom>
            <a:solidFill>
              <a:srgbClr val="EC8A4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5" name="Freeform: Shape 1724">
              <a:extLst>
                <a:ext uri="{FF2B5EF4-FFF2-40B4-BE49-F238E27FC236}">
                  <a16:creationId xmlns:a16="http://schemas.microsoft.com/office/drawing/2014/main" id="{99AC9E46-2329-4FE4-B5B8-FD759204FF60}"/>
                </a:ext>
              </a:extLst>
            </p:cNvPr>
            <p:cNvSpPr/>
            <p:nvPr/>
          </p:nvSpPr>
          <p:spPr>
            <a:xfrm flipV="1">
              <a:off x="4118914" y="2675111"/>
              <a:ext cx="240897" cy="93812"/>
            </a:xfrm>
            <a:custGeom>
              <a:avLst/>
              <a:gdLst>
                <a:gd name="connsiteX0" fmla="*/ 237036 w 240897"/>
                <a:gd name="connsiteY0" fmla="*/ 15454 h 93812"/>
                <a:gd name="connsiteX1" fmla="*/ 23707 w 240897"/>
                <a:gd name="connsiteY1" fmla="*/ -205 h 93812"/>
                <a:gd name="connsiteX2" fmla="*/ -279 w 240897"/>
                <a:gd name="connsiteY2" fmla="*/ -1335 h 93812"/>
                <a:gd name="connsiteX3" fmla="*/ 9082 w 240897"/>
                <a:gd name="connsiteY3" fmla="*/ 55002 h 93812"/>
                <a:gd name="connsiteX4" fmla="*/ 61906 w 240897"/>
                <a:gd name="connsiteY4" fmla="*/ 80656 h 93812"/>
                <a:gd name="connsiteX5" fmla="*/ 169732 w 240897"/>
                <a:gd name="connsiteY5" fmla="*/ 90956 h 93812"/>
                <a:gd name="connsiteX6" fmla="*/ 228489 w 240897"/>
                <a:gd name="connsiteY6" fmla="*/ 74611 h 93812"/>
                <a:gd name="connsiteX7" fmla="*/ 237036 w 240897"/>
                <a:gd name="connsiteY7" fmla="*/ 15454 h 9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897" h="93812">
                  <a:moveTo>
                    <a:pt x="237036" y="15454"/>
                  </a:moveTo>
                  <a:cubicBezTo>
                    <a:pt x="166046" y="21842"/>
                    <a:pt x="93250" y="16508"/>
                    <a:pt x="23707" y="-205"/>
                  </a:cubicBezTo>
                  <a:cubicBezTo>
                    <a:pt x="21241" y="-802"/>
                    <a:pt x="1269" y="-3024"/>
                    <a:pt x="-279" y="-1335"/>
                  </a:cubicBezTo>
                  <a:cubicBezTo>
                    <a:pt x="-939" y="-624"/>
                    <a:pt x="-40" y="44410"/>
                    <a:pt x="9082" y="55002"/>
                  </a:cubicBezTo>
                  <a:cubicBezTo>
                    <a:pt x="18206" y="65594"/>
                    <a:pt x="48015" y="75259"/>
                    <a:pt x="61906" y="80656"/>
                  </a:cubicBezTo>
                  <a:cubicBezTo>
                    <a:pt x="95512" y="93686"/>
                    <a:pt x="133427" y="92454"/>
                    <a:pt x="169732" y="90956"/>
                  </a:cubicBezTo>
                  <a:cubicBezTo>
                    <a:pt x="177600" y="90638"/>
                    <a:pt x="221161" y="76947"/>
                    <a:pt x="228489" y="74611"/>
                  </a:cubicBezTo>
                  <a:cubicBezTo>
                    <a:pt x="248859" y="68057"/>
                    <a:pt x="237036" y="15454"/>
                    <a:pt x="237036" y="15454"/>
                  </a:cubicBez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6" name="Freeform: Shape 1725">
              <a:extLst>
                <a:ext uri="{FF2B5EF4-FFF2-40B4-BE49-F238E27FC236}">
                  <a16:creationId xmlns:a16="http://schemas.microsoft.com/office/drawing/2014/main" id="{6F710A92-6B93-4DD9-AF08-848CDEF87E4E}"/>
                </a:ext>
              </a:extLst>
            </p:cNvPr>
            <p:cNvSpPr/>
            <p:nvPr/>
          </p:nvSpPr>
          <p:spPr>
            <a:xfrm flipV="1">
              <a:off x="4329139" y="2763336"/>
              <a:ext cx="33204" cy="44691"/>
            </a:xfrm>
            <a:custGeom>
              <a:avLst/>
              <a:gdLst>
                <a:gd name="connsiteX0" fmla="*/ 17557 w 33204"/>
                <a:gd name="connsiteY0" fmla="*/ 42791 h 44691"/>
                <a:gd name="connsiteX1" fmla="*/ 79 w 33204"/>
                <a:gd name="connsiteY1" fmla="*/ 16515 h 44691"/>
                <a:gd name="connsiteX2" fmla="*/ -522 w 33204"/>
                <a:gd name="connsiteY2" fmla="*/ 13467 h 44691"/>
                <a:gd name="connsiteX3" fmla="*/ 734 w 33204"/>
                <a:gd name="connsiteY3" fmla="*/ 12591 h 44691"/>
                <a:gd name="connsiteX4" fmla="*/ 32682 w 33204"/>
                <a:gd name="connsiteY4" fmla="*/ -1900 h 44691"/>
                <a:gd name="connsiteX5" fmla="*/ 17557 w 33204"/>
                <a:gd name="connsiteY5" fmla="*/ 42791 h 44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204" h="44691">
                  <a:moveTo>
                    <a:pt x="17557" y="42791"/>
                  </a:moveTo>
                  <a:cubicBezTo>
                    <a:pt x="11707" y="34054"/>
                    <a:pt x="5883" y="25291"/>
                    <a:pt x="79" y="16515"/>
                  </a:cubicBezTo>
                  <a:lnTo>
                    <a:pt x="-522" y="13467"/>
                  </a:lnTo>
                  <a:lnTo>
                    <a:pt x="734" y="12591"/>
                  </a:lnTo>
                  <a:cubicBezTo>
                    <a:pt x="11381" y="7765"/>
                    <a:pt x="22026" y="2926"/>
                    <a:pt x="32682" y="-1900"/>
                  </a:cubicBezTo>
                  <a:lnTo>
                    <a:pt x="17557" y="42791"/>
                  </a:ln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7" name="Freeform: Shape 1726">
              <a:extLst>
                <a:ext uri="{FF2B5EF4-FFF2-40B4-BE49-F238E27FC236}">
                  <a16:creationId xmlns:a16="http://schemas.microsoft.com/office/drawing/2014/main" id="{5E7D8F4C-700B-4C2A-BCD8-DB63E5076CC2}"/>
                </a:ext>
              </a:extLst>
            </p:cNvPr>
            <p:cNvSpPr/>
            <p:nvPr/>
          </p:nvSpPr>
          <p:spPr>
            <a:xfrm flipV="1">
              <a:off x="4140133" y="2784519"/>
              <a:ext cx="29279" cy="46862"/>
            </a:xfrm>
            <a:custGeom>
              <a:avLst/>
              <a:gdLst>
                <a:gd name="connsiteX0" fmla="*/ 5105 w 29279"/>
                <a:gd name="connsiteY0" fmla="*/ 44983 h 46862"/>
                <a:gd name="connsiteX1" fmla="*/ 27668 w 29279"/>
                <a:gd name="connsiteY1" fmla="*/ 22910 h 46862"/>
                <a:gd name="connsiteX2" fmla="*/ 28888 w 29279"/>
                <a:gd name="connsiteY2" fmla="*/ 20053 h 46862"/>
                <a:gd name="connsiteX3" fmla="*/ 27847 w 29279"/>
                <a:gd name="connsiteY3" fmla="*/ 18935 h 46862"/>
                <a:gd name="connsiteX4" fmla="*/ -391 w 29279"/>
                <a:gd name="connsiteY4" fmla="*/ -1880 h 46862"/>
                <a:gd name="connsiteX5" fmla="*/ 5105 w 29279"/>
                <a:gd name="connsiteY5" fmla="*/ 44983 h 46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79" h="46862">
                  <a:moveTo>
                    <a:pt x="5105" y="44983"/>
                  </a:moveTo>
                  <a:cubicBezTo>
                    <a:pt x="12646" y="37642"/>
                    <a:pt x="20162" y="30289"/>
                    <a:pt x="27668" y="22910"/>
                  </a:cubicBezTo>
                  <a:lnTo>
                    <a:pt x="28888" y="20053"/>
                  </a:lnTo>
                  <a:lnTo>
                    <a:pt x="27847" y="18935"/>
                  </a:lnTo>
                  <a:cubicBezTo>
                    <a:pt x="18431" y="12001"/>
                    <a:pt x="9024" y="5054"/>
                    <a:pt x="-391" y="-1880"/>
                  </a:cubicBezTo>
                  <a:lnTo>
                    <a:pt x="5105" y="44983"/>
                  </a:lnTo>
                </a:path>
              </a:pathLst>
            </a:custGeom>
            <a:solidFill>
              <a:srgbClr val="4F301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8" name="Freeform: Shape 1727">
              <a:extLst>
                <a:ext uri="{FF2B5EF4-FFF2-40B4-BE49-F238E27FC236}">
                  <a16:creationId xmlns:a16="http://schemas.microsoft.com/office/drawing/2014/main" id="{8F97A34F-104D-4681-9AF8-C2251B913FD1}"/>
                </a:ext>
              </a:extLst>
            </p:cNvPr>
            <p:cNvSpPr/>
            <p:nvPr/>
          </p:nvSpPr>
          <p:spPr>
            <a:xfrm flipV="1">
              <a:off x="4309522" y="2845737"/>
              <a:ext cx="26739" cy="37621"/>
            </a:xfrm>
            <a:custGeom>
              <a:avLst/>
              <a:gdLst>
                <a:gd name="connsiteX0" fmla="*/ 11075 w 26739"/>
                <a:gd name="connsiteY0" fmla="*/ 35783 h 37621"/>
                <a:gd name="connsiteX1" fmla="*/ -384 w 26739"/>
                <a:gd name="connsiteY1" fmla="*/ 16428 h 37621"/>
                <a:gd name="connsiteX2" fmla="*/ 14657 w 26739"/>
                <a:gd name="connsiteY2" fmla="*/ -1821 h 37621"/>
                <a:gd name="connsiteX3" fmla="*/ 26111 w 26739"/>
                <a:gd name="connsiteY3" fmla="*/ 17521 h 37621"/>
                <a:gd name="connsiteX4" fmla="*/ 11075 w 26739"/>
                <a:gd name="connsiteY4" fmla="*/ 35783 h 3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39" h="37621">
                  <a:moveTo>
                    <a:pt x="11075" y="35783"/>
                  </a:moveTo>
                  <a:cubicBezTo>
                    <a:pt x="3758" y="35478"/>
                    <a:pt x="-1371" y="26817"/>
                    <a:pt x="-384" y="16428"/>
                  </a:cubicBezTo>
                  <a:cubicBezTo>
                    <a:pt x="602" y="6040"/>
                    <a:pt x="7340" y="-2126"/>
                    <a:pt x="14657" y="-1821"/>
                  </a:cubicBezTo>
                  <a:cubicBezTo>
                    <a:pt x="21969" y="-1529"/>
                    <a:pt x="27100" y="7132"/>
                    <a:pt x="26111" y="17521"/>
                  </a:cubicBezTo>
                  <a:cubicBezTo>
                    <a:pt x="25125" y="27909"/>
                    <a:pt x="18392" y="36088"/>
                    <a:pt x="11075" y="35783"/>
                  </a:cubicBez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9" name="Freeform: Shape 1728">
              <a:extLst>
                <a:ext uri="{FF2B5EF4-FFF2-40B4-BE49-F238E27FC236}">
                  <a16:creationId xmlns:a16="http://schemas.microsoft.com/office/drawing/2014/main" id="{727C177D-ACB2-44BE-AC26-14FFA5CC86A2}"/>
                </a:ext>
              </a:extLst>
            </p:cNvPr>
            <p:cNvSpPr/>
            <p:nvPr/>
          </p:nvSpPr>
          <p:spPr>
            <a:xfrm flipV="1">
              <a:off x="4324548" y="2854242"/>
              <a:ext cx="7269" cy="8623"/>
            </a:xfrm>
            <a:custGeom>
              <a:avLst/>
              <a:gdLst>
                <a:gd name="connsiteX0" fmla="*/ 2435 w 7269"/>
                <a:gd name="connsiteY0" fmla="*/ 6763 h 8623"/>
                <a:gd name="connsiteX1" fmla="*/ 6691 w 7269"/>
                <a:gd name="connsiteY1" fmla="*/ 2965 h 8623"/>
                <a:gd name="connsiteX2" fmla="*/ 3815 w 7269"/>
                <a:gd name="connsiteY2" fmla="*/ -1810 h 8623"/>
                <a:gd name="connsiteX3" fmla="*/ -442 w 7269"/>
                <a:gd name="connsiteY3" fmla="*/ 1987 h 8623"/>
                <a:gd name="connsiteX4" fmla="*/ 2435 w 7269"/>
                <a:gd name="connsiteY4" fmla="*/ 6763 h 8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9" h="8623">
                  <a:moveTo>
                    <a:pt x="2435" y="6763"/>
                  </a:moveTo>
                  <a:cubicBezTo>
                    <a:pt x="4409" y="7017"/>
                    <a:pt x="6314" y="5328"/>
                    <a:pt x="6691" y="2965"/>
                  </a:cubicBezTo>
                  <a:cubicBezTo>
                    <a:pt x="7079" y="590"/>
                    <a:pt x="5788" y="-1530"/>
                    <a:pt x="3815" y="-1810"/>
                  </a:cubicBezTo>
                  <a:cubicBezTo>
                    <a:pt x="1845" y="-2064"/>
                    <a:pt x="-65" y="-375"/>
                    <a:pt x="-442" y="1987"/>
                  </a:cubicBezTo>
                  <a:cubicBezTo>
                    <a:pt x="-825" y="4350"/>
                    <a:pt x="461" y="6483"/>
                    <a:pt x="2435" y="6763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0" name="Freeform: Shape 1729">
              <a:extLst>
                <a:ext uri="{FF2B5EF4-FFF2-40B4-BE49-F238E27FC236}">
                  <a16:creationId xmlns:a16="http://schemas.microsoft.com/office/drawing/2014/main" id="{62ACF45A-0383-4C4E-9372-3765DE7DC935}"/>
                </a:ext>
              </a:extLst>
            </p:cNvPr>
            <p:cNvSpPr/>
            <p:nvPr/>
          </p:nvSpPr>
          <p:spPr>
            <a:xfrm flipV="1">
              <a:off x="4215427" y="2860203"/>
              <a:ext cx="26735" cy="37620"/>
            </a:xfrm>
            <a:custGeom>
              <a:avLst/>
              <a:gdLst>
                <a:gd name="connsiteX0" fmla="*/ 11140 w 26735"/>
                <a:gd name="connsiteY0" fmla="*/ 35796 h 37620"/>
                <a:gd name="connsiteX1" fmla="*/ -319 w 26735"/>
                <a:gd name="connsiteY1" fmla="*/ 16441 h 37620"/>
                <a:gd name="connsiteX2" fmla="*/ 14713 w 26735"/>
                <a:gd name="connsiteY2" fmla="*/ -1809 h 37620"/>
                <a:gd name="connsiteX3" fmla="*/ 26172 w 26735"/>
                <a:gd name="connsiteY3" fmla="*/ 17533 h 37620"/>
                <a:gd name="connsiteX4" fmla="*/ 11140 w 26735"/>
                <a:gd name="connsiteY4" fmla="*/ 35796 h 3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35" h="37620">
                  <a:moveTo>
                    <a:pt x="11140" y="35796"/>
                  </a:moveTo>
                  <a:cubicBezTo>
                    <a:pt x="3819" y="35491"/>
                    <a:pt x="-1311" y="26830"/>
                    <a:pt x="-319" y="16441"/>
                  </a:cubicBezTo>
                  <a:cubicBezTo>
                    <a:pt x="663" y="6065"/>
                    <a:pt x="7395" y="-2113"/>
                    <a:pt x="14713" y="-1809"/>
                  </a:cubicBezTo>
                  <a:cubicBezTo>
                    <a:pt x="22030" y="-1504"/>
                    <a:pt x="27160" y="7158"/>
                    <a:pt x="26172" y="17533"/>
                  </a:cubicBezTo>
                  <a:cubicBezTo>
                    <a:pt x="25185" y="27922"/>
                    <a:pt x="18448" y="36088"/>
                    <a:pt x="11140" y="35796"/>
                  </a:cubicBez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1" name="Freeform: Shape 1730">
              <a:extLst>
                <a:ext uri="{FF2B5EF4-FFF2-40B4-BE49-F238E27FC236}">
                  <a16:creationId xmlns:a16="http://schemas.microsoft.com/office/drawing/2014/main" id="{C371C435-4A21-4EA4-BEE9-8F4E085CEE4C}"/>
                </a:ext>
              </a:extLst>
            </p:cNvPr>
            <p:cNvSpPr/>
            <p:nvPr/>
          </p:nvSpPr>
          <p:spPr>
            <a:xfrm flipV="1">
              <a:off x="4230449" y="2868705"/>
              <a:ext cx="7271" cy="8627"/>
            </a:xfrm>
            <a:custGeom>
              <a:avLst/>
              <a:gdLst>
                <a:gd name="connsiteX0" fmla="*/ 2499 w 7271"/>
                <a:gd name="connsiteY0" fmla="*/ 6778 h 8627"/>
                <a:gd name="connsiteX1" fmla="*/ 6760 w 7271"/>
                <a:gd name="connsiteY1" fmla="*/ 2968 h 8627"/>
                <a:gd name="connsiteX2" fmla="*/ 3879 w 7271"/>
                <a:gd name="connsiteY2" fmla="*/ -1795 h 8627"/>
                <a:gd name="connsiteX3" fmla="*/ -378 w 7271"/>
                <a:gd name="connsiteY3" fmla="*/ 2015 h 8627"/>
                <a:gd name="connsiteX4" fmla="*/ 2499 w 7271"/>
                <a:gd name="connsiteY4" fmla="*/ 6778 h 8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1" h="8627">
                  <a:moveTo>
                    <a:pt x="2499" y="6778"/>
                  </a:moveTo>
                  <a:cubicBezTo>
                    <a:pt x="4474" y="7045"/>
                    <a:pt x="6374" y="5343"/>
                    <a:pt x="6760" y="2968"/>
                  </a:cubicBezTo>
                  <a:cubicBezTo>
                    <a:pt x="7137" y="606"/>
                    <a:pt x="5848" y="-1528"/>
                    <a:pt x="3879" y="-1795"/>
                  </a:cubicBezTo>
                  <a:cubicBezTo>
                    <a:pt x="1904" y="-2061"/>
                    <a:pt x="4" y="-360"/>
                    <a:pt x="-378" y="2015"/>
                  </a:cubicBezTo>
                  <a:cubicBezTo>
                    <a:pt x="-761" y="4378"/>
                    <a:pt x="530" y="6511"/>
                    <a:pt x="2499" y="6778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2" name="Freeform: Shape 1731">
              <a:extLst>
                <a:ext uri="{FF2B5EF4-FFF2-40B4-BE49-F238E27FC236}">
                  <a16:creationId xmlns:a16="http://schemas.microsoft.com/office/drawing/2014/main" id="{2B862AAD-A88C-4A75-947F-BE98B38E0332}"/>
                </a:ext>
              </a:extLst>
            </p:cNvPr>
            <p:cNvSpPr/>
            <p:nvPr/>
          </p:nvSpPr>
          <p:spPr>
            <a:xfrm flipV="1">
              <a:off x="4169195" y="2825335"/>
              <a:ext cx="91090" cy="28675"/>
            </a:xfrm>
            <a:custGeom>
              <a:avLst/>
              <a:gdLst>
                <a:gd name="connsiteX0" fmla="*/ 3025 w 91090"/>
                <a:gd name="connsiteY0" fmla="*/ 6820 h 28675"/>
                <a:gd name="connsiteX1" fmla="*/ 83848 w 91090"/>
                <a:gd name="connsiteY1" fmla="*/ 26543 h 28675"/>
                <a:gd name="connsiteX2" fmla="*/ 90030 w 91090"/>
                <a:gd name="connsiteY2" fmla="*/ 12192 h 28675"/>
                <a:gd name="connsiteX3" fmla="*/ 87787 w 91090"/>
                <a:gd name="connsiteY3" fmla="*/ 12001 h 28675"/>
                <a:gd name="connsiteX4" fmla="*/ 10799 w 91090"/>
                <a:gd name="connsiteY4" fmla="*/ -876 h 28675"/>
                <a:gd name="connsiteX5" fmla="*/ 689 w 91090"/>
                <a:gd name="connsiteY5" fmla="*/ 63 h 28675"/>
                <a:gd name="connsiteX6" fmla="*/ 3025 w 91090"/>
                <a:gd name="connsiteY6" fmla="*/ 6820 h 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90" h="28675">
                  <a:moveTo>
                    <a:pt x="3025" y="6820"/>
                  </a:moveTo>
                  <a:cubicBezTo>
                    <a:pt x="4999" y="7950"/>
                    <a:pt x="36551" y="29515"/>
                    <a:pt x="83848" y="26543"/>
                  </a:cubicBezTo>
                  <a:cubicBezTo>
                    <a:pt x="87113" y="26340"/>
                    <a:pt x="92500" y="12751"/>
                    <a:pt x="90030" y="12192"/>
                  </a:cubicBezTo>
                  <a:lnTo>
                    <a:pt x="87787" y="12001"/>
                  </a:lnTo>
                  <a:cubicBezTo>
                    <a:pt x="43983" y="14135"/>
                    <a:pt x="11489" y="-457"/>
                    <a:pt x="10799" y="-876"/>
                  </a:cubicBezTo>
                  <a:cubicBezTo>
                    <a:pt x="7460" y="-2477"/>
                    <a:pt x="2861" y="-2070"/>
                    <a:pt x="689" y="63"/>
                  </a:cubicBezTo>
                  <a:cubicBezTo>
                    <a:pt x="-1495" y="2197"/>
                    <a:pt x="-368" y="5232"/>
                    <a:pt x="3025" y="6820"/>
                  </a:cubicBezTo>
                </a:path>
              </a:pathLst>
            </a:custGeom>
            <a:solidFill>
              <a:srgbClr val="7B3D1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3" name="Freeform: Shape 1732">
              <a:extLst>
                <a:ext uri="{FF2B5EF4-FFF2-40B4-BE49-F238E27FC236}">
                  <a16:creationId xmlns:a16="http://schemas.microsoft.com/office/drawing/2014/main" id="{F9027533-511F-4C50-9186-4AC83219B286}"/>
                </a:ext>
              </a:extLst>
            </p:cNvPr>
            <p:cNvSpPr/>
            <p:nvPr/>
          </p:nvSpPr>
          <p:spPr>
            <a:xfrm flipV="1">
              <a:off x="4291081" y="2812892"/>
              <a:ext cx="56865" cy="22059"/>
            </a:xfrm>
            <a:custGeom>
              <a:avLst/>
              <a:gdLst>
                <a:gd name="connsiteX0" fmla="*/ 53128 w 56865"/>
                <a:gd name="connsiteY0" fmla="*/ 14200 h 22059"/>
                <a:gd name="connsiteX1" fmla="*/ 865 w 56865"/>
                <a:gd name="connsiteY1" fmla="*/ 13450 h 22059"/>
                <a:gd name="connsiteX2" fmla="*/ 725 w 56865"/>
                <a:gd name="connsiteY2" fmla="*/ -1866 h 22059"/>
                <a:gd name="connsiteX3" fmla="*/ 2090 w 56865"/>
                <a:gd name="connsiteY3" fmla="*/ -1497 h 22059"/>
                <a:gd name="connsiteX4" fmla="*/ 50444 w 56865"/>
                <a:gd name="connsiteY4" fmla="*/ 4891 h 22059"/>
                <a:gd name="connsiteX5" fmla="*/ 56154 w 56865"/>
                <a:gd name="connsiteY5" fmla="*/ 8256 h 22059"/>
                <a:gd name="connsiteX6" fmla="*/ 53128 w 56865"/>
                <a:gd name="connsiteY6" fmla="*/ 14200 h 2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865" h="22059">
                  <a:moveTo>
                    <a:pt x="53128" y="14200"/>
                  </a:moveTo>
                  <a:cubicBezTo>
                    <a:pt x="51699" y="14797"/>
                    <a:pt x="27907" y="27852"/>
                    <a:pt x="865" y="13450"/>
                  </a:cubicBezTo>
                  <a:cubicBezTo>
                    <a:pt x="-1011" y="12473"/>
                    <a:pt x="-862" y="-1929"/>
                    <a:pt x="725" y="-1866"/>
                  </a:cubicBezTo>
                  <a:lnTo>
                    <a:pt x="2090" y="-1497"/>
                  </a:lnTo>
                  <a:cubicBezTo>
                    <a:pt x="27301" y="11241"/>
                    <a:pt x="49948" y="5119"/>
                    <a:pt x="50444" y="4891"/>
                  </a:cubicBezTo>
                  <a:cubicBezTo>
                    <a:pt x="52791" y="4154"/>
                    <a:pt x="55395" y="5665"/>
                    <a:pt x="56154" y="8256"/>
                  </a:cubicBezTo>
                  <a:cubicBezTo>
                    <a:pt x="56914" y="10834"/>
                    <a:pt x="55514" y="13488"/>
                    <a:pt x="53128" y="14200"/>
                  </a:cubicBezTo>
                </a:path>
              </a:pathLst>
            </a:custGeom>
            <a:solidFill>
              <a:srgbClr val="7B3D1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4" name="Freeform: Shape 1733">
              <a:extLst>
                <a:ext uri="{FF2B5EF4-FFF2-40B4-BE49-F238E27FC236}">
                  <a16:creationId xmlns:a16="http://schemas.microsoft.com/office/drawing/2014/main" id="{34220812-DBDE-4DAC-A831-0A320D113D7E}"/>
                </a:ext>
              </a:extLst>
            </p:cNvPr>
            <p:cNvSpPr/>
            <p:nvPr/>
          </p:nvSpPr>
          <p:spPr>
            <a:xfrm flipV="1">
              <a:off x="4241381" y="2952514"/>
              <a:ext cx="77310" cy="16929"/>
            </a:xfrm>
            <a:custGeom>
              <a:avLst/>
              <a:gdLst>
                <a:gd name="connsiteX0" fmla="*/ 37643 w 77310"/>
                <a:gd name="connsiteY0" fmla="*/ -1692 h 16929"/>
                <a:gd name="connsiteX1" fmla="*/ 76681 w 77310"/>
                <a:gd name="connsiteY1" fmla="*/ 14640 h 16929"/>
                <a:gd name="connsiteX2" fmla="*/ 76269 w 77310"/>
                <a:gd name="connsiteY2" fmla="*/ 15186 h 16929"/>
                <a:gd name="connsiteX3" fmla="*/ -477 w 77310"/>
                <a:gd name="connsiteY3" fmla="*/ 8989 h 16929"/>
                <a:gd name="connsiteX4" fmla="*/ 37643 w 77310"/>
                <a:gd name="connsiteY4" fmla="*/ -1692 h 1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10" h="16929">
                  <a:moveTo>
                    <a:pt x="37643" y="-1692"/>
                  </a:moveTo>
                  <a:cubicBezTo>
                    <a:pt x="61524" y="-968"/>
                    <a:pt x="78645" y="10830"/>
                    <a:pt x="76681" y="14640"/>
                  </a:cubicBezTo>
                  <a:lnTo>
                    <a:pt x="76269" y="15186"/>
                  </a:lnTo>
                  <a:cubicBezTo>
                    <a:pt x="56812" y="6842"/>
                    <a:pt x="17704" y="4569"/>
                    <a:pt x="-477" y="8989"/>
                  </a:cubicBezTo>
                  <a:cubicBezTo>
                    <a:pt x="3229" y="4416"/>
                    <a:pt x="18375" y="-2403"/>
                    <a:pt x="37643" y="-1692"/>
                  </a:cubicBezTo>
                </a:path>
              </a:pathLst>
            </a:custGeom>
            <a:solidFill>
              <a:srgbClr val="AB6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5" name="Freeform: Shape 1734">
              <a:extLst>
                <a:ext uri="{FF2B5EF4-FFF2-40B4-BE49-F238E27FC236}">
                  <a16:creationId xmlns:a16="http://schemas.microsoft.com/office/drawing/2014/main" id="{ED382EC8-677A-46C8-8848-A9CB348334FF}"/>
                </a:ext>
              </a:extLst>
            </p:cNvPr>
            <p:cNvSpPr/>
            <p:nvPr/>
          </p:nvSpPr>
          <p:spPr>
            <a:xfrm flipV="1">
              <a:off x="4287246" y="2874150"/>
              <a:ext cx="29235" cy="51488"/>
            </a:xfrm>
            <a:custGeom>
              <a:avLst/>
              <a:gdLst>
                <a:gd name="connsiteX0" fmla="*/ 5833 w 29235"/>
                <a:gd name="connsiteY0" fmla="*/ 14912 h 51488"/>
                <a:gd name="connsiteX1" fmla="*/ 6661 w 29235"/>
                <a:gd name="connsiteY1" fmla="*/ 7673 h 51488"/>
                <a:gd name="connsiteX2" fmla="*/ 132 w 29235"/>
                <a:gd name="connsiteY2" fmla="*/ 1069 h 51488"/>
                <a:gd name="connsiteX3" fmla="*/ 17734 w 29235"/>
                <a:gd name="connsiteY3" fmla="*/ 1043 h 51488"/>
                <a:gd name="connsiteX4" fmla="*/ 28335 w 29235"/>
                <a:gd name="connsiteY4" fmla="*/ 11978 h 51488"/>
                <a:gd name="connsiteX5" fmla="*/ 23300 w 29235"/>
                <a:gd name="connsiteY5" fmla="*/ 20703 h 51488"/>
                <a:gd name="connsiteX6" fmla="*/ 4508 w 29235"/>
                <a:gd name="connsiteY6" fmla="*/ 49125 h 51488"/>
                <a:gd name="connsiteX7" fmla="*/ 5833 w 29235"/>
                <a:gd name="connsiteY7" fmla="*/ 14912 h 5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35" h="51488">
                  <a:moveTo>
                    <a:pt x="5833" y="14912"/>
                  </a:moveTo>
                  <a:cubicBezTo>
                    <a:pt x="8794" y="10327"/>
                    <a:pt x="8610" y="11140"/>
                    <a:pt x="6661" y="7673"/>
                  </a:cubicBezTo>
                  <a:cubicBezTo>
                    <a:pt x="5307" y="5285"/>
                    <a:pt x="2062" y="3012"/>
                    <a:pt x="132" y="1069"/>
                  </a:cubicBezTo>
                  <a:cubicBezTo>
                    <a:pt x="-4100" y="-3224"/>
                    <a:pt x="14479" y="-2246"/>
                    <a:pt x="17734" y="1043"/>
                  </a:cubicBezTo>
                  <a:cubicBezTo>
                    <a:pt x="20443" y="3799"/>
                    <a:pt x="27010" y="8295"/>
                    <a:pt x="28335" y="11978"/>
                  </a:cubicBezTo>
                  <a:cubicBezTo>
                    <a:pt x="29922" y="16360"/>
                    <a:pt x="26609" y="18036"/>
                    <a:pt x="23300" y="20703"/>
                  </a:cubicBezTo>
                  <a:cubicBezTo>
                    <a:pt x="13839" y="28336"/>
                    <a:pt x="7648" y="37873"/>
                    <a:pt x="4508" y="49125"/>
                  </a:cubicBezTo>
                  <a:cubicBezTo>
                    <a:pt x="3267" y="53596"/>
                    <a:pt x="-4259" y="30533"/>
                    <a:pt x="5833" y="14912"/>
                  </a:cubicBezTo>
                </a:path>
              </a:pathLst>
            </a:custGeom>
            <a:solidFill>
              <a:srgbClr val="AB6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6" name="Freeform: Shape 1735">
              <a:extLst>
                <a:ext uri="{FF2B5EF4-FFF2-40B4-BE49-F238E27FC236}">
                  <a16:creationId xmlns:a16="http://schemas.microsoft.com/office/drawing/2014/main" id="{885B1574-44AF-4B89-9E7E-A8F942B126E9}"/>
                </a:ext>
              </a:extLst>
            </p:cNvPr>
            <p:cNvSpPr/>
            <p:nvPr/>
          </p:nvSpPr>
          <p:spPr>
            <a:xfrm flipV="1">
              <a:off x="7406884" y="3261911"/>
              <a:ext cx="111048" cy="175640"/>
            </a:xfrm>
            <a:custGeom>
              <a:avLst/>
              <a:gdLst>
                <a:gd name="connsiteX0" fmla="*/ 101034 w 111048"/>
                <a:gd name="connsiteY0" fmla="*/ -1397 h 175640"/>
                <a:gd name="connsiteX1" fmla="*/ 3206 w 111048"/>
                <a:gd name="connsiteY1" fmla="*/ -978 h 175640"/>
                <a:gd name="connsiteX2" fmla="*/ -2648 w 111048"/>
                <a:gd name="connsiteY2" fmla="*/ 174244 h 175640"/>
                <a:gd name="connsiteX3" fmla="*/ 108400 w 111048"/>
                <a:gd name="connsiteY3" fmla="*/ 173761 h 175640"/>
                <a:gd name="connsiteX4" fmla="*/ 101034 w 111048"/>
                <a:gd name="connsiteY4" fmla="*/ -1397 h 17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048" h="175640">
                  <a:moveTo>
                    <a:pt x="101034" y="-1397"/>
                  </a:moveTo>
                  <a:lnTo>
                    <a:pt x="3206" y="-978"/>
                  </a:lnTo>
                  <a:lnTo>
                    <a:pt x="-2648" y="174244"/>
                  </a:lnTo>
                  <a:lnTo>
                    <a:pt x="108400" y="173761"/>
                  </a:lnTo>
                  <a:lnTo>
                    <a:pt x="101034" y="-1397"/>
                  </a:lnTo>
                </a:path>
              </a:pathLst>
            </a:custGeom>
            <a:solidFill>
              <a:srgbClr val="EFFAF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7" name="Freeform: Shape 1736">
              <a:extLst>
                <a:ext uri="{FF2B5EF4-FFF2-40B4-BE49-F238E27FC236}">
                  <a16:creationId xmlns:a16="http://schemas.microsoft.com/office/drawing/2014/main" id="{460C28FA-19B4-4C38-841D-C94EF81C5FF9}"/>
                </a:ext>
              </a:extLst>
            </p:cNvPr>
            <p:cNvSpPr/>
            <p:nvPr/>
          </p:nvSpPr>
          <p:spPr>
            <a:xfrm flipV="1">
              <a:off x="7423940" y="3420153"/>
              <a:ext cx="75577" cy="11899"/>
            </a:xfrm>
            <a:custGeom>
              <a:avLst/>
              <a:gdLst>
                <a:gd name="connsiteX0" fmla="*/ 68383 w 75577"/>
                <a:gd name="connsiteY0" fmla="*/ -1329 h 11899"/>
                <a:gd name="connsiteX1" fmla="*/ 1810 w 75577"/>
                <a:gd name="connsiteY1" fmla="*/ -1037 h 11899"/>
                <a:gd name="connsiteX2" fmla="*/ -2648 w 75577"/>
                <a:gd name="connsiteY2" fmla="*/ 10571 h 11899"/>
                <a:gd name="connsiteX3" fmla="*/ 72930 w 75577"/>
                <a:gd name="connsiteY3" fmla="*/ 10241 h 11899"/>
                <a:gd name="connsiteX4" fmla="*/ 68383 w 75577"/>
                <a:gd name="connsiteY4" fmla="*/ -1329 h 1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77" h="11899">
                  <a:moveTo>
                    <a:pt x="68383" y="-1329"/>
                  </a:moveTo>
                  <a:lnTo>
                    <a:pt x="1810" y="-1037"/>
                  </a:lnTo>
                  <a:lnTo>
                    <a:pt x="-2648" y="10571"/>
                  </a:lnTo>
                  <a:lnTo>
                    <a:pt x="72930" y="10241"/>
                  </a:lnTo>
                  <a:lnTo>
                    <a:pt x="68383" y="-1329"/>
                  </a:lnTo>
                </a:path>
              </a:pathLst>
            </a:custGeom>
            <a:solidFill>
              <a:srgbClr val="B1E4F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8" name="Freeform: Shape 1737">
              <a:extLst>
                <a:ext uri="{FF2B5EF4-FFF2-40B4-BE49-F238E27FC236}">
                  <a16:creationId xmlns:a16="http://schemas.microsoft.com/office/drawing/2014/main" id="{29125A55-766E-4758-BC53-CC59DD6FB189}"/>
                </a:ext>
              </a:extLst>
            </p:cNvPr>
            <p:cNvSpPr/>
            <p:nvPr/>
          </p:nvSpPr>
          <p:spPr>
            <a:xfrm flipV="1">
              <a:off x="7413971" y="3268845"/>
              <a:ext cx="96799" cy="146151"/>
            </a:xfrm>
            <a:custGeom>
              <a:avLst/>
              <a:gdLst>
                <a:gd name="connsiteX0" fmla="*/ 87750 w 96799"/>
                <a:gd name="connsiteY0" fmla="*/ -1404 h 146151"/>
                <a:gd name="connsiteX1" fmla="*/ 2521 w 96799"/>
                <a:gd name="connsiteY1" fmla="*/ -1023 h 146151"/>
                <a:gd name="connsiteX2" fmla="*/ -2648 w 96799"/>
                <a:gd name="connsiteY2" fmla="*/ 138550 h 146151"/>
                <a:gd name="connsiteX3" fmla="*/ 94151 w 96799"/>
                <a:gd name="connsiteY3" fmla="*/ 144747 h 146151"/>
                <a:gd name="connsiteX4" fmla="*/ 87750 w 96799"/>
                <a:gd name="connsiteY4" fmla="*/ -1404 h 14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799" h="146151">
                  <a:moveTo>
                    <a:pt x="87750" y="-1404"/>
                  </a:moveTo>
                  <a:lnTo>
                    <a:pt x="2521" y="-1023"/>
                  </a:lnTo>
                  <a:lnTo>
                    <a:pt x="-2648" y="138550"/>
                  </a:lnTo>
                  <a:lnTo>
                    <a:pt x="94151" y="144747"/>
                  </a:lnTo>
                  <a:lnTo>
                    <a:pt x="87750" y="-1404"/>
                  </a:lnTo>
                </a:path>
              </a:pathLst>
            </a:custGeom>
            <a:solidFill>
              <a:srgbClr val="D1F0F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9" name="Freeform: Shape 1738">
              <a:extLst>
                <a:ext uri="{FF2B5EF4-FFF2-40B4-BE49-F238E27FC236}">
                  <a16:creationId xmlns:a16="http://schemas.microsoft.com/office/drawing/2014/main" id="{E6084E55-FCA6-461C-BE73-49D13BDB85C4}"/>
                </a:ext>
              </a:extLst>
            </p:cNvPr>
            <p:cNvSpPr/>
            <p:nvPr/>
          </p:nvSpPr>
          <p:spPr>
            <a:xfrm flipV="1">
              <a:off x="7415926" y="3328014"/>
              <a:ext cx="94563" cy="86982"/>
            </a:xfrm>
            <a:custGeom>
              <a:avLst/>
              <a:gdLst>
                <a:gd name="connsiteX0" fmla="*/ 85793 w 94563"/>
                <a:gd name="connsiteY0" fmla="*/ -1377 h 86982"/>
                <a:gd name="connsiteX1" fmla="*/ 564 w 94563"/>
                <a:gd name="connsiteY1" fmla="*/ -996 h 86982"/>
                <a:gd name="connsiteX2" fmla="*/ -2649 w 94563"/>
                <a:gd name="connsiteY2" fmla="*/ 85605 h 86982"/>
                <a:gd name="connsiteX3" fmla="*/ 91915 w 94563"/>
                <a:gd name="connsiteY3" fmla="*/ 81350 h 86982"/>
                <a:gd name="connsiteX4" fmla="*/ 85793 w 94563"/>
                <a:gd name="connsiteY4" fmla="*/ -1377 h 8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563" h="86982">
                  <a:moveTo>
                    <a:pt x="85793" y="-1377"/>
                  </a:moveTo>
                  <a:lnTo>
                    <a:pt x="564" y="-996"/>
                  </a:lnTo>
                  <a:lnTo>
                    <a:pt x="-2649" y="85605"/>
                  </a:lnTo>
                  <a:lnTo>
                    <a:pt x="91915" y="81350"/>
                  </a:lnTo>
                  <a:lnTo>
                    <a:pt x="85793" y="-1377"/>
                  </a:lnTo>
                </a:path>
              </a:pathLst>
            </a:custGeom>
            <a:solidFill>
              <a:srgbClr val="B1E4F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0" name="Freeform: Shape 1739">
              <a:extLst>
                <a:ext uri="{FF2B5EF4-FFF2-40B4-BE49-F238E27FC236}">
                  <a16:creationId xmlns:a16="http://schemas.microsoft.com/office/drawing/2014/main" id="{3F1F350F-201F-45A6-9220-96C81ACA9B1B}"/>
                </a:ext>
              </a:extLst>
            </p:cNvPr>
            <p:cNvSpPr/>
            <p:nvPr/>
          </p:nvSpPr>
          <p:spPr>
            <a:xfrm flipV="1">
              <a:off x="7473203" y="3275982"/>
              <a:ext cx="29197" cy="118465"/>
            </a:xfrm>
            <a:custGeom>
              <a:avLst/>
              <a:gdLst>
                <a:gd name="connsiteX0" fmla="*/ 19458 w 29197"/>
                <a:gd name="connsiteY0" fmla="*/ 11735 h 118465"/>
                <a:gd name="connsiteX1" fmla="*/ -2666 w 29197"/>
                <a:gd name="connsiteY1" fmla="*/ -1410 h 118465"/>
                <a:gd name="connsiteX2" fmla="*/ -2183 w 29197"/>
                <a:gd name="connsiteY2" fmla="*/ 110566 h 118465"/>
                <a:gd name="connsiteX3" fmla="*/ 26531 w 29197"/>
                <a:gd name="connsiteY3" fmla="*/ 117056 h 118465"/>
                <a:gd name="connsiteX4" fmla="*/ 19458 w 29197"/>
                <a:gd name="connsiteY4" fmla="*/ 11735 h 118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97" h="118465">
                  <a:moveTo>
                    <a:pt x="19458" y="11735"/>
                  </a:moveTo>
                  <a:lnTo>
                    <a:pt x="-2666" y="-1410"/>
                  </a:lnTo>
                  <a:lnTo>
                    <a:pt x="-2183" y="110566"/>
                  </a:lnTo>
                  <a:lnTo>
                    <a:pt x="26531" y="117056"/>
                  </a:lnTo>
                  <a:lnTo>
                    <a:pt x="19458" y="11735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1" name="Freeform: Shape 1740">
              <a:extLst>
                <a:ext uri="{FF2B5EF4-FFF2-40B4-BE49-F238E27FC236}">
                  <a16:creationId xmlns:a16="http://schemas.microsoft.com/office/drawing/2014/main" id="{792E5067-11AC-4E3D-80F0-5CEF2581DA9A}"/>
                </a:ext>
              </a:extLst>
            </p:cNvPr>
            <p:cNvSpPr/>
            <p:nvPr/>
          </p:nvSpPr>
          <p:spPr>
            <a:xfrm flipV="1">
              <a:off x="4716584" y="3271728"/>
              <a:ext cx="111054" cy="175195"/>
            </a:xfrm>
            <a:custGeom>
              <a:avLst/>
              <a:gdLst>
                <a:gd name="connsiteX0" fmla="*/ 103629 w 111054"/>
                <a:gd name="connsiteY0" fmla="*/ -1388 h 175195"/>
                <a:gd name="connsiteX1" fmla="*/ 5805 w 111054"/>
                <a:gd name="connsiteY1" fmla="*/ -1388 h 175195"/>
                <a:gd name="connsiteX2" fmla="*/ -813 w 111054"/>
                <a:gd name="connsiteY2" fmla="*/ 173808 h 175195"/>
                <a:gd name="connsiteX3" fmla="*/ 110242 w 111054"/>
                <a:gd name="connsiteY3" fmla="*/ 173808 h 175195"/>
                <a:gd name="connsiteX4" fmla="*/ 103629 w 111054"/>
                <a:gd name="connsiteY4" fmla="*/ -1388 h 17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054" h="175195">
                  <a:moveTo>
                    <a:pt x="103629" y="-1388"/>
                  </a:moveTo>
                  <a:lnTo>
                    <a:pt x="5805" y="-1388"/>
                  </a:lnTo>
                  <a:lnTo>
                    <a:pt x="-813" y="173808"/>
                  </a:lnTo>
                  <a:lnTo>
                    <a:pt x="110242" y="173808"/>
                  </a:lnTo>
                  <a:lnTo>
                    <a:pt x="103629" y="-1388"/>
                  </a:lnTo>
                </a:path>
              </a:pathLst>
            </a:custGeom>
            <a:solidFill>
              <a:srgbClr val="EFFAF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2" name="Freeform: Shape 1741">
              <a:extLst>
                <a:ext uri="{FF2B5EF4-FFF2-40B4-BE49-F238E27FC236}">
                  <a16:creationId xmlns:a16="http://schemas.microsoft.com/office/drawing/2014/main" id="{EFC9AADC-5AFD-4F88-8A2A-DA295087A35E}"/>
                </a:ext>
              </a:extLst>
            </p:cNvPr>
            <p:cNvSpPr/>
            <p:nvPr/>
          </p:nvSpPr>
          <p:spPr>
            <a:xfrm flipV="1">
              <a:off x="4734323" y="3429906"/>
              <a:ext cx="75580" cy="11569"/>
            </a:xfrm>
            <a:custGeom>
              <a:avLst/>
              <a:gdLst>
                <a:gd name="connsiteX0" fmla="*/ 70258 w 75580"/>
                <a:gd name="connsiteY0" fmla="*/ -1320 h 11569"/>
                <a:gd name="connsiteX1" fmla="*/ 3692 w 75580"/>
                <a:gd name="connsiteY1" fmla="*/ -1320 h 11569"/>
                <a:gd name="connsiteX2" fmla="*/ -813 w 75580"/>
                <a:gd name="connsiteY2" fmla="*/ 10250 h 11569"/>
                <a:gd name="connsiteX3" fmla="*/ 74768 w 75580"/>
                <a:gd name="connsiteY3" fmla="*/ 10250 h 11569"/>
                <a:gd name="connsiteX4" fmla="*/ 70258 w 75580"/>
                <a:gd name="connsiteY4" fmla="*/ -1320 h 1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80" h="11569">
                  <a:moveTo>
                    <a:pt x="70258" y="-1320"/>
                  </a:moveTo>
                  <a:lnTo>
                    <a:pt x="3692" y="-1320"/>
                  </a:lnTo>
                  <a:lnTo>
                    <a:pt x="-813" y="10250"/>
                  </a:lnTo>
                  <a:lnTo>
                    <a:pt x="74768" y="10250"/>
                  </a:lnTo>
                  <a:lnTo>
                    <a:pt x="70258" y="-1320"/>
                  </a:lnTo>
                </a:path>
              </a:pathLst>
            </a:custGeom>
            <a:solidFill>
              <a:srgbClr val="B1E4F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3" name="Freeform: Shape 1742">
              <a:extLst>
                <a:ext uri="{FF2B5EF4-FFF2-40B4-BE49-F238E27FC236}">
                  <a16:creationId xmlns:a16="http://schemas.microsoft.com/office/drawing/2014/main" id="{7C0924FD-01B7-4876-8A78-7A69F4824CAF}"/>
                </a:ext>
              </a:extLst>
            </p:cNvPr>
            <p:cNvSpPr/>
            <p:nvPr/>
          </p:nvSpPr>
          <p:spPr>
            <a:xfrm flipV="1">
              <a:off x="4723727" y="3278218"/>
              <a:ext cx="96767" cy="146163"/>
            </a:xfrm>
            <a:custGeom>
              <a:avLst/>
              <a:gdLst>
                <a:gd name="connsiteX0" fmla="*/ 90190 w 96767"/>
                <a:gd name="connsiteY0" fmla="*/ -1395 h 146163"/>
                <a:gd name="connsiteX1" fmla="*/ 4957 w 96767"/>
                <a:gd name="connsiteY1" fmla="*/ -1395 h 146163"/>
                <a:gd name="connsiteX2" fmla="*/ -813 w 96767"/>
                <a:gd name="connsiteY2" fmla="*/ 138152 h 146163"/>
                <a:gd name="connsiteX3" fmla="*/ 95955 w 96767"/>
                <a:gd name="connsiteY3" fmla="*/ 144769 h 146163"/>
                <a:gd name="connsiteX4" fmla="*/ 90190 w 96767"/>
                <a:gd name="connsiteY4" fmla="*/ -1395 h 14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767" h="146163">
                  <a:moveTo>
                    <a:pt x="90190" y="-1395"/>
                  </a:moveTo>
                  <a:lnTo>
                    <a:pt x="4957" y="-1395"/>
                  </a:lnTo>
                  <a:lnTo>
                    <a:pt x="-813" y="138152"/>
                  </a:lnTo>
                  <a:lnTo>
                    <a:pt x="95955" y="144769"/>
                  </a:lnTo>
                  <a:lnTo>
                    <a:pt x="90190" y="-1395"/>
                  </a:lnTo>
                </a:path>
              </a:pathLst>
            </a:custGeom>
            <a:solidFill>
              <a:srgbClr val="D1F0F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4" name="Freeform: Shape 1743">
              <a:extLst>
                <a:ext uri="{FF2B5EF4-FFF2-40B4-BE49-F238E27FC236}">
                  <a16:creationId xmlns:a16="http://schemas.microsoft.com/office/drawing/2014/main" id="{FA9EE8D0-75ED-4E34-B1DD-2B1D3B92B5EE}"/>
                </a:ext>
              </a:extLst>
            </p:cNvPr>
            <p:cNvSpPr/>
            <p:nvPr/>
          </p:nvSpPr>
          <p:spPr>
            <a:xfrm flipV="1">
              <a:off x="4725914" y="3337793"/>
              <a:ext cx="94580" cy="86588"/>
            </a:xfrm>
            <a:custGeom>
              <a:avLst/>
              <a:gdLst>
                <a:gd name="connsiteX0" fmla="*/ 88003 w 94580"/>
                <a:gd name="connsiteY0" fmla="*/ -1369 h 86588"/>
                <a:gd name="connsiteX1" fmla="*/ 2769 w 94580"/>
                <a:gd name="connsiteY1" fmla="*/ -1369 h 86588"/>
                <a:gd name="connsiteX2" fmla="*/ -813 w 94580"/>
                <a:gd name="connsiteY2" fmla="*/ 85220 h 86588"/>
                <a:gd name="connsiteX3" fmla="*/ 93767 w 94580"/>
                <a:gd name="connsiteY3" fmla="*/ 81372 h 86588"/>
                <a:gd name="connsiteX4" fmla="*/ 88003 w 94580"/>
                <a:gd name="connsiteY4" fmla="*/ -1369 h 86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580" h="86588">
                  <a:moveTo>
                    <a:pt x="88003" y="-1369"/>
                  </a:moveTo>
                  <a:lnTo>
                    <a:pt x="2769" y="-1369"/>
                  </a:lnTo>
                  <a:lnTo>
                    <a:pt x="-813" y="85220"/>
                  </a:lnTo>
                  <a:lnTo>
                    <a:pt x="93767" y="81372"/>
                  </a:lnTo>
                  <a:lnTo>
                    <a:pt x="88003" y="-1369"/>
                  </a:lnTo>
                </a:path>
              </a:pathLst>
            </a:custGeom>
            <a:solidFill>
              <a:srgbClr val="B1E4F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5" name="Freeform: Shape 1744">
              <a:extLst>
                <a:ext uri="{FF2B5EF4-FFF2-40B4-BE49-F238E27FC236}">
                  <a16:creationId xmlns:a16="http://schemas.microsoft.com/office/drawing/2014/main" id="{3D792AD0-A03F-4B47-9DD1-3CBF9340CD83}"/>
                </a:ext>
              </a:extLst>
            </p:cNvPr>
            <p:cNvSpPr/>
            <p:nvPr/>
          </p:nvSpPr>
          <p:spPr>
            <a:xfrm flipV="1">
              <a:off x="4783477" y="3285380"/>
              <a:ext cx="28682" cy="118592"/>
            </a:xfrm>
            <a:custGeom>
              <a:avLst/>
              <a:gdLst>
                <a:gd name="connsiteX0" fmla="*/ 21231 w 28682"/>
                <a:gd name="connsiteY0" fmla="*/ 11832 h 118592"/>
                <a:gd name="connsiteX1" fmla="*/ -830 w 28682"/>
                <a:gd name="connsiteY1" fmla="*/ -1401 h 118592"/>
                <a:gd name="connsiteX2" fmla="*/ -830 w 28682"/>
                <a:gd name="connsiteY2" fmla="*/ 110574 h 118592"/>
                <a:gd name="connsiteX3" fmla="*/ 27853 w 28682"/>
                <a:gd name="connsiteY3" fmla="*/ 117191 h 118592"/>
                <a:gd name="connsiteX4" fmla="*/ 21231 w 28682"/>
                <a:gd name="connsiteY4" fmla="*/ 11832 h 11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82" h="118592">
                  <a:moveTo>
                    <a:pt x="21231" y="11832"/>
                  </a:moveTo>
                  <a:lnTo>
                    <a:pt x="-830" y="-1401"/>
                  </a:lnTo>
                  <a:lnTo>
                    <a:pt x="-830" y="110574"/>
                  </a:lnTo>
                  <a:lnTo>
                    <a:pt x="27853" y="117191"/>
                  </a:lnTo>
                  <a:lnTo>
                    <a:pt x="21231" y="11832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6" name="Freeform: Shape 1745">
              <a:extLst>
                <a:ext uri="{FF2B5EF4-FFF2-40B4-BE49-F238E27FC236}">
                  <a16:creationId xmlns:a16="http://schemas.microsoft.com/office/drawing/2014/main" id="{DA9CC069-B590-45ED-B4F2-514102721731}"/>
                </a:ext>
              </a:extLst>
            </p:cNvPr>
            <p:cNvSpPr/>
            <p:nvPr/>
          </p:nvSpPr>
          <p:spPr>
            <a:xfrm flipV="1">
              <a:off x="5984107" y="3359751"/>
              <a:ext cx="119430" cy="92989"/>
            </a:xfrm>
            <a:custGeom>
              <a:avLst/>
              <a:gdLst>
                <a:gd name="connsiteX0" fmla="*/ 117750 w 119430"/>
                <a:gd name="connsiteY0" fmla="*/ 91643 h 92989"/>
                <a:gd name="connsiteX1" fmla="*/ 117750 w 119430"/>
                <a:gd name="connsiteY1" fmla="*/ 46164 h 92989"/>
                <a:gd name="connsiteX2" fmla="*/ 58035 w 119430"/>
                <a:gd name="connsiteY2" fmla="*/ -1346 h 92989"/>
                <a:gd name="connsiteX3" fmla="*/ -1680 w 119430"/>
                <a:gd name="connsiteY3" fmla="*/ 46164 h 92989"/>
                <a:gd name="connsiteX4" fmla="*/ -1680 w 119430"/>
                <a:gd name="connsiteY4" fmla="*/ 91643 h 92989"/>
                <a:gd name="connsiteX5" fmla="*/ 117750 w 119430"/>
                <a:gd name="connsiteY5" fmla="*/ 91643 h 92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430" h="92989">
                  <a:moveTo>
                    <a:pt x="117750" y="91643"/>
                  </a:moveTo>
                  <a:lnTo>
                    <a:pt x="117750" y="46164"/>
                  </a:lnTo>
                  <a:cubicBezTo>
                    <a:pt x="117750" y="20028"/>
                    <a:pt x="90877" y="-1346"/>
                    <a:pt x="58035" y="-1346"/>
                  </a:cubicBezTo>
                  <a:cubicBezTo>
                    <a:pt x="25193" y="-1346"/>
                    <a:pt x="-1680" y="20028"/>
                    <a:pt x="-1680" y="46164"/>
                  </a:cubicBezTo>
                  <a:lnTo>
                    <a:pt x="-1680" y="91643"/>
                  </a:lnTo>
                  <a:lnTo>
                    <a:pt x="117750" y="91643"/>
                  </a:lnTo>
                </a:path>
              </a:pathLst>
            </a:custGeom>
            <a:solidFill>
              <a:srgbClr val="E7E9E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7" name="Freeform: Shape 1746">
              <a:extLst>
                <a:ext uri="{FF2B5EF4-FFF2-40B4-BE49-F238E27FC236}">
                  <a16:creationId xmlns:a16="http://schemas.microsoft.com/office/drawing/2014/main" id="{17A4A9F6-3E24-4D7C-B010-90D09C93DE7A}"/>
                </a:ext>
              </a:extLst>
            </p:cNvPr>
            <p:cNvSpPr/>
            <p:nvPr/>
          </p:nvSpPr>
          <p:spPr>
            <a:xfrm flipV="1">
              <a:off x="6014752" y="3441209"/>
              <a:ext cx="67906" cy="11531"/>
            </a:xfrm>
            <a:custGeom>
              <a:avLst/>
              <a:gdLst>
                <a:gd name="connsiteX0" fmla="*/ 15664 w 67906"/>
                <a:gd name="connsiteY0" fmla="*/ 4926 h 11531"/>
                <a:gd name="connsiteX1" fmla="*/ 66223 w 67906"/>
                <a:gd name="connsiteY1" fmla="*/ 10222 h 11531"/>
                <a:gd name="connsiteX2" fmla="*/ 27387 w 67906"/>
                <a:gd name="connsiteY2" fmla="*/ -1310 h 11531"/>
                <a:gd name="connsiteX3" fmla="*/ -1684 w 67906"/>
                <a:gd name="connsiteY3" fmla="*/ 4773 h 11531"/>
                <a:gd name="connsiteX4" fmla="*/ 15664 w 67906"/>
                <a:gd name="connsiteY4" fmla="*/ 4926 h 1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906" h="11531">
                  <a:moveTo>
                    <a:pt x="15664" y="4926"/>
                  </a:moveTo>
                  <a:cubicBezTo>
                    <a:pt x="32797" y="5103"/>
                    <a:pt x="49383" y="8151"/>
                    <a:pt x="66223" y="10222"/>
                  </a:cubicBezTo>
                  <a:cubicBezTo>
                    <a:pt x="55745" y="3071"/>
                    <a:pt x="42195" y="-1310"/>
                    <a:pt x="27387" y="-1310"/>
                  </a:cubicBezTo>
                  <a:cubicBezTo>
                    <a:pt x="16845" y="-1310"/>
                    <a:pt x="6939" y="925"/>
                    <a:pt x="-1684" y="4773"/>
                  </a:cubicBezTo>
                  <a:cubicBezTo>
                    <a:pt x="4095" y="4799"/>
                    <a:pt x="9873" y="4875"/>
                    <a:pt x="15664" y="4926"/>
                  </a:cubicBezTo>
                </a:path>
              </a:pathLst>
            </a:custGeom>
            <a:solidFill>
              <a:srgbClr val="A5A5A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8" name="Freeform: Shape 1747">
              <a:extLst>
                <a:ext uri="{FF2B5EF4-FFF2-40B4-BE49-F238E27FC236}">
                  <a16:creationId xmlns:a16="http://schemas.microsoft.com/office/drawing/2014/main" id="{B98B1F7E-E873-4437-A218-7557777BE2D8}"/>
                </a:ext>
              </a:extLst>
            </p:cNvPr>
            <p:cNvSpPr/>
            <p:nvPr/>
          </p:nvSpPr>
          <p:spPr>
            <a:xfrm flipV="1">
              <a:off x="5984107" y="3359751"/>
              <a:ext cx="40462" cy="90385"/>
            </a:xfrm>
            <a:custGeom>
              <a:avLst/>
              <a:gdLst>
                <a:gd name="connsiteX0" fmla="*/ 27391 w 40462"/>
                <a:gd name="connsiteY0" fmla="*/ 89038 h 90385"/>
                <a:gd name="connsiteX1" fmla="*/ 27315 w 40462"/>
                <a:gd name="connsiteY1" fmla="*/ 18236 h 90385"/>
                <a:gd name="connsiteX2" fmla="*/ 38809 w 40462"/>
                <a:gd name="connsiteY2" fmla="*/ -1347 h 90385"/>
                <a:gd name="connsiteX3" fmla="*/ -1653 w 40462"/>
                <a:gd name="connsiteY3" fmla="*/ 43560 h 90385"/>
                <a:gd name="connsiteX4" fmla="*/ -1653 w 40462"/>
                <a:gd name="connsiteY4" fmla="*/ 89038 h 90385"/>
                <a:gd name="connsiteX5" fmla="*/ 27391 w 40462"/>
                <a:gd name="connsiteY5" fmla="*/ 89038 h 9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62" h="90385">
                  <a:moveTo>
                    <a:pt x="27391" y="89038"/>
                  </a:moveTo>
                  <a:cubicBezTo>
                    <a:pt x="24775" y="65315"/>
                    <a:pt x="19721" y="40385"/>
                    <a:pt x="27315" y="18236"/>
                  </a:cubicBezTo>
                  <a:cubicBezTo>
                    <a:pt x="29830" y="10895"/>
                    <a:pt x="33970" y="4533"/>
                    <a:pt x="38809" y="-1347"/>
                  </a:cubicBezTo>
                  <a:cubicBezTo>
                    <a:pt x="15352" y="5066"/>
                    <a:pt x="-1653" y="22782"/>
                    <a:pt x="-1653" y="43560"/>
                  </a:cubicBezTo>
                  <a:lnTo>
                    <a:pt x="-1653" y="89038"/>
                  </a:lnTo>
                  <a:lnTo>
                    <a:pt x="27391" y="89038"/>
                  </a:lnTo>
                </a:path>
              </a:pathLst>
            </a:custGeom>
            <a:solidFill>
              <a:srgbClr val="A5A5A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9" name="Freeform: Shape 1748">
              <a:extLst>
                <a:ext uri="{FF2B5EF4-FFF2-40B4-BE49-F238E27FC236}">
                  <a16:creationId xmlns:a16="http://schemas.microsoft.com/office/drawing/2014/main" id="{B8E54D03-EDAE-4A98-9515-A6746C002153}"/>
                </a:ext>
              </a:extLst>
            </p:cNvPr>
            <p:cNvSpPr/>
            <p:nvPr/>
          </p:nvSpPr>
          <p:spPr>
            <a:xfrm flipV="1">
              <a:off x="6081884" y="3362317"/>
              <a:ext cx="55498" cy="69519"/>
            </a:xfrm>
            <a:custGeom>
              <a:avLst/>
              <a:gdLst>
                <a:gd name="connsiteX0" fmla="*/ 8041 w 55498"/>
                <a:gd name="connsiteY0" fmla="*/ 40416 h 69519"/>
                <a:gd name="connsiteX1" fmla="*/ 8041 w 55498"/>
                <a:gd name="connsiteY1" fmla="*/ 26382 h 69519"/>
                <a:gd name="connsiteX2" fmla="*/ 26024 w 55498"/>
                <a:gd name="connsiteY2" fmla="*/ 8399 h 69519"/>
                <a:gd name="connsiteX3" fmla="*/ 44020 w 55498"/>
                <a:gd name="connsiteY3" fmla="*/ 26382 h 69519"/>
                <a:gd name="connsiteX4" fmla="*/ 44020 w 55498"/>
                <a:gd name="connsiteY4" fmla="*/ 40416 h 69519"/>
                <a:gd name="connsiteX5" fmla="*/ 26024 w 55498"/>
                <a:gd name="connsiteY5" fmla="*/ 58411 h 69519"/>
                <a:gd name="connsiteX6" fmla="*/ 8041 w 55498"/>
                <a:gd name="connsiteY6" fmla="*/ 40416 h 69519"/>
                <a:gd name="connsiteX7" fmla="*/ -1725 w 55498"/>
                <a:gd name="connsiteY7" fmla="*/ 26382 h 69519"/>
                <a:gd name="connsiteX8" fmla="*/ -1725 w 55498"/>
                <a:gd name="connsiteY8" fmla="*/ 40416 h 69519"/>
                <a:gd name="connsiteX9" fmla="*/ 26024 w 55498"/>
                <a:gd name="connsiteY9" fmla="*/ 68165 h 69519"/>
                <a:gd name="connsiteX10" fmla="*/ 53773 w 55498"/>
                <a:gd name="connsiteY10" fmla="*/ 40416 h 69519"/>
                <a:gd name="connsiteX11" fmla="*/ 53773 w 55498"/>
                <a:gd name="connsiteY11" fmla="*/ 26382 h 69519"/>
                <a:gd name="connsiteX12" fmla="*/ 26024 w 55498"/>
                <a:gd name="connsiteY12" fmla="*/ -1354 h 69519"/>
                <a:gd name="connsiteX13" fmla="*/ -1725 w 55498"/>
                <a:gd name="connsiteY13" fmla="*/ 26382 h 6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498" h="69519">
                  <a:moveTo>
                    <a:pt x="8041" y="40416"/>
                  </a:moveTo>
                  <a:lnTo>
                    <a:pt x="8041" y="26382"/>
                  </a:lnTo>
                  <a:cubicBezTo>
                    <a:pt x="8041" y="16476"/>
                    <a:pt x="16105" y="8399"/>
                    <a:pt x="26024" y="8399"/>
                  </a:cubicBezTo>
                  <a:cubicBezTo>
                    <a:pt x="35943" y="8399"/>
                    <a:pt x="44020" y="16476"/>
                    <a:pt x="44020" y="26382"/>
                  </a:cubicBezTo>
                  <a:lnTo>
                    <a:pt x="44020" y="40416"/>
                  </a:lnTo>
                  <a:cubicBezTo>
                    <a:pt x="44020" y="50334"/>
                    <a:pt x="35943" y="58411"/>
                    <a:pt x="26024" y="58411"/>
                  </a:cubicBezTo>
                  <a:cubicBezTo>
                    <a:pt x="16105" y="58411"/>
                    <a:pt x="8041" y="50334"/>
                    <a:pt x="8041" y="40416"/>
                  </a:cubicBezTo>
                  <a:close/>
                  <a:moveTo>
                    <a:pt x="-1725" y="26382"/>
                  </a:moveTo>
                  <a:lnTo>
                    <a:pt x="-1725" y="40416"/>
                  </a:lnTo>
                  <a:cubicBezTo>
                    <a:pt x="-1725" y="55719"/>
                    <a:pt x="10721" y="68165"/>
                    <a:pt x="26024" y="68165"/>
                  </a:cubicBezTo>
                  <a:cubicBezTo>
                    <a:pt x="41340" y="68165"/>
                    <a:pt x="53773" y="55719"/>
                    <a:pt x="53773" y="40416"/>
                  </a:cubicBezTo>
                  <a:lnTo>
                    <a:pt x="53773" y="26382"/>
                  </a:lnTo>
                  <a:cubicBezTo>
                    <a:pt x="53773" y="11091"/>
                    <a:pt x="41340" y="-1354"/>
                    <a:pt x="26024" y="-1354"/>
                  </a:cubicBezTo>
                  <a:cubicBezTo>
                    <a:pt x="10721" y="-1354"/>
                    <a:pt x="-1725" y="11091"/>
                    <a:pt x="-1725" y="26382"/>
                  </a:cubicBezTo>
                </a:path>
              </a:pathLst>
            </a:custGeom>
            <a:solidFill>
              <a:srgbClr val="E7E9E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0" name="Freeform: Shape 1749">
              <a:extLst>
                <a:ext uri="{FF2B5EF4-FFF2-40B4-BE49-F238E27FC236}">
                  <a16:creationId xmlns:a16="http://schemas.microsoft.com/office/drawing/2014/main" id="{8E689A27-EEB9-4BA3-9E91-020AEBE130F9}"/>
                </a:ext>
              </a:extLst>
            </p:cNvPr>
            <p:cNvSpPr/>
            <p:nvPr/>
          </p:nvSpPr>
          <p:spPr>
            <a:xfrm flipV="1">
              <a:off x="4579755" y="3494739"/>
              <a:ext cx="303339" cy="833919"/>
            </a:xfrm>
            <a:custGeom>
              <a:avLst/>
              <a:gdLst>
                <a:gd name="connsiteX0" fmla="*/ 121036 w 303339"/>
                <a:gd name="connsiteY0" fmla="*/ 833024 h 833919"/>
                <a:gd name="connsiteX1" fmla="*/ 302555 w 303339"/>
                <a:gd name="connsiteY1" fmla="*/ 832414 h 833919"/>
                <a:gd name="connsiteX2" fmla="*/ 170755 w 303339"/>
                <a:gd name="connsiteY2" fmla="*/ -895 h 833919"/>
                <a:gd name="connsiteX3" fmla="*/ -785 w 303339"/>
                <a:gd name="connsiteY3" fmla="*/ -880 h 833919"/>
                <a:gd name="connsiteX4" fmla="*/ 121036 w 303339"/>
                <a:gd name="connsiteY4" fmla="*/ 833024 h 83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339" h="833919">
                  <a:moveTo>
                    <a:pt x="121036" y="833024"/>
                  </a:moveTo>
                  <a:lnTo>
                    <a:pt x="302555" y="832414"/>
                  </a:lnTo>
                  <a:lnTo>
                    <a:pt x="170755" y="-895"/>
                  </a:lnTo>
                  <a:lnTo>
                    <a:pt x="-785" y="-880"/>
                  </a:lnTo>
                  <a:lnTo>
                    <a:pt x="121036" y="833024"/>
                  </a:lnTo>
                </a:path>
              </a:pathLst>
            </a:custGeom>
            <a:solidFill>
              <a:srgbClr val="4F4C4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1" name="Freeform: Shape 1750">
              <a:extLst>
                <a:ext uri="{FF2B5EF4-FFF2-40B4-BE49-F238E27FC236}">
                  <a16:creationId xmlns:a16="http://schemas.microsoft.com/office/drawing/2014/main" id="{94ACB967-37CA-4D32-A925-00872C8DDC2A}"/>
                </a:ext>
              </a:extLst>
            </p:cNvPr>
            <p:cNvSpPr/>
            <p:nvPr/>
          </p:nvSpPr>
          <p:spPr>
            <a:xfrm flipV="1">
              <a:off x="4611183" y="3501115"/>
              <a:ext cx="232619" cy="818068"/>
            </a:xfrm>
            <a:custGeom>
              <a:avLst/>
              <a:gdLst>
                <a:gd name="connsiteX0" fmla="*/ 136944 w 232619"/>
                <a:gd name="connsiteY0" fmla="*/ 789613 h 818068"/>
                <a:gd name="connsiteX1" fmla="*/ 231837 w 232619"/>
                <a:gd name="connsiteY1" fmla="*/ 817172 h 818068"/>
                <a:gd name="connsiteX2" fmla="*/ 94642 w 232619"/>
                <a:gd name="connsiteY2" fmla="*/ -897 h 818068"/>
                <a:gd name="connsiteX3" fmla="*/ -782 w 232619"/>
                <a:gd name="connsiteY3" fmla="*/ 1237 h 818068"/>
                <a:gd name="connsiteX4" fmla="*/ 136944 w 232619"/>
                <a:gd name="connsiteY4" fmla="*/ 789613 h 81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619" h="818068">
                  <a:moveTo>
                    <a:pt x="136944" y="789613"/>
                  </a:moveTo>
                  <a:lnTo>
                    <a:pt x="231837" y="817172"/>
                  </a:lnTo>
                  <a:lnTo>
                    <a:pt x="94642" y="-897"/>
                  </a:lnTo>
                  <a:lnTo>
                    <a:pt x="-782" y="1237"/>
                  </a:lnTo>
                  <a:lnTo>
                    <a:pt x="136944" y="789613"/>
                  </a:lnTo>
                </a:path>
              </a:pathLst>
            </a:custGeom>
            <a:solidFill>
              <a:srgbClr val="39353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2" name="Freeform: Shape 1751">
              <a:extLst>
                <a:ext uri="{FF2B5EF4-FFF2-40B4-BE49-F238E27FC236}">
                  <a16:creationId xmlns:a16="http://schemas.microsoft.com/office/drawing/2014/main" id="{019C3B98-F421-44DA-95E1-6FFF3D0623CF}"/>
                </a:ext>
              </a:extLst>
            </p:cNvPr>
            <p:cNvSpPr/>
            <p:nvPr/>
          </p:nvSpPr>
          <p:spPr>
            <a:xfrm flipV="1">
              <a:off x="7231980" y="3494739"/>
              <a:ext cx="303338" cy="833919"/>
            </a:xfrm>
            <a:custGeom>
              <a:avLst/>
              <a:gdLst>
                <a:gd name="connsiteX0" fmla="*/ 178926 w 303338"/>
                <a:gd name="connsiteY0" fmla="*/ 833024 h 833919"/>
                <a:gd name="connsiteX1" fmla="*/ -2595 w 303338"/>
                <a:gd name="connsiteY1" fmla="*/ 832414 h 833919"/>
                <a:gd name="connsiteX2" fmla="*/ 129206 w 303338"/>
                <a:gd name="connsiteY2" fmla="*/ -895 h 833919"/>
                <a:gd name="connsiteX3" fmla="*/ 300744 w 303338"/>
                <a:gd name="connsiteY3" fmla="*/ -880 h 833919"/>
                <a:gd name="connsiteX4" fmla="*/ 178926 w 303338"/>
                <a:gd name="connsiteY4" fmla="*/ 833024 h 83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338" h="833919">
                  <a:moveTo>
                    <a:pt x="178926" y="833024"/>
                  </a:moveTo>
                  <a:lnTo>
                    <a:pt x="-2595" y="832414"/>
                  </a:lnTo>
                  <a:lnTo>
                    <a:pt x="129206" y="-895"/>
                  </a:lnTo>
                  <a:lnTo>
                    <a:pt x="300744" y="-880"/>
                  </a:lnTo>
                  <a:lnTo>
                    <a:pt x="178926" y="833024"/>
                  </a:lnTo>
                </a:path>
              </a:pathLst>
            </a:custGeom>
            <a:solidFill>
              <a:srgbClr val="4F4C4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3" name="Freeform: Shape 1752">
              <a:extLst>
                <a:ext uri="{FF2B5EF4-FFF2-40B4-BE49-F238E27FC236}">
                  <a16:creationId xmlns:a16="http://schemas.microsoft.com/office/drawing/2014/main" id="{7884D8B8-8A0D-4530-B16C-718A00A741C0}"/>
                </a:ext>
              </a:extLst>
            </p:cNvPr>
            <p:cNvSpPr/>
            <p:nvPr/>
          </p:nvSpPr>
          <p:spPr>
            <a:xfrm flipV="1">
              <a:off x="7271274" y="3501115"/>
              <a:ext cx="232625" cy="818068"/>
            </a:xfrm>
            <a:custGeom>
              <a:avLst/>
              <a:gdLst>
                <a:gd name="connsiteX0" fmla="*/ 92297 w 232625"/>
                <a:gd name="connsiteY0" fmla="*/ 789613 h 818068"/>
                <a:gd name="connsiteX1" fmla="*/ -2597 w 232625"/>
                <a:gd name="connsiteY1" fmla="*/ 817172 h 818068"/>
                <a:gd name="connsiteX2" fmla="*/ 134600 w 232625"/>
                <a:gd name="connsiteY2" fmla="*/ -897 h 818068"/>
                <a:gd name="connsiteX3" fmla="*/ 230028 w 232625"/>
                <a:gd name="connsiteY3" fmla="*/ 1237 h 818068"/>
                <a:gd name="connsiteX4" fmla="*/ 92297 w 232625"/>
                <a:gd name="connsiteY4" fmla="*/ 789613 h 818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625" h="818068">
                  <a:moveTo>
                    <a:pt x="92297" y="789613"/>
                  </a:moveTo>
                  <a:lnTo>
                    <a:pt x="-2597" y="817172"/>
                  </a:lnTo>
                  <a:lnTo>
                    <a:pt x="134600" y="-897"/>
                  </a:lnTo>
                  <a:lnTo>
                    <a:pt x="230028" y="1237"/>
                  </a:lnTo>
                  <a:lnTo>
                    <a:pt x="92297" y="789613"/>
                  </a:lnTo>
                </a:path>
              </a:pathLst>
            </a:custGeom>
            <a:solidFill>
              <a:srgbClr val="39353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54" name="Graphic 6">
              <a:extLst>
                <a:ext uri="{FF2B5EF4-FFF2-40B4-BE49-F238E27FC236}">
                  <a16:creationId xmlns:a16="http://schemas.microsoft.com/office/drawing/2014/main" id="{486B815A-D541-4BEA-98C6-4CF65CC5C25B}"/>
                </a:ext>
              </a:extLst>
            </p:cNvPr>
            <p:cNvGrpSpPr/>
            <p:nvPr/>
          </p:nvGrpSpPr>
          <p:grpSpPr>
            <a:xfrm>
              <a:off x="4686991" y="3579766"/>
              <a:ext cx="2162" cy="14820"/>
              <a:chOff x="4686991" y="3579766"/>
              <a:chExt cx="2162" cy="14820"/>
            </a:xfrm>
          </p:grpSpPr>
          <p:sp>
            <p:nvSpPr>
              <p:cNvPr id="1878" name="Freeform: Shape 1877">
                <a:extLst>
                  <a:ext uri="{FF2B5EF4-FFF2-40B4-BE49-F238E27FC236}">
                    <a16:creationId xmlns:a16="http://schemas.microsoft.com/office/drawing/2014/main" id="{D993DE6B-44B7-411B-BC34-68155E5F6767}"/>
                  </a:ext>
                </a:extLst>
              </p:cNvPr>
              <p:cNvSpPr/>
              <p:nvPr/>
            </p:nvSpPr>
            <p:spPr>
              <a:xfrm flipV="1">
                <a:off x="4686991" y="3579766"/>
                <a:ext cx="2162" cy="14820"/>
              </a:xfrm>
              <a:custGeom>
                <a:avLst/>
                <a:gdLst>
                  <a:gd name="connsiteX0" fmla="*/ -755 w 2162"/>
                  <a:gd name="connsiteY0" fmla="*/ -1185 h 14820"/>
                  <a:gd name="connsiteX1" fmla="*/ 1408 w 2162"/>
                  <a:gd name="connsiteY1" fmla="*/ -1185 h 14820"/>
                  <a:gd name="connsiteX2" fmla="*/ 1408 w 2162"/>
                  <a:gd name="connsiteY2" fmla="*/ 13636 h 14820"/>
                  <a:gd name="connsiteX3" fmla="*/ -755 w 2162"/>
                  <a:gd name="connsiteY3" fmla="*/ 13636 h 14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62" h="14820">
                    <a:moveTo>
                      <a:pt x="-755" y="-1185"/>
                    </a:moveTo>
                    <a:lnTo>
                      <a:pt x="1408" y="-1185"/>
                    </a:lnTo>
                    <a:lnTo>
                      <a:pt x="1408" y="13636"/>
                    </a:lnTo>
                    <a:lnTo>
                      <a:pt x="-755" y="13636"/>
                    </a:lnTo>
                    <a:close/>
                  </a:path>
                </a:pathLst>
              </a:custGeom>
              <a:solidFill>
                <a:srgbClr val="4C4340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79" name="Freeform: Shape 1878">
                <a:extLst>
                  <a:ext uri="{FF2B5EF4-FFF2-40B4-BE49-F238E27FC236}">
                    <a16:creationId xmlns:a16="http://schemas.microsoft.com/office/drawing/2014/main" id="{701E69CC-A724-4E5B-B982-FBE53538790F}"/>
                  </a:ext>
                </a:extLst>
              </p:cNvPr>
              <p:cNvSpPr/>
              <p:nvPr/>
            </p:nvSpPr>
            <p:spPr>
              <a:xfrm flipV="1">
                <a:off x="4686991" y="3579766"/>
                <a:ext cx="2162" cy="14820"/>
              </a:xfrm>
              <a:custGeom>
                <a:avLst/>
                <a:gdLst>
                  <a:gd name="connsiteX0" fmla="*/ -755 w 2162"/>
                  <a:gd name="connsiteY0" fmla="*/ -1185 h 14820"/>
                  <a:gd name="connsiteX1" fmla="*/ 1408 w 2162"/>
                  <a:gd name="connsiteY1" fmla="*/ -1185 h 14820"/>
                  <a:gd name="connsiteX2" fmla="*/ 1408 w 2162"/>
                  <a:gd name="connsiteY2" fmla="*/ 13636 h 14820"/>
                  <a:gd name="connsiteX3" fmla="*/ -755 w 2162"/>
                  <a:gd name="connsiteY3" fmla="*/ 13636 h 14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62" h="14820">
                    <a:moveTo>
                      <a:pt x="-755" y="-1185"/>
                    </a:moveTo>
                    <a:lnTo>
                      <a:pt x="1408" y="-1185"/>
                    </a:lnTo>
                    <a:lnTo>
                      <a:pt x="1408" y="13636"/>
                    </a:lnTo>
                    <a:lnTo>
                      <a:pt x="-755" y="13636"/>
                    </a:lnTo>
                    <a:close/>
                  </a:path>
                </a:pathLst>
              </a:custGeom>
              <a:solidFill>
                <a:srgbClr val="110B09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55" name="Freeform: Shape 1754">
              <a:extLst>
                <a:ext uri="{FF2B5EF4-FFF2-40B4-BE49-F238E27FC236}">
                  <a16:creationId xmlns:a16="http://schemas.microsoft.com/office/drawing/2014/main" id="{AD1844CD-AB02-4DA7-9BFD-3C580A5C86E1}"/>
                </a:ext>
              </a:extLst>
            </p:cNvPr>
            <p:cNvSpPr/>
            <p:nvPr/>
          </p:nvSpPr>
          <p:spPr>
            <a:xfrm flipV="1">
              <a:off x="4675398" y="3594587"/>
              <a:ext cx="11593" cy="79362"/>
            </a:xfrm>
            <a:custGeom>
              <a:avLst/>
              <a:gdLst>
                <a:gd name="connsiteX0" fmla="*/ -751 w 11593"/>
                <a:gd name="connsiteY0" fmla="*/ -1143 h 79362"/>
                <a:gd name="connsiteX1" fmla="*/ 10843 w 11593"/>
                <a:gd name="connsiteY1" fmla="*/ 78219 h 79362"/>
                <a:gd name="connsiteX2" fmla="*/ 10843 w 11593"/>
                <a:gd name="connsiteY2" fmla="*/ 78219 h 79362"/>
                <a:gd name="connsiteX3" fmla="*/ -751 w 11593"/>
                <a:gd name="connsiteY3" fmla="*/ -1143 h 79362"/>
                <a:gd name="connsiteX4" fmla="*/ -751 w 11593"/>
                <a:gd name="connsiteY4" fmla="*/ -1143 h 79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3" h="79362">
                  <a:moveTo>
                    <a:pt x="-751" y="-1143"/>
                  </a:moveTo>
                  <a:lnTo>
                    <a:pt x="10843" y="78219"/>
                  </a:lnTo>
                  <a:lnTo>
                    <a:pt x="10843" y="78219"/>
                  </a:lnTo>
                  <a:lnTo>
                    <a:pt x="-751" y="-1143"/>
                  </a:lnTo>
                  <a:lnTo>
                    <a:pt x="-751" y="-1143"/>
                  </a:lnTo>
                </a:path>
              </a:pathLst>
            </a:custGeom>
            <a:solidFill>
              <a:srgbClr val="221E1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6" name="Freeform: Shape 1755">
              <a:extLst>
                <a:ext uri="{FF2B5EF4-FFF2-40B4-BE49-F238E27FC236}">
                  <a16:creationId xmlns:a16="http://schemas.microsoft.com/office/drawing/2014/main" id="{2B9C6B76-DA83-484E-8903-AACD0B7E54E6}"/>
                </a:ext>
              </a:extLst>
            </p:cNvPr>
            <p:cNvSpPr/>
            <p:nvPr/>
          </p:nvSpPr>
          <p:spPr>
            <a:xfrm flipV="1">
              <a:off x="4689154" y="3494739"/>
              <a:ext cx="12421" cy="85026"/>
            </a:xfrm>
            <a:custGeom>
              <a:avLst/>
              <a:gdLst>
                <a:gd name="connsiteX0" fmla="*/ -760 w 12421"/>
                <a:gd name="connsiteY0" fmla="*/ -1229 h 85026"/>
                <a:gd name="connsiteX1" fmla="*/ 11662 w 12421"/>
                <a:gd name="connsiteY1" fmla="*/ 83797 h 85026"/>
                <a:gd name="connsiteX2" fmla="*/ -760 w 12421"/>
                <a:gd name="connsiteY2" fmla="*/ -1229 h 85026"/>
                <a:gd name="connsiteX3" fmla="*/ -760 w 12421"/>
                <a:gd name="connsiteY3" fmla="*/ -1229 h 85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21" h="85026">
                  <a:moveTo>
                    <a:pt x="-760" y="-1229"/>
                  </a:moveTo>
                  <a:lnTo>
                    <a:pt x="11662" y="83797"/>
                  </a:lnTo>
                  <a:lnTo>
                    <a:pt x="-760" y="-1229"/>
                  </a:lnTo>
                  <a:lnTo>
                    <a:pt x="-760" y="-1229"/>
                  </a:lnTo>
                </a:path>
              </a:pathLst>
            </a:custGeom>
            <a:solidFill>
              <a:srgbClr val="27262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7" name="Freeform: Shape 1756">
              <a:extLst>
                <a:ext uri="{FF2B5EF4-FFF2-40B4-BE49-F238E27FC236}">
                  <a16:creationId xmlns:a16="http://schemas.microsoft.com/office/drawing/2014/main" id="{845D5856-BB8E-45E2-9FDE-9AE4FCF7DFD9}"/>
                </a:ext>
              </a:extLst>
            </p:cNvPr>
            <p:cNvSpPr/>
            <p:nvPr/>
          </p:nvSpPr>
          <p:spPr>
            <a:xfrm flipV="1">
              <a:off x="4675398" y="3494739"/>
              <a:ext cx="207697" cy="179209"/>
            </a:xfrm>
            <a:custGeom>
              <a:avLst/>
              <a:gdLst>
                <a:gd name="connsiteX0" fmla="*/ -817 w 207697"/>
                <a:gd name="connsiteY0" fmla="*/ -1187 h 179209"/>
                <a:gd name="connsiteX1" fmla="*/ 10776 w 207697"/>
                <a:gd name="connsiteY1" fmla="*/ 78175 h 179209"/>
                <a:gd name="connsiteX2" fmla="*/ 12939 w 207697"/>
                <a:gd name="connsiteY2" fmla="*/ 92996 h 179209"/>
                <a:gd name="connsiteX3" fmla="*/ 25361 w 207697"/>
                <a:gd name="connsiteY3" fmla="*/ 178022 h 179209"/>
                <a:gd name="connsiteX4" fmla="*/ 206880 w 207697"/>
                <a:gd name="connsiteY4" fmla="*/ 177412 h 179209"/>
                <a:gd name="connsiteX5" fmla="*/ 179994 w 207697"/>
                <a:gd name="connsiteY5" fmla="*/ 7474 h 179209"/>
                <a:gd name="connsiteX6" fmla="*/ 139850 w 207697"/>
                <a:gd name="connsiteY6" fmla="*/ 6267 h 179209"/>
                <a:gd name="connsiteX7" fmla="*/ 167587 w 207697"/>
                <a:gd name="connsiteY7" fmla="*/ 171646 h 179209"/>
                <a:gd name="connsiteX8" fmla="*/ 72694 w 207697"/>
                <a:gd name="connsiteY8" fmla="*/ 144088 h 179209"/>
                <a:gd name="connsiteX9" fmla="*/ 47889 w 207697"/>
                <a:gd name="connsiteY9" fmla="*/ 2089 h 179209"/>
                <a:gd name="connsiteX10" fmla="*/ -817 w 207697"/>
                <a:gd name="connsiteY10" fmla="*/ -1187 h 179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7697" h="179209">
                  <a:moveTo>
                    <a:pt x="-817" y="-1187"/>
                  </a:moveTo>
                  <a:lnTo>
                    <a:pt x="10776" y="78175"/>
                  </a:lnTo>
                  <a:lnTo>
                    <a:pt x="12939" y="92996"/>
                  </a:lnTo>
                  <a:lnTo>
                    <a:pt x="25361" y="178022"/>
                  </a:lnTo>
                  <a:lnTo>
                    <a:pt x="206880" y="177412"/>
                  </a:lnTo>
                  <a:lnTo>
                    <a:pt x="179994" y="7474"/>
                  </a:lnTo>
                  <a:cubicBezTo>
                    <a:pt x="166614" y="7118"/>
                    <a:pt x="153229" y="6725"/>
                    <a:pt x="139850" y="6267"/>
                  </a:cubicBezTo>
                  <a:lnTo>
                    <a:pt x="167587" y="171646"/>
                  </a:lnTo>
                  <a:lnTo>
                    <a:pt x="72694" y="144088"/>
                  </a:lnTo>
                  <a:lnTo>
                    <a:pt x="47889" y="2089"/>
                  </a:lnTo>
                  <a:cubicBezTo>
                    <a:pt x="31642" y="1137"/>
                    <a:pt x="15404" y="57"/>
                    <a:pt x="-817" y="-1187"/>
                  </a:cubicBezTo>
                </a:path>
              </a:pathLst>
            </a:custGeom>
            <a:solidFill>
              <a:srgbClr val="38353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8" name="Freeform: Shape 1757">
              <a:extLst>
                <a:ext uri="{FF2B5EF4-FFF2-40B4-BE49-F238E27FC236}">
                  <a16:creationId xmlns:a16="http://schemas.microsoft.com/office/drawing/2014/main" id="{7EA6F40E-172C-4995-9D69-34A3C99AF5BA}"/>
                </a:ext>
              </a:extLst>
            </p:cNvPr>
            <p:cNvSpPr/>
            <p:nvPr/>
          </p:nvSpPr>
          <p:spPr>
            <a:xfrm flipV="1">
              <a:off x="4724105" y="3501115"/>
              <a:ext cx="119697" cy="169557"/>
            </a:xfrm>
            <a:custGeom>
              <a:avLst/>
              <a:gdLst>
                <a:gd name="connsiteX0" fmla="*/ -821 w 119697"/>
                <a:gd name="connsiteY0" fmla="*/ -1186 h 169557"/>
                <a:gd name="connsiteX1" fmla="*/ 23984 w 119697"/>
                <a:gd name="connsiteY1" fmla="*/ 140812 h 169557"/>
                <a:gd name="connsiteX2" fmla="*/ 118877 w 119697"/>
                <a:gd name="connsiteY2" fmla="*/ 168371 h 169557"/>
                <a:gd name="connsiteX3" fmla="*/ 91140 w 119697"/>
                <a:gd name="connsiteY3" fmla="*/ 2992 h 169557"/>
                <a:gd name="connsiteX4" fmla="*/ -821 w 119697"/>
                <a:gd name="connsiteY4" fmla="*/ -1186 h 16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697" h="169557">
                  <a:moveTo>
                    <a:pt x="-821" y="-1186"/>
                  </a:moveTo>
                  <a:lnTo>
                    <a:pt x="23984" y="140812"/>
                  </a:lnTo>
                  <a:lnTo>
                    <a:pt x="118877" y="168371"/>
                  </a:lnTo>
                  <a:lnTo>
                    <a:pt x="91140" y="2992"/>
                  </a:lnTo>
                  <a:cubicBezTo>
                    <a:pt x="60461" y="1938"/>
                    <a:pt x="29808" y="605"/>
                    <a:pt x="-821" y="-1186"/>
                  </a:cubicBezTo>
                </a:path>
              </a:pathLst>
            </a:custGeom>
            <a:solidFill>
              <a:srgbClr val="2E2A2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9" name="Freeform: Shape 1758">
              <a:extLst>
                <a:ext uri="{FF2B5EF4-FFF2-40B4-BE49-F238E27FC236}">
                  <a16:creationId xmlns:a16="http://schemas.microsoft.com/office/drawing/2014/main" id="{79198014-AD71-475A-B89E-FA4BBDEA73BE}"/>
                </a:ext>
              </a:extLst>
            </p:cNvPr>
            <p:cNvSpPr/>
            <p:nvPr/>
          </p:nvSpPr>
          <p:spPr>
            <a:xfrm flipV="1">
              <a:off x="7413501" y="3494739"/>
              <a:ext cx="11252" cy="77050"/>
            </a:xfrm>
            <a:custGeom>
              <a:avLst/>
              <a:gdLst>
                <a:gd name="connsiteX0" fmla="*/ 8633 w 11252"/>
                <a:gd name="connsiteY0" fmla="*/ -1233 h 77050"/>
                <a:gd name="connsiteX1" fmla="*/ -2619 w 11252"/>
                <a:gd name="connsiteY1" fmla="*/ 75818 h 77050"/>
                <a:gd name="connsiteX2" fmla="*/ 8633 w 11252"/>
                <a:gd name="connsiteY2" fmla="*/ -1233 h 77050"/>
                <a:gd name="connsiteX3" fmla="*/ 8633 w 11252"/>
                <a:gd name="connsiteY3" fmla="*/ -1233 h 77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52" h="77050">
                  <a:moveTo>
                    <a:pt x="8633" y="-1233"/>
                  </a:moveTo>
                  <a:lnTo>
                    <a:pt x="-2619" y="75818"/>
                  </a:lnTo>
                  <a:lnTo>
                    <a:pt x="8633" y="-1233"/>
                  </a:lnTo>
                  <a:lnTo>
                    <a:pt x="8633" y="-1233"/>
                  </a:lnTo>
                </a:path>
              </a:pathLst>
            </a:custGeom>
            <a:solidFill>
              <a:srgbClr val="918F8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0" name="Freeform: Shape 1759">
              <a:extLst>
                <a:ext uri="{FF2B5EF4-FFF2-40B4-BE49-F238E27FC236}">
                  <a16:creationId xmlns:a16="http://schemas.microsoft.com/office/drawing/2014/main" id="{FDD07583-A293-40C2-8DE7-AB9652F0044B}"/>
                </a:ext>
              </a:extLst>
            </p:cNvPr>
            <p:cNvSpPr/>
            <p:nvPr/>
          </p:nvSpPr>
          <p:spPr>
            <a:xfrm flipV="1">
              <a:off x="7424753" y="3571790"/>
              <a:ext cx="15417" cy="105511"/>
            </a:xfrm>
            <a:custGeom>
              <a:avLst/>
              <a:gdLst>
                <a:gd name="connsiteX0" fmla="*/ 12790 w 15417"/>
                <a:gd name="connsiteY0" fmla="*/ -1152 h 105511"/>
                <a:gd name="connsiteX1" fmla="*/ -2628 w 15417"/>
                <a:gd name="connsiteY1" fmla="*/ 104360 h 105511"/>
                <a:gd name="connsiteX2" fmla="*/ -2628 w 15417"/>
                <a:gd name="connsiteY2" fmla="*/ 104360 h 105511"/>
                <a:gd name="connsiteX3" fmla="*/ 12790 w 15417"/>
                <a:gd name="connsiteY3" fmla="*/ -1152 h 105511"/>
                <a:gd name="connsiteX4" fmla="*/ 12790 w 15417"/>
                <a:gd name="connsiteY4" fmla="*/ -1152 h 10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17" h="105511">
                  <a:moveTo>
                    <a:pt x="12790" y="-1152"/>
                  </a:moveTo>
                  <a:lnTo>
                    <a:pt x="-2628" y="104360"/>
                  </a:lnTo>
                  <a:lnTo>
                    <a:pt x="-2628" y="104360"/>
                  </a:lnTo>
                  <a:lnTo>
                    <a:pt x="12790" y="-1152"/>
                  </a:lnTo>
                  <a:lnTo>
                    <a:pt x="12790" y="-1152"/>
                  </a:lnTo>
                </a:path>
              </a:pathLst>
            </a:custGeom>
            <a:solidFill>
              <a:srgbClr val="27262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1" name="Freeform: Shape 1760">
              <a:extLst>
                <a:ext uri="{FF2B5EF4-FFF2-40B4-BE49-F238E27FC236}">
                  <a16:creationId xmlns:a16="http://schemas.microsoft.com/office/drawing/2014/main" id="{DC0A3A74-337A-4930-9E24-2032E5F55B41}"/>
                </a:ext>
              </a:extLst>
            </p:cNvPr>
            <p:cNvSpPr/>
            <p:nvPr/>
          </p:nvSpPr>
          <p:spPr>
            <a:xfrm flipV="1">
              <a:off x="7231980" y="3494739"/>
              <a:ext cx="208190" cy="202412"/>
            </a:xfrm>
            <a:custGeom>
              <a:avLst/>
              <a:gdLst>
                <a:gd name="connsiteX0" fmla="*/ 29353 w 208190"/>
                <a:gd name="connsiteY0" fmla="*/ -1177 h 202412"/>
                <a:gd name="connsiteX1" fmla="*/ -2562 w 208190"/>
                <a:gd name="connsiteY1" fmla="*/ 200626 h 202412"/>
                <a:gd name="connsiteX2" fmla="*/ 178958 w 208190"/>
                <a:gd name="connsiteY2" fmla="*/ 201235 h 202412"/>
                <a:gd name="connsiteX3" fmla="*/ 190211 w 208190"/>
                <a:gd name="connsiteY3" fmla="*/ 124184 h 202412"/>
                <a:gd name="connsiteX4" fmla="*/ 205628 w 208190"/>
                <a:gd name="connsiteY4" fmla="*/ 18673 h 202412"/>
                <a:gd name="connsiteX5" fmla="*/ 158295 w 208190"/>
                <a:gd name="connsiteY5" fmla="*/ 14685 h 202412"/>
                <a:gd name="connsiteX6" fmla="*/ 131626 w 208190"/>
                <a:gd name="connsiteY6" fmla="*/ 167301 h 202412"/>
                <a:gd name="connsiteX7" fmla="*/ 36731 w 208190"/>
                <a:gd name="connsiteY7" fmla="*/ 194860 h 202412"/>
                <a:gd name="connsiteX8" fmla="*/ 68634 w 208190"/>
                <a:gd name="connsiteY8" fmla="*/ 4640 h 202412"/>
                <a:gd name="connsiteX9" fmla="*/ 29353 w 208190"/>
                <a:gd name="connsiteY9" fmla="*/ -1177 h 20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190" h="202412">
                  <a:moveTo>
                    <a:pt x="29353" y="-1177"/>
                  </a:moveTo>
                  <a:lnTo>
                    <a:pt x="-2562" y="200626"/>
                  </a:lnTo>
                  <a:lnTo>
                    <a:pt x="178958" y="201235"/>
                  </a:lnTo>
                  <a:lnTo>
                    <a:pt x="190211" y="124184"/>
                  </a:lnTo>
                  <a:lnTo>
                    <a:pt x="205628" y="18673"/>
                  </a:lnTo>
                  <a:cubicBezTo>
                    <a:pt x="189830" y="17454"/>
                    <a:pt x="174056" y="16133"/>
                    <a:pt x="158295" y="14685"/>
                  </a:cubicBezTo>
                  <a:lnTo>
                    <a:pt x="131626" y="167301"/>
                  </a:lnTo>
                  <a:lnTo>
                    <a:pt x="36731" y="194860"/>
                  </a:lnTo>
                  <a:lnTo>
                    <a:pt x="68634" y="4640"/>
                  </a:lnTo>
                  <a:cubicBezTo>
                    <a:pt x="55527" y="2862"/>
                    <a:pt x="42434" y="931"/>
                    <a:pt x="29353" y="-1177"/>
                  </a:cubicBezTo>
                </a:path>
              </a:pathLst>
            </a:custGeom>
            <a:solidFill>
              <a:srgbClr val="38353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2" name="Freeform: Shape 1761">
              <a:extLst>
                <a:ext uri="{FF2B5EF4-FFF2-40B4-BE49-F238E27FC236}">
                  <a16:creationId xmlns:a16="http://schemas.microsoft.com/office/drawing/2014/main" id="{0FFC62F1-FFFD-4826-9960-00A8571757BA}"/>
                </a:ext>
              </a:extLst>
            </p:cNvPr>
            <p:cNvSpPr/>
            <p:nvPr/>
          </p:nvSpPr>
          <p:spPr>
            <a:xfrm flipV="1">
              <a:off x="7271274" y="3501115"/>
              <a:ext cx="121564" cy="190220"/>
            </a:xfrm>
            <a:custGeom>
              <a:avLst/>
              <a:gdLst>
                <a:gd name="connsiteX0" fmla="*/ 29343 w 121564"/>
                <a:gd name="connsiteY0" fmla="*/ -1177 h 190220"/>
                <a:gd name="connsiteX1" fmla="*/ -2560 w 121564"/>
                <a:gd name="connsiteY1" fmla="*/ 189043 h 190220"/>
                <a:gd name="connsiteX2" fmla="*/ 92335 w 121564"/>
                <a:gd name="connsiteY2" fmla="*/ 161485 h 190220"/>
                <a:gd name="connsiteX3" fmla="*/ 119005 w 121564"/>
                <a:gd name="connsiteY3" fmla="*/ 8869 h 190220"/>
                <a:gd name="connsiteX4" fmla="*/ 29343 w 121564"/>
                <a:gd name="connsiteY4" fmla="*/ -1177 h 19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564" h="190220">
                  <a:moveTo>
                    <a:pt x="29343" y="-1177"/>
                  </a:moveTo>
                  <a:lnTo>
                    <a:pt x="-2560" y="189043"/>
                  </a:lnTo>
                  <a:lnTo>
                    <a:pt x="92335" y="161485"/>
                  </a:lnTo>
                  <a:lnTo>
                    <a:pt x="119005" y="8869"/>
                  </a:lnTo>
                  <a:cubicBezTo>
                    <a:pt x="89046" y="6113"/>
                    <a:pt x="59150" y="2862"/>
                    <a:pt x="29343" y="-1177"/>
                  </a:cubicBezTo>
                </a:path>
              </a:pathLst>
            </a:custGeom>
            <a:solidFill>
              <a:srgbClr val="2E2A2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3" name="Freeform: Shape 1762">
              <a:extLst>
                <a:ext uri="{FF2B5EF4-FFF2-40B4-BE49-F238E27FC236}">
                  <a16:creationId xmlns:a16="http://schemas.microsoft.com/office/drawing/2014/main" id="{B7C03D14-05EA-4E51-9DB4-2C2691DF8A2D}"/>
                </a:ext>
              </a:extLst>
            </p:cNvPr>
            <p:cNvSpPr/>
            <p:nvPr/>
          </p:nvSpPr>
          <p:spPr>
            <a:xfrm flipV="1">
              <a:off x="4534403" y="3425931"/>
              <a:ext cx="3046267" cy="117246"/>
            </a:xfrm>
            <a:custGeom>
              <a:avLst/>
              <a:gdLst>
                <a:gd name="connsiteX0" fmla="*/ 3038177 w 3046267"/>
                <a:gd name="connsiteY0" fmla="*/ 20453 h 117246"/>
                <a:gd name="connsiteX1" fmla="*/ 2815 w 3046267"/>
                <a:gd name="connsiteY1" fmla="*/ -1276 h 117246"/>
                <a:gd name="connsiteX2" fmla="*/ -1690 w 3046267"/>
                <a:gd name="connsiteY2" fmla="*/ 92081 h 117246"/>
                <a:gd name="connsiteX3" fmla="*/ 3044578 w 3046267"/>
                <a:gd name="connsiteY3" fmla="*/ 115970 h 117246"/>
                <a:gd name="connsiteX4" fmla="*/ 3038177 w 3046267"/>
                <a:gd name="connsiteY4" fmla="*/ 20453 h 11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6267" h="117246">
                  <a:moveTo>
                    <a:pt x="3038177" y="20453"/>
                  </a:moveTo>
                  <a:lnTo>
                    <a:pt x="2815" y="-1276"/>
                  </a:lnTo>
                  <a:lnTo>
                    <a:pt x="-1690" y="92081"/>
                  </a:lnTo>
                  <a:lnTo>
                    <a:pt x="3044578" y="115970"/>
                  </a:lnTo>
                  <a:lnTo>
                    <a:pt x="3038177" y="20453"/>
                  </a:lnTo>
                </a:path>
              </a:pathLst>
            </a:custGeom>
            <a:solidFill>
              <a:srgbClr val="BDBCB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4" name="Freeform: Shape 1763">
              <a:extLst>
                <a:ext uri="{FF2B5EF4-FFF2-40B4-BE49-F238E27FC236}">
                  <a16:creationId xmlns:a16="http://schemas.microsoft.com/office/drawing/2014/main" id="{98466AF5-5D1B-4A1E-A394-66829E2F9244}"/>
                </a:ext>
              </a:extLst>
            </p:cNvPr>
            <p:cNvSpPr/>
            <p:nvPr/>
          </p:nvSpPr>
          <p:spPr>
            <a:xfrm flipV="1">
              <a:off x="4560374" y="3439368"/>
              <a:ext cx="2997042" cy="79768"/>
            </a:xfrm>
            <a:custGeom>
              <a:avLst/>
              <a:gdLst>
                <a:gd name="connsiteX0" fmla="*/ 2968822 w 2997042"/>
                <a:gd name="connsiteY0" fmla="*/ 13629 h 79768"/>
                <a:gd name="connsiteX1" fmla="*/ 6950 w 2997042"/>
                <a:gd name="connsiteY1" fmla="*/ -1281 h 79768"/>
                <a:gd name="connsiteX2" fmla="*/ -1691 w 2997042"/>
                <a:gd name="connsiteY2" fmla="*/ 42584 h 79768"/>
                <a:gd name="connsiteX3" fmla="*/ 2995352 w 2997042"/>
                <a:gd name="connsiteY3" fmla="*/ 78487 h 79768"/>
                <a:gd name="connsiteX4" fmla="*/ 2968822 w 2997042"/>
                <a:gd name="connsiteY4" fmla="*/ 13629 h 79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7042" h="79768">
                  <a:moveTo>
                    <a:pt x="2968822" y="13629"/>
                  </a:moveTo>
                  <a:lnTo>
                    <a:pt x="6950" y="-1281"/>
                  </a:lnTo>
                  <a:lnTo>
                    <a:pt x="-1691" y="42584"/>
                  </a:lnTo>
                  <a:lnTo>
                    <a:pt x="2995352" y="78487"/>
                  </a:lnTo>
                  <a:lnTo>
                    <a:pt x="2968822" y="13629"/>
                  </a:lnTo>
                </a:path>
              </a:pathLst>
            </a:custGeom>
            <a:solidFill>
              <a:srgbClr val="E9E9E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5" name="Freeform: Shape 1764">
              <a:extLst>
                <a:ext uri="{FF2B5EF4-FFF2-40B4-BE49-F238E27FC236}">
                  <a16:creationId xmlns:a16="http://schemas.microsoft.com/office/drawing/2014/main" id="{E7862851-8A51-44FB-B61B-52030368C44A}"/>
                </a:ext>
              </a:extLst>
            </p:cNvPr>
            <p:cNvSpPr/>
            <p:nvPr/>
          </p:nvSpPr>
          <p:spPr>
            <a:xfrm flipV="1">
              <a:off x="6959159" y="2931129"/>
              <a:ext cx="165659" cy="253175"/>
            </a:xfrm>
            <a:custGeom>
              <a:avLst/>
              <a:gdLst>
                <a:gd name="connsiteX0" fmla="*/ 65672 w 165659"/>
                <a:gd name="connsiteY0" fmla="*/ 196592 h 253175"/>
                <a:gd name="connsiteX1" fmla="*/ -2362 w 165659"/>
                <a:gd name="connsiteY1" fmla="*/ 155470 h 253175"/>
                <a:gd name="connsiteX2" fmla="*/ 62561 w 165659"/>
                <a:gd name="connsiteY2" fmla="*/ 35138 h 253175"/>
                <a:gd name="connsiteX3" fmla="*/ 127457 w 165659"/>
                <a:gd name="connsiteY3" fmla="*/ 683 h 253175"/>
                <a:gd name="connsiteX4" fmla="*/ 160846 w 165659"/>
                <a:gd name="connsiteY4" fmla="*/ 66138 h 253175"/>
                <a:gd name="connsiteX5" fmla="*/ 114389 w 165659"/>
                <a:gd name="connsiteY5" fmla="*/ 244966 h 253175"/>
                <a:gd name="connsiteX6" fmla="*/ 65672 w 165659"/>
                <a:gd name="connsiteY6" fmla="*/ 196592 h 25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659" h="253175">
                  <a:moveTo>
                    <a:pt x="65672" y="196592"/>
                  </a:moveTo>
                  <a:cubicBezTo>
                    <a:pt x="38634" y="188071"/>
                    <a:pt x="-2362" y="155470"/>
                    <a:pt x="-2362" y="155470"/>
                  </a:cubicBezTo>
                  <a:cubicBezTo>
                    <a:pt x="60364" y="110347"/>
                    <a:pt x="62561" y="35138"/>
                    <a:pt x="62561" y="35138"/>
                  </a:cubicBezTo>
                  <a:cubicBezTo>
                    <a:pt x="71222" y="7655"/>
                    <a:pt x="100432" y="-7839"/>
                    <a:pt x="127457" y="683"/>
                  </a:cubicBezTo>
                  <a:cubicBezTo>
                    <a:pt x="154483" y="9204"/>
                    <a:pt x="169507" y="38656"/>
                    <a:pt x="160846" y="66138"/>
                  </a:cubicBezTo>
                  <a:lnTo>
                    <a:pt x="114389" y="244966"/>
                  </a:lnTo>
                  <a:cubicBezTo>
                    <a:pt x="105715" y="272449"/>
                    <a:pt x="92698" y="205114"/>
                    <a:pt x="65672" y="196592"/>
                  </a:cubicBezTo>
                </a:path>
              </a:pathLst>
            </a:custGeom>
            <a:solidFill>
              <a:srgbClr val="99655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6" name="Freeform: Shape 1765">
              <a:extLst>
                <a:ext uri="{FF2B5EF4-FFF2-40B4-BE49-F238E27FC236}">
                  <a16:creationId xmlns:a16="http://schemas.microsoft.com/office/drawing/2014/main" id="{E9BA9D49-13C7-4244-9257-8236EC31CA74}"/>
                </a:ext>
              </a:extLst>
            </p:cNvPr>
            <p:cNvSpPr/>
            <p:nvPr/>
          </p:nvSpPr>
          <p:spPr>
            <a:xfrm flipV="1">
              <a:off x="6959159" y="2931160"/>
              <a:ext cx="113886" cy="207560"/>
            </a:xfrm>
            <a:custGeom>
              <a:avLst/>
              <a:gdLst>
                <a:gd name="connsiteX0" fmla="*/ 88690 w 113886"/>
                <a:gd name="connsiteY0" fmla="*/ 80809 h 207560"/>
                <a:gd name="connsiteX1" fmla="*/ 105822 w 113886"/>
                <a:gd name="connsiteY1" fmla="*/ 150290 h 207560"/>
                <a:gd name="connsiteX2" fmla="*/ 110775 w 113886"/>
                <a:gd name="connsiteY2" fmla="*/ 205586 h 207560"/>
                <a:gd name="connsiteX3" fmla="*/ 65690 w 113886"/>
                <a:gd name="connsiteY3" fmla="*/ 150989 h 207560"/>
                <a:gd name="connsiteX4" fmla="*/ -2344 w 113886"/>
                <a:gd name="connsiteY4" fmla="*/ 109866 h 207560"/>
                <a:gd name="connsiteX5" fmla="*/ 61766 w 113886"/>
                <a:gd name="connsiteY5" fmla="*/ -1678 h 207560"/>
                <a:gd name="connsiteX6" fmla="*/ 88690 w 113886"/>
                <a:gd name="connsiteY6" fmla="*/ 80809 h 207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886" h="207560">
                  <a:moveTo>
                    <a:pt x="88690" y="80809"/>
                  </a:moveTo>
                  <a:cubicBezTo>
                    <a:pt x="94811" y="103796"/>
                    <a:pt x="100907" y="127024"/>
                    <a:pt x="105822" y="150290"/>
                  </a:cubicBezTo>
                  <a:cubicBezTo>
                    <a:pt x="109505" y="167753"/>
                    <a:pt x="113175" y="187323"/>
                    <a:pt x="110775" y="205586"/>
                  </a:cubicBezTo>
                  <a:cubicBezTo>
                    <a:pt x="102101" y="210259"/>
                    <a:pt x="89185" y="158406"/>
                    <a:pt x="65690" y="150989"/>
                  </a:cubicBezTo>
                  <a:cubicBezTo>
                    <a:pt x="38652" y="142467"/>
                    <a:pt x="-2344" y="109866"/>
                    <a:pt x="-2344" y="109866"/>
                  </a:cubicBezTo>
                  <a:cubicBezTo>
                    <a:pt x="47364" y="74103"/>
                    <a:pt x="59048" y="19455"/>
                    <a:pt x="61766" y="-1678"/>
                  </a:cubicBezTo>
                  <a:cubicBezTo>
                    <a:pt x="72268" y="25297"/>
                    <a:pt x="81247" y="52869"/>
                    <a:pt x="88690" y="80809"/>
                  </a:cubicBezTo>
                </a:path>
              </a:pathLst>
            </a:custGeom>
            <a:solidFill>
              <a:srgbClr val="99655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7" name="Freeform: Shape 1766">
              <a:extLst>
                <a:ext uri="{FF2B5EF4-FFF2-40B4-BE49-F238E27FC236}">
                  <a16:creationId xmlns:a16="http://schemas.microsoft.com/office/drawing/2014/main" id="{30C62C6C-0986-4602-B969-0A490EEC1748}"/>
                </a:ext>
              </a:extLst>
            </p:cNvPr>
            <p:cNvSpPr/>
            <p:nvPr/>
          </p:nvSpPr>
          <p:spPr>
            <a:xfrm flipV="1">
              <a:off x="6895420" y="2740152"/>
              <a:ext cx="105070" cy="135813"/>
            </a:xfrm>
            <a:custGeom>
              <a:avLst/>
              <a:gdLst>
                <a:gd name="connsiteX0" fmla="*/ 876 w 105070"/>
                <a:gd name="connsiteY0" fmla="*/ 79330 h 135813"/>
                <a:gd name="connsiteX1" fmla="*/ 32283 w 105070"/>
                <a:gd name="connsiteY1" fmla="*/ -553 h 135813"/>
                <a:gd name="connsiteX2" fmla="*/ 99593 w 105070"/>
                <a:gd name="connsiteY2" fmla="*/ 52723 h 135813"/>
                <a:gd name="connsiteX3" fmla="*/ 68199 w 105070"/>
                <a:gd name="connsiteY3" fmla="*/ 132606 h 135813"/>
                <a:gd name="connsiteX4" fmla="*/ 876 w 105070"/>
                <a:gd name="connsiteY4" fmla="*/ 79330 h 13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070" h="135813">
                  <a:moveTo>
                    <a:pt x="876" y="79330"/>
                  </a:moveTo>
                  <a:cubicBezTo>
                    <a:pt x="-9030" y="42563"/>
                    <a:pt x="5029" y="6800"/>
                    <a:pt x="32283" y="-553"/>
                  </a:cubicBezTo>
                  <a:cubicBezTo>
                    <a:pt x="59550" y="-7894"/>
                    <a:pt x="89687" y="15957"/>
                    <a:pt x="99593" y="52723"/>
                  </a:cubicBezTo>
                  <a:cubicBezTo>
                    <a:pt x="109512" y="89490"/>
                    <a:pt x="95453" y="125253"/>
                    <a:pt x="68199" y="132606"/>
                  </a:cubicBezTo>
                  <a:cubicBezTo>
                    <a:pt x="40932" y="139947"/>
                    <a:pt x="10795" y="116096"/>
                    <a:pt x="876" y="79330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8" name="Freeform: Shape 1767">
              <a:extLst>
                <a:ext uri="{FF2B5EF4-FFF2-40B4-BE49-F238E27FC236}">
                  <a16:creationId xmlns:a16="http://schemas.microsoft.com/office/drawing/2014/main" id="{54785B97-8E5A-454C-9C22-F84CF5A8B903}"/>
                </a:ext>
              </a:extLst>
            </p:cNvPr>
            <p:cNvSpPr/>
            <p:nvPr/>
          </p:nvSpPr>
          <p:spPr>
            <a:xfrm flipV="1">
              <a:off x="6866815" y="2726555"/>
              <a:ext cx="331043" cy="318126"/>
            </a:xfrm>
            <a:custGeom>
              <a:avLst/>
              <a:gdLst>
                <a:gd name="connsiteX0" fmla="*/ 79360 w 331043"/>
                <a:gd name="connsiteY0" fmla="*/ 279180 h 318126"/>
                <a:gd name="connsiteX1" fmla="*/ 41908 w 331043"/>
                <a:gd name="connsiteY1" fmla="*/ 165680 h 318126"/>
                <a:gd name="connsiteX2" fmla="*/ -2212 w 331043"/>
                <a:gd name="connsiteY2" fmla="*/ 135073 h 318126"/>
                <a:gd name="connsiteX3" fmla="*/ 31697 w 331043"/>
                <a:gd name="connsiteY3" fmla="*/ 116150 h 318126"/>
                <a:gd name="connsiteX4" fmla="*/ 25753 w 331043"/>
                <a:gd name="connsiteY4" fmla="*/ 96668 h 318126"/>
                <a:gd name="connsiteX5" fmla="*/ 28687 w 331043"/>
                <a:gd name="connsiteY5" fmla="*/ 63623 h 318126"/>
                <a:gd name="connsiteX6" fmla="*/ 21245 w 331043"/>
                <a:gd name="connsiteY6" fmla="*/ 15401 h 318126"/>
                <a:gd name="connsiteX7" fmla="*/ 211135 w 331043"/>
                <a:gd name="connsiteY7" fmla="*/ 115261 h 318126"/>
                <a:gd name="connsiteX8" fmla="*/ 296770 w 331043"/>
                <a:gd name="connsiteY8" fmla="*/ 101837 h 318126"/>
                <a:gd name="connsiteX9" fmla="*/ 327035 w 331043"/>
                <a:gd name="connsiteY9" fmla="*/ 221865 h 318126"/>
                <a:gd name="connsiteX10" fmla="*/ 229664 w 331043"/>
                <a:gd name="connsiteY10" fmla="*/ 312923 h 318126"/>
                <a:gd name="connsiteX11" fmla="*/ 79360 w 331043"/>
                <a:gd name="connsiteY11" fmla="*/ 279180 h 318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1043" h="318126">
                  <a:moveTo>
                    <a:pt x="79360" y="279180"/>
                  </a:moveTo>
                  <a:cubicBezTo>
                    <a:pt x="59471" y="268232"/>
                    <a:pt x="46581" y="182977"/>
                    <a:pt x="41908" y="165680"/>
                  </a:cubicBezTo>
                  <a:cubicBezTo>
                    <a:pt x="37246" y="148370"/>
                    <a:pt x="480" y="145093"/>
                    <a:pt x="-2212" y="135073"/>
                  </a:cubicBezTo>
                  <a:cubicBezTo>
                    <a:pt x="-4917" y="125053"/>
                    <a:pt x="31697" y="116150"/>
                    <a:pt x="31697" y="116150"/>
                  </a:cubicBezTo>
                  <a:lnTo>
                    <a:pt x="25753" y="96668"/>
                  </a:lnTo>
                  <a:lnTo>
                    <a:pt x="28687" y="63623"/>
                  </a:lnTo>
                  <a:cubicBezTo>
                    <a:pt x="28687" y="63623"/>
                    <a:pt x="25321" y="27415"/>
                    <a:pt x="21245" y="15401"/>
                  </a:cubicBezTo>
                  <a:cubicBezTo>
                    <a:pt x="65987" y="-8627"/>
                    <a:pt x="213090" y="-29747"/>
                    <a:pt x="211135" y="115261"/>
                  </a:cubicBezTo>
                  <a:cubicBezTo>
                    <a:pt x="210855" y="136279"/>
                    <a:pt x="287334" y="77212"/>
                    <a:pt x="296770" y="101837"/>
                  </a:cubicBezTo>
                  <a:cubicBezTo>
                    <a:pt x="306194" y="126475"/>
                    <a:pt x="335975" y="192985"/>
                    <a:pt x="327035" y="221865"/>
                  </a:cubicBezTo>
                  <a:cubicBezTo>
                    <a:pt x="318106" y="250757"/>
                    <a:pt x="307578" y="299576"/>
                    <a:pt x="229664" y="312923"/>
                  </a:cubicBezTo>
                  <a:cubicBezTo>
                    <a:pt x="151750" y="326271"/>
                    <a:pt x="112024" y="297137"/>
                    <a:pt x="79360" y="279180"/>
                  </a:cubicBezTo>
                </a:path>
              </a:pathLst>
            </a:custGeom>
            <a:solidFill>
              <a:srgbClr val="99655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9" name="Freeform: Shape 1768">
              <a:extLst>
                <a:ext uri="{FF2B5EF4-FFF2-40B4-BE49-F238E27FC236}">
                  <a16:creationId xmlns:a16="http://schemas.microsoft.com/office/drawing/2014/main" id="{76D0F163-0D65-4A82-BB11-0F3D7D486C28}"/>
                </a:ext>
              </a:extLst>
            </p:cNvPr>
            <p:cNvSpPr/>
            <p:nvPr/>
          </p:nvSpPr>
          <p:spPr>
            <a:xfrm flipV="1">
              <a:off x="6906886" y="2726555"/>
              <a:ext cx="290971" cy="318129"/>
            </a:xfrm>
            <a:custGeom>
              <a:avLst/>
              <a:gdLst>
                <a:gd name="connsiteX0" fmla="*/ 286949 w 290971"/>
                <a:gd name="connsiteY0" fmla="*/ 221868 h 318129"/>
                <a:gd name="connsiteX1" fmla="*/ 189579 w 290971"/>
                <a:gd name="connsiteY1" fmla="*/ 312926 h 318129"/>
                <a:gd name="connsiteX2" fmla="*/ 39275 w 290971"/>
                <a:gd name="connsiteY2" fmla="*/ 279183 h 318129"/>
                <a:gd name="connsiteX3" fmla="*/ 12643 w 290971"/>
                <a:gd name="connsiteY3" fmla="*/ 215721 h 318129"/>
                <a:gd name="connsiteX4" fmla="*/ 73857 w 290971"/>
                <a:gd name="connsiteY4" fmla="*/ 180707 h 318129"/>
                <a:gd name="connsiteX5" fmla="*/ 136582 w 290971"/>
                <a:gd name="connsiteY5" fmla="*/ 129818 h 318129"/>
                <a:gd name="connsiteX6" fmla="*/ 132251 w 290971"/>
                <a:gd name="connsiteY6" fmla="*/ 53822 h 318129"/>
                <a:gd name="connsiteX7" fmla="*/ 52787 w 290971"/>
                <a:gd name="connsiteY7" fmla="*/ 10527 h 318129"/>
                <a:gd name="connsiteX8" fmla="*/ -2369 w 290971"/>
                <a:gd name="connsiteY8" fmla="*/ 8368 h 318129"/>
                <a:gd name="connsiteX9" fmla="*/ 171049 w 290971"/>
                <a:gd name="connsiteY9" fmla="*/ 115264 h 318129"/>
                <a:gd name="connsiteX10" fmla="*/ 256685 w 290971"/>
                <a:gd name="connsiteY10" fmla="*/ 101840 h 318129"/>
                <a:gd name="connsiteX11" fmla="*/ 286949 w 290971"/>
                <a:gd name="connsiteY11" fmla="*/ 221868 h 31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971" h="318129">
                  <a:moveTo>
                    <a:pt x="286949" y="221868"/>
                  </a:moveTo>
                  <a:cubicBezTo>
                    <a:pt x="278021" y="250760"/>
                    <a:pt x="267493" y="299579"/>
                    <a:pt x="189579" y="312926"/>
                  </a:cubicBezTo>
                  <a:cubicBezTo>
                    <a:pt x="111664" y="326274"/>
                    <a:pt x="71939" y="297140"/>
                    <a:pt x="39275" y="279183"/>
                  </a:cubicBezTo>
                  <a:cubicBezTo>
                    <a:pt x="28111" y="273048"/>
                    <a:pt x="19170" y="243521"/>
                    <a:pt x="12643" y="215721"/>
                  </a:cubicBezTo>
                  <a:cubicBezTo>
                    <a:pt x="28873" y="199452"/>
                    <a:pt x="53041" y="189889"/>
                    <a:pt x="73857" y="180707"/>
                  </a:cubicBezTo>
                  <a:cubicBezTo>
                    <a:pt x="99396" y="169442"/>
                    <a:pt x="124872" y="156831"/>
                    <a:pt x="136582" y="129818"/>
                  </a:cubicBezTo>
                  <a:cubicBezTo>
                    <a:pt x="147046" y="105637"/>
                    <a:pt x="144926" y="76758"/>
                    <a:pt x="132251" y="53822"/>
                  </a:cubicBezTo>
                  <a:cubicBezTo>
                    <a:pt x="115677" y="23850"/>
                    <a:pt x="84804" y="15049"/>
                    <a:pt x="52787" y="10527"/>
                  </a:cubicBezTo>
                  <a:cubicBezTo>
                    <a:pt x="34449" y="7949"/>
                    <a:pt x="16021" y="7517"/>
                    <a:pt x="-2369" y="8368"/>
                  </a:cubicBezTo>
                  <a:cubicBezTo>
                    <a:pt x="54133" y="-11202"/>
                    <a:pt x="172802" y="-15076"/>
                    <a:pt x="171049" y="115264"/>
                  </a:cubicBezTo>
                  <a:cubicBezTo>
                    <a:pt x="170770" y="136282"/>
                    <a:pt x="247249" y="77215"/>
                    <a:pt x="256685" y="101840"/>
                  </a:cubicBezTo>
                  <a:cubicBezTo>
                    <a:pt x="266109" y="126478"/>
                    <a:pt x="295890" y="192988"/>
                    <a:pt x="286949" y="221868"/>
                  </a:cubicBezTo>
                </a:path>
              </a:pathLst>
            </a:custGeom>
            <a:solidFill>
              <a:srgbClr val="99655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0" name="Freeform: Shape 1769">
              <a:extLst>
                <a:ext uri="{FF2B5EF4-FFF2-40B4-BE49-F238E27FC236}">
                  <a16:creationId xmlns:a16="http://schemas.microsoft.com/office/drawing/2014/main" id="{E1B7FF05-4E20-42D6-894C-2F03D3ABE492}"/>
                </a:ext>
              </a:extLst>
            </p:cNvPr>
            <p:cNvSpPr/>
            <p:nvPr/>
          </p:nvSpPr>
          <p:spPr>
            <a:xfrm flipV="1">
              <a:off x="6940086" y="2862092"/>
              <a:ext cx="24494" cy="34337"/>
            </a:xfrm>
            <a:custGeom>
              <a:avLst/>
              <a:gdLst>
                <a:gd name="connsiteX0" fmla="*/ 21319 w 24494"/>
                <a:gd name="connsiteY0" fmla="*/ 12292 h 34337"/>
                <a:gd name="connsiteX1" fmla="*/ 5394 w 24494"/>
                <a:gd name="connsiteY1" fmla="*/ -1539 h 34337"/>
                <a:gd name="connsiteX2" fmla="*/ -1413 w 24494"/>
                <a:gd name="connsiteY2" fmla="*/ 18426 h 34337"/>
                <a:gd name="connsiteX3" fmla="*/ 14500 w 24494"/>
                <a:gd name="connsiteY3" fmla="*/ 32243 h 34337"/>
                <a:gd name="connsiteX4" fmla="*/ 21319 w 24494"/>
                <a:gd name="connsiteY4" fmla="*/ 12292 h 3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94" h="34337">
                  <a:moveTo>
                    <a:pt x="21319" y="12292"/>
                  </a:moveTo>
                  <a:cubicBezTo>
                    <a:pt x="18792" y="2957"/>
                    <a:pt x="11667" y="-3228"/>
                    <a:pt x="5394" y="-1539"/>
                  </a:cubicBezTo>
                  <a:cubicBezTo>
                    <a:pt x="-880" y="163"/>
                    <a:pt x="-3941" y="9091"/>
                    <a:pt x="-1413" y="18426"/>
                  </a:cubicBezTo>
                  <a:cubicBezTo>
                    <a:pt x="1088" y="27747"/>
                    <a:pt x="8213" y="33932"/>
                    <a:pt x="14500" y="32243"/>
                  </a:cubicBezTo>
                  <a:cubicBezTo>
                    <a:pt x="20773" y="30554"/>
                    <a:pt x="23821" y="21613"/>
                    <a:pt x="21319" y="12292"/>
                  </a:cubicBezTo>
                </a:path>
              </a:pathLst>
            </a:custGeom>
            <a:solidFill>
              <a:srgbClr val="231F2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1" name="Freeform: Shape 1770">
              <a:extLst>
                <a:ext uri="{FF2B5EF4-FFF2-40B4-BE49-F238E27FC236}">
                  <a16:creationId xmlns:a16="http://schemas.microsoft.com/office/drawing/2014/main" id="{491E3D68-F90A-421F-8FC8-ABD8E6A07E07}"/>
                </a:ext>
              </a:extLst>
            </p:cNvPr>
            <p:cNvSpPr/>
            <p:nvPr/>
          </p:nvSpPr>
          <p:spPr>
            <a:xfrm flipV="1">
              <a:off x="6914441" y="2706581"/>
              <a:ext cx="309734" cy="334400"/>
            </a:xfrm>
            <a:custGeom>
              <a:avLst/>
              <a:gdLst>
                <a:gd name="connsiteX0" fmla="*/ 263343 w 309734"/>
                <a:gd name="connsiteY0" fmla="*/ 60053 h 334400"/>
                <a:gd name="connsiteX1" fmla="*/ 281263 w 309734"/>
                <a:gd name="connsiteY1" fmla="*/ 82125 h 334400"/>
                <a:gd name="connsiteX2" fmla="*/ 293061 w 309734"/>
                <a:gd name="connsiteY2" fmla="*/ 128849 h 334400"/>
                <a:gd name="connsiteX3" fmla="*/ 304466 w 309734"/>
                <a:gd name="connsiteY3" fmla="*/ 164726 h 334400"/>
                <a:gd name="connsiteX4" fmla="*/ 300148 w 309734"/>
                <a:gd name="connsiteY4" fmla="*/ 216389 h 334400"/>
                <a:gd name="connsiteX5" fmla="*/ 280374 w 309734"/>
                <a:gd name="connsiteY5" fmla="*/ 248546 h 334400"/>
                <a:gd name="connsiteX6" fmla="*/ 259076 w 309734"/>
                <a:gd name="connsiteY6" fmla="*/ 303092 h 334400"/>
                <a:gd name="connsiteX7" fmla="*/ 225688 w 309734"/>
                <a:gd name="connsiteY7" fmla="*/ 320199 h 334400"/>
                <a:gd name="connsiteX8" fmla="*/ 109166 w 309734"/>
                <a:gd name="connsiteY8" fmla="*/ 328619 h 334400"/>
                <a:gd name="connsiteX9" fmla="*/ 49425 w 309734"/>
                <a:gd name="connsiteY9" fmla="*/ 332137 h 334400"/>
                <a:gd name="connsiteX10" fmla="*/ -1375 w 309734"/>
                <a:gd name="connsiteY10" fmla="*/ 289681 h 334400"/>
                <a:gd name="connsiteX11" fmla="*/ 3603 w 309734"/>
                <a:gd name="connsiteY11" fmla="*/ 262478 h 334400"/>
                <a:gd name="connsiteX12" fmla="*/ 10029 w 309734"/>
                <a:gd name="connsiteY12" fmla="*/ 258337 h 334400"/>
                <a:gd name="connsiteX13" fmla="*/ 140039 w 309734"/>
                <a:gd name="connsiteY13" fmla="*/ 165780 h 334400"/>
                <a:gd name="connsiteX14" fmla="*/ 141563 w 309734"/>
                <a:gd name="connsiteY14" fmla="*/ 159176 h 334400"/>
                <a:gd name="connsiteX15" fmla="*/ 157908 w 309734"/>
                <a:gd name="connsiteY15" fmla="*/ 116453 h 334400"/>
                <a:gd name="connsiteX16" fmla="*/ 161756 w 309734"/>
                <a:gd name="connsiteY16" fmla="*/ 95867 h 334400"/>
                <a:gd name="connsiteX17" fmla="*/ 186191 w 309734"/>
                <a:gd name="connsiteY17" fmla="*/ -1821 h 334400"/>
                <a:gd name="connsiteX18" fmla="*/ 263343 w 309734"/>
                <a:gd name="connsiteY18" fmla="*/ 60053 h 33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9734" h="334400">
                  <a:moveTo>
                    <a:pt x="263343" y="60053"/>
                  </a:moveTo>
                  <a:cubicBezTo>
                    <a:pt x="272462" y="64129"/>
                    <a:pt x="278545" y="72511"/>
                    <a:pt x="281263" y="82125"/>
                  </a:cubicBezTo>
                  <a:cubicBezTo>
                    <a:pt x="285644" y="97568"/>
                    <a:pt x="299944" y="113837"/>
                    <a:pt x="293061" y="128849"/>
                  </a:cubicBezTo>
                  <a:cubicBezTo>
                    <a:pt x="290318" y="134830"/>
                    <a:pt x="306117" y="158389"/>
                    <a:pt x="304466" y="164726"/>
                  </a:cubicBezTo>
                  <a:cubicBezTo>
                    <a:pt x="312911" y="191675"/>
                    <a:pt x="300148" y="216389"/>
                    <a:pt x="300148" y="216389"/>
                  </a:cubicBezTo>
                  <a:lnTo>
                    <a:pt x="280374" y="248546"/>
                  </a:lnTo>
                  <a:cubicBezTo>
                    <a:pt x="280374" y="248546"/>
                    <a:pt x="267979" y="295612"/>
                    <a:pt x="259076" y="303092"/>
                  </a:cubicBezTo>
                  <a:cubicBezTo>
                    <a:pt x="249437" y="311182"/>
                    <a:pt x="237638" y="316275"/>
                    <a:pt x="225688" y="320199"/>
                  </a:cubicBezTo>
                  <a:cubicBezTo>
                    <a:pt x="188350" y="332416"/>
                    <a:pt x="148091" y="334016"/>
                    <a:pt x="109166" y="328619"/>
                  </a:cubicBezTo>
                  <a:cubicBezTo>
                    <a:pt x="89239" y="325850"/>
                    <a:pt x="67903" y="324187"/>
                    <a:pt x="49425" y="332137"/>
                  </a:cubicBezTo>
                  <a:cubicBezTo>
                    <a:pt x="40243" y="336087"/>
                    <a:pt x="2867" y="312909"/>
                    <a:pt x="-1375" y="289681"/>
                  </a:cubicBezTo>
                  <a:cubicBezTo>
                    <a:pt x="-3102" y="280232"/>
                    <a:pt x="-3267" y="269208"/>
                    <a:pt x="3603" y="262478"/>
                  </a:cubicBezTo>
                  <a:cubicBezTo>
                    <a:pt x="5445" y="260687"/>
                    <a:pt x="7680" y="259417"/>
                    <a:pt x="10029" y="258337"/>
                  </a:cubicBezTo>
                  <a:cubicBezTo>
                    <a:pt x="30578" y="184970"/>
                    <a:pt x="113293" y="169019"/>
                    <a:pt x="140039" y="165780"/>
                  </a:cubicBezTo>
                  <a:cubicBezTo>
                    <a:pt x="140420" y="163469"/>
                    <a:pt x="140814" y="161157"/>
                    <a:pt x="141563" y="159176"/>
                  </a:cubicBezTo>
                  <a:cubicBezTo>
                    <a:pt x="148802" y="139986"/>
                    <a:pt x="156092" y="136888"/>
                    <a:pt x="157908" y="116453"/>
                  </a:cubicBezTo>
                  <a:cubicBezTo>
                    <a:pt x="158162" y="113545"/>
                    <a:pt x="159699" y="105671"/>
                    <a:pt x="161756" y="95867"/>
                  </a:cubicBezTo>
                  <a:cubicBezTo>
                    <a:pt x="156257" y="62199"/>
                    <a:pt x="166595" y="25941"/>
                    <a:pt x="186191" y="-1821"/>
                  </a:cubicBezTo>
                  <a:cubicBezTo>
                    <a:pt x="188147" y="8516"/>
                    <a:pt x="232444" y="46286"/>
                    <a:pt x="263343" y="60053"/>
                  </a:cubicBezTo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2" name="Freeform: Shape 1771">
              <a:extLst>
                <a:ext uri="{FF2B5EF4-FFF2-40B4-BE49-F238E27FC236}">
                  <a16:creationId xmlns:a16="http://schemas.microsoft.com/office/drawing/2014/main" id="{618A6CCE-CE2E-4848-BA92-01D4CE99D368}"/>
                </a:ext>
              </a:extLst>
            </p:cNvPr>
            <p:cNvSpPr/>
            <p:nvPr/>
          </p:nvSpPr>
          <p:spPr>
            <a:xfrm flipV="1">
              <a:off x="6931169" y="2707622"/>
              <a:ext cx="293006" cy="333359"/>
            </a:xfrm>
            <a:custGeom>
              <a:avLst/>
              <a:gdLst>
                <a:gd name="connsiteX0" fmla="*/ 276328 w 293006"/>
                <a:gd name="connsiteY0" fmla="*/ 128849 h 333359"/>
                <a:gd name="connsiteX1" fmla="*/ 287732 w 293006"/>
                <a:gd name="connsiteY1" fmla="*/ 164726 h 333359"/>
                <a:gd name="connsiteX2" fmla="*/ 283414 w 293006"/>
                <a:gd name="connsiteY2" fmla="*/ 216390 h 333359"/>
                <a:gd name="connsiteX3" fmla="*/ 263640 w 293006"/>
                <a:gd name="connsiteY3" fmla="*/ 248546 h 333359"/>
                <a:gd name="connsiteX4" fmla="*/ 242342 w 293006"/>
                <a:gd name="connsiteY4" fmla="*/ 303093 h 333359"/>
                <a:gd name="connsiteX5" fmla="*/ 208954 w 293006"/>
                <a:gd name="connsiteY5" fmla="*/ 320199 h 333359"/>
                <a:gd name="connsiteX6" fmla="*/ 126049 w 293006"/>
                <a:gd name="connsiteY6" fmla="*/ 331426 h 333359"/>
                <a:gd name="connsiteX7" fmla="*/ 190603 w 293006"/>
                <a:gd name="connsiteY7" fmla="*/ 300108 h 333359"/>
                <a:gd name="connsiteX8" fmla="*/ 226899 w 293006"/>
                <a:gd name="connsiteY8" fmla="*/ 222727 h 333359"/>
                <a:gd name="connsiteX9" fmla="*/ 243409 w 293006"/>
                <a:gd name="connsiteY9" fmla="*/ 181351 h 333359"/>
                <a:gd name="connsiteX10" fmla="*/ 241568 w 293006"/>
                <a:gd name="connsiteY10" fmla="*/ 149359 h 333359"/>
                <a:gd name="connsiteX11" fmla="*/ 222098 w 293006"/>
                <a:gd name="connsiteY11" fmla="*/ 120365 h 333359"/>
                <a:gd name="connsiteX12" fmla="*/ 196584 w 293006"/>
                <a:gd name="connsiteY12" fmla="*/ 92578 h 333359"/>
                <a:gd name="connsiteX13" fmla="*/ 175731 w 293006"/>
                <a:gd name="connsiteY13" fmla="*/ 70188 h 333359"/>
                <a:gd name="connsiteX14" fmla="*/ 158205 w 293006"/>
                <a:gd name="connsiteY14" fmla="*/ 145207 h 333359"/>
                <a:gd name="connsiteX15" fmla="*/ 80456 w 293006"/>
                <a:gd name="connsiteY15" fmla="*/ 198623 h 333359"/>
                <a:gd name="connsiteX16" fmla="*/ 1919 w 293006"/>
                <a:gd name="connsiteY16" fmla="*/ 242412 h 333359"/>
                <a:gd name="connsiteX17" fmla="*/ -2386 w 293006"/>
                <a:gd name="connsiteY17" fmla="*/ 245828 h 333359"/>
                <a:gd name="connsiteX18" fmla="*/ 123306 w 293006"/>
                <a:gd name="connsiteY18" fmla="*/ 165780 h 333359"/>
                <a:gd name="connsiteX19" fmla="*/ 124830 w 293006"/>
                <a:gd name="connsiteY19" fmla="*/ 159177 h 333359"/>
                <a:gd name="connsiteX20" fmla="*/ 141174 w 293006"/>
                <a:gd name="connsiteY20" fmla="*/ 116454 h 333359"/>
                <a:gd name="connsiteX21" fmla="*/ 145022 w 293006"/>
                <a:gd name="connsiteY21" fmla="*/ 95867 h 333359"/>
                <a:gd name="connsiteX22" fmla="*/ 169457 w 293006"/>
                <a:gd name="connsiteY22" fmla="*/ -1821 h 333359"/>
                <a:gd name="connsiteX23" fmla="*/ 246609 w 293006"/>
                <a:gd name="connsiteY23" fmla="*/ 60053 h 333359"/>
                <a:gd name="connsiteX24" fmla="*/ 264529 w 293006"/>
                <a:gd name="connsiteY24" fmla="*/ 82126 h 333359"/>
                <a:gd name="connsiteX25" fmla="*/ 276328 w 293006"/>
                <a:gd name="connsiteY25" fmla="*/ 128849 h 33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93006" h="333359">
                  <a:moveTo>
                    <a:pt x="276328" y="128849"/>
                  </a:moveTo>
                  <a:cubicBezTo>
                    <a:pt x="273584" y="134831"/>
                    <a:pt x="289383" y="158389"/>
                    <a:pt x="287732" y="164726"/>
                  </a:cubicBezTo>
                  <a:cubicBezTo>
                    <a:pt x="296177" y="191676"/>
                    <a:pt x="283414" y="216390"/>
                    <a:pt x="283414" y="216390"/>
                  </a:cubicBezTo>
                  <a:lnTo>
                    <a:pt x="263640" y="248546"/>
                  </a:lnTo>
                  <a:cubicBezTo>
                    <a:pt x="263640" y="248546"/>
                    <a:pt x="251245" y="295612"/>
                    <a:pt x="242342" y="303093"/>
                  </a:cubicBezTo>
                  <a:cubicBezTo>
                    <a:pt x="232703" y="311182"/>
                    <a:pt x="220905" y="316275"/>
                    <a:pt x="208954" y="320199"/>
                  </a:cubicBezTo>
                  <a:cubicBezTo>
                    <a:pt x="182297" y="328924"/>
                    <a:pt x="154141" y="332214"/>
                    <a:pt x="126049" y="331426"/>
                  </a:cubicBezTo>
                  <a:cubicBezTo>
                    <a:pt x="139904" y="313443"/>
                    <a:pt x="172378" y="309227"/>
                    <a:pt x="190603" y="300108"/>
                  </a:cubicBezTo>
                  <a:cubicBezTo>
                    <a:pt x="220663" y="285071"/>
                    <a:pt x="219914" y="251340"/>
                    <a:pt x="226899" y="222727"/>
                  </a:cubicBezTo>
                  <a:cubicBezTo>
                    <a:pt x="230481" y="208059"/>
                    <a:pt x="239663" y="195867"/>
                    <a:pt x="243409" y="181351"/>
                  </a:cubicBezTo>
                  <a:cubicBezTo>
                    <a:pt x="246165" y="170632"/>
                    <a:pt x="244755" y="159824"/>
                    <a:pt x="241568" y="149359"/>
                  </a:cubicBezTo>
                  <a:cubicBezTo>
                    <a:pt x="237910" y="137383"/>
                    <a:pt x="232043" y="128023"/>
                    <a:pt x="222098" y="120365"/>
                  </a:cubicBezTo>
                  <a:cubicBezTo>
                    <a:pt x="211646" y="112326"/>
                    <a:pt x="201778" y="105189"/>
                    <a:pt x="196584" y="92578"/>
                  </a:cubicBezTo>
                  <a:cubicBezTo>
                    <a:pt x="193371" y="84767"/>
                    <a:pt x="188812" y="60142"/>
                    <a:pt x="175731" y="70188"/>
                  </a:cubicBezTo>
                  <a:cubicBezTo>
                    <a:pt x="152109" y="88336"/>
                    <a:pt x="160554" y="120200"/>
                    <a:pt x="158205" y="145207"/>
                  </a:cubicBezTo>
                  <a:cubicBezTo>
                    <a:pt x="154471" y="184792"/>
                    <a:pt x="110758" y="188221"/>
                    <a:pt x="80456" y="198623"/>
                  </a:cubicBezTo>
                  <a:cubicBezTo>
                    <a:pt x="51678" y="208503"/>
                    <a:pt x="25897" y="223832"/>
                    <a:pt x="1919" y="242412"/>
                  </a:cubicBezTo>
                  <a:cubicBezTo>
                    <a:pt x="497" y="243517"/>
                    <a:pt x="-951" y="244685"/>
                    <a:pt x="-2386" y="245828"/>
                  </a:cubicBezTo>
                  <a:cubicBezTo>
                    <a:pt x="23522" y="183129"/>
                    <a:pt x="98147" y="168828"/>
                    <a:pt x="123306" y="165780"/>
                  </a:cubicBezTo>
                  <a:cubicBezTo>
                    <a:pt x="123686" y="163469"/>
                    <a:pt x="124080" y="161158"/>
                    <a:pt x="124830" y="159177"/>
                  </a:cubicBezTo>
                  <a:cubicBezTo>
                    <a:pt x="132056" y="139987"/>
                    <a:pt x="139358" y="136888"/>
                    <a:pt x="141174" y="116454"/>
                  </a:cubicBezTo>
                  <a:cubicBezTo>
                    <a:pt x="141429" y="113545"/>
                    <a:pt x="142965" y="105672"/>
                    <a:pt x="145022" y="95867"/>
                  </a:cubicBezTo>
                  <a:cubicBezTo>
                    <a:pt x="139524" y="62199"/>
                    <a:pt x="149861" y="25941"/>
                    <a:pt x="169457" y="-1821"/>
                  </a:cubicBezTo>
                  <a:cubicBezTo>
                    <a:pt x="171413" y="8517"/>
                    <a:pt x="215711" y="46286"/>
                    <a:pt x="246609" y="60053"/>
                  </a:cubicBezTo>
                  <a:cubicBezTo>
                    <a:pt x="255728" y="64130"/>
                    <a:pt x="261811" y="72512"/>
                    <a:pt x="264529" y="82126"/>
                  </a:cubicBezTo>
                  <a:cubicBezTo>
                    <a:pt x="268911" y="97569"/>
                    <a:pt x="283211" y="113838"/>
                    <a:pt x="276328" y="128849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3" name="Freeform: Shape 1772">
              <a:extLst>
                <a:ext uri="{FF2B5EF4-FFF2-40B4-BE49-F238E27FC236}">
                  <a16:creationId xmlns:a16="http://schemas.microsoft.com/office/drawing/2014/main" id="{BCFA3C13-78E6-4741-B904-B0338C738773}"/>
                </a:ext>
              </a:extLst>
            </p:cNvPr>
            <p:cNvSpPr/>
            <p:nvPr/>
          </p:nvSpPr>
          <p:spPr>
            <a:xfrm flipV="1">
              <a:off x="7061531" y="2856305"/>
              <a:ext cx="51986" cy="81377"/>
            </a:xfrm>
            <a:custGeom>
              <a:avLst/>
              <a:gdLst>
                <a:gd name="connsiteX0" fmla="*/ 1559 w 51986"/>
                <a:gd name="connsiteY0" fmla="*/ 49306 h 81377"/>
                <a:gd name="connsiteX1" fmla="*/ 11986 w 51986"/>
                <a:gd name="connsiteY1" fmla="*/ -1798 h 81377"/>
                <a:gd name="connsiteX2" fmla="*/ 28547 w 51986"/>
                <a:gd name="connsiteY2" fmla="*/ 10762 h 81377"/>
                <a:gd name="connsiteX3" fmla="*/ 43888 w 51986"/>
                <a:gd name="connsiteY3" fmla="*/ 31031 h 81377"/>
                <a:gd name="connsiteX4" fmla="*/ 39278 w 51986"/>
                <a:gd name="connsiteY4" fmla="*/ 78491 h 81377"/>
                <a:gd name="connsiteX5" fmla="*/ 1559 w 51986"/>
                <a:gd name="connsiteY5" fmla="*/ 49306 h 8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86" h="81377">
                  <a:moveTo>
                    <a:pt x="1559" y="49306"/>
                  </a:moveTo>
                  <a:cubicBezTo>
                    <a:pt x="-7572" y="28148"/>
                    <a:pt x="467" y="-1506"/>
                    <a:pt x="11986" y="-1798"/>
                  </a:cubicBezTo>
                  <a:cubicBezTo>
                    <a:pt x="18704" y="-1951"/>
                    <a:pt x="21384" y="4793"/>
                    <a:pt x="28547" y="10762"/>
                  </a:cubicBezTo>
                  <a:cubicBezTo>
                    <a:pt x="34948" y="16083"/>
                    <a:pt x="39583" y="21036"/>
                    <a:pt x="43888" y="31031"/>
                  </a:cubicBezTo>
                  <a:cubicBezTo>
                    <a:pt x="53032" y="52189"/>
                    <a:pt x="50962" y="73449"/>
                    <a:pt x="39278" y="78491"/>
                  </a:cubicBezTo>
                  <a:cubicBezTo>
                    <a:pt x="27594" y="83546"/>
                    <a:pt x="10704" y="70477"/>
                    <a:pt x="1559" y="49306"/>
                  </a:cubicBezTo>
                </a:path>
              </a:pathLst>
            </a:custGeom>
            <a:solidFill>
              <a:srgbClr val="99655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4" name="Freeform: Shape 1773">
              <a:extLst>
                <a:ext uri="{FF2B5EF4-FFF2-40B4-BE49-F238E27FC236}">
                  <a16:creationId xmlns:a16="http://schemas.microsoft.com/office/drawing/2014/main" id="{92984ABE-9EF9-46C6-B5DE-4A7DE08639D1}"/>
                </a:ext>
              </a:extLst>
            </p:cNvPr>
            <p:cNvSpPr/>
            <p:nvPr/>
          </p:nvSpPr>
          <p:spPr>
            <a:xfrm flipV="1">
              <a:off x="7074005" y="2866989"/>
              <a:ext cx="31533" cy="50777"/>
            </a:xfrm>
            <a:custGeom>
              <a:avLst/>
              <a:gdLst>
                <a:gd name="connsiteX0" fmla="*/ 27146 w 31533"/>
                <a:gd name="connsiteY0" fmla="*/ 43750 h 50777"/>
                <a:gd name="connsiteX1" fmla="*/ 22421 w 31533"/>
                <a:gd name="connsiteY1" fmla="*/ 47471 h 50777"/>
                <a:gd name="connsiteX2" fmla="*/ 16008 w 31533"/>
                <a:gd name="connsiteY2" fmla="*/ 48970 h 50777"/>
                <a:gd name="connsiteX3" fmla="*/ 9137 w 31533"/>
                <a:gd name="connsiteY3" fmla="*/ 47433 h 50777"/>
                <a:gd name="connsiteX4" fmla="*/ 1797 w 31533"/>
                <a:gd name="connsiteY4" fmla="*/ 37298 h 50777"/>
                <a:gd name="connsiteX5" fmla="*/ 2635 w 31533"/>
                <a:gd name="connsiteY5" fmla="*/ 31063 h 50777"/>
                <a:gd name="connsiteX6" fmla="*/ 5594 w 31533"/>
                <a:gd name="connsiteY6" fmla="*/ 26198 h 50777"/>
                <a:gd name="connsiteX7" fmla="*/ 6305 w 31533"/>
                <a:gd name="connsiteY7" fmla="*/ 25297 h 50777"/>
                <a:gd name="connsiteX8" fmla="*/ 8134 w 31533"/>
                <a:gd name="connsiteY8" fmla="*/ 22757 h 50777"/>
                <a:gd name="connsiteX9" fmla="*/ 9163 w 31533"/>
                <a:gd name="connsiteY9" fmla="*/ 19798 h 50777"/>
                <a:gd name="connsiteX10" fmla="*/ 6813 w 31533"/>
                <a:gd name="connsiteY10" fmla="*/ 13625 h 50777"/>
                <a:gd name="connsiteX11" fmla="*/ 6445 w 31533"/>
                <a:gd name="connsiteY11" fmla="*/ 13270 h 50777"/>
                <a:gd name="connsiteX12" fmla="*/ 6204 w 31533"/>
                <a:gd name="connsiteY12" fmla="*/ 13054 h 50777"/>
                <a:gd name="connsiteX13" fmla="*/ 5899 w 31533"/>
                <a:gd name="connsiteY13" fmla="*/ 12838 h 50777"/>
                <a:gd name="connsiteX14" fmla="*/ 5442 w 31533"/>
                <a:gd name="connsiteY14" fmla="*/ 12521 h 50777"/>
                <a:gd name="connsiteX15" fmla="*/ 5150 w 31533"/>
                <a:gd name="connsiteY15" fmla="*/ 12343 h 50777"/>
                <a:gd name="connsiteX16" fmla="*/ 4591 w 31533"/>
                <a:gd name="connsiteY16" fmla="*/ 12051 h 50777"/>
                <a:gd name="connsiteX17" fmla="*/ 4210 w 31533"/>
                <a:gd name="connsiteY17" fmla="*/ 11860 h 50777"/>
                <a:gd name="connsiteX18" fmla="*/ 3422 w 31533"/>
                <a:gd name="connsiteY18" fmla="*/ 11492 h 50777"/>
                <a:gd name="connsiteX19" fmla="*/ 844 w 31533"/>
                <a:gd name="connsiteY19" fmla="*/ 9193 h 50777"/>
                <a:gd name="connsiteX20" fmla="*/ 108 w 31533"/>
                <a:gd name="connsiteY20" fmla="*/ 6348 h 50777"/>
                <a:gd name="connsiteX21" fmla="*/ 171 w 31533"/>
                <a:gd name="connsiteY21" fmla="*/ 4189 h 50777"/>
                <a:gd name="connsiteX22" fmla="*/ 184 w 31533"/>
                <a:gd name="connsiteY22" fmla="*/ 1942 h 50777"/>
                <a:gd name="connsiteX23" fmla="*/ -426 w 31533"/>
                <a:gd name="connsiteY23" fmla="*/ 189 h 50777"/>
                <a:gd name="connsiteX24" fmla="*/ -1912 w 31533"/>
                <a:gd name="connsiteY24" fmla="*/ -738 h 50777"/>
                <a:gd name="connsiteX25" fmla="*/ -2394 w 31533"/>
                <a:gd name="connsiteY25" fmla="*/ -1297 h 50777"/>
                <a:gd name="connsiteX26" fmla="*/ -1848 w 31533"/>
                <a:gd name="connsiteY26" fmla="*/ -1805 h 50777"/>
                <a:gd name="connsiteX27" fmla="*/ -1848 w 31533"/>
                <a:gd name="connsiteY27" fmla="*/ -1805 h 50777"/>
                <a:gd name="connsiteX28" fmla="*/ -312 w 31533"/>
                <a:gd name="connsiteY28" fmla="*/ -1627 h 50777"/>
                <a:gd name="connsiteX29" fmla="*/ 997 w 31533"/>
                <a:gd name="connsiteY29" fmla="*/ -852 h 50777"/>
                <a:gd name="connsiteX30" fmla="*/ 2546 w 31533"/>
                <a:gd name="connsiteY30" fmla="*/ 1357 h 50777"/>
                <a:gd name="connsiteX31" fmla="*/ 3168 w 31533"/>
                <a:gd name="connsiteY31" fmla="*/ 3796 h 50777"/>
                <a:gd name="connsiteX32" fmla="*/ 3562 w 31533"/>
                <a:gd name="connsiteY32" fmla="*/ 5853 h 50777"/>
                <a:gd name="connsiteX33" fmla="*/ 4235 w 31533"/>
                <a:gd name="connsiteY33" fmla="*/ 7250 h 50777"/>
                <a:gd name="connsiteX34" fmla="*/ 5340 w 31533"/>
                <a:gd name="connsiteY34" fmla="*/ 7847 h 50777"/>
                <a:gd name="connsiteX35" fmla="*/ 5785 w 31533"/>
                <a:gd name="connsiteY35" fmla="*/ 7961 h 50777"/>
                <a:gd name="connsiteX36" fmla="*/ 7842 w 31533"/>
                <a:gd name="connsiteY36" fmla="*/ 8622 h 50777"/>
                <a:gd name="connsiteX37" fmla="*/ 8845 w 31533"/>
                <a:gd name="connsiteY37" fmla="*/ 9079 h 50777"/>
                <a:gd name="connsiteX38" fmla="*/ 9607 w 31533"/>
                <a:gd name="connsiteY38" fmla="*/ 9485 h 50777"/>
                <a:gd name="connsiteX39" fmla="*/ 10483 w 31533"/>
                <a:gd name="connsiteY39" fmla="*/ 10044 h 50777"/>
                <a:gd name="connsiteX40" fmla="*/ 14357 w 31533"/>
                <a:gd name="connsiteY40" fmla="*/ 14260 h 50777"/>
                <a:gd name="connsiteX41" fmla="*/ 15970 w 31533"/>
                <a:gd name="connsiteY41" fmla="*/ 19696 h 50777"/>
                <a:gd name="connsiteX42" fmla="*/ 14776 w 31533"/>
                <a:gd name="connsiteY42" fmla="*/ 25462 h 50777"/>
                <a:gd name="connsiteX43" fmla="*/ 12871 w 31533"/>
                <a:gd name="connsiteY43" fmla="*/ 28853 h 50777"/>
                <a:gd name="connsiteX44" fmla="*/ 12287 w 31533"/>
                <a:gd name="connsiteY44" fmla="*/ 29831 h 50777"/>
                <a:gd name="connsiteX45" fmla="*/ 10903 w 31533"/>
                <a:gd name="connsiteY45" fmla="*/ 33018 h 50777"/>
                <a:gd name="connsiteX46" fmla="*/ 11169 w 31533"/>
                <a:gd name="connsiteY46" fmla="*/ 35673 h 50777"/>
                <a:gd name="connsiteX47" fmla="*/ 14421 w 31533"/>
                <a:gd name="connsiteY47" fmla="*/ 40207 h 50777"/>
                <a:gd name="connsiteX48" fmla="*/ 28124 w 31533"/>
                <a:gd name="connsiteY48" fmla="*/ 38340 h 50777"/>
                <a:gd name="connsiteX49" fmla="*/ 28771 w 31533"/>
                <a:gd name="connsiteY49" fmla="*/ 38225 h 50777"/>
                <a:gd name="connsiteX50" fmla="*/ 29140 w 31533"/>
                <a:gd name="connsiteY50" fmla="*/ 38721 h 50777"/>
                <a:gd name="connsiteX51" fmla="*/ 27146 w 31533"/>
                <a:gd name="connsiteY51" fmla="*/ 43750 h 50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1533" h="50777">
                  <a:moveTo>
                    <a:pt x="27146" y="43750"/>
                  </a:moveTo>
                  <a:cubicBezTo>
                    <a:pt x="25977" y="45248"/>
                    <a:pt x="24352" y="46531"/>
                    <a:pt x="22421" y="47471"/>
                  </a:cubicBezTo>
                  <a:cubicBezTo>
                    <a:pt x="20453" y="48411"/>
                    <a:pt x="18231" y="48931"/>
                    <a:pt x="16008" y="48970"/>
                  </a:cubicBezTo>
                  <a:cubicBezTo>
                    <a:pt x="13658" y="49020"/>
                    <a:pt x="11220" y="48474"/>
                    <a:pt x="9137" y="47433"/>
                  </a:cubicBezTo>
                  <a:cubicBezTo>
                    <a:pt x="5048" y="45375"/>
                    <a:pt x="2305" y="41591"/>
                    <a:pt x="1797" y="37298"/>
                  </a:cubicBezTo>
                  <a:cubicBezTo>
                    <a:pt x="1568" y="35165"/>
                    <a:pt x="1847" y="33006"/>
                    <a:pt x="2635" y="31063"/>
                  </a:cubicBezTo>
                  <a:cubicBezTo>
                    <a:pt x="3422" y="29043"/>
                    <a:pt x="4578" y="27532"/>
                    <a:pt x="5594" y="26198"/>
                  </a:cubicBezTo>
                  <a:lnTo>
                    <a:pt x="6305" y="25297"/>
                  </a:lnTo>
                  <a:lnTo>
                    <a:pt x="8134" y="22757"/>
                  </a:lnTo>
                  <a:lnTo>
                    <a:pt x="9163" y="19798"/>
                  </a:lnTo>
                  <a:cubicBezTo>
                    <a:pt x="9379" y="17639"/>
                    <a:pt x="8477" y="15277"/>
                    <a:pt x="6813" y="13625"/>
                  </a:cubicBezTo>
                  <a:lnTo>
                    <a:pt x="6445" y="13270"/>
                  </a:lnTo>
                  <a:lnTo>
                    <a:pt x="6204" y="13054"/>
                  </a:lnTo>
                  <a:lnTo>
                    <a:pt x="5899" y="12838"/>
                  </a:lnTo>
                  <a:lnTo>
                    <a:pt x="5442" y="12521"/>
                  </a:lnTo>
                  <a:lnTo>
                    <a:pt x="5150" y="12343"/>
                  </a:lnTo>
                  <a:lnTo>
                    <a:pt x="4591" y="12051"/>
                  </a:lnTo>
                  <a:lnTo>
                    <a:pt x="4210" y="11860"/>
                  </a:lnTo>
                  <a:lnTo>
                    <a:pt x="3422" y="11492"/>
                  </a:lnTo>
                  <a:lnTo>
                    <a:pt x="844" y="9193"/>
                  </a:lnTo>
                  <a:lnTo>
                    <a:pt x="108" y="6348"/>
                  </a:lnTo>
                  <a:lnTo>
                    <a:pt x="171" y="4189"/>
                  </a:lnTo>
                  <a:lnTo>
                    <a:pt x="184" y="1942"/>
                  </a:lnTo>
                  <a:lnTo>
                    <a:pt x="-426" y="189"/>
                  </a:lnTo>
                  <a:lnTo>
                    <a:pt x="-1912" y="-738"/>
                  </a:lnTo>
                  <a:lnTo>
                    <a:pt x="-2394" y="-1297"/>
                  </a:lnTo>
                  <a:lnTo>
                    <a:pt x="-1848" y="-1805"/>
                  </a:lnTo>
                  <a:lnTo>
                    <a:pt x="-1848" y="-1805"/>
                  </a:lnTo>
                  <a:lnTo>
                    <a:pt x="-312" y="-1627"/>
                  </a:lnTo>
                  <a:lnTo>
                    <a:pt x="997" y="-852"/>
                  </a:lnTo>
                  <a:lnTo>
                    <a:pt x="2546" y="1357"/>
                  </a:lnTo>
                  <a:lnTo>
                    <a:pt x="3168" y="3796"/>
                  </a:lnTo>
                  <a:lnTo>
                    <a:pt x="3562" y="5853"/>
                  </a:lnTo>
                  <a:lnTo>
                    <a:pt x="4235" y="7250"/>
                  </a:lnTo>
                  <a:lnTo>
                    <a:pt x="5340" y="7847"/>
                  </a:lnTo>
                  <a:lnTo>
                    <a:pt x="5785" y="7961"/>
                  </a:lnTo>
                  <a:lnTo>
                    <a:pt x="7842" y="8622"/>
                  </a:lnTo>
                  <a:lnTo>
                    <a:pt x="8845" y="9079"/>
                  </a:lnTo>
                  <a:lnTo>
                    <a:pt x="9607" y="9485"/>
                  </a:lnTo>
                  <a:lnTo>
                    <a:pt x="10483" y="10044"/>
                  </a:lnTo>
                  <a:cubicBezTo>
                    <a:pt x="12058" y="11174"/>
                    <a:pt x="13366" y="12597"/>
                    <a:pt x="14357" y="14260"/>
                  </a:cubicBezTo>
                  <a:cubicBezTo>
                    <a:pt x="15310" y="15950"/>
                    <a:pt x="15856" y="17778"/>
                    <a:pt x="15970" y="19696"/>
                  </a:cubicBezTo>
                  <a:cubicBezTo>
                    <a:pt x="16097" y="21512"/>
                    <a:pt x="15652" y="23608"/>
                    <a:pt x="14776" y="25462"/>
                  </a:cubicBezTo>
                  <a:cubicBezTo>
                    <a:pt x="14179" y="26745"/>
                    <a:pt x="13481" y="27862"/>
                    <a:pt x="12871" y="28853"/>
                  </a:cubicBezTo>
                  <a:lnTo>
                    <a:pt x="12287" y="29831"/>
                  </a:lnTo>
                  <a:lnTo>
                    <a:pt x="10903" y="33018"/>
                  </a:lnTo>
                  <a:lnTo>
                    <a:pt x="11169" y="35673"/>
                  </a:lnTo>
                  <a:cubicBezTo>
                    <a:pt x="11779" y="37425"/>
                    <a:pt x="12934" y="39038"/>
                    <a:pt x="14421" y="40207"/>
                  </a:cubicBezTo>
                  <a:cubicBezTo>
                    <a:pt x="16872" y="42251"/>
                    <a:pt x="23145" y="42759"/>
                    <a:pt x="28124" y="38340"/>
                  </a:cubicBezTo>
                  <a:lnTo>
                    <a:pt x="28771" y="38225"/>
                  </a:lnTo>
                  <a:lnTo>
                    <a:pt x="29140" y="38721"/>
                  </a:lnTo>
                  <a:cubicBezTo>
                    <a:pt x="29114" y="40334"/>
                    <a:pt x="28429" y="42073"/>
                    <a:pt x="27146" y="43750"/>
                  </a:cubicBezTo>
                </a:path>
              </a:pathLst>
            </a:custGeom>
            <a:solidFill>
              <a:srgbClr val="AC5435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5" name="Freeform: Shape 1774">
              <a:extLst>
                <a:ext uri="{FF2B5EF4-FFF2-40B4-BE49-F238E27FC236}">
                  <a16:creationId xmlns:a16="http://schemas.microsoft.com/office/drawing/2014/main" id="{03A41074-53AD-4AC3-BC8E-3FD6771779A6}"/>
                </a:ext>
              </a:extLst>
            </p:cNvPr>
            <p:cNvSpPr/>
            <p:nvPr/>
          </p:nvSpPr>
          <p:spPr>
            <a:xfrm flipV="1">
              <a:off x="6943110" y="2867414"/>
              <a:ext cx="12049" cy="13024"/>
            </a:xfrm>
            <a:custGeom>
              <a:avLst/>
              <a:gdLst>
                <a:gd name="connsiteX0" fmla="*/ -1895 w 12049"/>
                <a:gd name="connsiteY0" fmla="*/ 6647 h 13024"/>
                <a:gd name="connsiteX1" fmla="*/ 1572 w 12049"/>
                <a:gd name="connsiteY1" fmla="*/ -1519 h 13024"/>
                <a:gd name="connsiteX2" fmla="*/ 9357 w 12049"/>
                <a:gd name="connsiteY2" fmla="*/ 2748 h 13024"/>
                <a:gd name="connsiteX3" fmla="*/ 5877 w 12049"/>
                <a:gd name="connsiteY3" fmla="*/ 10901 h 13024"/>
                <a:gd name="connsiteX4" fmla="*/ -1895 w 12049"/>
                <a:gd name="connsiteY4" fmla="*/ 6647 h 13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9" h="13024">
                  <a:moveTo>
                    <a:pt x="-1895" y="6647"/>
                  </a:moveTo>
                  <a:cubicBezTo>
                    <a:pt x="-3089" y="3205"/>
                    <a:pt x="-1540" y="-440"/>
                    <a:pt x="1572" y="-1519"/>
                  </a:cubicBezTo>
                  <a:cubicBezTo>
                    <a:pt x="4670" y="-2599"/>
                    <a:pt x="8163" y="-694"/>
                    <a:pt x="9357" y="2748"/>
                  </a:cubicBezTo>
                  <a:cubicBezTo>
                    <a:pt x="10538" y="6177"/>
                    <a:pt x="8976" y="9822"/>
                    <a:pt x="5877" y="10901"/>
                  </a:cubicBezTo>
                  <a:cubicBezTo>
                    <a:pt x="2778" y="11981"/>
                    <a:pt x="-702" y="10076"/>
                    <a:pt x="-1895" y="6647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6" name="Freeform: Shape 1775">
              <a:extLst>
                <a:ext uri="{FF2B5EF4-FFF2-40B4-BE49-F238E27FC236}">
                  <a16:creationId xmlns:a16="http://schemas.microsoft.com/office/drawing/2014/main" id="{3B70F406-827B-4449-8FE8-F9208BE961EB}"/>
                </a:ext>
              </a:extLst>
            </p:cNvPr>
            <p:cNvSpPr/>
            <p:nvPr/>
          </p:nvSpPr>
          <p:spPr>
            <a:xfrm flipV="1">
              <a:off x="6884306" y="2860523"/>
              <a:ext cx="184183" cy="183012"/>
            </a:xfrm>
            <a:custGeom>
              <a:avLst/>
              <a:gdLst>
                <a:gd name="connsiteX0" fmla="*/ 174530 w 184183"/>
                <a:gd name="connsiteY0" fmla="*/ 96381 h 183012"/>
                <a:gd name="connsiteX1" fmla="*/ 180474 w 184183"/>
                <a:gd name="connsiteY1" fmla="*/ 166599 h 183012"/>
                <a:gd name="connsiteX2" fmla="*/ 152458 w 184183"/>
                <a:gd name="connsiteY2" fmla="*/ 181014 h 183012"/>
                <a:gd name="connsiteX3" fmla="*/ 156687 w 184183"/>
                <a:gd name="connsiteY3" fmla="*/ 162865 h 183012"/>
                <a:gd name="connsiteX4" fmla="*/ 151086 w 184183"/>
                <a:gd name="connsiteY4" fmla="*/ 101905 h 183012"/>
                <a:gd name="connsiteX5" fmla="*/ 132087 w 184183"/>
                <a:gd name="connsiteY5" fmla="*/ 53557 h 183012"/>
                <a:gd name="connsiteX6" fmla="*/ 74607 w 184183"/>
                <a:gd name="connsiteY6" fmla="*/ 23140 h 183012"/>
                <a:gd name="connsiteX7" fmla="*/ 4846 w 184183"/>
                <a:gd name="connsiteY7" fmla="*/ 29084 h 183012"/>
                <a:gd name="connsiteX8" fmla="*/ 795 w 184183"/>
                <a:gd name="connsiteY8" fmla="*/ 26302 h 183012"/>
                <a:gd name="connsiteX9" fmla="*/ -2317 w 184183"/>
                <a:gd name="connsiteY9" fmla="*/ 9450 h 183012"/>
                <a:gd name="connsiteX10" fmla="*/ -1758 w 184183"/>
                <a:gd name="connsiteY10" fmla="*/ 6846 h 183012"/>
                <a:gd name="connsiteX11" fmla="*/ -43 w 184183"/>
                <a:gd name="connsiteY11" fmla="*/ 5538 h 183012"/>
                <a:gd name="connsiteX12" fmla="*/ 477 w 184183"/>
                <a:gd name="connsiteY12" fmla="*/ 5398 h 183012"/>
                <a:gd name="connsiteX13" fmla="*/ 77363 w 184183"/>
                <a:gd name="connsiteY13" fmla="*/ -774 h 183012"/>
                <a:gd name="connsiteX14" fmla="*/ 151455 w 184183"/>
                <a:gd name="connsiteY14" fmla="*/ 39244 h 183012"/>
                <a:gd name="connsiteX15" fmla="*/ 174530 w 184183"/>
                <a:gd name="connsiteY15" fmla="*/ 96381 h 18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183" h="183012">
                  <a:moveTo>
                    <a:pt x="174530" y="96381"/>
                  </a:moveTo>
                  <a:cubicBezTo>
                    <a:pt x="179826" y="118860"/>
                    <a:pt x="184208" y="142914"/>
                    <a:pt x="180474" y="166599"/>
                  </a:cubicBezTo>
                  <a:cubicBezTo>
                    <a:pt x="179331" y="173901"/>
                    <a:pt x="151962" y="182868"/>
                    <a:pt x="152458" y="181014"/>
                  </a:cubicBezTo>
                  <a:cubicBezTo>
                    <a:pt x="154172" y="174689"/>
                    <a:pt x="155760" y="168809"/>
                    <a:pt x="156687" y="162865"/>
                  </a:cubicBezTo>
                  <a:cubicBezTo>
                    <a:pt x="159773" y="143269"/>
                    <a:pt x="155823" y="121984"/>
                    <a:pt x="151086" y="101905"/>
                  </a:cubicBezTo>
                  <a:cubicBezTo>
                    <a:pt x="147289" y="85815"/>
                    <a:pt x="142374" y="67476"/>
                    <a:pt x="132087" y="53557"/>
                  </a:cubicBezTo>
                  <a:cubicBezTo>
                    <a:pt x="119857" y="37009"/>
                    <a:pt x="98902" y="25934"/>
                    <a:pt x="74607" y="23140"/>
                  </a:cubicBezTo>
                  <a:cubicBezTo>
                    <a:pt x="51531" y="20499"/>
                    <a:pt x="27795" y="24867"/>
                    <a:pt x="4846" y="29084"/>
                  </a:cubicBezTo>
                  <a:cubicBezTo>
                    <a:pt x="2966" y="29427"/>
                    <a:pt x="1138" y="28182"/>
                    <a:pt x="795" y="26302"/>
                  </a:cubicBezTo>
                  <a:lnTo>
                    <a:pt x="-2317" y="9450"/>
                  </a:lnTo>
                  <a:lnTo>
                    <a:pt x="-1758" y="6846"/>
                  </a:lnTo>
                  <a:lnTo>
                    <a:pt x="-43" y="5538"/>
                  </a:lnTo>
                  <a:lnTo>
                    <a:pt x="477" y="5398"/>
                  </a:lnTo>
                  <a:cubicBezTo>
                    <a:pt x="25166" y="864"/>
                    <a:pt x="50706" y="-3835"/>
                    <a:pt x="77363" y="-774"/>
                  </a:cubicBezTo>
                  <a:cubicBezTo>
                    <a:pt x="108275" y="2757"/>
                    <a:pt x="135275" y="17349"/>
                    <a:pt x="151455" y="39244"/>
                  </a:cubicBezTo>
                  <a:cubicBezTo>
                    <a:pt x="164472" y="56833"/>
                    <a:pt x="170187" y="77966"/>
                    <a:pt x="174530" y="96381"/>
                  </a:cubicBezTo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7" name="Freeform: Shape 1776">
              <a:extLst>
                <a:ext uri="{FF2B5EF4-FFF2-40B4-BE49-F238E27FC236}">
                  <a16:creationId xmlns:a16="http://schemas.microsoft.com/office/drawing/2014/main" id="{F547F31C-6929-4152-9EA3-089152DA732A}"/>
                </a:ext>
              </a:extLst>
            </p:cNvPr>
            <p:cNvSpPr/>
            <p:nvPr/>
          </p:nvSpPr>
          <p:spPr>
            <a:xfrm flipV="1">
              <a:off x="6902009" y="2948184"/>
              <a:ext cx="38531" cy="15581"/>
            </a:xfrm>
            <a:custGeom>
              <a:avLst/>
              <a:gdLst>
                <a:gd name="connsiteX0" fmla="*/ -2279 w 38531"/>
                <a:gd name="connsiteY0" fmla="*/ 13833 h 15581"/>
                <a:gd name="connsiteX1" fmla="*/ 14536 w 38531"/>
                <a:gd name="connsiteY1" fmla="*/ 181 h 15581"/>
                <a:gd name="connsiteX2" fmla="*/ 36253 w 38531"/>
                <a:gd name="connsiteY2" fmla="*/ 219 h 15581"/>
                <a:gd name="connsiteX3" fmla="*/ 15945 w 38531"/>
                <a:gd name="connsiteY3" fmla="*/ 4168 h 15581"/>
                <a:gd name="connsiteX4" fmla="*/ -2279 w 38531"/>
                <a:gd name="connsiteY4" fmla="*/ 13833 h 15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1" h="15581">
                  <a:moveTo>
                    <a:pt x="-2279" y="13833"/>
                  </a:moveTo>
                  <a:cubicBezTo>
                    <a:pt x="1137" y="7381"/>
                    <a:pt x="7601" y="2847"/>
                    <a:pt x="14536" y="181"/>
                  </a:cubicBezTo>
                  <a:cubicBezTo>
                    <a:pt x="21597" y="-2118"/>
                    <a:pt x="29496" y="-2664"/>
                    <a:pt x="36253" y="219"/>
                  </a:cubicBezTo>
                  <a:cubicBezTo>
                    <a:pt x="29026" y="866"/>
                    <a:pt x="22308" y="1679"/>
                    <a:pt x="15945" y="4168"/>
                  </a:cubicBezTo>
                  <a:cubicBezTo>
                    <a:pt x="9443" y="6238"/>
                    <a:pt x="3703" y="9807"/>
                    <a:pt x="-2279" y="13833"/>
                  </a:cubicBez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8" name="Freeform: Shape 1777">
              <a:extLst>
                <a:ext uri="{FF2B5EF4-FFF2-40B4-BE49-F238E27FC236}">
                  <a16:creationId xmlns:a16="http://schemas.microsoft.com/office/drawing/2014/main" id="{D35F9415-CB90-4E46-9428-6D366A67A053}"/>
                </a:ext>
              </a:extLst>
            </p:cNvPr>
            <p:cNvSpPr/>
            <p:nvPr/>
          </p:nvSpPr>
          <p:spPr>
            <a:xfrm flipV="1">
              <a:off x="6924472" y="2827597"/>
              <a:ext cx="74383" cy="34742"/>
            </a:xfrm>
            <a:custGeom>
              <a:avLst/>
              <a:gdLst>
                <a:gd name="connsiteX0" fmla="*/ 69820 w 74383"/>
                <a:gd name="connsiteY0" fmla="*/ 6454 h 34742"/>
                <a:gd name="connsiteX1" fmla="*/ 5470 w 74383"/>
                <a:gd name="connsiteY1" fmla="*/ 32895 h 34742"/>
                <a:gd name="connsiteX2" fmla="*/ -1947 w 74383"/>
                <a:gd name="connsiteY2" fmla="*/ 19319 h 34742"/>
                <a:gd name="connsiteX3" fmla="*/ -93 w 74383"/>
                <a:gd name="connsiteY3" fmla="*/ 18925 h 34742"/>
                <a:gd name="connsiteX4" fmla="*/ 62124 w 74383"/>
                <a:gd name="connsiteY4" fmla="*/ -442 h 34742"/>
                <a:gd name="connsiteX5" fmla="*/ 70709 w 74383"/>
                <a:gd name="connsiteY5" fmla="*/ -404 h 34742"/>
                <a:gd name="connsiteX6" fmla="*/ 69820 w 74383"/>
                <a:gd name="connsiteY6" fmla="*/ 6454 h 34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383" h="34742">
                  <a:moveTo>
                    <a:pt x="69820" y="6454"/>
                  </a:moveTo>
                  <a:cubicBezTo>
                    <a:pt x="68347" y="7737"/>
                    <a:pt x="45411" y="31701"/>
                    <a:pt x="5470" y="32895"/>
                  </a:cubicBezTo>
                  <a:cubicBezTo>
                    <a:pt x="2714" y="32984"/>
                    <a:pt x="-3916" y="20081"/>
                    <a:pt x="-1947" y="19319"/>
                  </a:cubicBezTo>
                  <a:lnTo>
                    <a:pt x="-93" y="18925"/>
                  </a:lnTo>
                  <a:cubicBezTo>
                    <a:pt x="36788" y="17211"/>
                    <a:pt x="61616" y="28"/>
                    <a:pt x="62124" y="-442"/>
                  </a:cubicBezTo>
                  <a:cubicBezTo>
                    <a:pt x="64652" y="-2322"/>
                    <a:pt x="68550" y="-2322"/>
                    <a:pt x="70709" y="-404"/>
                  </a:cubicBezTo>
                  <a:cubicBezTo>
                    <a:pt x="72856" y="1501"/>
                    <a:pt x="72411" y="4587"/>
                    <a:pt x="69820" y="6454"/>
                  </a:cubicBezTo>
                </a:path>
              </a:pathLst>
            </a:custGeom>
            <a:solidFill>
              <a:schemeClr val="tx1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9" name="Freeform: Shape 1778">
              <a:extLst>
                <a:ext uri="{FF2B5EF4-FFF2-40B4-BE49-F238E27FC236}">
                  <a16:creationId xmlns:a16="http://schemas.microsoft.com/office/drawing/2014/main" id="{BC376022-70BC-42BE-BAB0-0A22C0FE2320}"/>
                </a:ext>
              </a:extLst>
            </p:cNvPr>
            <p:cNvSpPr/>
            <p:nvPr/>
          </p:nvSpPr>
          <p:spPr>
            <a:xfrm flipV="1">
              <a:off x="6508247" y="3593649"/>
              <a:ext cx="652637" cy="675191"/>
            </a:xfrm>
            <a:custGeom>
              <a:avLst/>
              <a:gdLst>
                <a:gd name="connsiteX0" fmla="*/ 148960 w 652637"/>
                <a:gd name="connsiteY0" fmla="*/ 87780 h 675191"/>
                <a:gd name="connsiteX1" fmla="*/ 83797 w 652637"/>
                <a:gd name="connsiteY1" fmla="*/ 667140 h 675191"/>
                <a:gd name="connsiteX2" fmla="*/ 650291 w 652637"/>
                <a:gd name="connsiteY2" fmla="*/ 591779 h 675191"/>
                <a:gd name="connsiteX3" fmla="*/ 547803 w 652637"/>
                <a:gd name="connsiteY3" fmla="*/ 458721 h 675191"/>
                <a:gd name="connsiteX4" fmla="*/ 316663 w 652637"/>
                <a:gd name="connsiteY4" fmla="*/ 552447 h 675191"/>
                <a:gd name="connsiteX5" fmla="*/ 239511 w 652637"/>
                <a:gd name="connsiteY5" fmla="*/ 7477 h 675191"/>
                <a:gd name="connsiteX6" fmla="*/ -2220 w 652637"/>
                <a:gd name="connsiteY6" fmla="*/ 27823 h 675191"/>
                <a:gd name="connsiteX7" fmla="*/ 148960 w 652637"/>
                <a:gd name="connsiteY7" fmla="*/ 87780 h 67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2637" h="675191">
                  <a:moveTo>
                    <a:pt x="148960" y="87780"/>
                  </a:moveTo>
                  <a:cubicBezTo>
                    <a:pt x="178170" y="117729"/>
                    <a:pt x="44135" y="640165"/>
                    <a:pt x="83797" y="667140"/>
                  </a:cubicBezTo>
                  <a:cubicBezTo>
                    <a:pt x="123459" y="694102"/>
                    <a:pt x="552972" y="639785"/>
                    <a:pt x="650291" y="591779"/>
                  </a:cubicBezTo>
                  <a:cubicBezTo>
                    <a:pt x="640297" y="562454"/>
                    <a:pt x="687769" y="437639"/>
                    <a:pt x="547803" y="458721"/>
                  </a:cubicBezTo>
                  <a:cubicBezTo>
                    <a:pt x="384887" y="483245"/>
                    <a:pt x="308167" y="581733"/>
                    <a:pt x="316663" y="552447"/>
                  </a:cubicBezTo>
                  <a:cubicBezTo>
                    <a:pt x="288152" y="397279"/>
                    <a:pt x="239511" y="7477"/>
                    <a:pt x="239511" y="7477"/>
                  </a:cubicBezTo>
                  <a:cubicBezTo>
                    <a:pt x="239511" y="7477"/>
                    <a:pt x="25491" y="-21246"/>
                    <a:pt x="-2220" y="27823"/>
                  </a:cubicBezTo>
                  <a:cubicBezTo>
                    <a:pt x="2682" y="35646"/>
                    <a:pt x="119738" y="57821"/>
                    <a:pt x="148960" y="87780"/>
                  </a:cubicBez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0" name="Freeform: Shape 1779">
              <a:extLst>
                <a:ext uri="{FF2B5EF4-FFF2-40B4-BE49-F238E27FC236}">
                  <a16:creationId xmlns:a16="http://schemas.microsoft.com/office/drawing/2014/main" id="{1DCB1FFC-CEAA-4477-A576-714CA4C57601}"/>
                </a:ext>
              </a:extLst>
            </p:cNvPr>
            <p:cNvSpPr/>
            <p:nvPr/>
          </p:nvSpPr>
          <p:spPr>
            <a:xfrm flipV="1">
              <a:off x="6948860" y="3062013"/>
              <a:ext cx="233907" cy="107860"/>
            </a:xfrm>
            <a:custGeom>
              <a:avLst/>
              <a:gdLst>
                <a:gd name="connsiteX0" fmla="*/ 229778 w 233907"/>
                <a:gd name="connsiteY0" fmla="*/ 89339 h 107860"/>
                <a:gd name="connsiteX1" fmla="*/ 156194 w 233907"/>
                <a:gd name="connsiteY1" fmla="*/ 104262 h 107860"/>
                <a:gd name="connsiteX2" fmla="*/ 13332 w 233907"/>
                <a:gd name="connsiteY2" fmla="*/ 106255 h 107860"/>
                <a:gd name="connsiteX3" fmla="*/ -2378 w 233907"/>
                <a:gd name="connsiteY3" fmla="*/ 47035 h 107860"/>
                <a:gd name="connsiteX4" fmla="*/ 231530 w 233907"/>
                <a:gd name="connsiteY4" fmla="*/ -1605 h 107860"/>
                <a:gd name="connsiteX5" fmla="*/ 229778 w 233907"/>
                <a:gd name="connsiteY5" fmla="*/ 89339 h 107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907" h="107860">
                  <a:moveTo>
                    <a:pt x="229778" y="89339"/>
                  </a:moveTo>
                  <a:lnTo>
                    <a:pt x="156194" y="104262"/>
                  </a:lnTo>
                  <a:lnTo>
                    <a:pt x="13332" y="106255"/>
                  </a:lnTo>
                  <a:lnTo>
                    <a:pt x="-2378" y="47035"/>
                  </a:lnTo>
                  <a:lnTo>
                    <a:pt x="231530" y="-1605"/>
                  </a:lnTo>
                  <a:lnTo>
                    <a:pt x="229778" y="89339"/>
                  </a:ln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1" name="Freeform: Shape 1780">
              <a:extLst>
                <a:ext uri="{FF2B5EF4-FFF2-40B4-BE49-F238E27FC236}">
                  <a16:creationId xmlns:a16="http://schemas.microsoft.com/office/drawing/2014/main" id="{6C5C8ED7-E4D2-44B8-B112-9223D1B4268F}"/>
                </a:ext>
              </a:extLst>
            </p:cNvPr>
            <p:cNvSpPr/>
            <p:nvPr/>
          </p:nvSpPr>
          <p:spPr>
            <a:xfrm flipV="1">
              <a:off x="6200400" y="3634838"/>
              <a:ext cx="925322" cy="728544"/>
            </a:xfrm>
            <a:custGeom>
              <a:avLst/>
              <a:gdLst>
                <a:gd name="connsiteX0" fmla="*/ 149065 w 925322"/>
                <a:gd name="connsiteY0" fmla="*/ 92407 h 728544"/>
                <a:gd name="connsiteX1" fmla="*/ 183621 w 925322"/>
                <a:gd name="connsiteY1" fmla="*/ 716697 h 728544"/>
                <a:gd name="connsiteX2" fmla="*/ 745582 w 925322"/>
                <a:gd name="connsiteY2" fmla="*/ 678889 h 728544"/>
                <a:gd name="connsiteX3" fmla="*/ 922976 w 925322"/>
                <a:gd name="connsiteY3" fmla="*/ 531214 h 728544"/>
                <a:gd name="connsiteX4" fmla="*/ 316781 w 925322"/>
                <a:gd name="connsiteY4" fmla="*/ 569771 h 728544"/>
                <a:gd name="connsiteX5" fmla="*/ 239616 w 925322"/>
                <a:gd name="connsiteY5" fmla="*/ 24790 h 728544"/>
                <a:gd name="connsiteX6" fmla="*/ -2103 w 925322"/>
                <a:gd name="connsiteY6" fmla="*/ 19759 h 728544"/>
                <a:gd name="connsiteX7" fmla="*/ 149065 w 925322"/>
                <a:gd name="connsiteY7" fmla="*/ 92407 h 72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322" h="728544">
                  <a:moveTo>
                    <a:pt x="149065" y="92407"/>
                  </a:moveTo>
                  <a:cubicBezTo>
                    <a:pt x="178262" y="122351"/>
                    <a:pt x="148417" y="693862"/>
                    <a:pt x="183621" y="716697"/>
                  </a:cubicBezTo>
                  <a:cubicBezTo>
                    <a:pt x="218851" y="739531"/>
                    <a:pt x="648263" y="726908"/>
                    <a:pt x="745582" y="678889"/>
                  </a:cubicBezTo>
                  <a:cubicBezTo>
                    <a:pt x="735588" y="649590"/>
                    <a:pt x="931053" y="561211"/>
                    <a:pt x="922976" y="531214"/>
                  </a:cubicBezTo>
                  <a:cubicBezTo>
                    <a:pt x="908751" y="478293"/>
                    <a:pt x="300957" y="624216"/>
                    <a:pt x="316781" y="569771"/>
                  </a:cubicBezTo>
                  <a:cubicBezTo>
                    <a:pt x="288244" y="414603"/>
                    <a:pt x="239616" y="24790"/>
                    <a:pt x="239616" y="24790"/>
                  </a:cubicBezTo>
                  <a:cubicBezTo>
                    <a:pt x="239616" y="24790"/>
                    <a:pt x="25596" y="-29310"/>
                    <a:pt x="-2103" y="19759"/>
                  </a:cubicBezTo>
                  <a:cubicBezTo>
                    <a:pt x="2799" y="27582"/>
                    <a:pt x="119855" y="62458"/>
                    <a:pt x="149065" y="92407"/>
                  </a:cubicBezTo>
                </a:path>
              </a:pathLst>
            </a:custGeom>
            <a:solidFill>
              <a:srgbClr val="15212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2" name="Freeform: Shape 1781">
              <a:extLst>
                <a:ext uri="{FF2B5EF4-FFF2-40B4-BE49-F238E27FC236}">
                  <a16:creationId xmlns:a16="http://schemas.microsoft.com/office/drawing/2014/main" id="{ED6AA22F-4232-442E-86D9-9CE8B65F9F4E}"/>
                </a:ext>
              </a:extLst>
            </p:cNvPr>
            <p:cNvSpPr/>
            <p:nvPr/>
          </p:nvSpPr>
          <p:spPr>
            <a:xfrm flipV="1">
              <a:off x="6889322" y="3106425"/>
              <a:ext cx="364108" cy="702219"/>
            </a:xfrm>
            <a:custGeom>
              <a:avLst/>
              <a:gdLst>
                <a:gd name="connsiteX0" fmla="*/ 8185 w 364108"/>
                <a:gd name="connsiteY0" fmla="*/ 667010 h 702219"/>
                <a:gd name="connsiteX1" fmla="*/ 156254 w 364108"/>
                <a:gd name="connsiteY1" fmla="*/ 700919 h 702219"/>
                <a:gd name="connsiteX2" fmla="*/ 338460 w 364108"/>
                <a:gd name="connsiteY2" fmla="*/ 677653 h 702219"/>
                <a:gd name="connsiteX3" fmla="*/ 361727 w 364108"/>
                <a:gd name="connsiteY3" fmla="*/ 633241 h 702219"/>
                <a:gd name="connsiteX4" fmla="*/ 300081 w 364108"/>
                <a:gd name="connsiteY4" fmla="*/ -1301 h 702219"/>
                <a:gd name="connsiteX5" fmla="*/ 31451 w 364108"/>
                <a:gd name="connsiteY5" fmla="*/ 43111 h 702219"/>
                <a:gd name="connsiteX6" fmla="*/ -2382 w 364108"/>
                <a:gd name="connsiteY6" fmla="*/ 138310 h 702219"/>
                <a:gd name="connsiteX7" fmla="*/ 71647 w 364108"/>
                <a:gd name="connsiteY7" fmla="*/ 347695 h 702219"/>
                <a:gd name="connsiteX8" fmla="*/ 8185 w 364108"/>
                <a:gd name="connsiteY8" fmla="*/ 667010 h 70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4108" h="702219">
                  <a:moveTo>
                    <a:pt x="8185" y="667010"/>
                  </a:moveTo>
                  <a:cubicBezTo>
                    <a:pt x="8185" y="667010"/>
                    <a:pt x="94913" y="700919"/>
                    <a:pt x="156254" y="700919"/>
                  </a:cubicBezTo>
                  <a:cubicBezTo>
                    <a:pt x="217582" y="700919"/>
                    <a:pt x="338460" y="677653"/>
                    <a:pt x="338460" y="677653"/>
                  </a:cubicBezTo>
                  <a:lnTo>
                    <a:pt x="361727" y="633241"/>
                  </a:lnTo>
                  <a:lnTo>
                    <a:pt x="300081" y="-1301"/>
                  </a:lnTo>
                  <a:lnTo>
                    <a:pt x="31451" y="43111"/>
                  </a:lnTo>
                  <a:lnTo>
                    <a:pt x="-2382" y="138310"/>
                  </a:lnTo>
                  <a:lnTo>
                    <a:pt x="71647" y="347695"/>
                  </a:lnTo>
                  <a:lnTo>
                    <a:pt x="8185" y="667010"/>
                  </a:ln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3" name="Freeform: Shape 1782">
              <a:extLst>
                <a:ext uri="{FF2B5EF4-FFF2-40B4-BE49-F238E27FC236}">
                  <a16:creationId xmlns:a16="http://schemas.microsoft.com/office/drawing/2014/main" id="{46BB8408-3475-405C-A80B-80DEB915743B}"/>
                </a:ext>
              </a:extLst>
            </p:cNvPr>
            <p:cNvSpPr/>
            <p:nvPr/>
          </p:nvSpPr>
          <p:spPr>
            <a:xfrm flipV="1">
              <a:off x="6898479" y="3138937"/>
              <a:ext cx="195573" cy="504188"/>
            </a:xfrm>
            <a:custGeom>
              <a:avLst/>
              <a:gdLst>
                <a:gd name="connsiteX0" fmla="*/ 76537 w 195573"/>
                <a:gd name="connsiteY0" fmla="*/ 22338 h 504188"/>
                <a:gd name="connsiteX1" fmla="*/ 163760 w 195573"/>
                <a:gd name="connsiteY1" fmla="*/ 58686 h 504188"/>
                <a:gd name="connsiteX2" fmla="*/ 190785 w 195573"/>
                <a:gd name="connsiteY2" fmla="*/ 120890 h 504188"/>
                <a:gd name="connsiteX3" fmla="*/ 167151 w 195573"/>
                <a:gd name="connsiteY3" fmla="*/ 276274 h 504188"/>
                <a:gd name="connsiteX4" fmla="*/ 87865 w 195573"/>
                <a:gd name="connsiteY4" fmla="*/ 425816 h 504188"/>
                <a:gd name="connsiteX5" fmla="*/ 6598 w 195573"/>
                <a:gd name="connsiteY5" fmla="*/ 502829 h 504188"/>
                <a:gd name="connsiteX6" fmla="*/ -921 w 195573"/>
                <a:gd name="connsiteY6" fmla="*/ 501432 h 504188"/>
                <a:gd name="connsiteX7" fmla="*/ 62541 w 195573"/>
                <a:gd name="connsiteY7" fmla="*/ 182117 h 504188"/>
                <a:gd name="connsiteX8" fmla="*/ -2330 w 195573"/>
                <a:gd name="connsiteY8" fmla="*/ -1360 h 504188"/>
                <a:gd name="connsiteX9" fmla="*/ 76537 w 195573"/>
                <a:gd name="connsiteY9" fmla="*/ 22338 h 504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573" h="504188">
                  <a:moveTo>
                    <a:pt x="76537" y="22338"/>
                  </a:moveTo>
                  <a:cubicBezTo>
                    <a:pt x="105810" y="31050"/>
                    <a:pt x="141027" y="36575"/>
                    <a:pt x="163760" y="58686"/>
                  </a:cubicBezTo>
                  <a:cubicBezTo>
                    <a:pt x="179876" y="74357"/>
                    <a:pt x="187357" y="99249"/>
                    <a:pt x="190785" y="120890"/>
                  </a:cubicBezTo>
                  <a:cubicBezTo>
                    <a:pt x="199053" y="173074"/>
                    <a:pt x="185274" y="227582"/>
                    <a:pt x="167151" y="276274"/>
                  </a:cubicBezTo>
                  <a:cubicBezTo>
                    <a:pt x="147441" y="329195"/>
                    <a:pt x="120009" y="379449"/>
                    <a:pt x="87865" y="425816"/>
                  </a:cubicBezTo>
                  <a:cubicBezTo>
                    <a:pt x="64561" y="459446"/>
                    <a:pt x="38183" y="476134"/>
                    <a:pt x="6598" y="502829"/>
                  </a:cubicBezTo>
                  <a:cubicBezTo>
                    <a:pt x="1823" y="501965"/>
                    <a:pt x="-921" y="501432"/>
                    <a:pt x="-921" y="501432"/>
                  </a:cubicBezTo>
                  <a:lnTo>
                    <a:pt x="62541" y="182117"/>
                  </a:lnTo>
                  <a:lnTo>
                    <a:pt x="-2330" y="-1360"/>
                  </a:lnTo>
                  <a:cubicBezTo>
                    <a:pt x="23946" y="6489"/>
                    <a:pt x="50210" y="14490"/>
                    <a:pt x="76537" y="22338"/>
                  </a:cubicBez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4" name="Freeform: Shape 1783">
              <a:extLst>
                <a:ext uri="{FF2B5EF4-FFF2-40B4-BE49-F238E27FC236}">
                  <a16:creationId xmlns:a16="http://schemas.microsoft.com/office/drawing/2014/main" id="{F39E0CFD-943F-4846-9E4E-D63FE106BE11}"/>
                </a:ext>
              </a:extLst>
            </p:cNvPr>
            <p:cNvSpPr/>
            <p:nvPr/>
          </p:nvSpPr>
          <p:spPr>
            <a:xfrm flipV="1">
              <a:off x="6260826" y="3371562"/>
              <a:ext cx="195465" cy="69430"/>
            </a:xfrm>
            <a:custGeom>
              <a:avLst/>
              <a:gdLst>
                <a:gd name="connsiteX0" fmla="*/ 193570 w 195465"/>
                <a:gd name="connsiteY0" fmla="*/ 68084 h 69430"/>
                <a:gd name="connsiteX1" fmla="*/ 83029 w 195465"/>
                <a:gd name="connsiteY1" fmla="*/ 54241 h 69430"/>
                <a:gd name="connsiteX2" fmla="*/ -1895 w 195465"/>
                <a:gd name="connsiteY2" fmla="*/ 1651 h 69430"/>
                <a:gd name="connsiteX3" fmla="*/ 174317 w 195465"/>
                <a:gd name="connsiteY3" fmla="*/ -1346 h 69430"/>
                <a:gd name="connsiteX4" fmla="*/ 193570 w 195465"/>
                <a:gd name="connsiteY4" fmla="*/ 68084 h 6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465" h="69430">
                  <a:moveTo>
                    <a:pt x="193570" y="68084"/>
                  </a:moveTo>
                  <a:lnTo>
                    <a:pt x="83029" y="54241"/>
                  </a:lnTo>
                  <a:lnTo>
                    <a:pt x="-1895" y="1651"/>
                  </a:lnTo>
                  <a:lnTo>
                    <a:pt x="174317" y="-1346"/>
                  </a:lnTo>
                  <a:lnTo>
                    <a:pt x="193570" y="68084"/>
                  </a:lnTo>
                </a:path>
              </a:pathLst>
            </a:custGeom>
            <a:solidFill>
              <a:srgbClr val="99655C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5" name="Freeform: Shape 1784">
              <a:extLst>
                <a:ext uri="{FF2B5EF4-FFF2-40B4-BE49-F238E27FC236}">
                  <a16:creationId xmlns:a16="http://schemas.microsoft.com/office/drawing/2014/main" id="{4303708B-B19A-4387-9D5F-00787E52D632}"/>
                </a:ext>
              </a:extLst>
            </p:cNvPr>
            <p:cNvSpPr/>
            <p:nvPr/>
          </p:nvSpPr>
          <p:spPr>
            <a:xfrm flipV="1">
              <a:off x="6420045" y="3122912"/>
              <a:ext cx="568040" cy="324265"/>
            </a:xfrm>
            <a:custGeom>
              <a:avLst/>
              <a:gdLst>
                <a:gd name="connsiteX0" fmla="*/ 562586 w 568040"/>
                <a:gd name="connsiteY0" fmla="*/ 305123 h 324265"/>
                <a:gd name="connsiteX1" fmla="*/ 212295 w 568040"/>
                <a:gd name="connsiteY1" fmla="*/ 114636 h 324265"/>
                <a:gd name="connsiteX2" fmla="*/ 24412 w 568040"/>
                <a:gd name="connsiteY2" fmla="*/ 73717 h 324265"/>
                <a:gd name="connsiteX3" fmla="*/ -2131 w 568040"/>
                <a:gd name="connsiteY3" fmla="*/ 7728 h 324265"/>
                <a:gd name="connsiteX4" fmla="*/ 200954 w 568040"/>
                <a:gd name="connsiteY4" fmla="*/ -1454 h 324265"/>
                <a:gd name="connsiteX5" fmla="*/ 533744 w 568040"/>
                <a:gd name="connsiteY5" fmla="*/ 173335 h 324265"/>
                <a:gd name="connsiteX6" fmla="*/ 562586 w 568040"/>
                <a:gd name="connsiteY6" fmla="*/ 305123 h 3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8040" h="324265">
                  <a:moveTo>
                    <a:pt x="562586" y="305123"/>
                  </a:moveTo>
                  <a:cubicBezTo>
                    <a:pt x="536043" y="394747"/>
                    <a:pt x="212295" y="114636"/>
                    <a:pt x="212295" y="114636"/>
                  </a:cubicBezTo>
                  <a:lnTo>
                    <a:pt x="24412" y="73717"/>
                  </a:lnTo>
                  <a:lnTo>
                    <a:pt x="-2131" y="7728"/>
                  </a:lnTo>
                  <a:lnTo>
                    <a:pt x="200954" y="-1454"/>
                  </a:lnTo>
                  <a:cubicBezTo>
                    <a:pt x="200954" y="-1454"/>
                    <a:pt x="435624" y="73475"/>
                    <a:pt x="533744" y="173335"/>
                  </a:cubicBezTo>
                  <a:cubicBezTo>
                    <a:pt x="566942" y="207117"/>
                    <a:pt x="569977" y="280193"/>
                    <a:pt x="562586" y="305123"/>
                  </a:cubicBez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6" name="Freeform: Shape 1785">
              <a:extLst>
                <a:ext uri="{FF2B5EF4-FFF2-40B4-BE49-F238E27FC236}">
                  <a16:creationId xmlns:a16="http://schemas.microsoft.com/office/drawing/2014/main" id="{A294B557-F5A3-4E27-AD14-443E672CBFAD}"/>
                </a:ext>
              </a:extLst>
            </p:cNvPr>
            <p:cNvSpPr/>
            <p:nvPr/>
          </p:nvSpPr>
          <p:spPr>
            <a:xfrm flipV="1">
              <a:off x="6189088" y="4256527"/>
              <a:ext cx="259837" cy="119224"/>
            </a:xfrm>
            <a:custGeom>
              <a:avLst/>
              <a:gdLst>
                <a:gd name="connsiteX0" fmla="*/ 154274 w 259837"/>
                <a:gd name="connsiteY0" fmla="*/ 116726 h 119224"/>
                <a:gd name="connsiteX1" fmla="*/ 192171 w 259837"/>
                <a:gd name="connsiteY1" fmla="*/ 91619 h 119224"/>
                <a:gd name="connsiteX2" fmla="*/ 199511 w 259837"/>
                <a:gd name="connsiteY2" fmla="*/ 78870 h 119224"/>
                <a:gd name="connsiteX3" fmla="*/ 256826 w 259837"/>
                <a:gd name="connsiteY3" fmla="*/ 82183 h 119224"/>
                <a:gd name="connsiteX4" fmla="*/ 244190 w 259837"/>
                <a:gd name="connsiteY4" fmla="*/ 28297 h 119224"/>
                <a:gd name="connsiteX5" fmla="*/ -1021 w 259837"/>
                <a:gd name="connsiteY5" fmla="*/ 38279 h 119224"/>
                <a:gd name="connsiteX6" fmla="*/ 154274 w 259837"/>
                <a:gd name="connsiteY6" fmla="*/ 116726 h 119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837" h="119224">
                  <a:moveTo>
                    <a:pt x="154274" y="116726"/>
                  </a:moveTo>
                  <a:cubicBezTo>
                    <a:pt x="187611" y="127317"/>
                    <a:pt x="192171" y="91619"/>
                    <a:pt x="192171" y="91619"/>
                  </a:cubicBezTo>
                  <a:lnTo>
                    <a:pt x="199511" y="78870"/>
                  </a:lnTo>
                  <a:cubicBezTo>
                    <a:pt x="217723" y="51361"/>
                    <a:pt x="256826" y="82183"/>
                    <a:pt x="256826" y="82183"/>
                  </a:cubicBezTo>
                  <a:cubicBezTo>
                    <a:pt x="256826" y="82183"/>
                    <a:pt x="263595" y="38646"/>
                    <a:pt x="244190" y="28297"/>
                  </a:cubicBezTo>
                  <a:cubicBezTo>
                    <a:pt x="180068" y="-5893"/>
                    <a:pt x="73375" y="-17715"/>
                    <a:pt x="-1021" y="38279"/>
                  </a:cubicBezTo>
                  <a:cubicBezTo>
                    <a:pt x="-14318" y="68774"/>
                    <a:pt x="133065" y="91926"/>
                    <a:pt x="154274" y="116726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7" name="Freeform: Shape 1786">
              <a:extLst>
                <a:ext uri="{FF2B5EF4-FFF2-40B4-BE49-F238E27FC236}">
                  <a16:creationId xmlns:a16="http://schemas.microsoft.com/office/drawing/2014/main" id="{215AD0CC-9CC2-47D4-A973-BDCE365A8EA1}"/>
                </a:ext>
              </a:extLst>
            </p:cNvPr>
            <p:cNvSpPr/>
            <p:nvPr/>
          </p:nvSpPr>
          <p:spPr>
            <a:xfrm flipV="1">
              <a:off x="6184629" y="4332848"/>
              <a:ext cx="255829" cy="46937"/>
            </a:xfrm>
            <a:custGeom>
              <a:avLst/>
              <a:gdLst>
                <a:gd name="connsiteX0" fmla="*/ 54433 w 255829"/>
                <a:gd name="connsiteY0" fmla="*/ 11045 h 46937"/>
                <a:gd name="connsiteX1" fmla="*/ -266 w 255829"/>
                <a:gd name="connsiteY1" fmla="*/ 39402 h 46937"/>
                <a:gd name="connsiteX2" fmla="*/ -355 w 255829"/>
                <a:gd name="connsiteY2" fmla="*/ 45206 h 46937"/>
                <a:gd name="connsiteX3" fmla="*/ 7163 w 255829"/>
                <a:gd name="connsiteY3" fmla="*/ 45271 h 46937"/>
                <a:gd name="connsiteX4" fmla="*/ 245618 w 255829"/>
                <a:gd name="connsiteY4" fmla="*/ 35731 h 46937"/>
                <a:gd name="connsiteX5" fmla="*/ 253022 w 255829"/>
                <a:gd name="connsiteY5" fmla="*/ 34689 h 46937"/>
                <a:gd name="connsiteX6" fmla="*/ 251675 w 255829"/>
                <a:gd name="connsiteY6" fmla="*/ 28988 h 46937"/>
                <a:gd name="connsiteX7" fmla="*/ 54433 w 255829"/>
                <a:gd name="connsiteY7" fmla="*/ 11045 h 4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829" h="46937">
                  <a:moveTo>
                    <a:pt x="54433" y="11045"/>
                  </a:moveTo>
                  <a:cubicBezTo>
                    <a:pt x="34976" y="17509"/>
                    <a:pt x="16459" y="26815"/>
                    <a:pt x="-266" y="39402"/>
                  </a:cubicBezTo>
                  <a:cubicBezTo>
                    <a:pt x="-2362" y="40990"/>
                    <a:pt x="-2400" y="43579"/>
                    <a:pt x="-355" y="45206"/>
                  </a:cubicBezTo>
                  <a:cubicBezTo>
                    <a:pt x="1677" y="46818"/>
                    <a:pt x="5042" y="46859"/>
                    <a:pt x="7163" y="45271"/>
                  </a:cubicBezTo>
                  <a:cubicBezTo>
                    <a:pt x="76924" y="-7246"/>
                    <a:pt x="179933" y="717"/>
                    <a:pt x="245618" y="35731"/>
                  </a:cubicBezTo>
                  <a:cubicBezTo>
                    <a:pt x="248056" y="37025"/>
                    <a:pt x="251345" y="36559"/>
                    <a:pt x="253022" y="34689"/>
                  </a:cubicBezTo>
                  <a:cubicBezTo>
                    <a:pt x="254698" y="32839"/>
                    <a:pt x="254076" y="30284"/>
                    <a:pt x="251675" y="28988"/>
                  </a:cubicBezTo>
                  <a:cubicBezTo>
                    <a:pt x="198094" y="439"/>
                    <a:pt x="120853" y="-10976"/>
                    <a:pt x="54433" y="11045"/>
                  </a:cubicBezTo>
                </a:path>
              </a:pathLst>
            </a:custGeom>
            <a:solidFill>
              <a:srgbClr val="39353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8" name="Freeform: Shape 1787">
              <a:extLst>
                <a:ext uri="{FF2B5EF4-FFF2-40B4-BE49-F238E27FC236}">
                  <a16:creationId xmlns:a16="http://schemas.microsoft.com/office/drawing/2014/main" id="{6DD0A61A-3187-40E0-868D-0E549372053E}"/>
                </a:ext>
              </a:extLst>
            </p:cNvPr>
            <p:cNvSpPr/>
            <p:nvPr/>
          </p:nvSpPr>
          <p:spPr>
            <a:xfrm flipV="1">
              <a:off x="7266905" y="4292790"/>
              <a:ext cx="56235" cy="56237"/>
            </a:xfrm>
            <a:custGeom>
              <a:avLst/>
              <a:gdLst>
                <a:gd name="connsiteX0" fmla="*/ -2534 w 56235"/>
                <a:gd name="connsiteY0" fmla="*/ 27574 h 56237"/>
                <a:gd name="connsiteX1" fmla="*/ 25584 w 56235"/>
                <a:gd name="connsiteY1" fmla="*/ -530 h 56237"/>
                <a:gd name="connsiteX2" fmla="*/ 53701 w 56235"/>
                <a:gd name="connsiteY2" fmla="*/ 27574 h 56237"/>
                <a:gd name="connsiteX3" fmla="*/ 25584 w 56235"/>
                <a:gd name="connsiteY3" fmla="*/ 55708 h 56237"/>
                <a:gd name="connsiteX4" fmla="*/ -2534 w 56235"/>
                <a:gd name="connsiteY4" fmla="*/ 27574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35" h="56237">
                  <a:moveTo>
                    <a:pt x="-2534" y="27574"/>
                  </a:moveTo>
                  <a:cubicBezTo>
                    <a:pt x="-2534" y="12056"/>
                    <a:pt x="10051" y="-530"/>
                    <a:pt x="25584" y="-530"/>
                  </a:cubicBezTo>
                  <a:cubicBezTo>
                    <a:pt x="41116" y="-530"/>
                    <a:pt x="53701" y="12056"/>
                    <a:pt x="53701" y="27574"/>
                  </a:cubicBezTo>
                  <a:cubicBezTo>
                    <a:pt x="53701" y="43121"/>
                    <a:pt x="41116" y="55708"/>
                    <a:pt x="25584" y="55708"/>
                  </a:cubicBezTo>
                  <a:cubicBezTo>
                    <a:pt x="10051" y="55708"/>
                    <a:pt x="-2534" y="43121"/>
                    <a:pt x="-2534" y="2757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9" name="Freeform: Shape 1788">
              <a:extLst>
                <a:ext uri="{FF2B5EF4-FFF2-40B4-BE49-F238E27FC236}">
                  <a16:creationId xmlns:a16="http://schemas.microsoft.com/office/drawing/2014/main" id="{59DE6462-E7DC-4E42-BD92-0CFE4EB60794}"/>
                </a:ext>
              </a:extLst>
            </p:cNvPr>
            <p:cNvSpPr/>
            <p:nvPr/>
          </p:nvSpPr>
          <p:spPr>
            <a:xfrm flipV="1">
              <a:off x="7254916" y="4280815"/>
              <a:ext cx="80200" cy="80202"/>
            </a:xfrm>
            <a:custGeom>
              <a:avLst/>
              <a:gdLst>
                <a:gd name="connsiteX0" fmla="*/ 21418 w 80200"/>
                <a:gd name="connsiteY0" fmla="*/ 39564 h 80202"/>
                <a:gd name="connsiteX1" fmla="*/ 37572 w 80200"/>
                <a:gd name="connsiteY1" fmla="*/ 23421 h 80202"/>
                <a:gd name="connsiteX2" fmla="*/ 53714 w 80200"/>
                <a:gd name="connsiteY2" fmla="*/ 39564 h 80202"/>
                <a:gd name="connsiteX3" fmla="*/ 37572 w 80200"/>
                <a:gd name="connsiteY3" fmla="*/ 55722 h 80202"/>
                <a:gd name="connsiteX4" fmla="*/ 21418 w 80200"/>
                <a:gd name="connsiteY4" fmla="*/ 39564 h 80202"/>
                <a:gd name="connsiteX5" fmla="*/ -2534 w 80200"/>
                <a:gd name="connsiteY5" fmla="*/ 39564 h 80202"/>
                <a:gd name="connsiteX6" fmla="*/ 37572 w 80200"/>
                <a:gd name="connsiteY6" fmla="*/ 79673 h 80202"/>
                <a:gd name="connsiteX7" fmla="*/ 77666 w 80200"/>
                <a:gd name="connsiteY7" fmla="*/ 39564 h 80202"/>
                <a:gd name="connsiteX8" fmla="*/ 37572 w 80200"/>
                <a:gd name="connsiteY8" fmla="*/ -530 h 80202"/>
                <a:gd name="connsiteX9" fmla="*/ -2534 w 80200"/>
                <a:gd name="connsiteY9" fmla="*/ 39564 h 8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200" h="80202">
                  <a:moveTo>
                    <a:pt x="21418" y="39564"/>
                  </a:moveTo>
                  <a:cubicBezTo>
                    <a:pt x="21418" y="30664"/>
                    <a:pt x="28657" y="23421"/>
                    <a:pt x="37572" y="23421"/>
                  </a:cubicBezTo>
                  <a:cubicBezTo>
                    <a:pt x="46475" y="23421"/>
                    <a:pt x="53714" y="30664"/>
                    <a:pt x="53714" y="39564"/>
                  </a:cubicBezTo>
                  <a:cubicBezTo>
                    <a:pt x="53714" y="48479"/>
                    <a:pt x="46475" y="55722"/>
                    <a:pt x="37572" y="55722"/>
                  </a:cubicBezTo>
                  <a:cubicBezTo>
                    <a:pt x="28657" y="55722"/>
                    <a:pt x="21418" y="48479"/>
                    <a:pt x="21418" y="39564"/>
                  </a:cubicBezTo>
                  <a:close/>
                  <a:moveTo>
                    <a:pt x="-2534" y="39564"/>
                  </a:moveTo>
                  <a:cubicBezTo>
                    <a:pt x="-2534" y="61690"/>
                    <a:pt x="15462" y="79673"/>
                    <a:pt x="37572" y="79673"/>
                  </a:cubicBezTo>
                  <a:cubicBezTo>
                    <a:pt x="59683" y="79673"/>
                    <a:pt x="77666" y="61690"/>
                    <a:pt x="77666" y="39564"/>
                  </a:cubicBezTo>
                  <a:cubicBezTo>
                    <a:pt x="77666" y="17468"/>
                    <a:pt x="59683" y="-530"/>
                    <a:pt x="37572" y="-530"/>
                  </a:cubicBezTo>
                  <a:cubicBezTo>
                    <a:pt x="15462" y="-530"/>
                    <a:pt x="-2534" y="17468"/>
                    <a:pt x="-2534" y="3956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0" name="Freeform: Shape 1789">
              <a:extLst>
                <a:ext uri="{FF2B5EF4-FFF2-40B4-BE49-F238E27FC236}">
                  <a16:creationId xmlns:a16="http://schemas.microsoft.com/office/drawing/2014/main" id="{9BA3A097-5E58-42AF-BE80-ABAB9F317F06}"/>
                </a:ext>
              </a:extLst>
            </p:cNvPr>
            <p:cNvSpPr/>
            <p:nvPr/>
          </p:nvSpPr>
          <p:spPr>
            <a:xfrm flipV="1">
              <a:off x="7251297" y="4277198"/>
              <a:ext cx="87439" cy="43726"/>
            </a:xfrm>
            <a:custGeom>
              <a:avLst/>
              <a:gdLst>
                <a:gd name="connsiteX0" fmla="*/ -2534 w 87439"/>
                <a:gd name="connsiteY0" fmla="*/ -550 h 43726"/>
                <a:gd name="connsiteX1" fmla="*/ -2534 w 87439"/>
                <a:gd name="connsiteY1" fmla="*/ -550 h 43726"/>
                <a:gd name="connsiteX2" fmla="*/ 41192 w 87439"/>
                <a:gd name="connsiteY2" fmla="*/ 43176 h 43726"/>
                <a:gd name="connsiteX3" fmla="*/ 84905 w 87439"/>
                <a:gd name="connsiteY3" fmla="*/ -550 h 43726"/>
                <a:gd name="connsiteX4" fmla="*/ -2534 w 87439"/>
                <a:gd name="connsiteY4" fmla="*/ -550 h 4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9" h="43726">
                  <a:moveTo>
                    <a:pt x="-2534" y="-550"/>
                  </a:moveTo>
                  <a:lnTo>
                    <a:pt x="-2534" y="-550"/>
                  </a:lnTo>
                  <a:cubicBezTo>
                    <a:pt x="-2534" y="23570"/>
                    <a:pt x="17087" y="43176"/>
                    <a:pt x="41192" y="43176"/>
                  </a:cubicBezTo>
                  <a:cubicBezTo>
                    <a:pt x="65296" y="43176"/>
                    <a:pt x="84905" y="23570"/>
                    <a:pt x="84905" y="-550"/>
                  </a:cubicBezTo>
                  <a:lnTo>
                    <a:pt x="-2534" y="-550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1" name="Freeform: Shape 1790">
              <a:extLst>
                <a:ext uri="{FF2B5EF4-FFF2-40B4-BE49-F238E27FC236}">
                  <a16:creationId xmlns:a16="http://schemas.microsoft.com/office/drawing/2014/main" id="{EDEBAEAC-91EB-424A-B4C2-621E1B7A4795}"/>
                </a:ext>
              </a:extLst>
            </p:cNvPr>
            <p:cNvSpPr/>
            <p:nvPr/>
          </p:nvSpPr>
          <p:spPr>
            <a:xfrm flipV="1">
              <a:off x="6647477" y="4292790"/>
              <a:ext cx="56248" cy="56237"/>
            </a:xfrm>
            <a:custGeom>
              <a:avLst/>
              <a:gdLst>
                <a:gd name="connsiteX0" fmla="*/ -2112 w 56248"/>
                <a:gd name="connsiteY0" fmla="*/ 27574 h 56237"/>
                <a:gd name="connsiteX1" fmla="*/ 26006 w 56248"/>
                <a:gd name="connsiteY1" fmla="*/ -530 h 56237"/>
                <a:gd name="connsiteX2" fmla="*/ 54137 w 56248"/>
                <a:gd name="connsiteY2" fmla="*/ 27574 h 56237"/>
                <a:gd name="connsiteX3" fmla="*/ 26006 w 56248"/>
                <a:gd name="connsiteY3" fmla="*/ 55708 h 56237"/>
                <a:gd name="connsiteX4" fmla="*/ -2112 w 56248"/>
                <a:gd name="connsiteY4" fmla="*/ 27574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8" h="56237">
                  <a:moveTo>
                    <a:pt x="-2112" y="27574"/>
                  </a:moveTo>
                  <a:cubicBezTo>
                    <a:pt x="-2112" y="12056"/>
                    <a:pt x="10487" y="-530"/>
                    <a:pt x="26006" y="-530"/>
                  </a:cubicBezTo>
                  <a:cubicBezTo>
                    <a:pt x="41538" y="-530"/>
                    <a:pt x="54137" y="12056"/>
                    <a:pt x="54137" y="27574"/>
                  </a:cubicBezTo>
                  <a:cubicBezTo>
                    <a:pt x="54137" y="43121"/>
                    <a:pt x="41538" y="55708"/>
                    <a:pt x="26006" y="55708"/>
                  </a:cubicBezTo>
                  <a:cubicBezTo>
                    <a:pt x="10487" y="55708"/>
                    <a:pt x="-2112" y="43121"/>
                    <a:pt x="-2112" y="2757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2" name="Freeform: Shape 1791">
              <a:extLst>
                <a:ext uri="{FF2B5EF4-FFF2-40B4-BE49-F238E27FC236}">
                  <a16:creationId xmlns:a16="http://schemas.microsoft.com/office/drawing/2014/main" id="{9B246584-C9DC-473B-823C-143C68F30100}"/>
                </a:ext>
              </a:extLst>
            </p:cNvPr>
            <p:cNvSpPr/>
            <p:nvPr/>
          </p:nvSpPr>
          <p:spPr>
            <a:xfrm flipV="1">
              <a:off x="6635501" y="4280815"/>
              <a:ext cx="80187" cy="80202"/>
            </a:xfrm>
            <a:custGeom>
              <a:avLst/>
              <a:gdLst>
                <a:gd name="connsiteX0" fmla="*/ 21840 w 80187"/>
                <a:gd name="connsiteY0" fmla="*/ 39564 h 80202"/>
                <a:gd name="connsiteX1" fmla="*/ 37982 w 80187"/>
                <a:gd name="connsiteY1" fmla="*/ 23421 h 80202"/>
                <a:gd name="connsiteX2" fmla="*/ 54137 w 80187"/>
                <a:gd name="connsiteY2" fmla="*/ 39564 h 80202"/>
                <a:gd name="connsiteX3" fmla="*/ 37982 w 80187"/>
                <a:gd name="connsiteY3" fmla="*/ 55722 h 80202"/>
                <a:gd name="connsiteX4" fmla="*/ 21840 w 80187"/>
                <a:gd name="connsiteY4" fmla="*/ 39564 h 80202"/>
                <a:gd name="connsiteX5" fmla="*/ -2112 w 80187"/>
                <a:gd name="connsiteY5" fmla="*/ 39564 h 80202"/>
                <a:gd name="connsiteX6" fmla="*/ 37982 w 80187"/>
                <a:gd name="connsiteY6" fmla="*/ 79673 h 80202"/>
                <a:gd name="connsiteX7" fmla="*/ 78076 w 80187"/>
                <a:gd name="connsiteY7" fmla="*/ 39564 h 80202"/>
                <a:gd name="connsiteX8" fmla="*/ 37982 w 80187"/>
                <a:gd name="connsiteY8" fmla="*/ -530 h 80202"/>
                <a:gd name="connsiteX9" fmla="*/ -2112 w 80187"/>
                <a:gd name="connsiteY9" fmla="*/ 39564 h 8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87" h="80202">
                  <a:moveTo>
                    <a:pt x="21840" y="39564"/>
                  </a:moveTo>
                  <a:cubicBezTo>
                    <a:pt x="21840" y="30664"/>
                    <a:pt x="29080" y="23421"/>
                    <a:pt x="37982" y="23421"/>
                  </a:cubicBezTo>
                  <a:cubicBezTo>
                    <a:pt x="46885" y="23421"/>
                    <a:pt x="54137" y="30664"/>
                    <a:pt x="54137" y="39564"/>
                  </a:cubicBezTo>
                  <a:cubicBezTo>
                    <a:pt x="54137" y="48479"/>
                    <a:pt x="46885" y="55722"/>
                    <a:pt x="37982" y="55722"/>
                  </a:cubicBezTo>
                  <a:cubicBezTo>
                    <a:pt x="29080" y="55722"/>
                    <a:pt x="21840" y="48479"/>
                    <a:pt x="21840" y="39564"/>
                  </a:cubicBezTo>
                  <a:close/>
                  <a:moveTo>
                    <a:pt x="-2112" y="39564"/>
                  </a:moveTo>
                  <a:cubicBezTo>
                    <a:pt x="-2112" y="61690"/>
                    <a:pt x="15872" y="79673"/>
                    <a:pt x="37982" y="79673"/>
                  </a:cubicBezTo>
                  <a:cubicBezTo>
                    <a:pt x="60093" y="79673"/>
                    <a:pt x="78076" y="61690"/>
                    <a:pt x="78076" y="39564"/>
                  </a:cubicBezTo>
                  <a:cubicBezTo>
                    <a:pt x="78076" y="17468"/>
                    <a:pt x="60093" y="-530"/>
                    <a:pt x="37982" y="-530"/>
                  </a:cubicBezTo>
                  <a:cubicBezTo>
                    <a:pt x="15872" y="-530"/>
                    <a:pt x="-2112" y="17468"/>
                    <a:pt x="-2112" y="3956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3" name="Freeform: Shape 1792">
              <a:extLst>
                <a:ext uri="{FF2B5EF4-FFF2-40B4-BE49-F238E27FC236}">
                  <a16:creationId xmlns:a16="http://schemas.microsoft.com/office/drawing/2014/main" id="{C13CB925-E9A5-4A37-9AF3-17CCFCE5CE7A}"/>
                </a:ext>
              </a:extLst>
            </p:cNvPr>
            <p:cNvSpPr/>
            <p:nvPr/>
          </p:nvSpPr>
          <p:spPr>
            <a:xfrm flipV="1">
              <a:off x="6631881" y="4277198"/>
              <a:ext cx="87439" cy="43726"/>
            </a:xfrm>
            <a:custGeom>
              <a:avLst/>
              <a:gdLst>
                <a:gd name="connsiteX0" fmla="*/ -2112 w 87439"/>
                <a:gd name="connsiteY0" fmla="*/ -550 h 43726"/>
                <a:gd name="connsiteX1" fmla="*/ -2112 w 87439"/>
                <a:gd name="connsiteY1" fmla="*/ -550 h 43726"/>
                <a:gd name="connsiteX2" fmla="*/ 41602 w 87439"/>
                <a:gd name="connsiteY2" fmla="*/ 43176 h 43726"/>
                <a:gd name="connsiteX3" fmla="*/ 85328 w 87439"/>
                <a:gd name="connsiteY3" fmla="*/ -550 h 43726"/>
                <a:gd name="connsiteX4" fmla="*/ -2112 w 87439"/>
                <a:gd name="connsiteY4" fmla="*/ -550 h 4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39" h="43726">
                  <a:moveTo>
                    <a:pt x="-2112" y="-550"/>
                  </a:moveTo>
                  <a:lnTo>
                    <a:pt x="-2112" y="-550"/>
                  </a:lnTo>
                  <a:cubicBezTo>
                    <a:pt x="-2112" y="23570"/>
                    <a:pt x="17510" y="43176"/>
                    <a:pt x="41602" y="43176"/>
                  </a:cubicBezTo>
                  <a:cubicBezTo>
                    <a:pt x="65719" y="43176"/>
                    <a:pt x="85328" y="23570"/>
                    <a:pt x="85328" y="-550"/>
                  </a:cubicBezTo>
                  <a:lnTo>
                    <a:pt x="-2112" y="-550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4" name="Freeform: Shape 1793">
              <a:extLst>
                <a:ext uri="{FF2B5EF4-FFF2-40B4-BE49-F238E27FC236}">
                  <a16:creationId xmlns:a16="http://schemas.microsoft.com/office/drawing/2014/main" id="{EE90B0FF-1028-4152-A367-A84843FCB51D}"/>
                </a:ext>
              </a:extLst>
            </p:cNvPr>
            <p:cNvSpPr/>
            <p:nvPr/>
          </p:nvSpPr>
          <p:spPr>
            <a:xfrm flipV="1">
              <a:off x="6840757" y="4292790"/>
              <a:ext cx="56248" cy="56237"/>
            </a:xfrm>
            <a:custGeom>
              <a:avLst/>
              <a:gdLst>
                <a:gd name="connsiteX0" fmla="*/ -2243 w 56248"/>
                <a:gd name="connsiteY0" fmla="*/ 27574 h 56237"/>
                <a:gd name="connsiteX1" fmla="*/ 25874 w 56248"/>
                <a:gd name="connsiteY1" fmla="*/ -530 h 56237"/>
                <a:gd name="connsiteX2" fmla="*/ 54005 w 56248"/>
                <a:gd name="connsiteY2" fmla="*/ 27574 h 56237"/>
                <a:gd name="connsiteX3" fmla="*/ 25874 w 56248"/>
                <a:gd name="connsiteY3" fmla="*/ 55708 h 56237"/>
                <a:gd name="connsiteX4" fmla="*/ -2243 w 56248"/>
                <a:gd name="connsiteY4" fmla="*/ 27574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8" h="56237">
                  <a:moveTo>
                    <a:pt x="-2243" y="27574"/>
                  </a:moveTo>
                  <a:cubicBezTo>
                    <a:pt x="-2243" y="12056"/>
                    <a:pt x="10342" y="-530"/>
                    <a:pt x="25874" y="-530"/>
                  </a:cubicBezTo>
                  <a:cubicBezTo>
                    <a:pt x="41419" y="-530"/>
                    <a:pt x="54005" y="12056"/>
                    <a:pt x="54005" y="27574"/>
                  </a:cubicBezTo>
                  <a:cubicBezTo>
                    <a:pt x="54005" y="43121"/>
                    <a:pt x="41419" y="55708"/>
                    <a:pt x="25874" y="55708"/>
                  </a:cubicBezTo>
                  <a:cubicBezTo>
                    <a:pt x="10342" y="55708"/>
                    <a:pt x="-2243" y="43121"/>
                    <a:pt x="-2243" y="2757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5" name="Freeform: Shape 1794">
              <a:extLst>
                <a:ext uri="{FF2B5EF4-FFF2-40B4-BE49-F238E27FC236}">
                  <a16:creationId xmlns:a16="http://schemas.microsoft.com/office/drawing/2014/main" id="{973FEB22-25D6-4B48-A566-074A93749ED6}"/>
                </a:ext>
              </a:extLst>
            </p:cNvPr>
            <p:cNvSpPr/>
            <p:nvPr/>
          </p:nvSpPr>
          <p:spPr>
            <a:xfrm flipV="1">
              <a:off x="6828781" y="4280815"/>
              <a:ext cx="80187" cy="80202"/>
            </a:xfrm>
            <a:custGeom>
              <a:avLst/>
              <a:gdLst>
                <a:gd name="connsiteX0" fmla="*/ 21696 w 80187"/>
                <a:gd name="connsiteY0" fmla="*/ 39564 h 80202"/>
                <a:gd name="connsiteX1" fmla="*/ 37850 w 80187"/>
                <a:gd name="connsiteY1" fmla="*/ 23421 h 80202"/>
                <a:gd name="connsiteX2" fmla="*/ 53992 w 80187"/>
                <a:gd name="connsiteY2" fmla="*/ 39564 h 80202"/>
                <a:gd name="connsiteX3" fmla="*/ 37850 w 80187"/>
                <a:gd name="connsiteY3" fmla="*/ 55722 h 80202"/>
                <a:gd name="connsiteX4" fmla="*/ 21696 w 80187"/>
                <a:gd name="connsiteY4" fmla="*/ 39564 h 80202"/>
                <a:gd name="connsiteX5" fmla="*/ -2243 w 80187"/>
                <a:gd name="connsiteY5" fmla="*/ 39564 h 80202"/>
                <a:gd name="connsiteX6" fmla="*/ 37850 w 80187"/>
                <a:gd name="connsiteY6" fmla="*/ 79673 h 80202"/>
                <a:gd name="connsiteX7" fmla="*/ 77944 w 80187"/>
                <a:gd name="connsiteY7" fmla="*/ 39564 h 80202"/>
                <a:gd name="connsiteX8" fmla="*/ 37850 w 80187"/>
                <a:gd name="connsiteY8" fmla="*/ -530 h 80202"/>
                <a:gd name="connsiteX9" fmla="*/ -2243 w 80187"/>
                <a:gd name="connsiteY9" fmla="*/ 39564 h 8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87" h="80202">
                  <a:moveTo>
                    <a:pt x="21696" y="39564"/>
                  </a:moveTo>
                  <a:cubicBezTo>
                    <a:pt x="21696" y="30664"/>
                    <a:pt x="28948" y="23421"/>
                    <a:pt x="37850" y="23421"/>
                  </a:cubicBezTo>
                  <a:cubicBezTo>
                    <a:pt x="46753" y="23421"/>
                    <a:pt x="53992" y="30664"/>
                    <a:pt x="53992" y="39564"/>
                  </a:cubicBezTo>
                  <a:cubicBezTo>
                    <a:pt x="53992" y="48479"/>
                    <a:pt x="46753" y="55722"/>
                    <a:pt x="37850" y="55722"/>
                  </a:cubicBezTo>
                  <a:cubicBezTo>
                    <a:pt x="28948" y="55722"/>
                    <a:pt x="21696" y="48479"/>
                    <a:pt x="21696" y="39564"/>
                  </a:cubicBezTo>
                  <a:close/>
                  <a:moveTo>
                    <a:pt x="-2243" y="39564"/>
                  </a:moveTo>
                  <a:cubicBezTo>
                    <a:pt x="-2243" y="61690"/>
                    <a:pt x="15752" y="79673"/>
                    <a:pt x="37850" y="79673"/>
                  </a:cubicBezTo>
                  <a:cubicBezTo>
                    <a:pt x="59961" y="79673"/>
                    <a:pt x="77944" y="61690"/>
                    <a:pt x="77944" y="39564"/>
                  </a:cubicBezTo>
                  <a:cubicBezTo>
                    <a:pt x="77944" y="17468"/>
                    <a:pt x="59961" y="-530"/>
                    <a:pt x="37850" y="-530"/>
                  </a:cubicBezTo>
                  <a:cubicBezTo>
                    <a:pt x="15752" y="-530"/>
                    <a:pt x="-2243" y="17468"/>
                    <a:pt x="-2243" y="3956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6" name="Freeform: Shape 1795">
              <a:extLst>
                <a:ext uri="{FF2B5EF4-FFF2-40B4-BE49-F238E27FC236}">
                  <a16:creationId xmlns:a16="http://schemas.microsoft.com/office/drawing/2014/main" id="{6D2BBB4E-15B6-43E7-A116-A2E17E80A16E}"/>
                </a:ext>
              </a:extLst>
            </p:cNvPr>
            <p:cNvSpPr/>
            <p:nvPr/>
          </p:nvSpPr>
          <p:spPr>
            <a:xfrm flipV="1">
              <a:off x="6825162" y="4277198"/>
              <a:ext cx="87426" cy="43726"/>
            </a:xfrm>
            <a:custGeom>
              <a:avLst/>
              <a:gdLst>
                <a:gd name="connsiteX0" fmla="*/ -2243 w 87426"/>
                <a:gd name="connsiteY0" fmla="*/ -550 h 43726"/>
                <a:gd name="connsiteX1" fmla="*/ -2243 w 87426"/>
                <a:gd name="connsiteY1" fmla="*/ -550 h 43726"/>
                <a:gd name="connsiteX2" fmla="*/ 41470 w 87426"/>
                <a:gd name="connsiteY2" fmla="*/ 43176 h 43726"/>
                <a:gd name="connsiteX3" fmla="*/ 85183 w 87426"/>
                <a:gd name="connsiteY3" fmla="*/ -550 h 43726"/>
                <a:gd name="connsiteX4" fmla="*/ -2243 w 87426"/>
                <a:gd name="connsiteY4" fmla="*/ -550 h 4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26" h="43726">
                  <a:moveTo>
                    <a:pt x="-2243" y="-550"/>
                  </a:moveTo>
                  <a:lnTo>
                    <a:pt x="-2243" y="-550"/>
                  </a:lnTo>
                  <a:cubicBezTo>
                    <a:pt x="-2243" y="23570"/>
                    <a:pt x="17366" y="43176"/>
                    <a:pt x="41470" y="43176"/>
                  </a:cubicBezTo>
                  <a:cubicBezTo>
                    <a:pt x="65575" y="43176"/>
                    <a:pt x="85183" y="23570"/>
                    <a:pt x="85183" y="-550"/>
                  </a:cubicBezTo>
                  <a:lnTo>
                    <a:pt x="-2243" y="-550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7" name="Freeform: Shape 1796">
              <a:extLst>
                <a:ext uri="{FF2B5EF4-FFF2-40B4-BE49-F238E27FC236}">
                  <a16:creationId xmlns:a16="http://schemas.microsoft.com/office/drawing/2014/main" id="{3353E80D-EB62-487A-BBB7-609A24B7611A}"/>
                </a:ext>
              </a:extLst>
            </p:cNvPr>
            <p:cNvSpPr/>
            <p:nvPr/>
          </p:nvSpPr>
          <p:spPr>
            <a:xfrm flipV="1">
              <a:off x="7083200" y="4292790"/>
              <a:ext cx="56248" cy="56237"/>
            </a:xfrm>
            <a:custGeom>
              <a:avLst/>
              <a:gdLst>
                <a:gd name="connsiteX0" fmla="*/ -2409 w 56248"/>
                <a:gd name="connsiteY0" fmla="*/ 27574 h 56237"/>
                <a:gd name="connsiteX1" fmla="*/ 25721 w 56248"/>
                <a:gd name="connsiteY1" fmla="*/ -530 h 56237"/>
                <a:gd name="connsiteX2" fmla="*/ 53839 w 56248"/>
                <a:gd name="connsiteY2" fmla="*/ 27574 h 56237"/>
                <a:gd name="connsiteX3" fmla="*/ 25721 w 56248"/>
                <a:gd name="connsiteY3" fmla="*/ 55708 h 56237"/>
                <a:gd name="connsiteX4" fmla="*/ -2409 w 56248"/>
                <a:gd name="connsiteY4" fmla="*/ 27574 h 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248" h="56237">
                  <a:moveTo>
                    <a:pt x="-2409" y="27574"/>
                  </a:moveTo>
                  <a:cubicBezTo>
                    <a:pt x="-2409" y="12056"/>
                    <a:pt x="10177" y="-530"/>
                    <a:pt x="25721" y="-530"/>
                  </a:cubicBezTo>
                  <a:cubicBezTo>
                    <a:pt x="41241" y="-530"/>
                    <a:pt x="53839" y="12056"/>
                    <a:pt x="53839" y="27574"/>
                  </a:cubicBezTo>
                  <a:cubicBezTo>
                    <a:pt x="53839" y="43121"/>
                    <a:pt x="41241" y="55708"/>
                    <a:pt x="25721" y="55708"/>
                  </a:cubicBezTo>
                  <a:cubicBezTo>
                    <a:pt x="10177" y="55708"/>
                    <a:pt x="-2409" y="43121"/>
                    <a:pt x="-2409" y="27574"/>
                  </a:cubicBezTo>
                </a:path>
              </a:pathLst>
            </a:custGeom>
            <a:solidFill>
              <a:srgbClr val="3D3B3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8" name="Freeform: Shape 1797">
              <a:extLst>
                <a:ext uri="{FF2B5EF4-FFF2-40B4-BE49-F238E27FC236}">
                  <a16:creationId xmlns:a16="http://schemas.microsoft.com/office/drawing/2014/main" id="{64CA1CF6-15FD-451E-8A30-A7FDB8B151A9}"/>
                </a:ext>
              </a:extLst>
            </p:cNvPr>
            <p:cNvSpPr/>
            <p:nvPr/>
          </p:nvSpPr>
          <p:spPr>
            <a:xfrm flipV="1">
              <a:off x="7071224" y="4280815"/>
              <a:ext cx="80200" cy="80202"/>
            </a:xfrm>
            <a:custGeom>
              <a:avLst/>
              <a:gdLst>
                <a:gd name="connsiteX0" fmla="*/ 21531 w 80200"/>
                <a:gd name="connsiteY0" fmla="*/ 39564 h 80202"/>
                <a:gd name="connsiteX1" fmla="*/ 37685 w 80200"/>
                <a:gd name="connsiteY1" fmla="*/ 23421 h 80202"/>
                <a:gd name="connsiteX2" fmla="*/ 53839 w 80200"/>
                <a:gd name="connsiteY2" fmla="*/ 39564 h 80202"/>
                <a:gd name="connsiteX3" fmla="*/ 37685 w 80200"/>
                <a:gd name="connsiteY3" fmla="*/ 55722 h 80202"/>
                <a:gd name="connsiteX4" fmla="*/ 21531 w 80200"/>
                <a:gd name="connsiteY4" fmla="*/ 39564 h 80202"/>
                <a:gd name="connsiteX5" fmla="*/ -2409 w 80200"/>
                <a:gd name="connsiteY5" fmla="*/ 39564 h 80202"/>
                <a:gd name="connsiteX6" fmla="*/ 37685 w 80200"/>
                <a:gd name="connsiteY6" fmla="*/ 79673 h 80202"/>
                <a:gd name="connsiteX7" fmla="*/ 77792 w 80200"/>
                <a:gd name="connsiteY7" fmla="*/ 39564 h 80202"/>
                <a:gd name="connsiteX8" fmla="*/ 37685 w 80200"/>
                <a:gd name="connsiteY8" fmla="*/ -530 h 80202"/>
                <a:gd name="connsiteX9" fmla="*/ -2409 w 80200"/>
                <a:gd name="connsiteY9" fmla="*/ 39564 h 8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200" h="80202">
                  <a:moveTo>
                    <a:pt x="21531" y="39564"/>
                  </a:moveTo>
                  <a:cubicBezTo>
                    <a:pt x="21531" y="30664"/>
                    <a:pt x="28782" y="23421"/>
                    <a:pt x="37685" y="23421"/>
                  </a:cubicBezTo>
                  <a:cubicBezTo>
                    <a:pt x="46600" y="23421"/>
                    <a:pt x="53839" y="30664"/>
                    <a:pt x="53839" y="39564"/>
                  </a:cubicBezTo>
                  <a:cubicBezTo>
                    <a:pt x="53839" y="48479"/>
                    <a:pt x="46600" y="55722"/>
                    <a:pt x="37685" y="55722"/>
                  </a:cubicBezTo>
                  <a:cubicBezTo>
                    <a:pt x="28782" y="55722"/>
                    <a:pt x="21531" y="48479"/>
                    <a:pt x="21531" y="39564"/>
                  </a:cubicBezTo>
                  <a:close/>
                  <a:moveTo>
                    <a:pt x="-2409" y="39564"/>
                  </a:moveTo>
                  <a:cubicBezTo>
                    <a:pt x="-2409" y="61690"/>
                    <a:pt x="15587" y="79673"/>
                    <a:pt x="37685" y="79673"/>
                  </a:cubicBezTo>
                  <a:cubicBezTo>
                    <a:pt x="59796" y="79673"/>
                    <a:pt x="77792" y="61690"/>
                    <a:pt x="77792" y="39564"/>
                  </a:cubicBezTo>
                  <a:cubicBezTo>
                    <a:pt x="77792" y="17468"/>
                    <a:pt x="59796" y="-530"/>
                    <a:pt x="37685" y="-530"/>
                  </a:cubicBezTo>
                  <a:cubicBezTo>
                    <a:pt x="15587" y="-530"/>
                    <a:pt x="-2409" y="17468"/>
                    <a:pt x="-2409" y="39564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9" name="Freeform: Shape 1798">
              <a:extLst>
                <a:ext uri="{FF2B5EF4-FFF2-40B4-BE49-F238E27FC236}">
                  <a16:creationId xmlns:a16="http://schemas.microsoft.com/office/drawing/2014/main" id="{3C48C123-1BB2-41EE-A34D-B018024200D0}"/>
                </a:ext>
              </a:extLst>
            </p:cNvPr>
            <p:cNvSpPr/>
            <p:nvPr/>
          </p:nvSpPr>
          <p:spPr>
            <a:xfrm flipV="1">
              <a:off x="7067604" y="4277198"/>
              <a:ext cx="87426" cy="43726"/>
            </a:xfrm>
            <a:custGeom>
              <a:avLst/>
              <a:gdLst>
                <a:gd name="connsiteX0" fmla="*/ -2409 w 87426"/>
                <a:gd name="connsiteY0" fmla="*/ -550 h 43726"/>
                <a:gd name="connsiteX1" fmla="*/ -2409 w 87426"/>
                <a:gd name="connsiteY1" fmla="*/ -550 h 43726"/>
                <a:gd name="connsiteX2" fmla="*/ 41317 w 87426"/>
                <a:gd name="connsiteY2" fmla="*/ 43176 h 43726"/>
                <a:gd name="connsiteX3" fmla="*/ 85018 w 87426"/>
                <a:gd name="connsiteY3" fmla="*/ -550 h 43726"/>
                <a:gd name="connsiteX4" fmla="*/ -2409 w 87426"/>
                <a:gd name="connsiteY4" fmla="*/ -550 h 4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26" h="43726">
                  <a:moveTo>
                    <a:pt x="-2409" y="-550"/>
                  </a:moveTo>
                  <a:lnTo>
                    <a:pt x="-2409" y="-550"/>
                  </a:lnTo>
                  <a:cubicBezTo>
                    <a:pt x="-2409" y="23570"/>
                    <a:pt x="17200" y="43176"/>
                    <a:pt x="41317" y="43176"/>
                  </a:cubicBezTo>
                  <a:cubicBezTo>
                    <a:pt x="65409" y="43176"/>
                    <a:pt x="85018" y="23570"/>
                    <a:pt x="85018" y="-550"/>
                  </a:cubicBezTo>
                  <a:lnTo>
                    <a:pt x="-2409" y="-550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0" name="Freeform: Shape 1799">
              <a:extLst>
                <a:ext uri="{FF2B5EF4-FFF2-40B4-BE49-F238E27FC236}">
                  <a16:creationId xmlns:a16="http://schemas.microsoft.com/office/drawing/2014/main" id="{FE6235E1-F24F-4067-9898-13E8FFED9340}"/>
                </a:ext>
              </a:extLst>
            </p:cNvPr>
            <p:cNvSpPr/>
            <p:nvPr/>
          </p:nvSpPr>
          <p:spPr>
            <a:xfrm flipV="1">
              <a:off x="6966754" y="3914689"/>
              <a:ext cx="32829" cy="301509"/>
            </a:xfrm>
            <a:custGeom>
              <a:avLst/>
              <a:gdLst>
                <a:gd name="connsiteX0" fmla="*/ -2321 w 32829"/>
                <a:gd name="connsiteY0" fmla="*/ -758 h 301509"/>
                <a:gd name="connsiteX1" fmla="*/ 30508 w 32829"/>
                <a:gd name="connsiteY1" fmla="*/ -758 h 301509"/>
                <a:gd name="connsiteX2" fmla="*/ 30508 w 32829"/>
                <a:gd name="connsiteY2" fmla="*/ 300752 h 301509"/>
                <a:gd name="connsiteX3" fmla="*/ -2321 w 32829"/>
                <a:gd name="connsiteY3" fmla="*/ 300752 h 301509"/>
                <a:gd name="connsiteX4" fmla="*/ -2321 w 32829"/>
                <a:gd name="connsiteY4" fmla="*/ -758 h 30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29" h="301509">
                  <a:moveTo>
                    <a:pt x="-2321" y="-758"/>
                  </a:moveTo>
                  <a:lnTo>
                    <a:pt x="30508" y="-758"/>
                  </a:lnTo>
                  <a:lnTo>
                    <a:pt x="30508" y="300752"/>
                  </a:lnTo>
                  <a:lnTo>
                    <a:pt x="-2321" y="300752"/>
                  </a:lnTo>
                  <a:lnTo>
                    <a:pt x="-2321" y="-758"/>
                  </a:lnTo>
                </a:path>
              </a:pathLst>
            </a:custGeom>
            <a:solidFill>
              <a:srgbClr val="A5A5A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1" name="Freeform: Shape 1800">
              <a:extLst>
                <a:ext uri="{FF2B5EF4-FFF2-40B4-BE49-F238E27FC236}">
                  <a16:creationId xmlns:a16="http://schemas.microsoft.com/office/drawing/2014/main" id="{77A367FA-614D-429F-9333-58EE04C636DF}"/>
                </a:ext>
              </a:extLst>
            </p:cNvPr>
            <p:cNvSpPr/>
            <p:nvPr/>
          </p:nvSpPr>
          <p:spPr>
            <a:xfrm flipV="1">
              <a:off x="6988585" y="3914689"/>
              <a:ext cx="7175" cy="301509"/>
            </a:xfrm>
            <a:custGeom>
              <a:avLst/>
              <a:gdLst>
                <a:gd name="connsiteX0" fmla="*/ -2328 w 7175"/>
                <a:gd name="connsiteY0" fmla="*/ -758 h 301509"/>
                <a:gd name="connsiteX1" fmla="*/ 4848 w 7175"/>
                <a:gd name="connsiteY1" fmla="*/ -758 h 301509"/>
                <a:gd name="connsiteX2" fmla="*/ 4848 w 7175"/>
                <a:gd name="connsiteY2" fmla="*/ 300752 h 301509"/>
                <a:gd name="connsiteX3" fmla="*/ -2328 w 7175"/>
                <a:gd name="connsiteY3" fmla="*/ 300752 h 301509"/>
                <a:gd name="connsiteX4" fmla="*/ -2328 w 7175"/>
                <a:gd name="connsiteY4" fmla="*/ -758 h 30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" h="301509">
                  <a:moveTo>
                    <a:pt x="-2328" y="-758"/>
                  </a:moveTo>
                  <a:lnTo>
                    <a:pt x="4848" y="-758"/>
                  </a:lnTo>
                  <a:lnTo>
                    <a:pt x="4848" y="300752"/>
                  </a:lnTo>
                  <a:lnTo>
                    <a:pt x="-2328" y="300752"/>
                  </a:lnTo>
                  <a:lnTo>
                    <a:pt x="-2328" y="-758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2" name="Freeform: Shape 1801">
              <a:extLst>
                <a:ext uri="{FF2B5EF4-FFF2-40B4-BE49-F238E27FC236}">
                  <a16:creationId xmlns:a16="http://schemas.microsoft.com/office/drawing/2014/main" id="{74FE2ECE-53A0-4D2F-B6EB-739FA4626CED}"/>
                </a:ext>
              </a:extLst>
            </p:cNvPr>
            <p:cNvSpPr/>
            <p:nvPr/>
          </p:nvSpPr>
          <p:spPr>
            <a:xfrm flipV="1">
              <a:off x="6948860" y="3911590"/>
              <a:ext cx="70141" cy="87071"/>
            </a:xfrm>
            <a:custGeom>
              <a:avLst/>
              <a:gdLst>
                <a:gd name="connsiteX0" fmla="*/ -2322 w 70141"/>
                <a:gd name="connsiteY0" fmla="*/ -856 h 87071"/>
                <a:gd name="connsiteX1" fmla="*/ 67820 w 70141"/>
                <a:gd name="connsiteY1" fmla="*/ -856 h 87071"/>
                <a:gd name="connsiteX2" fmla="*/ 67820 w 70141"/>
                <a:gd name="connsiteY2" fmla="*/ 86215 h 87071"/>
                <a:gd name="connsiteX3" fmla="*/ -2322 w 70141"/>
                <a:gd name="connsiteY3" fmla="*/ 86215 h 87071"/>
                <a:gd name="connsiteX4" fmla="*/ -2322 w 70141"/>
                <a:gd name="connsiteY4" fmla="*/ -856 h 8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41" h="87071">
                  <a:moveTo>
                    <a:pt x="-2322" y="-856"/>
                  </a:moveTo>
                  <a:lnTo>
                    <a:pt x="67820" y="-856"/>
                  </a:lnTo>
                  <a:lnTo>
                    <a:pt x="67820" y="86215"/>
                  </a:lnTo>
                  <a:lnTo>
                    <a:pt x="-2322" y="86215"/>
                  </a:lnTo>
                  <a:lnTo>
                    <a:pt x="-2322" y="-856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3" name="Freeform: Shape 1802">
              <a:extLst>
                <a:ext uri="{FF2B5EF4-FFF2-40B4-BE49-F238E27FC236}">
                  <a16:creationId xmlns:a16="http://schemas.microsoft.com/office/drawing/2014/main" id="{50D35FAA-A5B5-4AEE-BEB4-1283AEFB3D2C}"/>
                </a:ext>
              </a:extLst>
            </p:cNvPr>
            <p:cNvSpPr/>
            <p:nvPr/>
          </p:nvSpPr>
          <p:spPr>
            <a:xfrm flipV="1">
              <a:off x="6991709" y="3911590"/>
              <a:ext cx="15747" cy="87071"/>
            </a:xfrm>
            <a:custGeom>
              <a:avLst/>
              <a:gdLst>
                <a:gd name="connsiteX0" fmla="*/ -2333 w 15747"/>
                <a:gd name="connsiteY0" fmla="*/ -856 h 87071"/>
                <a:gd name="connsiteX1" fmla="*/ 13415 w 15747"/>
                <a:gd name="connsiteY1" fmla="*/ -856 h 87071"/>
                <a:gd name="connsiteX2" fmla="*/ 13415 w 15747"/>
                <a:gd name="connsiteY2" fmla="*/ 86215 h 87071"/>
                <a:gd name="connsiteX3" fmla="*/ -2333 w 15747"/>
                <a:gd name="connsiteY3" fmla="*/ 86215 h 87071"/>
                <a:gd name="connsiteX4" fmla="*/ -2333 w 15747"/>
                <a:gd name="connsiteY4" fmla="*/ -856 h 8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47" h="87071">
                  <a:moveTo>
                    <a:pt x="-2333" y="-856"/>
                  </a:moveTo>
                  <a:lnTo>
                    <a:pt x="13415" y="-856"/>
                  </a:lnTo>
                  <a:lnTo>
                    <a:pt x="13415" y="86215"/>
                  </a:lnTo>
                  <a:lnTo>
                    <a:pt x="-2333" y="86215"/>
                  </a:lnTo>
                  <a:lnTo>
                    <a:pt x="-2333" y="-856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4" name="Freeform: Shape 1803">
              <a:extLst>
                <a:ext uri="{FF2B5EF4-FFF2-40B4-BE49-F238E27FC236}">
                  <a16:creationId xmlns:a16="http://schemas.microsoft.com/office/drawing/2014/main" id="{867C3504-395E-489F-B5D1-55AEEFBB0E1D}"/>
                </a:ext>
              </a:extLst>
            </p:cNvPr>
            <p:cNvSpPr/>
            <p:nvPr/>
          </p:nvSpPr>
          <p:spPr>
            <a:xfrm flipV="1">
              <a:off x="6932629" y="3911590"/>
              <a:ext cx="105346" cy="43535"/>
            </a:xfrm>
            <a:custGeom>
              <a:avLst/>
              <a:gdLst>
                <a:gd name="connsiteX0" fmla="*/ -2323 w 105346"/>
                <a:gd name="connsiteY0" fmla="*/ -876 h 43535"/>
                <a:gd name="connsiteX1" fmla="*/ 103023 w 105346"/>
                <a:gd name="connsiteY1" fmla="*/ -876 h 43535"/>
                <a:gd name="connsiteX2" fmla="*/ 103023 w 105346"/>
                <a:gd name="connsiteY2" fmla="*/ 42660 h 43535"/>
                <a:gd name="connsiteX3" fmla="*/ -2323 w 105346"/>
                <a:gd name="connsiteY3" fmla="*/ 42660 h 43535"/>
                <a:gd name="connsiteX4" fmla="*/ -2323 w 105346"/>
                <a:gd name="connsiteY4" fmla="*/ -876 h 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46" h="43535">
                  <a:moveTo>
                    <a:pt x="-2323" y="-876"/>
                  </a:moveTo>
                  <a:lnTo>
                    <a:pt x="103023" y="-876"/>
                  </a:lnTo>
                  <a:lnTo>
                    <a:pt x="103023" y="42660"/>
                  </a:lnTo>
                  <a:lnTo>
                    <a:pt x="-2323" y="42660"/>
                  </a:lnTo>
                  <a:lnTo>
                    <a:pt x="-2323" y="-876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5" name="Freeform: Shape 1804">
              <a:extLst>
                <a:ext uri="{FF2B5EF4-FFF2-40B4-BE49-F238E27FC236}">
                  <a16:creationId xmlns:a16="http://schemas.microsoft.com/office/drawing/2014/main" id="{7A33B0AD-ACE0-470C-954F-B9920E45E38E}"/>
                </a:ext>
              </a:extLst>
            </p:cNvPr>
            <p:cNvSpPr/>
            <p:nvPr/>
          </p:nvSpPr>
          <p:spPr>
            <a:xfrm flipV="1">
              <a:off x="6996980" y="3911590"/>
              <a:ext cx="23647" cy="43535"/>
            </a:xfrm>
            <a:custGeom>
              <a:avLst/>
              <a:gdLst>
                <a:gd name="connsiteX0" fmla="*/ -2339 w 23647"/>
                <a:gd name="connsiteY0" fmla="*/ -876 h 43535"/>
                <a:gd name="connsiteX1" fmla="*/ 21309 w 23647"/>
                <a:gd name="connsiteY1" fmla="*/ -876 h 43535"/>
                <a:gd name="connsiteX2" fmla="*/ 21309 w 23647"/>
                <a:gd name="connsiteY2" fmla="*/ 42660 h 43535"/>
                <a:gd name="connsiteX3" fmla="*/ -2339 w 23647"/>
                <a:gd name="connsiteY3" fmla="*/ 42660 h 43535"/>
                <a:gd name="connsiteX4" fmla="*/ -2339 w 23647"/>
                <a:gd name="connsiteY4" fmla="*/ -876 h 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47" h="43535">
                  <a:moveTo>
                    <a:pt x="-2339" y="-876"/>
                  </a:moveTo>
                  <a:lnTo>
                    <a:pt x="21309" y="-876"/>
                  </a:lnTo>
                  <a:lnTo>
                    <a:pt x="21309" y="42660"/>
                  </a:lnTo>
                  <a:lnTo>
                    <a:pt x="-2339" y="42660"/>
                  </a:lnTo>
                  <a:lnTo>
                    <a:pt x="-2339" y="-876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6" name="Freeform: Shape 1805">
              <a:extLst>
                <a:ext uri="{FF2B5EF4-FFF2-40B4-BE49-F238E27FC236}">
                  <a16:creationId xmlns:a16="http://schemas.microsoft.com/office/drawing/2014/main" id="{A9EE7735-90D8-4D0B-B245-274BD5BC1D15}"/>
                </a:ext>
              </a:extLst>
            </p:cNvPr>
            <p:cNvSpPr/>
            <p:nvPr/>
          </p:nvSpPr>
          <p:spPr>
            <a:xfrm flipV="1">
              <a:off x="6948860" y="4052941"/>
              <a:ext cx="70141" cy="163258"/>
            </a:xfrm>
            <a:custGeom>
              <a:avLst/>
              <a:gdLst>
                <a:gd name="connsiteX0" fmla="*/ -2322 w 70141"/>
                <a:gd name="connsiteY0" fmla="*/ 162562 h 163258"/>
                <a:gd name="connsiteX1" fmla="*/ 67820 w 70141"/>
                <a:gd name="connsiteY1" fmla="*/ 162562 h 163258"/>
                <a:gd name="connsiteX2" fmla="*/ 67820 w 70141"/>
                <a:gd name="connsiteY2" fmla="*/ -696 h 163258"/>
                <a:gd name="connsiteX3" fmla="*/ -2322 w 70141"/>
                <a:gd name="connsiteY3" fmla="*/ -696 h 163258"/>
                <a:gd name="connsiteX4" fmla="*/ -2322 w 70141"/>
                <a:gd name="connsiteY4" fmla="*/ 162562 h 16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141" h="163258">
                  <a:moveTo>
                    <a:pt x="-2322" y="162562"/>
                  </a:moveTo>
                  <a:lnTo>
                    <a:pt x="67820" y="162562"/>
                  </a:lnTo>
                  <a:lnTo>
                    <a:pt x="67820" y="-696"/>
                  </a:lnTo>
                  <a:lnTo>
                    <a:pt x="-2322" y="-696"/>
                  </a:lnTo>
                  <a:lnTo>
                    <a:pt x="-2322" y="162562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7" name="Freeform: Shape 1806">
              <a:extLst>
                <a:ext uri="{FF2B5EF4-FFF2-40B4-BE49-F238E27FC236}">
                  <a16:creationId xmlns:a16="http://schemas.microsoft.com/office/drawing/2014/main" id="{DF0CB2DE-D010-4556-9F75-2DB63D0E48DB}"/>
                </a:ext>
              </a:extLst>
            </p:cNvPr>
            <p:cNvSpPr/>
            <p:nvPr/>
          </p:nvSpPr>
          <p:spPr>
            <a:xfrm flipV="1">
              <a:off x="6991709" y="4052941"/>
              <a:ext cx="15747" cy="163258"/>
            </a:xfrm>
            <a:custGeom>
              <a:avLst/>
              <a:gdLst>
                <a:gd name="connsiteX0" fmla="*/ -2333 w 15747"/>
                <a:gd name="connsiteY0" fmla="*/ 162562 h 163258"/>
                <a:gd name="connsiteX1" fmla="*/ 13415 w 15747"/>
                <a:gd name="connsiteY1" fmla="*/ 162562 h 163258"/>
                <a:gd name="connsiteX2" fmla="*/ 13415 w 15747"/>
                <a:gd name="connsiteY2" fmla="*/ -696 h 163258"/>
                <a:gd name="connsiteX3" fmla="*/ -2333 w 15747"/>
                <a:gd name="connsiteY3" fmla="*/ -696 h 163258"/>
                <a:gd name="connsiteX4" fmla="*/ -2333 w 15747"/>
                <a:gd name="connsiteY4" fmla="*/ 162562 h 16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47" h="163258">
                  <a:moveTo>
                    <a:pt x="-2333" y="162562"/>
                  </a:moveTo>
                  <a:lnTo>
                    <a:pt x="13415" y="162562"/>
                  </a:lnTo>
                  <a:lnTo>
                    <a:pt x="13415" y="-696"/>
                  </a:lnTo>
                  <a:lnTo>
                    <a:pt x="-2333" y="-696"/>
                  </a:lnTo>
                  <a:lnTo>
                    <a:pt x="-2333" y="162562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8" name="Freeform: Shape 1807">
              <a:extLst>
                <a:ext uri="{FF2B5EF4-FFF2-40B4-BE49-F238E27FC236}">
                  <a16:creationId xmlns:a16="http://schemas.microsoft.com/office/drawing/2014/main" id="{43940E9B-D212-495B-B6D8-A3A40732D57A}"/>
                </a:ext>
              </a:extLst>
            </p:cNvPr>
            <p:cNvSpPr/>
            <p:nvPr/>
          </p:nvSpPr>
          <p:spPr>
            <a:xfrm flipV="1">
              <a:off x="6660513" y="4196439"/>
              <a:ext cx="659175" cy="100722"/>
            </a:xfrm>
            <a:custGeom>
              <a:avLst/>
              <a:gdLst>
                <a:gd name="connsiteX0" fmla="*/ 637695 w 659175"/>
                <a:gd name="connsiteY0" fmla="*/ -596 h 100722"/>
                <a:gd name="connsiteX1" fmla="*/ 656072 w 659175"/>
                <a:gd name="connsiteY1" fmla="*/ 13186 h 100722"/>
                <a:gd name="connsiteX2" fmla="*/ 643067 w 659175"/>
                <a:gd name="connsiteY2" fmla="*/ 36958 h 100722"/>
                <a:gd name="connsiteX3" fmla="*/ 434521 w 659175"/>
                <a:gd name="connsiteY3" fmla="*/ 97958 h 100722"/>
                <a:gd name="connsiteX4" fmla="*/ 427562 w 659175"/>
                <a:gd name="connsiteY4" fmla="*/ 99327 h 100722"/>
                <a:gd name="connsiteX5" fmla="*/ 227601 w 659175"/>
                <a:gd name="connsiteY5" fmla="*/ 100126 h 100722"/>
                <a:gd name="connsiteX6" fmla="*/ 220412 w 659175"/>
                <a:gd name="connsiteY6" fmla="*/ 98766 h 100722"/>
                <a:gd name="connsiteX7" fmla="*/ 11600 w 659175"/>
                <a:gd name="connsiteY7" fmla="*/ 39508 h 100722"/>
                <a:gd name="connsiteX8" fmla="*/ -1596 w 659175"/>
                <a:gd name="connsiteY8" fmla="*/ 15840 h 100722"/>
                <a:gd name="connsiteX9" fmla="*/ 22077 w 659175"/>
                <a:gd name="connsiteY9" fmla="*/ 2644 h 100722"/>
                <a:gd name="connsiteX10" fmla="*/ 230509 w 659175"/>
                <a:gd name="connsiteY10" fmla="*/ 61798 h 100722"/>
                <a:gd name="connsiteX11" fmla="*/ 424323 w 659175"/>
                <a:gd name="connsiteY11" fmla="*/ 61024 h 100722"/>
                <a:gd name="connsiteX12" fmla="*/ 632311 w 659175"/>
                <a:gd name="connsiteY12" fmla="*/ 179 h 100722"/>
                <a:gd name="connsiteX13" fmla="*/ 637695 w 659175"/>
                <a:gd name="connsiteY13" fmla="*/ -596 h 100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9175" h="100722">
                  <a:moveTo>
                    <a:pt x="637695" y="-596"/>
                  </a:moveTo>
                  <a:cubicBezTo>
                    <a:pt x="645976" y="-596"/>
                    <a:pt x="653634" y="4827"/>
                    <a:pt x="656072" y="13186"/>
                  </a:cubicBezTo>
                  <a:cubicBezTo>
                    <a:pt x="659044" y="23331"/>
                    <a:pt x="653227" y="33972"/>
                    <a:pt x="643067" y="36958"/>
                  </a:cubicBezTo>
                  <a:lnTo>
                    <a:pt x="434521" y="97958"/>
                  </a:lnTo>
                  <a:cubicBezTo>
                    <a:pt x="432324" y="98846"/>
                    <a:pt x="429975" y="99317"/>
                    <a:pt x="427562" y="99327"/>
                  </a:cubicBezTo>
                  <a:lnTo>
                    <a:pt x="227601" y="100126"/>
                  </a:lnTo>
                  <a:cubicBezTo>
                    <a:pt x="225200" y="100027"/>
                    <a:pt x="222635" y="99660"/>
                    <a:pt x="220412" y="98766"/>
                  </a:cubicBezTo>
                  <a:lnTo>
                    <a:pt x="11600" y="39508"/>
                  </a:lnTo>
                  <a:cubicBezTo>
                    <a:pt x="1427" y="36616"/>
                    <a:pt x="-4478" y="26024"/>
                    <a:pt x="-1596" y="15840"/>
                  </a:cubicBezTo>
                  <a:cubicBezTo>
                    <a:pt x="1300" y="5665"/>
                    <a:pt x="11879" y="-239"/>
                    <a:pt x="22077" y="2644"/>
                  </a:cubicBezTo>
                  <a:lnTo>
                    <a:pt x="230509" y="61798"/>
                  </a:lnTo>
                  <a:lnTo>
                    <a:pt x="424323" y="61024"/>
                  </a:lnTo>
                  <a:lnTo>
                    <a:pt x="632311" y="179"/>
                  </a:lnTo>
                  <a:cubicBezTo>
                    <a:pt x="634101" y="-352"/>
                    <a:pt x="635917" y="-596"/>
                    <a:pt x="637695" y="-59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9" name="Freeform: Shape 1808">
              <a:extLst>
                <a:ext uri="{FF2B5EF4-FFF2-40B4-BE49-F238E27FC236}">
                  <a16:creationId xmlns:a16="http://schemas.microsoft.com/office/drawing/2014/main" id="{56BE65E5-3C92-40BC-88D8-857FE1DB04A0}"/>
                </a:ext>
              </a:extLst>
            </p:cNvPr>
            <p:cNvSpPr/>
            <p:nvPr/>
          </p:nvSpPr>
          <p:spPr>
            <a:xfrm flipV="1">
              <a:off x="6869369" y="4196699"/>
              <a:ext cx="241466" cy="99613"/>
            </a:xfrm>
            <a:custGeom>
              <a:avLst/>
              <a:gdLst>
                <a:gd name="connsiteX0" fmla="*/ 219975 w 241466"/>
                <a:gd name="connsiteY0" fmla="*/ -596 h 99613"/>
                <a:gd name="connsiteX1" fmla="*/ 234301 w 241466"/>
                <a:gd name="connsiteY1" fmla="*/ 5842 h 99613"/>
                <a:gd name="connsiteX2" fmla="*/ 232701 w 241466"/>
                <a:gd name="connsiteY2" fmla="*/ 32884 h 99613"/>
                <a:gd name="connsiteX3" fmla="*/ 164984 w 241466"/>
                <a:gd name="connsiteY3" fmla="*/ 93006 h 99613"/>
                <a:gd name="connsiteX4" fmla="*/ 151434 w 241466"/>
                <a:gd name="connsiteY4" fmla="*/ 98747 h 99613"/>
                <a:gd name="connsiteX5" fmla="*/ 86016 w 241466"/>
                <a:gd name="connsiteY5" fmla="*/ 99014 h 99613"/>
                <a:gd name="connsiteX6" fmla="*/ 72415 w 241466"/>
                <a:gd name="connsiteY6" fmla="*/ 93423 h 99613"/>
                <a:gd name="connsiteX7" fmla="*/ 72084 w 241466"/>
                <a:gd name="connsiteY7" fmla="*/ 93096 h 99613"/>
                <a:gd name="connsiteX8" fmla="*/ 4229 w 241466"/>
                <a:gd name="connsiteY8" fmla="*/ 33813 h 99613"/>
                <a:gd name="connsiteX9" fmla="*/ 2399 w 241466"/>
                <a:gd name="connsiteY9" fmla="*/ 6771 h 99613"/>
                <a:gd name="connsiteX10" fmla="*/ 29438 w 241466"/>
                <a:gd name="connsiteY10" fmla="*/ 4944 h 99613"/>
                <a:gd name="connsiteX11" fmla="*/ 93204 w 241466"/>
                <a:gd name="connsiteY11" fmla="*/ 60657 h 99613"/>
                <a:gd name="connsiteX12" fmla="*/ 143941 w 241466"/>
                <a:gd name="connsiteY12" fmla="*/ 60467 h 99613"/>
                <a:gd name="connsiteX13" fmla="*/ 207263 w 241466"/>
                <a:gd name="connsiteY13" fmla="*/ 4231 h 99613"/>
                <a:gd name="connsiteX14" fmla="*/ 219975 w 241466"/>
                <a:gd name="connsiteY14" fmla="*/ -596 h 99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1466" h="99613">
                  <a:moveTo>
                    <a:pt x="219975" y="-596"/>
                  </a:moveTo>
                  <a:cubicBezTo>
                    <a:pt x="225258" y="-596"/>
                    <a:pt x="230516" y="1576"/>
                    <a:pt x="234301" y="5842"/>
                  </a:cubicBezTo>
                  <a:cubicBezTo>
                    <a:pt x="241337" y="13756"/>
                    <a:pt x="240613" y="25860"/>
                    <a:pt x="232701" y="32884"/>
                  </a:cubicBezTo>
                  <a:lnTo>
                    <a:pt x="164984" y="93006"/>
                  </a:lnTo>
                  <a:cubicBezTo>
                    <a:pt x="161517" y="96524"/>
                    <a:pt x="156730" y="98721"/>
                    <a:pt x="151434" y="98747"/>
                  </a:cubicBezTo>
                  <a:lnTo>
                    <a:pt x="86016" y="99014"/>
                  </a:lnTo>
                  <a:cubicBezTo>
                    <a:pt x="80885" y="99103"/>
                    <a:pt x="76034" y="97019"/>
                    <a:pt x="72415" y="93423"/>
                  </a:cubicBezTo>
                  <a:lnTo>
                    <a:pt x="72084" y="93096"/>
                  </a:lnTo>
                  <a:lnTo>
                    <a:pt x="4229" y="33813"/>
                  </a:lnTo>
                  <a:cubicBezTo>
                    <a:pt x="-3734" y="26838"/>
                    <a:pt x="-4560" y="14748"/>
                    <a:pt x="2399" y="6771"/>
                  </a:cubicBezTo>
                  <a:cubicBezTo>
                    <a:pt x="9359" y="-1192"/>
                    <a:pt x="21475" y="-1991"/>
                    <a:pt x="29438" y="4944"/>
                  </a:cubicBezTo>
                  <a:lnTo>
                    <a:pt x="93204" y="60657"/>
                  </a:lnTo>
                  <a:lnTo>
                    <a:pt x="143941" y="60467"/>
                  </a:lnTo>
                  <a:lnTo>
                    <a:pt x="207263" y="4231"/>
                  </a:lnTo>
                  <a:cubicBezTo>
                    <a:pt x="210908" y="991"/>
                    <a:pt x="215441" y="-596"/>
                    <a:pt x="219975" y="-59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0" name="Freeform: Shape 1809">
              <a:extLst>
                <a:ext uri="{FF2B5EF4-FFF2-40B4-BE49-F238E27FC236}">
                  <a16:creationId xmlns:a16="http://schemas.microsoft.com/office/drawing/2014/main" id="{46CF59C5-7286-46CB-B213-50AEE9E34411}"/>
                </a:ext>
              </a:extLst>
            </p:cNvPr>
            <p:cNvSpPr/>
            <p:nvPr/>
          </p:nvSpPr>
          <p:spPr>
            <a:xfrm flipV="1">
              <a:off x="7030561" y="4217722"/>
              <a:ext cx="61169" cy="48715"/>
            </a:xfrm>
            <a:custGeom>
              <a:avLst/>
              <a:gdLst>
                <a:gd name="connsiteX0" fmla="*/ 58735 w 61169"/>
                <a:gd name="connsiteY0" fmla="*/ -600 h 48715"/>
                <a:gd name="connsiteX1" fmla="*/ 51738 w 61169"/>
                <a:gd name="connsiteY1" fmla="*/ 3015 h 48715"/>
                <a:gd name="connsiteX2" fmla="*/ -2110 w 61169"/>
                <a:gd name="connsiteY2" fmla="*/ 44519 h 48715"/>
                <a:gd name="connsiteX3" fmla="*/ 11834 w 61169"/>
                <a:gd name="connsiteY3" fmla="*/ 48115 h 48715"/>
                <a:gd name="connsiteX4" fmla="*/ 18616 w 61169"/>
                <a:gd name="connsiteY4" fmla="*/ 46870 h 48715"/>
                <a:gd name="connsiteX5" fmla="*/ 58735 w 61169"/>
                <a:gd name="connsiteY5" fmla="*/ -600 h 4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69" h="48715">
                  <a:moveTo>
                    <a:pt x="58735" y="-600"/>
                  </a:moveTo>
                  <a:cubicBezTo>
                    <a:pt x="56907" y="-600"/>
                    <a:pt x="53135" y="1622"/>
                    <a:pt x="51738" y="3015"/>
                  </a:cubicBezTo>
                  <a:lnTo>
                    <a:pt x="-2110" y="44519"/>
                  </a:lnTo>
                  <a:cubicBezTo>
                    <a:pt x="-4041" y="46424"/>
                    <a:pt x="5002" y="48115"/>
                    <a:pt x="11834" y="48115"/>
                  </a:cubicBezTo>
                  <a:cubicBezTo>
                    <a:pt x="15009" y="48115"/>
                    <a:pt x="17714" y="47748"/>
                    <a:pt x="18616" y="46870"/>
                  </a:cubicBezTo>
                  <a:cubicBezTo>
                    <a:pt x="18616" y="46870"/>
                    <a:pt x="60589" y="-600"/>
                    <a:pt x="58735" y="-600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1" name="Freeform: Shape 1810">
              <a:extLst>
                <a:ext uri="{FF2B5EF4-FFF2-40B4-BE49-F238E27FC236}">
                  <a16:creationId xmlns:a16="http://schemas.microsoft.com/office/drawing/2014/main" id="{8AA1C354-C092-4F4E-B92F-89F262060DB5}"/>
                </a:ext>
              </a:extLst>
            </p:cNvPr>
            <p:cNvSpPr/>
            <p:nvPr/>
          </p:nvSpPr>
          <p:spPr>
            <a:xfrm flipV="1">
              <a:off x="7030561" y="4217722"/>
              <a:ext cx="61169" cy="48715"/>
            </a:xfrm>
            <a:custGeom>
              <a:avLst/>
              <a:gdLst>
                <a:gd name="connsiteX0" fmla="*/ 58735 w 61169"/>
                <a:gd name="connsiteY0" fmla="*/ -600 h 48715"/>
                <a:gd name="connsiteX1" fmla="*/ 51738 w 61169"/>
                <a:gd name="connsiteY1" fmla="*/ 3015 h 48715"/>
                <a:gd name="connsiteX2" fmla="*/ -2110 w 61169"/>
                <a:gd name="connsiteY2" fmla="*/ 44519 h 48715"/>
                <a:gd name="connsiteX3" fmla="*/ 11834 w 61169"/>
                <a:gd name="connsiteY3" fmla="*/ 48115 h 48715"/>
                <a:gd name="connsiteX4" fmla="*/ 18616 w 61169"/>
                <a:gd name="connsiteY4" fmla="*/ 46870 h 48715"/>
                <a:gd name="connsiteX5" fmla="*/ 58735 w 61169"/>
                <a:gd name="connsiteY5" fmla="*/ -600 h 4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169" h="48715">
                  <a:moveTo>
                    <a:pt x="58735" y="-600"/>
                  </a:moveTo>
                  <a:cubicBezTo>
                    <a:pt x="56907" y="-600"/>
                    <a:pt x="53135" y="1622"/>
                    <a:pt x="51738" y="3015"/>
                  </a:cubicBezTo>
                  <a:lnTo>
                    <a:pt x="-2110" y="44519"/>
                  </a:lnTo>
                  <a:cubicBezTo>
                    <a:pt x="-4041" y="46424"/>
                    <a:pt x="5002" y="48115"/>
                    <a:pt x="11834" y="48115"/>
                  </a:cubicBezTo>
                  <a:cubicBezTo>
                    <a:pt x="15009" y="48115"/>
                    <a:pt x="17714" y="47748"/>
                    <a:pt x="18616" y="46870"/>
                  </a:cubicBezTo>
                  <a:cubicBezTo>
                    <a:pt x="18616" y="46870"/>
                    <a:pt x="60589" y="-600"/>
                    <a:pt x="58735" y="-600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2" name="Freeform: Shape 1811">
              <a:extLst>
                <a:ext uri="{FF2B5EF4-FFF2-40B4-BE49-F238E27FC236}">
                  <a16:creationId xmlns:a16="http://schemas.microsoft.com/office/drawing/2014/main" id="{D1BCF68E-D03D-4FB0-8B71-68C2C066C87C}"/>
                </a:ext>
              </a:extLst>
            </p:cNvPr>
            <p:cNvSpPr/>
            <p:nvPr/>
          </p:nvSpPr>
          <p:spPr>
            <a:xfrm flipV="1">
              <a:off x="6688206" y="4205737"/>
              <a:ext cx="196111" cy="53567"/>
            </a:xfrm>
            <a:custGeom>
              <a:avLst/>
              <a:gdLst>
                <a:gd name="connsiteX0" fmla="*/ -2174 w 196111"/>
                <a:gd name="connsiteY0" fmla="*/ -609 h 53567"/>
                <a:gd name="connsiteX1" fmla="*/ -2136 w 196111"/>
                <a:gd name="connsiteY1" fmla="*/ -585 h 53567"/>
                <a:gd name="connsiteX2" fmla="*/ 182305 w 196111"/>
                <a:gd name="connsiteY2" fmla="*/ 52900 h 53567"/>
                <a:gd name="connsiteX3" fmla="*/ 182775 w 196111"/>
                <a:gd name="connsiteY3" fmla="*/ 52958 h 53567"/>
                <a:gd name="connsiteX4" fmla="*/ 193126 w 196111"/>
                <a:gd name="connsiteY4" fmla="*/ 38930 h 53567"/>
                <a:gd name="connsiteX5" fmla="*/ -2174 w 196111"/>
                <a:gd name="connsiteY5" fmla="*/ -609 h 5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111" h="53567">
                  <a:moveTo>
                    <a:pt x="-2174" y="-609"/>
                  </a:moveTo>
                  <a:cubicBezTo>
                    <a:pt x="-2200" y="-609"/>
                    <a:pt x="-2187" y="-595"/>
                    <a:pt x="-2136" y="-585"/>
                  </a:cubicBezTo>
                  <a:lnTo>
                    <a:pt x="182305" y="52900"/>
                  </a:lnTo>
                  <a:cubicBezTo>
                    <a:pt x="182445" y="52934"/>
                    <a:pt x="182610" y="52958"/>
                    <a:pt x="182775" y="52958"/>
                  </a:cubicBezTo>
                  <a:cubicBezTo>
                    <a:pt x="186928" y="52958"/>
                    <a:pt x="196783" y="40031"/>
                    <a:pt x="193126" y="38930"/>
                  </a:cubicBezTo>
                  <a:cubicBezTo>
                    <a:pt x="193126" y="38930"/>
                    <a:pt x="-485" y="-609"/>
                    <a:pt x="-2174" y="-609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3" name="Freeform: Shape 1812">
              <a:extLst>
                <a:ext uri="{FF2B5EF4-FFF2-40B4-BE49-F238E27FC236}">
                  <a16:creationId xmlns:a16="http://schemas.microsoft.com/office/drawing/2014/main" id="{594F841F-7066-4E19-A586-BF643ECE019C}"/>
                </a:ext>
              </a:extLst>
            </p:cNvPr>
            <p:cNvSpPr/>
            <p:nvPr/>
          </p:nvSpPr>
          <p:spPr>
            <a:xfrm flipV="1">
              <a:off x="6688206" y="4205737"/>
              <a:ext cx="196111" cy="53567"/>
            </a:xfrm>
            <a:custGeom>
              <a:avLst/>
              <a:gdLst>
                <a:gd name="connsiteX0" fmla="*/ -2174 w 196111"/>
                <a:gd name="connsiteY0" fmla="*/ -609 h 53567"/>
                <a:gd name="connsiteX1" fmla="*/ -2136 w 196111"/>
                <a:gd name="connsiteY1" fmla="*/ -585 h 53567"/>
                <a:gd name="connsiteX2" fmla="*/ 182305 w 196111"/>
                <a:gd name="connsiteY2" fmla="*/ 52900 h 53567"/>
                <a:gd name="connsiteX3" fmla="*/ 182775 w 196111"/>
                <a:gd name="connsiteY3" fmla="*/ 52958 h 53567"/>
                <a:gd name="connsiteX4" fmla="*/ 193126 w 196111"/>
                <a:gd name="connsiteY4" fmla="*/ 38930 h 53567"/>
                <a:gd name="connsiteX5" fmla="*/ -2174 w 196111"/>
                <a:gd name="connsiteY5" fmla="*/ -609 h 5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111" h="53567">
                  <a:moveTo>
                    <a:pt x="-2174" y="-609"/>
                  </a:moveTo>
                  <a:cubicBezTo>
                    <a:pt x="-2200" y="-609"/>
                    <a:pt x="-2187" y="-595"/>
                    <a:pt x="-2136" y="-585"/>
                  </a:cubicBezTo>
                  <a:lnTo>
                    <a:pt x="182305" y="52900"/>
                  </a:lnTo>
                  <a:cubicBezTo>
                    <a:pt x="182445" y="52934"/>
                    <a:pt x="182610" y="52958"/>
                    <a:pt x="182775" y="52958"/>
                  </a:cubicBezTo>
                  <a:cubicBezTo>
                    <a:pt x="186928" y="52958"/>
                    <a:pt x="196783" y="40031"/>
                    <a:pt x="193126" y="38930"/>
                  </a:cubicBezTo>
                  <a:cubicBezTo>
                    <a:pt x="193126" y="38930"/>
                    <a:pt x="-485" y="-609"/>
                    <a:pt x="-2174" y="-609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4" name="Freeform: Shape 1813">
              <a:extLst>
                <a:ext uri="{FF2B5EF4-FFF2-40B4-BE49-F238E27FC236}">
                  <a16:creationId xmlns:a16="http://schemas.microsoft.com/office/drawing/2014/main" id="{9E4B2477-D308-43A3-8785-8B59C1E39DC6}"/>
                </a:ext>
              </a:extLst>
            </p:cNvPr>
            <p:cNvSpPr/>
            <p:nvPr/>
          </p:nvSpPr>
          <p:spPr>
            <a:xfrm flipV="1">
              <a:off x="6483368" y="3289813"/>
              <a:ext cx="876272" cy="621777"/>
            </a:xfrm>
            <a:custGeom>
              <a:avLst/>
              <a:gdLst>
                <a:gd name="connsiteX0" fmla="*/ 839081 w 876272"/>
                <a:gd name="connsiteY0" fmla="*/ 603104 h 621777"/>
                <a:gd name="connsiteX1" fmla="*/ 486885 w 876272"/>
                <a:gd name="connsiteY1" fmla="*/ 620605 h 621777"/>
                <a:gd name="connsiteX2" fmla="*/ 407345 w 876272"/>
                <a:gd name="connsiteY2" fmla="*/ 587052 h 621777"/>
                <a:gd name="connsiteX3" fmla="*/ 340239 w 876272"/>
                <a:gd name="connsiteY3" fmla="*/ 109038 h 621777"/>
                <a:gd name="connsiteX4" fmla="*/ 31287 w 876272"/>
                <a:gd name="connsiteY4" fmla="*/ 109038 h 621777"/>
                <a:gd name="connsiteX5" fmla="*/ -2279 w 876272"/>
                <a:gd name="connsiteY5" fmla="*/ 75472 h 621777"/>
                <a:gd name="connsiteX6" fmla="*/ -2279 w 876272"/>
                <a:gd name="connsiteY6" fmla="*/ 46274 h 621777"/>
                <a:gd name="connsiteX7" fmla="*/ 31287 w 876272"/>
                <a:gd name="connsiteY7" fmla="*/ 12721 h 621777"/>
                <a:gd name="connsiteX8" fmla="*/ 210445 w 876272"/>
                <a:gd name="connsiteY8" fmla="*/ 1507 h 621777"/>
                <a:gd name="connsiteX9" fmla="*/ 223856 w 876272"/>
                <a:gd name="connsiteY9" fmla="*/ -1173 h 621777"/>
                <a:gd name="connsiteX10" fmla="*/ 642917 w 876272"/>
                <a:gd name="connsiteY10" fmla="*/ -1173 h 621777"/>
                <a:gd name="connsiteX11" fmla="*/ 769269 w 876272"/>
                <a:gd name="connsiteY11" fmla="*/ -1173 h 621777"/>
                <a:gd name="connsiteX12" fmla="*/ 804181 w 876272"/>
                <a:gd name="connsiteY12" fmla="*/ 33727 h 621777"/>
                <a:gd name="connsiteX13" fmla="*/ 873993 w 876272"/>
                <a:gd name="connsiteY13" fmla="*/ 568205 h 621777"/>
                <a:gd name="connsiteX14" fmla="*/ 839081 w 876272"/>
                <a:gd name="connsiteY14" fmla="*/ 603104 h 62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6272" h="621777">
                  <a:moveTo>
                    <a:pt x="839081" y="603104"/>
                  </a:moveTo>
                  <a:cubicBezTo>
                    <a:pt x="839081" y="603104"/>
                    <a:pt x="495470" y="620605"/>
                    <a:pt x="486885" y="620605"/>
                  </a:cubicBezTo>
                  <a:cubicBezTo>
                    <a:pt x="486885" y="620605"/>
                    <a:pt x="409149" y="616071"/>
                    <a:pt x="407345" y="587052"/>
                  </a:cubicBezTo>
                  <a:lnTo>
                    <a:pt x="340239" y="109038"/>
                  </a:lnTo>
                  <a:lnTo>
                    <a:pt x="31287" y="109038"/>
                  </a:lnTo>
                  <a:cubicBezTo>
                    <a:pt x="12758" y="109038"/>
                    <a:pt x="-2279" y="94013"/>
                    <a:pt x="-2279" y="75472"/>
                  </a:cubicBezTo>
                  <a:lnTo>
                    <a:pt x="-2279" y="46274"/>
                  </a:lnTo>
                  <a:cubicBezTo>
                    <a:pt x="-2279" y="27745"/>
                    <a:pt x="12758" y="12721"/>
                    <a:pt x="31287" y="12721"/>
                  </a:cubicBezTo>
                  <a:lnTo>
                    <a:pt x="210445" y="1507"/>
                  </a:lnTo>
                  <a:cubicBezTo>
                    <a:pt x="214585" y="-220"/>
                    <a:pt x="219107" y="-1173"/>
                    <a:pt x="223856" y="-1173"/>
                  </a:cubicBezTo>
                  <a:lnTo>
                    <a:pt x="642917" y="-1173"/>
                  </a:lnTo>
                  <a:lnTo>
                    <a:pt x="769269" y="-1173"/>
                  </a:lnTo>
                  <a:cubicBezTo>
                    <a:pt x="788560" y="-1173"/>
                    <a:pt x="804181" y="14448"/>
                    <a:pt x="804181" y="33727"/>
                  </a:cubicBezTo>
                  <a:lnTo>
                    <a:pt x="873993" y="568205"/>
                  </a:lnTo>
                  <a:cubicBezTo>
                    <a:pt x="873993" y="587483"/>
                    <a:pt x="858372" y="603104"/>
                    <a:pt x="839081" y="603104"/>
                  </a:cubicBez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5" name="Freeform: Shape 1814">
              <a:extLst>
                <a:ext uri="{FF2B5EF4-FFF2-40B4-BE49-F238E27FC236}">
                  <a16:creationId xmlns:a16="http://schemas.microsoft.com/office/drawing/2014/main" id="{E52E0FDD-9B94-43C4-8C24-07281EDB23BC}"/>
                </a:ext>
              </a:extLst>
            </p:cNvPr>
            <p:cNvSpPr/>
            <p:nvPr/>
          </p:nvSpPr>
          <p:spPr>
            <a:xfrm flipV="1">
              <a:off x="6483050" y="3318769"/>
              <a:ext cx="531265" cy="592821"/>
            </a:xfrm>
            <a:custGeom>
              <a:avLst/>
              <a:gdLst>
                <a:gd name="connsiteX0" fmla="*/ 31722 w 531265"/>
                <a:gd name="connsiteY0" fmla="*/ 109051 h 592821"/>
                <a:gd name="connsiteX1" fmla="*/ 341512 w 531265"/>
                <a:gd name="connsiteY1" fmla="*/ 82888 h 592821"/>
                <a:gd name="connsiteX2" fmla="*/ 418106 w 531265"/>
                <a:gd name="connsiteY2" fmla="*/ 569767 h 592821"/>
                <a:gd name="connsiteX3" fmla="*/ 454352 w 531265"/>
                <a:gd name="connsiteY3" fmla="*/ 591662 h 592821"/>
                <a:gd name="connsiteX4" fmla="*/ 529104 w 531265"/>
                <a:gd name="connsiteY4" fmla="*/ 568218 h 592821"/>
                <a:gd name="connsiteX5" fmla="*/ 463915 w 531265"/>
                <a:gd name="connsiteY5" fmla="*/ 38286 h 592821"/>
                <a:gd name="connsiteX6" fmla="*/ 451799 w 531265"/>
                <a:gd name="connsiteY6" fmla="*/ -1160 h 592821"/>
                <a:gd name="connsiteX7" fmla="*/ 32738 w 531265"/>
                <a:gd name="connsiteY7" fmla="*/ -1160 h 592821"/>
                <a:gd name="connsiteX8" fmla="*/ -2161 w 531265"/>
                <a:gd name="connsiteY8" fmla="*/ 33740 h 592821"/>
                <a:gd name="connsiteX9" fmla="*/ -2161 w 531265"/>
                <a:gd name="connsiteY9" fmla="*/ 64118 h 592821"/>
                <a:gd name="connsiteX10" fmla="*/ 31722 w 531265"/>
                <a:gd name="connsiteY10" fmla="*/ 109051 h 59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31265" h="592821">
                  <a:moveTo>
                    <a:pt x="31722" y="109051"/>
                  </a:moveTo>
                  <a:lnTo>
                    <a:pt x="341512" y="82888"/>
                  </a:lnTo>
                  <a:lnTo>
                    <a:pt x="418106" y="569767"/>
                  </a:lnTo>
                  <a:lnTo>
                    <a:pt x="454352" y="591662"/>
                  </a:lnTo>
                  <a:lnTo>
                    <a:pt x="529104" y="568218"/>
                  </a:lnTo>
                  <a:lnTo>
                    <a:pt x="463915" y="38286"/>
                  </a:lnTo>
                  <a:lnTo>
                    <a:pt x="451799" y="-1160"/>
                  </a:lnTo>
                  <a:lnTo>
                    <a:pt x="32738" y="-1160"/>
                  </a:lnTo>
                  <a:cubicBezTo>
                    <a:pt x="13472" y="-1160"/>
                    <a:pt x="-2161" y="14461"/>
                    <a:pt x="-2161" y="33740"/>
                  </a:cubicBezTo>
                  <a:lnTo>
                    <a:pt x="-2161" y="64118"/>
                  </a:lnTo>
                  <a:cubicBezTo>
                    <a:pt x="-2161" y="83384"/>
                    <a:pt x="12444" y="109051"/>
                    <a:pt x="31722" y="109051"/>
                  </a:cubicBez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6" name="Freeform: Shape 1815">
              <a:extLst>
                <a:ext uri="{FF2B5EF4-FFF2-40B4-BE49-F238E27FC236}">
                  <a16:creationId xmlns:a16="http://schemas.microsoft.com/office/drawing/2014/main" id="{0394EE07-690B-454A-A3DE-97623C1E0E28}"/>
                </a:ext>
              </a:extLst>
            </p:cNvPr>
            <p:cNvSpPr/>
            <p:nvPr/>
          </p:nvSpPr>
          <p:spPr>
            <a:xfrm flipV="1">
              <a:off x="6520693" y="3614519"/>
              <a:ext cx="400188" cy="279061"/>
            </a:xfrm>
            <a:custGeom>
              <a:avLst/>
              <a:gdLst>
                <a:gd name="connsiteX0" fmla="*/ -1126 w 400188"/>
                <a:gd name="connsiteY0" fmla="*/ 249037 h 279061"/>
                <a:gd name="connsiteX1" fmla="*/ 652 w 400188"/>
                <a:gd name="connsiteY1" fmla="*/ 251209 h 279061"/>
                <a:gd name="connsiteX2" fmla="*/ 6456 w 400188"/>
                <a:gd name="connsiteY2" fmla="*/ 252390 h 279061"/>
                <a:gd name="connsiteX3" fmla="*/ 22915 w 400188"/>
                <a:gd name="connsiteY3" fmla="*/ 255565 h 279061"/>
                <a:gd name="connsiteX4" fmla="*/ 373764 w 400188"/>
                <a:gd name="connsiteY4" fmla="*/ 255413 h 279061"/>
                <a:gd name="connsiteX5" fmla="*/ 389449 w 400188"/>
                <a:gd name="connsiteY5" fmla="*/ 252390 h 279061"/>
                <a:gd name="connsiteX6" fmla="*/ 395367 w 400188"/>
                <a:gd name="connsiteY6" fmla="*/ 251184 h 279061"/>
                <a:gd name="connsiteX7" fmla="*/ 397081 w 400188"/>
                <a:gd name="connsiteY7" fmla="*/ 248987 h 279061"/>
                <a:gd name="connsiteX8" fmla="*/ 398046 w 400188"/>
                <a:gd name="connsiteY8" fmla="*/ 247082 h 279061"/>
                <a:gd name="connsiteX9" fmla="*/ 397158 w 400188"/>
                <a:gd name="connsiteY9" fmla="*/ 242840 h 279061"/>
                <a:gd name="connsiteX10" fmla="*/ 394033 w 400188"/>
                <a:gd name="connsiteY10" fmla="*/ 227739 h 279061"/>
                <a:gd name="connsiteX11" fmla="*/ 370335 w 400188"/>
                <a:gd name="connsiteY11" fmla="*/ 113287 h 279061"/>
                <a:gd name="connsiteX12" fmla="*/ 365738 w 400188"/>
                <a:gd name="connsiteY12" fmla="*/ 106239 h 279061"/>
                <a:gd name="connsiteX13" fmla="*/ 346548 w 400188"/>
                <a:gd name="connsiteY13" fmla="*/ 109998 h 279061"/>
                <a:gd name="connsiteX14" fmla="*/ 344948 w 400188"/>
                <a:gd name="connsiteY14" fmla="*/ 118240 h 279061"/>
                <a:gd name="connsiteX15" fmla="*/ 347221 w 400188"/>
                <a:gd name="connsiteY15" fmla="*/ 233010 h 279061"/>
                <a:gd name="connsiteX16" fmla="*/ 49547 w 400188"/>
                <a:gd name="connsiteY16" fmla="*/ 233150 h 279061"/>
                <a:gd name="connsiteX17" fmla="*/ 71517 w 400188"/>
                <a:gd name="connsiteY17" fmla="*/ 10710 h 279061"/>
                <a:gd name="connsiteX18" fmla="*/ 70108 w 400188"/>
                <a:gd name="connsiteY18" fmla="*/ 2480 h 279061"/>
                <a:gd name="connsiteX19" fmla="*/ 52163 w 400188"/>
                <a:gd name="connsiteY19" fmla="*/ -1012 h 279061"/>
                <a:gd name="connsiteX20" fmla="*/ 47781 w 400188"/>
                <a:gd name="connsiteY20" fmla="*/ 6062 h 279061"/>
                <a:gd name="connsiteX21" fmla="*/ 1858 w 400188"/>
                <a:gd name="connsiteY21" fmla="*/ 227739 h 279061"/>
                <a:gd name="connsiteX22" fmla="*/ -1266 w 400188"/>
                <a:gd name="connsiteY22" fmla="*/ 242840 h 279061"/>
                <a:gd name="connsiteX23" fmla="*/ -2142 w 400188"/>
                <a:gd name="connsiteY23" fmla="*/ 247082 h 279061"/>
                <a:gd name="connsiteX24" fmla="*/ -1126 w 400188"/>
                <a:gd name="connsiteY24" fmla="*/ 249037 h 27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00188" h="279061">
                  <a:moveTo>
                    <a:pt x="-1126" y="249037"/>
                  </a:moveTo>
                  <a:cubicBezTo>
                    <a:pt x="-745" y="250193"/>
                    <a:pt x="-174" y="251044"/>
                    <a:pt x="652" y="251209"/>
                  </a:cubicBezTo>
                  <a:cubicBezTo>
                    <a:pt x="2582" y="251603"/>
                    <a:pt x="4512" y="251997"/>
                    <a:pt x="6456" y="252390"/>
                  </a:cubicBezTo>
                  <a:cubicBezTo>
                    <a:pt x="11929" y="253482"/>
                    <a:pt x="17428" y="254537"/>
                    <a:pt x="22915" y="255565"/>
                  </a:cubicBezTo>
                  <a:cubicBezTo>
                    <a:pt x="183773" y="285562"/>
                    <a:pt x="212919" y="285512"/>
                    <a:pt x="373764" y="255413"/>
                  </a:cubicBezTo>
                  <a:cubicBezTo>
                    <a:pt x="378997" y="254435"/>
                    <a:pt x="384229" y="253432"/>
                    <a:pt x="389449" y="252390"/>
                  </a:cubicBezTo>
                  <a:cubicBezTo>
                    <a:pt x="391417" y="251997"/>
                    <a:pt x="393386" y="251590"/>
                    <a:pt x="395367" y="251184"/>
                  </a:cubicBezTo>
                  <a:cubicBezTo>
                    <a:pt x="396167" y="251031"/>
                    <a:pt x="396726" y="250155"/>
                    <a:pt x="397081" y="248987"/>
                  </a:cubicBezTo>
                  <a:lnTo>
                    <a:pt x="398046" y="247082"/>
                  </a:lnTo>
                  <a:cubicBezTo>
                    <a:pt x="397754" y="245672"/>
                    <a:pt x="397462" y="244249"/>
                    <a:pt x="397158" y="242840"/>
                  </a:cubicBezTo>
                  <a:cubicBezTo>
                    <a:pt x="396116" y="237811"/>
                    <a:pt x="395075" y="232769"/>
                    <a:pt x="394033" y="227739"/>
                  </a:cubicBezTo>
                  <a:cubicBezTo>
                    <a:pt x="386134" y="189589"/>
                    <a:pt x="378234" y="151438"/>
                    <a:pt x="370335" y="113287"/>
                  </a:cubicBezTo>
                  <a:cubicBezTo>
                    <a:pt x="369459" y="109058"/>
                    <a:pt x="367401" y="105909"/>
                    <a:pt x="365738" y="106239"/>
                  </a:cubicBezTo>
                  <a:cubicBezTo>
                    <a:pt x="359350" y="107547"/>
                    <a:pt x="352949" y="108792"/>
                    <a:pt x="346548" y="109998"/>
                  </a:cubicBezTo>
                  <a:cubicBezTo>
                    <a:pt x="344884" y="110303"/>
                    <a:pt x="344161" y="113999"/>
                    <a:pt x="344948" y="118240"/>
                  </a:cubicBezTo>
                  <a:cubicBezTo>
                    <a:pt x="346243" y="156442"/>
                    <a:pt x="346993" y="194707"/>
                    <a:pt x="347221" y="233010"/>
                  </a:cubicBezTo>
                  <a:cubicBezTo>
                    <a:pt x="203737" y="257356"/>
                    <a:pt x="193044" y="257394"/>
                    <a:pt x="49547" y="233150"/>
                  </a:cubicBezTo>
                  <a:cubicBezTo>
                    <a:pt x="55808" y="158868"/>
                    <a:pt x="63148" y="84712"/>
                    <a:pt x="71517" y="10710"/>
                  </a:cubicBezTo>
                  <a:cubicBezTo>
                    <a:pt x="72292" y="6455"/>
                    <a:pt x="71657" y="2785"/>
                    <a:pt x="70108" y="2480"/>
                  </a:cubicBezTo>
                  <a:cubicBezTo>
                    <a:pt x="64126" y="1363"/>
                    <a:pt x="58144" y="207"/>
                    <a:pt x="52163" y="-1012"/>
                  </a:cubicBezTo>
                  <a:cubicBezTo>
                    <a:pt x="50613" y="-1343"/>
                    <a:pt x="48645" y="1832"/>
                    <a:pt x="47781" y="6062"/>
                  </a:cubicBezTo>
                  <a:cubicBezTo>
                    <a:pt x="32478" y="79950"/>
                    <a:pt x="17162" y="153838"/>
                    <a:pt x="1858" y="227739"/>
                  </a:cubicBezTo>
                  <a:cubicBezTo>
                    <a:pt x="817" y="232769"/>
                    <a:pt x="-225" y="237811"/>
                    <a:pt x="-1266" y="242840"/>
                  </a:cubicBezTo>
                  <a:cubicBezTo>
                    <a:pt x="-1558" y="244249"/>
                    <a:pt x="-1850" y="245672"/>
                    <a:pt x="-2142" y="247082"/>
                  </a:cubicBezTo>
                  <a:lnTo>
                    <a:pt x="-1126" y="249037"/>
                  </a:lnTo>
                </a:path>
              </a:pathLst>
            </a:custGeom>
            <a:solidFill>
              <a:srgbClr val="2E2A2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7" name="Freeform: Shape 1816">
              <a:extLst>
                <a:ext uri="{FF2B5EF4-FFF2-40B4-BE49-F238E27FC236}">
                  <a16:creationId xmlns:a16="http://schemas.microsoft.com/office/drawing/2014/main" id="{51648CDF-CD00-429E-9C77-F8FE85B2535E}"/>
                </a:ext>
              </a:extLst>
            </p:cNvPr>
            <p:cNvSpPr/>
            <p:nvPr/>
          </p:nvSpPr>
          <p:spPr>
            <a:xfrm flipV="1">
              <a:off x="6944821" y="3295032"/>
              <a:ext cx="404951" cy="42862"/>
            </a:xfrm>
            <a:custGeom>
              <a:avLst/>
              <a:gdLst>
                <a:gd name="connsiteX0" fmla="*/ -2433 w 404951"/>
                <a:gd name="connsiteY0" fmla="*/ 31416 h 42862"/>
                <a:gd name="connsiteX1" fmla="*/ 25849 w 404951"/>
                <a:gd name="connsiteY1" fmla="*/ 41436 h 42862"/>
                <a:gd name="connsiteX2" fmla="*/ 387011 w 404951"/>
                <a:gd name="connsiteY2" fmla="*/ 17700 h 42862"/>
                <a:gd name="connsiteX3" fmla="*/ 402518 w 404951"/>
                <a:gd name="connsiteY3" fmla="*/ -1426 h 42862"/>
                <a:gd name="connsiteX4" fmla="*/ 79659 w 404951"/>
                <a:gd name="connsiteY4" fmla="*/ -1426 h 42862"/>
                <a:gd name="connsiteX5" fmla="*/ -2433 w 404951"/>
                <a:gd name="connsiteY5" fmla="*/ 31416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951" h="42862">
                  <a:moveTo>
                    <a:pt x="-2433" y="31416"/>
                  </a:moveTo>
                  <a:lnTo>
                    <a:pt x="25849" y="41436"/>
                  </a:lnTo>
                  <a:lnTo>
                    <a:pt x="387011" y="17700"/>
                  </a:lnTo>
                  <a:lnTo>
                    <a:pt x="402518" y="-1426"/>
                  </a:lnTo>
                  <a:lnTo>
                    <a:pt x="79659" y="-1426"/>
                  </a:lnTo>
                  <a:lnTo>
                    <a:pt x="-2433" y="31416"/>
                  </a:ln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8" name="Freeform: Shape 1817">
              <a:extLst>
                <a:ext uri="{FF2B5EF4-FFF2-40B4-BE49-F238E27FC236}">
                  <a16:creationId xmlns:a16="http://schemas.microsoft.com/office/drawing/2014/main" id="{6EEA21E0-9E26-44C8-8C37-1D52F19B8EC6}"/>
                </a:ext>
              </a:extLst>
            </p:cNvPr>
            <p:cNvSpPr/>
            <p:nvPr/>
          </p:nvSpPr>
          <p:spPr>
            <a:xfrm flipV="1">
              <a:off x="5204189" y="4434728"/>
              <a:ext cx="830006" cy="126122"/>
            </a:xfrm>
            <a:custGeom>
              <a:avLst/>
              <a:gdLst>
                <a:gd name="connsiteX0" fmla="*/ 413619 w 830006"/>
                <a:gd name="connsiteY0" fmla="*/ -372 h 126122"/>
                <a:gd name="connsiteX1" fmla="*/ -1391 w 830006"/>
                <a:gd name="connsiteY1" fmla="*/ 62696 h 126122"/>
                <a:gd name="connsiteX2" fmla="*/ 413619 w 830006"/>
                <a:gd name="connsiteY2" fmla="*/ 125750 h 126122"/>
                <a:gd name="connsiteX3" fmla="*/ 828616 w 830006"/>
                <a:gd name="connsiteY3" fmla="*/ 62696 h 126122"/>
                <a:gd name="connsiteX4" fmla="*/ 413619 w 830006"/>
                <a:gd name="connsiteY4" fmla="*/ -372 h 126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0006" h="126122">
                  <a:moveTo>
                    <a:pt x="413619" y="-372"/>
                  </a:moveTo>
                  <a:cubicBezTo>
                    <a:pt x="184423" y="-372"/>
                    <a:pt x="-1391" y="27871"/>
                    <a:pt x="-1391" y="62696"/>
                  </a:cubicBezTo>
                  <a:cubicBezTo>
                    <a:pt x="-1391" y="97517"/>
                    <a:pt x="184423" y="125750"/>
                    <a:pt x="413619" y="125750"/>
                  </a:cubicBezTo>
                  <a:cubicBezTo>
                    <a:pt x="642815" y="125750"/>
                    <a:pt x="828616" y="97517"/>
                    <a:pt x="828616" y="62696"/>
                  </a:cubicBezTo>
                  <a:cubicBezTo>
                    <a:pt x="828616" y="27871"/>
                    <a:pt x="642815" y="-372"/>
                    <a:pt x="413619" y="-372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9" name="Freeform: Shape 1818">
              <a:extLst>
                <a:ext uri="{FF2B5EF4-FFF2-40B4-BE49-F238E27FC236}">
                  <a16:creationId xmlns:a16="http://schemas.microsoft.com/office/drawing/2014/main" id="{ECE4939E-8E6F-40A8-BA3B-CD937FCD3765}"/>
                </a:ext>
              </a:extLst>
            </p:cNvPr>
            <p:cNvSpPr/>
            <p:nvPr/>
          </p:nvSpPr>
          <p:spPr>
            <a:xfrm flipV="1">
              <a:off x="5075447" y="3158952"/>
              <a:ext cx="326771" cy="285907"/>
            </a:xfrm>
            <a:custGeom>
              <a:avLst/>
              <a:gdLst>
                <a:gd name="connsiteX0" fmla="*/ 303378 w 326771"/>
                <a:gd name="connsiteY0" fmla="*/ 284468 h 285907"/>
                <a:gd name="connsiteX1" fmla="*/ 10644 w 326771"/>
                <a:gd name="connsiteY1" fmla="*/ 87237 h 285907"/>
                <a:gd name="connsiteX2" fmla="*/ 2516 w 326771"/>
                <a:gd name="connsiteY2" fmla="*/ 26950 h 285907"/>
                <a:gd name="connsiteX3" fmla="*/ 53989 w 326771"/>
                <a:gd name="connsiteY3" fmla="*/ 1055 h 285907"/>
                <a:gd name="connsiteX4" fmla="*/ 325641 w 326771"/>
                <a:gd name="connsiteY4" fmla="*/ 110123 h 285907"/>
                <a:gd name="connsiteX5" fmla="*/ 303378 w 326771"/>
                <a:gd name="connsiteY5" fmla="*/ 284468 h 28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6771" h="285907">
                  <a:moveTo>
                    <a:pt x="303378" y="284468"/>
                  </a:moveTo>
                  <a:lnTo>
                    <a:pt x="10644" y="87237"/>
                  </a:lnTo>
                  <a:cubicBezTo>
                    <a:pt x="10644" y="87237"/>
                    <a:pt x="-9067" y="67209"/>
                    <a:pt x="2516" y="26950"/>
                  </a:cubicBezTo>
                  <a:cubicBezTo>
                    <a:pt x="14098" y="-13321"/>
                    <a:pt x="53989" y="1055"/>
                    <a:pt x="53989" y="1055"/>
                  </a:cubicBezTo>
                  <a:lnTo>
                    <a:pt x="325641" y="110123"/>
                  </a:lnTo>
                  <a:lnTo>
                    <a:pt x="303378" y="284468"/>
                  </a:ln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0" name="Freeform: Shape 1819">
              <a:extLst>
                <a:ext uri="{FF2B5EF4-FFF2-40B4-BE49-F238E27FC236}">
                  <a16:creationId xmlns:a16="http://schemas.microsoft.com/office/drawing/2014/main" id="{47DBCD7F-E94C-4AE8-9DEE-A3EE95A39CCC}"/>
                </a:ext>
              </a:extLst>
            </p:cNvPr>
            <p:cNvSpPr/>
            <p:nvPr/>
          </p:nvSpPr>
          <p:spPr>
            <a:xfrm flipV="1">
              <a:off x="5811565" y="3158952"/>
              <a:ext cx="202163" cy="400740"/>
            </a:xfrm>
            <a:custGeom>
              <a:avLst/>
              <a:gdLst>
                <a:gd name="connsiteX0" fmla="*/ 31924 w 202163"/>
                <a:gd name="connsiteY0" fmla="*/ 399352 h 400740"/>
                <a:gd name="connsiteX1" fmla="*/ 199348 w 202163"/>
                <a:gd name="connsiteY1" fmla="*/ 69788 h 400740"/>
                <a:gd name="connsiteX2" fmla="*/ 179511 w 202163"/>
                <a:gd name="connsiteY2" fmla="*/ 12283 h 400740"/>
                <a:gd name="connsiteX3" fmla="*/ 121904 w 202163"/>
                <a:gd name="connsiteY3" fmla="*/ 12283 h 400740"/>
                <a:gd name="connsiteX4" fmla="*/ -1591 w 202163"/>
                <a:gd name="connsiteY4" fmla="*/ 172353 h 400740"/>
                <a:gd name="connsiteX5" fmla="*/ 31924 w 202163"/>
                <a:gd name="connsiteY5" fmla="*/ 399352 h 40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163" h="400740">
                  <a:moveTo>
                    <a:pt x="31924" y="399352"/>
                  </a:moveTo>
                  <a:lnTo>
                    <a:pt x="199348" y="69788"/>
                  </a:lnTo>
                  <a:cubicBezTo>
                    <a:pt x="199348" y="69788"/>
                    <a:pt x="207959" y="43042"/>
                    <a:pt x="179511" y="12283"/>
                  </a:cubicBezTo>
                  <a:cubicBezTo>
                    <a:pt x="151075" y="-18477"/>
                    <a:pt x="121904" y="12283"/>
                    <a:pt x="121904" y="12283"/>
                  </a:cubicBezTo>
                  <a:lnTo>
                    <a:pt x="-1591" y="172353"/>
                  </a:lnTo>
                  <a:lnTo>
                    <a:pt x="31924" y="399352"/>
                  </a:ln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1" name="Freeform: Shape 1820">
              <a:extLst>
                <a:ext uri="{FF2B5EF4-FFF2-40B4-BE49-F238E27FC236}">
                  <a16:creationId xmlns:a16="http://schemas.microsoft.com/office/drawing/2014/main" id="{A702ACF5-95C7-46C1-ACDB-1187742C08AF}"/>
                </a:ext>
              </a:extLst>
            </p:cNvPr>
            <p:cNvSpPr/>
            <p:nvPr/>
          </p:nvSpPr>
          <p:spPr>
            <a:xfrm flipV="1">
              <a:off x="5811565" y="3308367"/>
              <a:ext cx="56089" cy="90117"/>
            </a:xfrm>
            <a:custGeom>
              <a:avLst/>
              <a:gdLst>
                <a:gd name="connsiteX0" fmla="*/ 17318 w 56089"/>
                <a:gd name="connsiteY0" fmla="*/ 66791 h 90117"/>
                <a:gd name="connsiteX1" fmla="*/ 52510 w 56089"/>
                <a:gd name="connsiteY1" fmla="*/ 15051 h 90117"/>
                <a:gd name="connsiteX2" fmla="*/ 2244 w 56089"/>
                <a:gd name="connsiteY2" fmla="*/ 6225 h 90117"/>
                <a:gd name="connsiteX3" fmla="*/ -1541 w 56089"/>
                <a:gd name="connsiteY3" fmla="*/ 11140 h 90117"/>
                <a:gd name="connsiteX4" fmla="*/ 9914 w 56089"/>
                <a:gd name="connsiteY4" fmla="*/ 88724 h 90117"/>
                <a:gd name="connsiteX5" fmla="*/ 17318 w 56089"/>
                <a:gd name="connsiteY5" fmla="*/ 66791 h 9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89" h="90117">
                  <a:moveTo>
                    <a:pt x="17318" y="66791"/>
                  </a:moveTo>
                  <a:cubicBezTo>
                    <a:pt x="25751" y="48071"/>
                    <a:pt x="39747" y="31002"/>
                    <a:pt x="52510" y="15051"/>
                  </a:cubicBezTo>
                  <a:cubicBezTo>
                    <a:pt x="63813" y="916"/>
                    <a:pt x="25472" y="-8939"/>
                    <a:pt x="2244" y="6225"/>
                  </a:cubicBezTo>
                  <a:lnTo>
                    <a:pt x="-1541" y="11140"/>
                  </a:lnTo>
                  <a:lnTo>
                    <a:pt x="9914" y="88724"/>
                  </a:lnTo>
                  <a:cubicBezTo>
                    <a:pt x="11832" y="81231"/>
                    <a:pt x="14131" y="73865"/>
                    <a:pt x="17318" y="66791"/>
                  </a:cubicBezTo>
                </a:path>
              </a:pathLst>
            </a:custGeom>
            <a:solidFill>
              <a:srgbClr val="9D99B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2" name="Freeform: Shape 1821">
              <a:extLst>
                <a:ext uri="{FF2B5EF4-FFF2-40B4-BE49-F238E27FC236}">
                  <a16:creationId xmlns:a16="http://schemas.microsoft.com/office/drawing/2014/main" id="{6EE85090-0068-4AF5-898F-56FB58591FDE}"/>
                </a:ext>
              </a:extLst>
            </p:cNvPr>
            <p:cNvSpPr/>
            <p:nvPr/>
          </p:nvSpPr>
          <p:spPr>
            <a:xfrm flipV="1">
              <a:off x="5526450" y="2996253"/>
              <a:ext cx="176440" cy="204431"/>
            </a:xfrm>
            <a:custGeom>
              <a:avLst/>
              <a:gdLst>
                <a:gd name="connsiteX0" fmla="*/ -1388 w 176440"/>
                <a:gd name="connsiteY0" fmla="*/ -1621 h 204431"/>
                <a:gd name="connsiteX1" fmla="*/ 175053 w 176440"/>
                <a:gd name="connsiteY1" fmla="*/ -1621 h 204431"/>
                <a:gd name="connsiteX2" fmla="*/ 175053 w 176440"/>
                <a:gd name="connsiteY2" fmla="*/ 202810 h 204431"/>
                <a:gd name="connsiteX3" fmla="*/ -1388 w 176440"/>
                <a:gd name="connsiteY3" fmla="*/ 202810 h 204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" h="204431">
                  <a:moveTo>
                    <a:pt x="-1388" y="-1621"/>
                  </a:moveTo>
                  <a:lnTo>
                    <a:pt x="175053" y="-1621"/>
                  </a:lnTo>
                  <a:lnTo>
                    <a:pt x="175053" y="202810"/>
                  </a:lnTo>
                  <a:lnTo>
                    <a:pt x="-1388" y="202810"/>
                  </a:lnTo>
                  <a:close/>
                </a:path>
              </a:pathLst>
            </a:custGeom>
            <a:solidFill>
              <a:srgbClr val="E86F4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3" name="Freeform: Shape 1822">
              <a:extLst>
                <a:ext uri="{FF2B5EF4-FFF2-40B4-BE49-F238E27FC236}">
                  <a16:creationId xmlns:a16="http://schemas.microsoft.com/office/drawing/2014/main" id="{87C953F5-C102-4222-BE4B-81584F61B00E}"/>
                </a:ext>
              </a:extLst>
            </p:cNvPr>
            <p:cNvSpPr/>
            <p:nvPr/>
          </p:nvSpPr>
          <p:spPr>
            <a:xfrm flipV="1">
              <a:off x="5152539" y="4305441"/>
              <a:ext cx="212727" cy="91072"/>
            </a:xfrm>
            <a:custGeom>
              <a:avLst/>
              <a:gdLst>
                <a:gd name="connsiteX0" fmla="*/ 92986 w 212727"/>
                <a:gd name="connsiteY0" fmla="*/ 90570 h 91072"/>
                <a:gd name="connsiteX1" fmla="*/ 23505 w 212727"/>
                <a:gd name="connsiteY1" fmla="*/ 83788 h 91072"/>
                <a:gd name="connsiteX2" fmla="*/ 198028 w 212727"/>
                <a:gd name="connsiteY2" fmla="*/ -503 h 91072"/>
                <a:gd name="connsiteX3" fmla="*/ 203235 w 212727"/>
                <a:gd name="connsiteY3" fmla="*/ 90570 h 91072"/>
                <a:gd name="connsiteX4" fmla="*/ 92986 w 212727"/>
                <a:gd name="connsiteY4" fmla="*/ 90570 h 91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727" h="91072">
                  <a:moveTo>
                    <a:pt x="92986" y="90570"/>
                  </a:moveTo>
                  <a:cubicBezTo>
                    <a:pt x="83436" y="54474"/>
                    <a:pt x="55128" y="95827"/>
                    <a:pt x="23505" y="83788"/>
                  </a:cubicBezTo>
                  <a:cubicBezTo>
                    <a:pt x="-51565" y="47023"/>
                    <a:pt x="55775" y="-503"/>
                    <a:pt x="198028" y="-503"/>
                  </a:cubicBezTo>
                  <a:cubicBezTo>
                    <a:pt x="225117" y="-503"/>
                    <a:pt x="203235" y="90570"/>
                    <a:pt x="203235" y="90570"/>
                  </a:cubicBezTo>
                  <a:lnTo>
                    <a:pt x="92986" y="90570"/>
                  </a:lnTo>
                </a:path>
              </a:pathLst>
            </a:custGeom>
            <a:solidFill>
              <a:srgbClr val="291B15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4" name="Freeform: Shape 1823">
              <a:extLst>
                <a:ext uri="{FF2B5EF4-FFF2-40B4-BE49-F238E27FC236}">
                  <a16:creationId xmlns:a16="http://schemas.microsoft.com/office/drawing/2014/main" id="{FDE366AD-04FD-409E-BD89-576A69C34023}"/>
                </a:ext>
              </a:extLst>
            </p:cNvPr>
            <p:cNvSpPr/>
            <p:nvPr/>
          </p:nvSpPr>
          <p:spPr>
            <a:xfrm flipV="1">
              <a:off x="5152539" y="4309940"/>
              <a:ext cx="204557" cy="86573"/>
            </a:xfrm>
            <a:custGeom>
              <a:avLst/>
              <a:gdLst>
                <a:gd name="connsiteX0" fmla="*/ 98641 w 204557"/>
                <a:gd name="connsiteY0" fmla="*/ 38411 h 86573"/>
                <a:gd name="connsiteX1" fmla="*/ 53772 w 204557"/>
                <a:gd name="connsiteY1" fmla="*/ 52943 h 86573"/>
                <a:gd name="connsiteX2" fmla="*/ 55131 w 204557"/>
                <a:gd name="connsiteY2" fmla="*/ 82317 h 86573"/>
                <a:gd name="connsiteX3" fmla="*/ 23508 w 204557"/>
                <a:gd name="connsiteY3" fmla="*/ 83790 h 86573"/>
                <a:gd name="connsiteX4" fmla="*/ 198030 w 204557"/>
                <a:gd name="connsiteY4" fmla="*/ -501 h 86573"/>
                <a:gd name="connsiteX5" fmla="*/ 203415 w 204557"/>
                <a:gd name="connsiteY5" fmla="*/ 1086 h 86573"/>
                <a:gd name="connsiteX6" fmla="*/ 98641 w 204557"/>
                <a:gd name="connsiteY6" fmla="*/ 38411 h 8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557" h="86573">
                  <a:moveTo>
                    <a:pt x="98641" y="38411"/>
                  </a:moveTo>
                  <a:cubicBezTo>
                    <a:pt x="84061" y="40470"/>
                    <a:pt x="65303" y="42768"/>
                    <a:pt x="53772" y="52943"/>
                  </a:cubicBezTo>
                  <a:cubicBezTo>
                    <a:pt x="43269" y="62210"/>
                    <a:pt x="47676" y="73312"/>
                    <a:pt x="55131" y="82317"/>
                  </a:cubicBezTo>
                  <a:cubicBezTo>
                    <a:pt x="45466" y="85630"/>
                    <a:pt x="34696" y="88056"/>
                    <a:pt x="23508" y="83790"/>
                  </a:cubicBezTo>
                  <a:cubicBezTo>
                    <a:pt x="-51562" y="47025"/>
                    <a:pt x="55778" y="-501"/>
                    <a:pt x="198030" y="-501"/>
                  </a:cubicBezTo>
                  <a:cubicBezTo>
                    <a:pt x="200113" y="-501"/>
                    <a:pt x="201879" y="93"/>
                    <a:pt x="203415" y="1086"/>
                  </a:cubicBezTo>
                  <a:cubicBezTo>
                    <a:pt x="172859" y="21724"/>
                    <a:pt x="136779" y="33024"/>
                    <a:pt x="98641" y="38411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25" name="Graphic 6">
              <a:extLst>
                <a:ext uri="{FF2B5EF4-FFF2-40B4-BE49-F238E27FC236}">
                  <a16:creationId xmlns:a16="http://schemas.microsoft.com/office/drawing/2014/main" id="{F34918CF-1B2F-4E2A-98C8-06F56032216A}"/>
                </a:ext>
              </a:extLst>
            </p:cNvPr>
            <p:cNvGrpSpPr/>
            <p:nvPr/>
          </p:nvGrpSpPr>
          <p:grpSpPr>
            <a:xfrm>
              <a:off x="5148601" y="4312222"/>
              <a:ext cx="203110" cy="86523"/>
              <a:chOff x="5148601" y="4312222"/>
              <a:chExt cx="203110" cy="86523"/>
            </a:xfrm>
            <a:solidFill>
              <a:srgbClr val="211D1D"/>
            </a:solidFill>
          </p:grpSpPr>
          <p:sp>
            <p:nvSpPr>
              <p:cNvPr id="1876" name="Freeform: Shape 1875">
                <a:extLst>
                  <a:ext uri="{FF2B5EF4-FFF2-40B4-BE49-F238E27FC236}">
                    <a16:creationId xmlns:a16="http://schemas.microsoft.com/office/drawing/2014/main" id="{EDAD2A32-53F8-4604-BA05-2A067D39C5E0}"/>
                  </a:ext>
                </a:extLst>
              </p:cNvPr>
              <p:cNvSpPr/>
              <p:nvPr/>
            </p:nvSpPr>
            <p:spPr>
              <a:xfrm flipV="1">
                <a:off x="5148601" y="4312222"/>
                <a:ext cx="203110" cy="86523"/>
              </a:xfrm>
              <a:custGeom>
                <a:avLst/>
                <a:gdLst>
                  <a:gd name="connsiteX0" fmla="*/ 201972 w 203110"/>
                  <a:gd name="connsiteY0" fmla="*/ 86024 h 86523"/>
                  <a:gd name="connsiteX1" fmla="*/ 201972 w 203110"/>
                  <a:gd name="connsiteY1" fmla="*/ -499 h 86523"/>
                  <a:gd name="connsiteX2" fmla="*/ -1139 w 203110"/>
                  <a:gd name="connsiteY2" fmla="*/ -499 h 86523"/>
                  <a:gd name="connsiteX3" fmla="*/ -1139 w 203110"/>
                  <a:gd name="connsiteY3" fmla="*/ 86024 h 86523"/>
                  <a:gd name="connsiteX4" fmla="*/ 201972 w 203110"/>
                  <a:gd name="connsiteY4" fmla="*/ 86024 h 86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110" h="86523">
                    <a:moveTo>
                      <a:pt x="201972" y="86024"/>
                    </a:moveTo>
                    <a:lnTo>
                      <a:pt x="201972" y="-499"/>
                    </a:lnTo>
                    <a:lnTo>
                      <a:pt x="-1139" y="-499"/>
                    </a:lnTo>
                    <a:lnTo>
                      <a:pt x="-1139" y="86024"/>
                    </a:lnTo>
                    <a:lnTo>
                      <a:pt x="201972" y="86024"/>
                    </a:lnTo>
                  </a:path>
                </a:pathLst>
              </a:custGeom>
              <a:solidFill>
                <a:srgbClr val="211D1D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77" name="Freeform: Shape 1876">
                <a:extLst>
                  <a:ext uri="{FF2B5EF4-FFF2-40B4-BE49-F238E27FC236}">
                    <a16:creationId xmlns:a16="http://schemas.microsoft.com/office/drawing/2014/main" id="{0338CD08-8324-4CB4-8AE1-5A7001AD835D}"/>
                  </a:ext>
                </a:extLst>
              </p:cNvPr>
              <p:cNvSpPr/>
              <p:nvPr/>
            </p:nvSpPr>
            <p:spPr>
              <a:xfrm flipV="1">
                <a:off x="5351712" y="4312222"/>
                <a:ext cx="9525" cy="86523"/>
              </a:xfrm>
              <a:custGeom>
                <a:avLst/>
                <a:gdLst>
                  <a:gd name="connsiteX0" fmla="*/ -1208 w 9525"/>
                  <a:gd name="connsiteY0" fmla="*/ -499 h 86523"/>
                  <a:gd name="connsiteX1" fmla="*/ -1208 w 9525"/>
                  <a:gd name="connsiteY1" fmla="*/ 86024 h 86523"/>
                  <a:gd name="connsiteX2" fmla="*/ -1208 w 9525"/>
                  <a:gd name="connsiteY2" fmla="*/ -499 h 86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86523">
                    <a:moveTo>
                      <a:pt x="-1208" y="-499"/>
                    </a:moveTo>
                    <a:lnTo>
                      <a:pt x="-1208" y="86024"/>
                    </a:lnTo>
                    <a:lnTo>
                      <a:pt x="-1208" y="-499"/>
                    </a:lnTo>
                  </a:path>
                </a:pathLst>
              </a:custGeom>
              <a:solidFill>
                <a:srgbClr val="211D1D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826" name="Freeform: Shape 1825">
              <a:extLst>
                <a:ext uri="{FF2B5EF4-FFF2-40B4-BE49-F238E27FC236}">
                  <a16:creationId xmlns:a16="http://schemas.microsoft.com/office/drawing/2014/main" id="{3A2554AB-FBAE-454E-9325-CF950857A376}"/>
                </a:ext>
              </a:extLst>
            </p:cNvPr>
            <p:cNvSpPr/>
            <p:nvPr/>
          </p:nvSpPr>
          <p:spPr>
            <a:xfrm flipV="1">
              <a:off x="5858271" y="4305441"/>
              <a:ext cx="212716" cy="91072"/>
            </a:xfrm>
            <a:custGeom>
              <a:avLst/>
              <a:gdLst>
                <a:gd name="connsiteX0" fmla="*/ 116970 w 212716"/>
                <a:gd name="connsiteY0" fmla="*/ 90570 h 91072"/>
                <a:gd name="connsiteX1" fmla="*/ 150448 w 212716"/>
                <a:gd name="connsiteY1" fmla="*/ 80751 h 91072"/>
                <a:gd name="connsiteX2" fmla="*/ 186439 w 212716"/>
                <a:gd name="connsiteY2" fmla="*/ 83788 h 91072"/>
                <a:gd name="connsiteX3" fmla="*/ 11929 w 212716"/>
                <a:gd name="connsiteY3" fmla="*/ -503 h 91072"/>
                <a:gd name="connsiteX4" fmla="*/ 6722 w 212716"/>
                <a:gd name="connsiteY4" fmla="*/ 90570 h 91072"/>
                <a:gd name="connsiteX5" fmla="*/ 116970 w 212716"/>
                <a:gd name="connsiteY5" fmla="*/ 90570 h 91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716" h="91072">
                  <a:moveTo>
                    <a:pt x="116970" y="90570"/>
                  </a:moveTo>
                  <a:cubicBezTo>
                    <a:pt x="122622" y="69207"/>
                    <a:pt x="134852" y="74971"/>
                    <a:pt x="150448" y="80751"/>
                  </a:cubicBezTo>
                  <a:cubicBezTo>
                    <a:pt x="161192" y="84725"/>
                    <a:pt x="173549" y="88704"/>
                    <a:pt x="186439" y="83788"/>
                  </a:cubicBezTo>
                  <a:cubicBezTo>
                    <a:pt x="261509" y="47031"/>
                    <a:pt x="154181" y="-503"/>
                    <a:pt x="11929" y="-503"/>
                  </a:cubicBezTo>
                  <a:cubicBezTo>
                    <a:pt x="-15160" y="-503"/>
                    <a:pt x="6722" y="90570"/>
                    <a:pt x="6722" y="90570"/>
                  </a:cubicBezTo>
                  <a:lnTo>
                    <a:pt x="116970" y="90570"/>
                  </a:ln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7" name="Freeform: Shape 1826">
              <a:extLst>
                <a:ext uri="{FF2B5EF4-FFF2-40B4-BE49-F238E27FC236}">
                  <a16:creationId xmlns:a16="http://schemas.microsoft.com/office/drawing/2014/main" id="{737FB8FA-1C49-4C81-A947-3401CC02AE04}"/>
                </a:ext>
              </a:extLst>
            </p:cNvPr>
            <p:cNvSpPr/>
            <p:nvPr/>
          </p:nvSpPr>
          <p:spPr>
            <a:xfrm flipV="1">
              <a:off x="5863736" y="4305441"/>
              <a:ext cx="207251" cy="84381"/>
            </a:xfrm>
            <a:custGeom>
              <a:avLst/>
              <a:gdLst>
                <a:gd name="connsiteX0" fmla="*/ 180972 w 207251"/>
                <a:gd name="connsiteY0" fmla="*/ 77093 h 84381"/>
                <a:gd name="connsiteX1" fmla="*/ 111503 w 207251"/>
                <a:gd name="connsiteY1" fmla="*/ 83875 h 84381"/>
                <a:gd name="connsiteX2" fmla="*/ 1255 w 207251"/>
                <a:gd name="connsiteY2" fmla="*/ 83875 h 84381"/>
                <a:gd name="connsiteX3" fmla="*/ -1628 w 207251"/>
                <a:gd name="connsiteY3" fmla="*/ 70247 h 84381"/>
                <a:gd name="connsiteX4" fmla="*/ 96200 w 207251"/>
                <a:gd name="connsiteY4" fmla="*/ -506 h 84381"/>
                <a:gd name="connsiteX5" fmla="*/ 180972 w 207251"/>
                <a:gd name="connsiteY5" fmla="*/ 77093 h 8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251" h="84381">
                  <a:moveTo>
                    <a:pt x="180972" y="77093"/>
                  </a:moveTo>
                  <a:cubicBezTo>
                    <a:pt x="149374" y="89133"/>
                    <a:pt x="121053" y="47779"/>
                    <a:pt x="111503" y="83875"/>
                  </a:cubicBezTo>
                  <a:lnTo>
                    <a:pt x="1255" y="83875"/>
                  </a:lnTo>
                  <a:cubicBezTo>
                    <a:pt x="1255" y="83875"/>
                    <a:pt x="-53" y="78428"/>
                    <a:pt x="-1628" y="70247"/>
                  </a:cubicBezTo>
                  <a:cubicBezTo>
                    <a:pt x="45031" y="89158"/>
                    <a:pt x="67891" y="30078"/>
                    <a:pt x="96200" y="-506"/>
                  </a:cubicBezTo>
                  <a:cubicBezTo>
                    <a:pt x="188020" y="13861"/>
                    <a:pt x="239011" y="48682"/>
                    <a:pt x="180972" y="77093"/>
                  </a:cubicBezTo>
                </a:path>
              </a:pathLst>
            </a:custGeom>
            <a:solidFill>
              <a:srgbClr val="291B15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28" name="Graphic 6">
              <a:extLst>
                <a:ext uri="{FF2B5EF4-FFF2-40B4-BE49-F238E27FC236}">
                  <a16:creationId xmlns:a16="http://schemas.microsoft.com/office/drawing/2014/main" id="{EA21F3D1-C0CA-4602-BB7C-5EF20D728151}"/>
                </a:ext>
              </a:extLst>
            </p:cNvPr>
            <p:cNvGrpSpPr/>
            <p:nvPr/>
          </p:nvGrpSpPr>
          <p:grpSpPr>
            <a:xfrm>
              <a:off x="5871826" y="4312222"/>
              <a:ext cx="203110" cy="86523"/>
              <a:chOff x="5871826" y="4312222"/>
              <a:chExt cx="203110" cy="86523"/>
            </a:xfrm>
            <a:solidFill>
              <a:srgbClr val="211D1D"/>
            </a:solidFill>
          </p:grpSpPr>
          <p:sp>
            <p:nvSpPr>
              <p:cNvPr id="1874" name="Freeform: Shape 1873">
                <a:extLst>
                  <a:ext uri="{FF2B5EF4-FFF2-40B4-BE49-F238E27FC236}">
                    <a16:creationId xmlns:a16="http://schemas.microsoft.com/office/drawing/2014/main" id="{E8E1BCB1-E8EA-4AB0-B912-61318F73E65A}"/>
                  </a:ext>
                </a:extLst>
              </p:cNvPr>
              <p:cNvSpPr/>
              <p:nvPr/>
            </p:nvSpPr>
            <p:spPr>
              <a:xfrm flipV="1">
                <a:off x="5871826" y="4312222"/>
                <a:ext cx="203110" cy="86523"/>
              </a:xfrm>
              <a:custGeom>
                <a:avLst/>
                <a:gdLst>
                  <a:gd name="connsiteX0" fmla="*/ -1632 w 203110"/>
                  <a:gd name="connsiteY0" fmla="*/ 1758 h 86523"/>
                  <a:gd name="connsiteX1" fmla="*/ -1632 w 203110"/>
                  <a:gd name="connsiteY1" fmla="*/ 86024 h 86523"/>
                  <a:gd name="connsiteX2" fmla="*/ 201478 w 203110"/>
                  <a:gd name="connsiteY2" fmla="*/ 86024 h 86523"/>
                  <a:gd name="connsiteX3" fmla="*/ 201478 w 203110"/>
                  <a:gd name="connsiteY3" fmla="*/ -499 h 86523"/>
                  <a:gd name="connsiteX4" fmla="*/ -1632 w 203110"/>
                  <a:gd name="connsiteY4" fmla="*/ -499 h 86523"/>
                  <a:gd name="connsiteX5" fmla="*/ -1632 w 203110"/>
                  <a:gd name="connsiteY5" fmla="*/ 1758 h 86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3110" h="86523">
                    <a:moveTo>
                      <a:pt x="-1632" y="1758"/>
                    </a:moveTo>
                    <a:lnTo>
                      <a:pt x="-1632" y="86024"/>
                    </a:lnTo>
                    <a:lnTo>
                      <a:pt x="201478" y="86024"/>
                    </a:lnTo>
                    <a:lnTo>
                      <a:pt x="201478" y="-499"/>
                    </a:lnTo>
                    <a:lnTo>
                      <a:pt x="-1632" y="-499"/>
                    </a:lnTo>
                    <a:lnTo>
                      <a:pt x="-1632" y="1758"/>
                    </a:lnTo>
                  </a:path>
                </a:pathLst>
              </a:custGeom>
              <a:solidFill>
                <a:srgbClr val="211D1D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75" name="Freeform: Shape 1874">
                <a:extLst>
                  <a:ext uri="{FF2B5EF4-FFF2-40B4-BE49-F238E27FC236}">
                    <a16:creationId xmlns:a16="http://schemas.microsoft.com/office/drawing/2014/main" id="{F071066C-C998-4511-9CDD-2B13B66696AE}"/>
                  </a:ext>
                </a:extLst>
              </p:cNvPr>
              <p:cNvSpPr/>
              <p:nvPr/>
            </p:nvSpPr>
            <p:spPr>
              <a:xfrm flipV="1">
                <a:off x="5871826" y="4312222"/>
                <a:ext cx="9525" cy="84266"/>
              </a:xfrm>
              <a:custGeom>
                <a:avLst/>
                <a:gdLst>
                  <a:gd name="connsiteX0" fmla="*/ -1563 w 9525"/>
                  <a:gd name="connsiteY0" fmla="*/ 83767 h 84266"/>
                  <a:gd name="connsiteX1" fmla="*/ -1563 w 9525"/>
                  <a:gd name="connsiteY1" fmla="*/ -500 h 84266"/>
                  <a:gd name="connsiteX2" fmla="*/ -1563 w 9525"/>
                  <a:gd name="connsiteY2" fmla="*/ 83767 h 84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25" h="84266">
                    <a:moveTo>
                      <a:pt x="-1563" y="83767"/>
                    </a:moveTo>
                    <a:lnTo>
                      <a:pt x="-1563" y="-500"/>
                    </a:lnTo>
                    <a:lnTo>
                      <a:pt x="-1563" y="83767"/>
                    </a:lnTo>
                  </a:path>
                </a:pathLst>
              </a:custGeom>
              <a:solidFill>
                <a:srgbClr val="211D1D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829" name="Freeform: Shape 1828">
              <a:extLst>
                <a:ext uri="{FF2B5EF4-FFF2-40B4-BE49-F238E27FC236}">
                  <a16:creationId xmlns:a16="http://schemas.microsoft.com/office/drawing/2014/main" id="{B97A0EFF-811F-4721-A2AA-BDE2C880703C}"/>
                </a:ext>
              </a:extLst>
            </p:cNvPr>
            <p:cNvSpPr/>
            <p:nvPr/>
          </p:nvSpPr>
          <p:spPr>
            <a:xfrm flipV="1">
              <a:off x="5246670" y="3689570"/>
              <a:ext cx="729917" cy="615870"/>
            </a:xfrm>
            <a:custGeom>
              <a:avLst/>
              <a:gdLst>
                <a:gd name="connsiteX0" fmla="*/ 691779 w 729917"/>
                <a:gd name="connsiteY0" fmla="*/ 560125 h 615870"/>
                <a:gd name="connsiteX1" fmla="*/ 489786 w 729917"/>
                <a:gd name="connsiteY1" fmla="*/ 615052 h 615870"/>
                <a:gd name="connsiteX2" fmla="*/ 237361 w 729917"/>
                <a:gd name="connsiteY2" fmla="*/ 615052 h 615870"/>
                <a:gd name="connsiteX3" fmla="*/ 35368 w 729917"/>
                <a:gd name="connsiteY3" fmla="*/ 560125 h 615870"/>
                <a:gd name="connsiteX4" fmla="*/ -1385 w 729917"/>
                <a:gd name="connsiteY4" fmla="*/ -819 h 615870"/>
                <a:gd name="connsiteX5" fmla="*/ 108863 w 729917"/>
                <a:gd name="connsiteY5" fmla="*/ -819 h 615870"/>
                <a:gd name="connsiteX6" fmla="*/ 155256 w 729917"/>
                <a:gd name="connsiteY6" fmla="*/ 430623 h 615870"/>
                <a:gd name="connsiteX7" fmla="*/ 571878 w 729917"/>
                <a:gd name="connsiteY7" fmla="*/ 430623 h 615870"/>
                <a:gd name="connsiteX8" fmla="*/ 618284 w 729917"/>
                <a:gd name="connsiteY8" fmla="*/ -819 h 615870"/>
                <a:gd name="connsiteX9" fmla="*/ 728533 w 729917"/>
                <a:gd name="connsiteY9" fmla="*/ -819 h 615870"/>
                <a:gd name="connsiteX10" fmla="*/ 691779 w 729917"/>
                <a:gd name="connsiteY10" fmla="*/ 560125 h 61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9917" h="615870">
                  <a:moveTo>
                    <a:pt x="691779" y="560125"/>
                  </a:moveTo>
                  <a:lnTo>
                    <a:pt x="489786" y="615052"/>
                  </a:lnTo>
                  <a:lnTo>
                    <a:pt x="237361" y="615052"/>
                  </a:lnTo>
                  <a:lnTo>
                    <a:pt x="35368" y="560125"/>
                  </a:lnTo>
                  <a:lnTo>
                    <a:pt x="-1385" y="-819"/>
                  </a:lnTo>
                  <a:lnTo>
                    <a:pt x="108863" y="-819"/>
                  </a:lnTo>
                  <a:lnTo>
                    <a:pt x="155256" y="430623"/>
                  </a:lnTo>
                  <a:lnTo>
                    <a:pt x="571878" y="430623"/>
                  </a:lnTo>
                  <a:lnTo>
                    <a:pt x="618284" y="-819"/>
                  </a:lnTo>
                  <a:lnTo>
                    <a:pt x="728533" y="-819"/>
                  </a:lnTo>
                  <a:lnTo>
                    <a:pt x="691779" y="560125"/>
                  </a:lnTo>
                </a:path>
              </a:pathLst>
            </a:custGeom>
            <a:solidFill>
              <a:srgbClr val="3C3A3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0" name="Freeform: Shape 1829">
              <a:extLst>
                <a:ext uri="{FF2B5EF4-FFF2-40B4-BE49-F238E27FC236}">
                  <a16:creationId xmlns:a16="http://schemas.microsoft.com/office/drawing/2014/main" id="{DCDD5E20-6068-4CE0-BB9E-B5CBBD3D0A89}"/>
                </a:ext>
              </a:extLst>
            </p:cNvPr>
            <p:cNvSpPr/>
            <p:nvPr/>
          </p:nvSpPr>
          <p:spPr>
            <a:xfrm flipV="1">
              <a:off x="5246670" y="3972499"/>
              <a:ext cx="146049" cy="332941"/>
            </a:xfrm>
            <a:custGeom>
              <a:avLst/>
              <a:gdLst>
                <a:gd name="connsiteX0" fmla="*/ 14168 w 146049"/>
                <a:gd name="connsiteY0" fmla="*/ 233773 h 332941"/>
                <a:gd name="connsiteX1" fmla="*/ -1186 w 146049"/>
                <a:gd name="connsiteY1" fmla="*/ -692 h 332941"/>
                <a:gd name="connsiteX2" fmla="*/ 109062 w 146049"/>
                <a:gd name="connsiteY2" fmla="*/ -692 h 332941"/>
                <a:gd name="connsiteX3" fmla="*/ 144863 w 146049"/>
                <a:gd name="connsiteY3" fmla="*/ 332249 h 332941"/>
                <a:gd name="connsiteX4" fmla="*/ 14168 w 146049"/>
                <a:gd name="connsiteY4" fmla="*/ 233773 h 33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49" h="332941">
                  <a:moveTo>
                    <a:pt x="14168" y="233773"/>
                  </a:moveTo>
                  <a:lnTo>
                    <a:pt x="-1186" y="-692"/>
                  </a:lnTo>
                  <a:lnTo>
                    <a:pt x="109062" y="-692"/>
                  </a:lnTo>
                  <a:lnTo>
                    <a:pt x="144863" y="332249"/>
                  </a:lnTo>
                  <a:cubicBezTo>
                    <a:pt x="115298" y="286376"/>
                    <a:pt x="66924" y="253128"/>
                    <a:pt x="14168" y="233773"/>
                  </a:cubicBezTo>
                </a:path>
              </a:pathLst>
            </a:custGeom>
            <a:solidFill>
              <a:srgbClr val="2D2B2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1" name="Freeform: Shape 1830">
              <a:extLst>
                <a:ext uri="{FF2B5EF4-FFF2-40B4-BE49-F238E27FC236}">
                  <a16:creationId xmlns:a16="http://schemas.microsoft.com/office/drawing/2014/main" id="{35739400-4309-46C3-89C2-260826CC4279}"/>
                </a:ext>
              </a:extLst>
            </p:cNvPr>
            <p:cNvSpPr/>
            <p:nvPr/>
          </p:nvSpPr>
          <p:spPr>
            <a:xfrm flipV="1">
              <a:off x="5843937" y="3881949"/>
              <a:ext cx="132651" cy="423491"/>
            </a:xfrm>
            <a:custGeom>
              <a:avLst/>
              <a:gdLst>
                <a:gd name="connsiteX0" fmla="*/ 103312 w 132651"/>
                <a:gd name="connsiteY0" fmla="*/ 422759 h 423491"/>
                <a:gd name="connsiteX1" fmla="*/ 75296 w 132651"/>
                <a:gd name="connsiteY1" fmla="*/ 322226 h 423491"/>
                <a:gd name="connsiteX2" fmla="*/ -1589 w 132651"/>
                <a:gd name="connsiteY2" fmla="*/ 207520 h 423491"/>
                <a:gd name="connsiteX3" fmla="*/ 20814 w 132651"/>
                <a:gd name="connsiteY3" fmla="*/ -733 h 423491"/>
                <a:gd name="connsiteX4" fmla="*/ 131062 w 132651"/>
                <a:gd name="connsiteY4" fmla="*/ -733 h 423491"/>
                <a:gd name="connsiteX5" fmla="*/ 103312 w 132651"/>
                <a:gd name="connsiteY5" fmla="*/ 422759 h 423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651" h="423491">
                  <a:moveTo>
                    <a:pt x="103312" y="422759"/>
                  </a:moveTo>
                  <a:cubicBezTo>
                    <a:pt x="96874" y="388507"/>
                    <a:pt x="88936" y="354636"/>
                    <a:pt x="75296" y="322226"/>
                  </a:cubicBezTo>
                  <a:cubicBezTo>
                    <a:pt x="57377" y="279643"/>
                    <a:pt x="29741" y="241543"/>
                    <a:pt x="-1589" y="207520"/>
                  </a:cubicBezTo>
                  <a:lnTo>
                    <a:pt x="20814" y="-733"/>
                  </a:lnTo>
                  <a:lnTo>
                    <a:pt x="131062" y="-733"/>
                  </a:lnTo>
                  <a:lnTo>
                    <a:pt x="103312" y="422759"/>
                  </a:lnTo>
                </a:path>
              </a:pathLst>
            </a:custGeom>
            <a:solidFill>
              <a:srgbClr val="2D2B2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2" name="Freeform: Shape 1831">
              <a:extLst>
                <a:ext uri="{FF2B5EF4-FFF2-40B4-BE49-F238E27FC236}">
                  <a16:creationId xmlns:a16="http://schemas.microsoft.com/office/drawing/2014/main" id="{75476493-3CF3-44A2-80F8-A12AC88F4AC8}"/>
                </a:ext>
              </a:extLst>
            </p:cNvPr>
            <p:cNvSpPr/>
            <p:nvPr/>
          </p:nvSpPr>
          <p:spPr>
            <a:xfrm flipV="1">
              <a:off x="5472920" y="2836145"/>
              <a:ext cx="299643" cy="252996"/>
            </a:xfrm>
            <a:custGeom>
              <a:avLst/>
              <a:gdLst>
                <a:gd name="connsiteX0" fmla="*/ 276673 w 299643"/>
                <a:gd name="connsiteY0" fmla="*/ 130160 h 252996"/>
                <a:gd name="connsiteX1" fmla="*/ 253457 w 299643"/>
                <a:gd name="connsiteY1" fmla="*/ 91476 h 252996"/>
                <a:gd name="connsiteX2" fmla="*/ 214163 w 299643"/>
                <a:gd name="connsiteY2" fmla="*/ 44625 h 252996"/>
                <a:gd name="connsiteX3" fmla="*/ 198670 w 299643"/>
                <a:gd name="connsiteY3" fmla="*/ 30998 h 252996"/>
                <a:gd name="connsiteX4" fmla="*/ 88523 w 299643"/>
                <a:gd name="connsiteY4" fmla="*/ 30998 h 252996"/>
                <a:gd name="connsiteX5" fmla="*/ 69473 w 299643"/>
                <a:gd name="connsiteY5" fmla="*/ 47889 h 252996"/>
                <a:gd name="connsiteX6" fmla="*/ 48632 w 299643"/>
                <a:gd name="connsiteY6" fmla="*/ 71321 h 252996"/>
                <a:gd name="connsiteX7" fmla="*/ 23029 w 299643"/>
                <a:gd name="connsiteY7" fmla="*/ 132344 h 252996"/>
                <a:gd name="connsiteX8" fmla="*/ 4576 w 299643"/>
                <a:gd name="connsiteY8" fmla="*/ 212417 h 252996"/>
                <a:gd name="connsiteX9" fmla="*/ -618 w 299643"/>
                <a:gd name="connsiteY9" fmla="*/ 245945 h 252996"/>
                <a:gd name="connsiteX10" fmla="*/ -1393 w 299643"/>
                <a:gd name="connsiteY10" fmla="*/ 240002 h 252996"/>
                <a:gd name="connsiteX11" fmla="*/ 4576 w 299643"/>
                <a:gd name="connsiteY11" fmla="*/ 196542 h 252996"/>
                <a:gd name="connsiteX12" fmla="*/ 23029 w 299643"/>
                <a:gd name="connsiteY12" fmla="*/ 109002 h 252996"/>
                <a:gd name="connsiteX13" fmla="*/ 48632 w 299643"/>
                <a:gd name="connsiteY13" fmla="*/ 42314 h 252996"/>
                <a:gd name="connsiteX14" fmla="*/ 69473 w 299643"/>
                <a:gd name="connsiteY14" fmla="*/ 16711 h 252996"/>
                <a:gd name="connsiteX15" fmla="*/ 88523 w 299643"/>
                <a:gd name="connsiteY15" fmla="*/ -1742 h 252996"/>
                <a:gd name="connsiteX16" fmla="*/ 198670 w 299643"/>
                <a:gd name="connsiteY16" fmla="*/ -1742 h 252996"/>
                <a:gd name="connsiteX17" fmla="*/ 214163 w 299643"/>
                <a:gd name="connsiteY17" fmla="*/ 13142 h 252996"/>
                <a:gd name="connsiteX18" fmla="*/ 253457 w 299643"/>
                <a:gd name="connsiteY18" fmla="*/ 64349 h 252996"/>
                <a:gd name="connsiteX19" fmla="*/ 276673 w 299643"/>
                <a:gd name="connsiteY19" fmla="*/ 106627 h 252996"/>
                <a:gd name="connsiteX20" fmla="*/ 296929 w 299643"/>
                <a:gd name="connsiteY20" fmla="*/ 188795 h 252996"/>
                <a:gd name="connsiteX21" fmla="*/ 298225 w 299643"/>
                <a:gd name="connsiteY21" fmla="*/ 251254 h 252996"/>
                <a:gd name="connsiteX22" fmla="*/ 296929 w 299643"/>
                <a:gd name="connsiteY22" fmla="*/ 205344 h 252996"/>
                <a:gd name="connsiteX23" fmla="*/ 276673 w 299643"/>
                <a:gd name="connsiteY23" fmla="*/ 130160 h 25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9643" h="252996">
                  <a:moveTo>
                    <a:pt x="276673" y="130160"/>
                  </a:moveTo>
                  <a:cubicBezTo>
                    <a:pt x="272088" y="122502"/>
                    <a:pt x="253457" y="91476"/>
                    <a:pt x="253457" y="91476"/>
                  </a:cubicBezTo>
                  <a:lnTo>
                    <a:pt x="214163" y="44625"/>
                  </a:lnTo>
                  <a:lnTo>
                    <a:pt x="198670" y="30998"/>
                  </a:lnTo>
                  <a:lnTo>
                    <a:pt x="88523" y="30998"/>
                  </a:lnTo>
                  <a:lnTo>
                    <a:pt x="69473" y="47889"/>
                  </a:lnTo>
                  <a:lnTo>
                    <a:pt x="48632" y="71321"/>
                  </a:lnTo>
                  <a:lnTo>
                    <a:pt x="23029" y="132344"/>
                  </a:lnTo>
                  <a:lnTo>
                    <a:pt x="4576" y="212417"/>
                  </a:lnTo>
                  <a:cubicBezTo>
                    <a:pt x="4576" y="212417"/>
                    <a:pt x="995" y="234655"/>
                    <a:pt x="-618" y="245945"/>
                  </a:cubicBezTo>
                  <a:cubicBezTo>
                    <a:pt x="-1088" y="242859"/>
                    <a:pt x="-1393" y="240637"/>
                    <a:pt x="-1393" y="240002"/>
                  </a:cubicBezTo>
                  <a:cubicBezTo>
                    <a:pt x="-1393" y="237017"/>
                    <a:pt x="4576" y="196542"/>
                    <a:pt x="4576" y="196542"/>
                  </a:cubicBezTo>
                  <a:lnTo>
                    <a:pt x="23029" y="109002"/>
                  </a:lnTo>
                  <a:lnTo>
                    <a:pt x="48632" y="42314"/>
                  </a:lnTo>
                  <a:lnTo>
                    <a:pt x="69473" y="16711"/>
                  </a:lnTo>
                  <a:lnTo>
                    <a:pt x="88523" y="-1742"/>
                  </a:lnTo>
                  <a:lnTo>
                    <a:pt x="198670" y="-1742"/>
                  </a:lnTo>
                  <a:lnTo>
                    <a:pt x="214163" y="13142"/>
                  </a:lnTo>
                  <a:lnTo>
                    <a:pt x="253457" y="64349"/>
                  </a:lnTo>
                  <a:cubicBezTo>
                    <a:pt x="253457" y="64349"/>
                    <a:pt x="272088" y="98257"/>
                    <a:pt x="276673" y="106627"/>
                  </a:cubicBezTo>
                  <a:cubicBezTo>
                    <a:pt x="281270" y="114996"/>
                    <a:pt x="296929" y="188795"/>
                    <a:pt x="296929" y="188795"/>
                  </a:cubicBezTo>
                  <a:cubicBezTo>
                    <a:pt x="296929" y="188795"/>
                    <a:pt x="298466" y="225575"/>
                    <a:pt x="298225" y="251254"/>
                  </a:cubicBezTo>
                  <a:cubicBezTo>
                    <a:pt x="298034" y="229562"/>
                    <a:pt x="296929" y="205344"/>
                    <a:pt x="296929" y="205344"/>
                  </a:cubicBezTo>
                  <a:cubicBezTo>
                    <a:pt x="296929" y="205344"/>
                    <a:pt x="281270" y="137818"/>
                    <a:pt x="276673" y="130160"/>
                  </a:cubicBezTo>
                </a:path>
              </a:pathLst>
            </a:custGeom>
            <a:solidFill>
              <a:srgbClr val="362018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3" name="Freeform: Shape 1832">
              <a:extLst>
                <a:ext uri="{FF2B5EF4-FFF2-40B4-BE49-F238E27FC236}">
                  <a16:creationId xmlns:a16="http://schemas.microsoft.com/office/drawing/2014/main" id="{4DA6F70E-2725-44F8-8261-A9C9B23C500C}"/>
                </a:ext>
              </a:extLst>
            </p:cNvPr>
            <p:cNvSpPr/>
            <p:nvPr/>
          </p:nvSpPr>
          <p:spPr>
            <a:xfrm flipV="1">
              <a:off x="5473695" y="2703973"/>
              <a:ext cx="298843" cy="352426"/>
            </a:xfrm>
            <a:custGeom>
              <a:avLst/>
              <a:gdLst>
                <a:gd name="connsiteX0" fmla="*/ 297234 w 298843"/>
                <a:gd name="connsiteY0" fmla="*/ 228168 h 352426"/>
                <a:gd name="connsiteX1" fmla="*/ 296154 w 298843"/>
                <a:gd name="connsiteY1" fmla="*/ 240525 h 352426"/>
                <a:gd name="connsiteX2" fmla="*/ 233632 w 298843"/>
                <a:gd name="connsiteY2" fmla="*/ 323888 h 352426"/>
                <a:gd name="connsiteX3" fmla="*/ 106214 w 298843"/>
                <a:gd name="connsiteY3" fmla="*/ 348894 h 352426"/>
                <a:gd name="connsiteX4" fmla="*/ 31182 w 298843"/>
                <a:gd name="connsiteY4" fmla="*/ 285178 h 352426"/>
                <a:gd name="connsiteX5" fmla="*/ 31182 w 298843"/>
                <a:gd name="connsiteY5" fmla="*/ 273862 h 352426"/>
                <a:gd name="connsiteX6" fmla="*/ 31182 w 298843"/>
                <a:gd name="connsiteY6" fmla="*/ 266725 h 352426"/>
                <a:gd name="connsiteX7" fmla="*/ 15104 w 298843"/>
                <a:gd name="connsiteY7" fmla="*/ 266128 h 352426"/>
                <a:gd name="connsiteX8" fmla="*/ 4398 w 298843"/>
                <a:gd name="connsiteY8" fmla="*/ 247675 h 352426"/>
                <a:gd name="connsiteX9" fmla="*/ 461 w 298843"/>
                <a:gd name="connsiteY9" fmla="*/ 224599 h 352426"/>
                <a:gd name="connsiteX10" fmla="*/ -1393 w 298843"/>
                <a:gd name="connsiteY10" fmla="*/ 213131 h 352426"/>
                <a:gd name="connsiteX11" fmla="*/ 3801 w 298843"/>
                <a:gd name="connsiteY11" fmla="*/ 179603 h 352426"/>
                <a:gd name="connsiteX12" fmla="*/ 22254 w 298843"/>
                <a:gd name="connsiteY12" fmla="*/ 99530 h 352426"/>
                <a:gd name="connsiteX13" fmla="*/ 47857 w 298843"/>
                <a:gd name="connsiteY13" fmla="*/ 38507 h 352426"/>
                <a:gd name="connsiteX14" fmla="*/ 68698 w 298843"/>
                <a:gd name="connsiteY14" fmla="*/ 15075 h 352426"/>
                <a:gd name="connsiteX15" fmla="*/ 87748 w 298843"/>
                <a:gd name="connsiteY15" fmla="*/ -1816 h 352426"/>
                <a:gd name="connsiteX16" fmla="*/ 197895 w 298843"/>
                <a:gd name="connsiteY16" fmla="*/ -1816 h 352426"/>
                <a:gd name="connsiteX17" fmla="*/ 213389 w 298843"/>
                <a:gd name="connsiteY17" fmla="*/ 11811 h 352426"/>
                <a:gd name="connsiteX18" fmla="*/ 252682 w 298843"/>
                <a:gd name="connsiteY18" fmla="*/ 58661 h 352426"/>
                <a:gd name="connsiteX19" fmla="*/ 275898 w 298843"/>
                <a:gd name="connsiteY19" fmla="*/ 97346 h 352426"/>
                <a:gd name="connsiteX20" fmla="*/ 296154 w 298843"/>
                <a:gd name="connsiteY20" fmla="*/ 172529 h 352426"/>
                <a:gd name="connsiteX21" fmla="*/ 297450 w 298843"/>
                <a:gd name="connsiteY21" fmla="*/ 218440 h 352426"/>
                <a:gd name="connsiteX22" fmla="*/ 297234 w 298843"/>
                <a:gd name="connsiteY22" fmla="*/ 228168 h 352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8843" h="352426">
                  <a:moveTo>
                    <a:pt x="297234" y="228168"/>
                  </a:moveTo>
                  <a:cubicBezTo>
                    <a:pt x="297031" y="233654"/>
                    <a:pt x="296688" y="238049"/>
                    <a:pt x="296154" y="240525"/>
                  </a:cubicBezTo>
                  <a:cubicBezTo>
                    <a:pt x="293170" y="254216"/>
                    <a:pt x="267567" y="298284"/>
                    <a:pt x="233632" y="323888"/>
                  </a:cubicBezTo>
                  <a:cubicBezTo>
                    <a:pt x="199698" y="349491"/>
                    <a:pt x="139551" y="353656"/>
                    <a:pt x="106214" y="348894"/>
                  </a:cubicBezTo>
                  <a:cubicBezTo>
                    <a:pt x="72863" y="344131"/>
                    <a:pt x="31182" y="285178"/>
                    <a:pt x="31182" y="285178"/>
                  </a:cubicBezTo>
                  <a:lnTo>
                    <a:pt x="31182" y="273862"/>
                  </a:lnTo>
                  <a:lnTo>
                    <a:pt x="31182" y="266725"/>
                  </a:lnTo>
                  <a:lnTo>
                    <a:pt x="15104" y="266128"/>
                  </a:lnTo>
                  <a:lnTo>
                    <a:pt x="4398" y="247675"/>
                  </a:lnTo>
                  <a:cubicBezTo>
                    <a:pt x="4398" y="247675"/>
                    <a:pt x="2277" y="235597"/>
                    <a:pt x="461" y="224599"/>
                  </a:cubicBezTo>
                  <a:cubicBezTo>
                    <a:pt x="-250" y="220357"/>
                    <a:pt x="-911" y="216293"/>
                    <a:pt x="-1393" y="213131"/>
                  </a:cubicBezTo>
                  <a:cubicBezTo>
                    <a:pt x="220" y="201841"/>
                    <a:pt x="3801" y="179603"/>
                    <a:pt x="3801" y="179603"/>
                  </a:cubicBezTo>
                  <a:lnTo>
                    <a:pt x="22254" y="99530"/>
                  </a:lnTo>
                  <a:lnTo>
                    <a:pt x="47857" y="38507"/>
                  </a:lnTo>
                  <a:lnTo>
                    <a:pt x="68698" y="15075"/>
                  </a:lnTo>
                  <a:lnTo>
                    <a:pt x="87748" y="-1816"/>
                  </a:lnTo>
                  <a:lnTo>
                    <a:pt x="197895" y="-1816"/>
                  </a:lnTo>
                  <a:lnTo>
                    <a:pt x="213389" y="11811"/>
                  </a:lnTo>
                  <a:lnTo>
                    <a:pt x="252682" y="58661"/>
                  </a:lnTo>
                  <a:cubicBezTo>
                    <a:pt x="252682" y="58661"/>
                    <a:pt x="271313" y="89687"/>
                    <a:pt x="275898" y="97346"/>
                  </a:cubicBezTo>
                  <a:cubicBezTo>
                    <a:pt x="280495" y="105004"/>
                    <a:pt x="296154" y="172529"/>
                    <a:pt x="296154" y="172529"/>
                  </a:cubicBezTo>
                  <a:cubicBezTo>
                    <a:pt x="296154" y="172529"/>
                    <a:pt x="297259" y="196748"/>
                    <a:pt x="297450" y="218440"/>
                  </a:cubicBezTo>
                  <a:cubicBezTo>
                    <a:pt x="297412" y="221932"/>
                    <a:pt x="297335" y="225209"/>
                    <a:pt x="297234" y="228168"/>
                  </a:cubicBezTo>
                </a:path>
              </a:pathLst>
            </a:custGeom>
            <a:solidFill>
              <a:srgbClr val="59331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4" name="Freeform: Shape 1833">
              <a:extLst>
                <a:ext uri="{FF2B5EF4-FFF2-40B4-BE49-F238E27FC236}">
                  <a16:creationId xmlns:a16="http://schemas.microsoft.com/office/drawing/2014/main" id="{75206D62-DEC4-4721-B1EE-D4474646D7F8}"/>
                </a:ext>
              </a:extLst>
            </p:cNvPr>
            <p:cNvSpPr/>
            <p:nvPr/>
          </p:nvSpPr>
          <p:spPr>
            <a:xfrm flipV="1">
              <a:off x="5541551" y="2836145"/>
              <a:ext cx="231012" cy="252996"/>
            </a:xfrm>
            <a:custGeom>
              <a:avLst/>
              <a:gdLst>
                <a:gd name="connsiteX0" fmla="*/ 130015 w 231012"/>
                <a:gd name="connsiteY0" fmla="*/ -1742 h 252996"/>
                <a:gd name="connsiteX1" fmla="*/ 19869 w 231012"/>
                <a:gd name="connsiteY1" fmla="*/ -1742 h 252996"/>
                <a:gd name="connsiteX2" fmla="*/ 819 w 231012"/>
                <a:gd name="connsiteY2" fmla="*/ 16711 h 252996"/>
                <a:gd name="connsiteX3" fmla="*/ -1416 w 231012"/>
                <a:gd name="connsiteY3" fmla="*/ 19467 h 252996"/>
                <a:gd name="connsiteX4" fmla="*/ 22802 w 231012"/>
                <a:gd name="connsiteY4" fmla="*/ 20292 h 252996"/>
                <a:gd name="connsiteX5" fmla="*/ 73437 w 231012"/>
                <a:gd name="connsiteY5" fmla="*/ 30998 h 252996"/>
                <a:gd name="connsiteX6" fmla="*/ 73437 w 231012"/>
                <a:gd name="connsiteY6" fmla="*/ 30998 h 252996"/>
                <a:gd name="connsiteX7" fmla="*/ 130015 w 231012"/>
                <a:gd name="connsiteY7" fmla="*/ 30998 h 252996"/>
                <a:gd name="connsiteX8" fmla="*/ 145509 w 231012"/>
                <a:gd name="connsiteY8" fmla="*/ 44625 h 252996"/>
                <a:gd name="connsiteX9" fmla="*/ 184803 w 231012"/>
                <a:gd name="connsiteY9" fmla="*/ 91476 h 252996"/>
                <a:gd name="connsiteX10" fmla="*/ 208019 w 231012"/>
                <a:gd name="connsiteY10" fmla="*/ 130160 h 252996"/>
                <a:gd name="connsiteX11" fmla="*/ 228275 w 231012"/>
                <a:gd name="connsiteY11" fmla="*/ 205344 h 252996"/>
                <a:gd name="connsiteX12" fmla="*/ 229571 w 231012"/>
                <a:gd name="connsiteY12" fmla="*/ 251254 h 252996"/>
                <a:gd name="connsiteX13" fmla="*/ 229571 w 231012"/>
                <a:gd name="connsiteY13" fmla="*/ 251254 h 252996"/>
                <a:gd name="connsiteX14" fmla="*/ 229596 w 231012"/>
                <a:gd name="connsiteY14" fmla="*/ 245361 h 252996"/>
                <a:gd name="connsiteX15" fmla="*/ 229583 w 231012"/>
                <a:gd name="connsiteY15" fmla="*/ 240941 h 252996"/>
                <a:gd name="connsiteX16" fmla="*/ 228275 w 231012"/>
                <a:gd name="connsiteY16" fmla="*/ 188795 h 252996"/>
                <a:gd name="connsiteX17" fmla="*/ 208019 w 231012"/>
                <a:gd name="connsiteY17" fmla="*/ 106627 h 252996"/>
                <a:gd name="connsiteX18" fmla="*/ 190658 w 231012"/>
                <a:gd name="connsiteY18" fmla="*/ 75017 h 252996"/>
                <a:gd name="connsiteX19" fmla="*/ 190658 w 231012"/>
                <a:gd name="connsiteY19" fmla="*/ 75017 h 252996"/>
                <a:gd name="connsiteX20" fmla="*/ 184803 w 231012"/>
                <a:gd name="connsiteY20" fmla="*/ 64349 h 252996"/>
                <a:gd name="connsiteX21" fmla="*/ 145509 w 231012"/>
                <a:gd name="connsiteY21" fmla="*/ 13142 h 252996"/>
                <a:gd name="connsiteX22" fmla="*/ 130015 w 231012"/>
                <a:gd name="connsiteY22" fmla="*/ -1742 h 25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1012" h="252996">
                  <a:moveTo>
                    <a:pt x="130015" y="-1742"/>
                  </a:moveTo>
                  <a:lnTo>
                    <a:pt x="19869" y="-1742"/>
                  </a:lnTo>
                  <a:lnTo>
                    <a:pt x="819" y="16711"/>
                  </a:lnTo>
                  <a:lnTo>
                    <a:pt x="-1416" y="19467"/>
                  </a:lnTo>
                  <a:cubicBezTo>
                    <a:pt x="6661" y="19505"/>
                    <a:pt x="14738" y="19695"/>
                    <a:pt x="22802" y="20292"/>
                  </a:cubicBezTo>
                  <a:cubicBezTo>
                    <a:pt x="40697" y="21600"/>
                    <a:pt x="57537" y="25067"/>
                    <a:pt x="73437" y="30998"/>
                  </a:cubicBezTo>
                  <a:lnTo>
                    <a:pt x="73437" y="30998"/>
                  </a:lnTo>
                  <a:lnTo>
                    <a:pt x="130015" y="30998"/>
                  </a:lnTo>
                  <a:lnTo>
                    <a:pt x="145509" y="44625"/>
                  </a:lnTo>
                  <a:lnTo>
                    <a:pt x="184803" y="91476"/>
                  </a:lnTo>
                  <a:cubicBezTo>
                    <a:pt x="184803" y="91476"/>
                    <a:pt x="203434" y="122502"/>
                    <a:pt x="208019" y="130160"/>
                  </a:cubicBezTo>
                  <a:cubicBezTo>
                    <a:pt x="212616" y="137818"/>
                    <a:pt x="228275" y="205344"/>
                    <a:pt x="228275" y="205344"/>
                  </a:cubicBezTo>
                  <a:cubicBezTo>
                    <a:pt x="228275" y="205344"/>
                    <a:pt x="229380" y="229562"/>
                    <a:pt x="229571" y="251254"/>
                  </a:cubicBezTo>
                  <a:lnTo>
                    <a:pt x="229571" y="251254"/>
                  </a:lnTo>
                  <a:cubicBezTo>
                    <a:pt x="229583" y="249349"/>
                    <a:pt x="229596" y="247380"/>
                    <a:pt x="229596" y="245361"/>
                  </a:cubicBezTo>
                  <a:cubicBezTo>
                    <a:pt x="229596" y="243913"/>
                    <a:pt x="229583" y="242440"/>
                    <a:pt x="229583" y="240941"/>
                  </a:cubicBezTo>
                  <a:cubicBezTo>
                    <a:pt x="229443" y="216761"/>
                    <a:pt x="228275" y="188795"/>
                    <a:pt x="228275" y="188795"/>
                  </a:cubicBezTo>
                  <a:cubicBezTo>
                    <a:pt x="228275" y="188795"/>
                    <a:pt x="212616" y="114996"/>
                    <a:pt x="208019" y="106627"/>
                  </a:cubicBezTo>
                  <a:cubicBezTo>
                    <a:pt x="205110" y="101305"/>
                    <a:pt x="196538" y="85697"/>
                    <a:pt x="190658" y="75017"/>
                  </a:cubicBezTo>
                  <a:lnTo>
                    <a:pt x="190658" y="75017"/>
                  </a:lnTo>
                  <a:cubicBezTo>
                    <a:pt x="187280" y="68870"/>
                    <a:pt x="184803" y="64349"/>
                    <a:pt x="184803" y="64349"/>
                  </a:cubicBezTo>
                  <a:lnTo>
                    <a:pt x="145509" y="13142"/>
                  </a:lnTo>
                  <a:lnTo>
                    <a:pt x="130015" y="-1742"/>
                  </a:lnTo>
                </a:path>
              </a:pathLst>
            </a:custGeom>
            <a:solidFill>
              <a:srgbClr val="2B1F1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5" name="Freeform: Shape 1834">
              <a:extLst>
                <a:ext uri="{FF2B5EF4-FFF2-40B4-BE49-F238E27FC236}">
                  <a16:creationId xmlns:a16="http://schemas.microsoft.com/office/drawing/2014/main" id="{E60D7B74-0E7F-4D18-9937-5890CDABAB30}"/>
                </a:ext>
              </a:extLst>
            </p:cNvPr>
            <p:cNvSpPr/>
            <p:nvPr/>
          </p:nvSpPr>
          <p:spPr>
            <a:xfrm flipV="1">
              <a:off x="5616404" y="2781204"/>
              <a:ext cx="156133" cy="275195"/>
            </a:xfrm>
            <a:custGeom>
              <a:avLst/>
              <a:gdLst>
                <a:gd name="connsiteX0" fmla="*/ 55136 w 156133"/>
                <a:gd name="connsiteY0" fmla="*/ -1781 h 275195"/>
                <a:gd name="connsiteX1" fmla="*/ -1442 w 156133"/>
                <a:gd name="connsiteY1" fmla="*/ -1781 h 275195"/>
                <a:gd name="connsiteX2" fmla="*/ 41979 w 156133"/>
                <a:gd name="connsiteY2" fmla="*/ 22666 h 275195"/>
                <a:gd name="connsiteX3" fmla="*/ 133775 w 156133"/>
                <a:gd name="connsiteY3" fmla="*/ 195144 h 275195"/>
                <a:gd name="connsiteX4" fmla="*/ 136657 w 156133"/>
                <a:gd name="connsiteY4" fmla="*/ 273414 h 275195"/>
                <a:gd name="connsiteX5" fmla="*/ 153396 w 156133"/>
                <a:gd name="connsiteY5" fmla="*/ 240559 h 275195"/>
                <a:gd name="connsiteX6" fmla="*/ 154476 w 156133"/>
                <a:gd name="connsiteY6" fmla="*/ 228202 h 275195"/>
                <a:gd name="connsiteX7" fmla="*/ 154692 w 156133"/>
                <a:gd name="connsiteY7" fmla="*/ 218474 h 275195"/>
                <a:gd name="connsiteX8" fmla="*/ 153396 w 156133"/>
                <a:gd name="connsiteY8" fmla="*/ 172564 h 275195"/>
                <a:gd name="connsiteX9" fmla="*/ 133140 w 156133"/>
                <a:gd name="connsiteY9" fmla="*/ 97380 h 275195"/>
                <a:gd name="connsiteX10" fmla="*/ 109924 w 156133"/>
                <a:gd name="connsiteY10" fmla="*/ 58696 h 275195"/>
                <a:gd name="connsiteX11" fmla="*/ 70630 w 156133"/>
                <a:gd name="connsiteY11" fmla="*/ 11846 h 275195"/>
                <a:gd name="connsiteX12" fmla="*/ 55136 w 156133"/>
                <a:gd name="connsiteY12" fmla="*/ -1781 h 27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6133" h="275195">
                  <a:moveTo>
                    <a:pt x="55136" y="-1781"/>
                  </a:moveTo>
                  <a:lnTo>
                    <a:pt x="-1442" y="-1781"/>
                  </a:lnTo>
                  <a:cubicBezTo>
                    <a:pt x="13887" y="3946"/>
                    <a:pt x="28339" y="11960"/>
                    <a:pt x="41979" y="22666"/>
                  </a:cubicBezTo>
                  <a:cubicBezTo>
                    <a:pt x="94595" y="63966"/>
                    <a:pt x="123640" y="130362"/>
                    <a:pt x="133775" y="195144"/>
                  </a:cubicBezTo>
                  <a:cubicBezTo>
                    <a:pt x="137826" y="221040"/>
                    <a:pt x="138931" y="247354"/>
                    <a:pt x="136657" y="273414"/>
                  </a:cubicBezTo>
                  <a:cubicBezTo>
                    <a:pt x="145992" y="259254"/>
                    <a:pt x="152037" y="246782"/>
                    <a:pt x="153396" y="240559"/>
                  </a:cubicBezTo>
                  <a:cubicBezTo>
                    <a:pt x="153929" y="238083"/>
                    <a:pt x="154272" y="233689"/>
                    <a:pt x="154476" y="228202"/>
                  </a:cubicBezTo>
                  <a:cubicBezTo>
                    <a:pt x="154577" y="225243"/>
                    <a:pt x="154653" y="221967"/>
                    <a:pt x="154692" y="218474"/>
                  </a:cubicBezTo>
                  <a:cubicBezTo>
                    <a:pt x="154501" y="196783"/>
                    <a:pt x="153396" y="172564"/>
                    <a:pt x="153396" y="172564"/>
                  </a:cubicBezTo>
                  <a:cubicBezTo>
                    <a:pt x="153396" y="172564"/>
                    <a:pt x="137737" y="105038"/>
                    <a:pt x="133140" y="97380"/>
                  </a:cubicBezTo>
                  <a:cubicBezTo>
                    <a:pt x="128555" y="89722"/>
                    <a:pt x="109924" y="58696"/>
                    <a:pt x="109924" y="58696"/>
                  </a:cubicBezTo>
                  <a:lnTo>
                    <a:pt x="70630" y="11846"/>
                  </a:lnTo>
                  <a:lnTo>
                    <a:pt x="55136" y="-1781"/>
                  </a:lnTo>
                </a:path>
              </a:pathLst>
            </a:custGeom>
            <a:solidFill>
              <a:srgbClr val="3A28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6" name="Freeform: Shape 1835">
              <a:extLst>
                <a:ext uri="{FF2B5EF4-FFF2-40B4-BE49-F238E27FC236}">
                  <a16:creationId xmlns:a16="http://schemas.microsoft.com/office/drawing/2014/main" id="{D4648837-28DF-41CB-B190-21D47E69ACB4}"/>
                </a:ext>
              </a:extLst>
            </p:cNvPr>
            <p:cNvSpPr/>
            <p:nvPr/>
          </p:nvSpPr>
          <p:spPr>
            <a:xfrm flipV="1">
              <a:off x="5492440" y="3087060"/>
              <a:ext cx="240156" cy="55928"/>
            </a:xfrm>
            <a:custGeom>
              <a:avLst/>
              <a:gdLst>
                <a:gd name="connsiteX0" fmla="*/ 238770 w 240156"/>
                <a:gd name="connsiteY0" fmla="*/ -1606 h 55928"/>
                <a:gd name="connsiteX1" fmla="*/ -1386 w 240156"/>
                <a:gd name="connsiteY1" fmla="*/ -1606 h 55928"/>
                <a:gd name="connsiteX2" fmla="*/ 5675 w 240156"/>
                <a:gd name="connsiteY2" fmla="*/ 47695 h 55928"/>
                <a:gd name="connsiteX3" fmla="*/ 234224 w 240156"/>
                <a:gd name="connsiteY3" fmla="*/ 47403 h 55928"/>
                <a:gd name="connsiteX4" fmla="*/ 238770 w 240156"/>
                <a:gd name="connsiteY4" fmla="*/ -1606 h 55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56" h="55928">
                  <a:moveTo>
                    <a:pt x="238770" y="-1606"/>
                  </a:moveTo>
                  <a:cubicBezTo>
                    <a:pt x="158875" y="8617"/>
                    <a:pt x="78509" y="8617"/>
                    <a:pt x="-1386" y="-1606"/>
                  </a:cubicBezTo>
                  <a:cubicBezTo>
                    <a:pt x="887" y="14840"/>
                    <a:pt x="3237" y="31274"/>
                    <a:pt x="5675" y="47695"/>
                  </a:cubicBezTo>
                  <a:cubicBezTo>
                    <a:pt x="81735" y="56623"/>
                    <a:pt x="158176" y="56534"/>
                    <a:pt x="234224" y="47403"/>
                  </a:cubicBezTo>
                  <a:cubicBezTo>
                    <a:pt x="235799" y="31071"/>
                    <a:pt x="237310" y="14739"/>
                    <a:pt x="238770" y="-1606"/>
                  </a:cubicBez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7" name="Freeform: Shape 1836">
              <a:extLst>
                <a:ext uri="{FF2B5EF4-FFF2-40B4-BE49-F238E27FC236}">
                  <a16:creationId xmlns:a16="http://schemas.microsoft.com/office/drawing/2014/main" id="{E66DB90D-C3B7-4417-A6AD-64DB192B8B26}"/>
                </a:ext>
              </a:extLst>
            </p:cNvPr>
            <p:cNvSpPr/>
            <p:nvPr/>
          </p:nvSpPr>
          <p:spPr>
            <a:xfrm flipV="1">
              <a:off x="5492440" y="3094411"/>
              <a:ext cx="240156" cy="48577"/>
            </a:xfrm>
            <a:custGeom>
              <a:avLst/>
              <a:gdLst>
                <a:gd name="connsiteX0" fmla="*/ 136066 w 240156"/>
                <a:gd name="connsiteY0" fmla="*/ 18412 h 48577"/>
                <a:gd name="connsiteX1" fmla="*/ -1297 w 240156"/>
                <a:gd name="connsiteY1" fmla="*/ -981 h 48577"/>
                <a:gd name="connsiteX2" fmla="*/ -1386 w 240156"/>
                <a:gd name="connsiteY2" fmla="*/ -1603 h 48577"/>
                <a:gd name="connsiteX3" fmla="*/ 238770 w 240156"/>
                <a:gd name="connsiteY3" fmla="*/ -1603 h 48577"/>
                <a:gd name="connsiteX4" fmla="*/ 234262 w 240156"/>
                <a:gd name="connsiteY4" fmla="*/ 46974 h 48577"/>
                <a:gd name="connsiteX5" fmla="*/ 136066 w 240156"/>
                <a:gd name="connsiteY5" fmla="*/ 18412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156" h="48577">
                  <a:moveTo>
                    <a:pt x="136066" y="18412"/>
                  </a:moveTo>
                  <a:cubicBezTo>
                    <a:pt x="89927" y="14742"/>
                    <a:pt x="44397" y="6297"/>
                    <a:pt x="-1297" y="-981"/>
                  </a:cubicBezTo>
                  <a:lnTo>
                    <a:pt x="-1386" y="-1603"/>
                  </a:lnTo>
                  <a:cubicBezTo>
                    <a:pt x="78509" y="8621"/>
                    <a:pt x="158875" y="8621"/>
                    <a:pt x="238770" y="-1603"/>
                  </a:cubicBezTo>
                  <a:cubicBezTo>
                    <a:pt x="237322" y="14590"/>
                    <a:pt x="235824" y="30782"/>
                    <a:pt x="234262" y="46974"/>
                  </a:cubicBezTo>
                  <a:cubicBezTo>
                    <a:pt x="211770" y="19314"/>
                    <a:pt x="169784" y="21105"/>
                    <a:pt x="136066" y="18412"/>
                  </a:cubicBez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8" name="Freeform: Shape 1837">
              <a:extLst>
                <a:ext uri="{FF2B5EF4-FFF2-40B4-BE49-F238E27FC236}">
                  <a16:creationId xmlns:a16="http://schemas.microsoft.com/office/drawing/2014/main" id="{79DB33F0-2961-46C7-AE21-EEA12F77CA13}"/>
                </a:ext>
              </a:extLst>
            </p:cNvPr>
            <p:cNvSpPr/>
            <p:nvPr/>
          </p:nvSpPr>
          <p:spPr>
            <a:xfrm flipV="1">
              <a:off x="5379956" y="3130482"/>
              <a:ext cx="465136" cy="629070"/>
            </a:xfrm>
            <a:custGeom>
              <a:avLst/>
              <a:gdLst>
                <a:gd name="connsiteX0" fmla="*/ 389430 w 465136"/>
                <a:gd name="connsiteY0" fmla="*/ 39169 h 629070"/>
                <a:gd name="connsiteX1" fmla="*/ 72921 w 465136"/>
                <a:gd name="connsiteY1" fmla="*/ 39169 h 629070"/>
                <a:gd name="connsiteX2" fmla="*/ -1386 w 465136"/>
                <a:gd name="connsiteY2" fmla="*/ 599289 h 629070"/>
                <a:gd name="connsiteX3" fmla="*/ 463750 w 465136"/>
                <a:gd name="connsiteY3" fmla="*/ 599289 h 629070"/>
                <a:gd name="connsiteX4" fmla="*/ 389430 w 465136"/>
                <a:gd name="connsiteY4" fmla="*/ 39169 h 62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136" h="629070">
                  <a:moveTo>
                    <a:pt x="389430" y="39169"/>
                  </a:moveTo>
                  <a:cubicBezTo>
                    <a:pt x="291171" y="-14805"/>
                    <a:pt x="171181" y="-14805"/>
                    <a:pt x="72921" y="39169"/>
                  </a:cubicBezTo>
                  <a:cubicBezTo>
                    <a:pt x="72350" y="41125"/>
                    <a:pt x="25741" y="379795"/>
                    <a:pt x="-1386" y="599289"/>
                  </a:cubicBezTo>
                  <a:cubicBezTo>
                    <a:pt x="152131" y="637249"/>
                    <a:pt x="310220" y="637249"/>
                    <a:pt x="463750" y="599289"/>
                  </a:cubicBezTo>
                  <a:cubicBezTo>
                    <a:pt x="436598" y="379795"/>
                    <a:pt x="390002" y="41125"/>
                    <a:pt x="389430" y="39169"/>
                  </a:cubicBezTo>
                </a:path>
              </a:pathLst>
            </a:custGeom>
            <a:solidFill>
              <a:srgbClr val="F7AB9B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9" name="Freeform: Shape 1838">
              <a:extLst>
                <a:ext uri="{FF2B5EF4-FFF2-40B4-BE49-F238E27FC236}">
                  <a16:creationId xmlns:a16="http://schemas.microsoft.com/office/drawing/2014/main" id="{BEB03B50-BC54-44B8-A19A-E240420F0D82}"/>
                </a:ext>
              </a:extLst>
            </p:cNvPr>
            <p:cNvSpPr/>
            <p:nvPr/>
          </p:nvSpPr>
          <p:spPr>
            <a:xfrm flipV="1">
              <a:off x="5399895" y="3262716"/>
              <a:ext cx="431989" cy="496837"/>
            </a:xfrm>
            <a:custGeom>
              <a:avLst/>
              <a:gdLst>
                <a:gd name="connsiteX0" fmla="*/ 423299 w 431989"/>
                <a:gd name="connsiteY0" fmla="*/ 494649 h 496837"/>
                <a:gd name="connsiteX1" fmla="*/ 406204 w 431989"/>
                <a:gd name="connsiteY1" fmla="*/ 480184 h 496837"/>
                <a:gd name="connsiteX2" fmla="*/ 373489 w 431989"/>
                <a:gd name="connsiteY2" fmla="*/ 456257 h 496837"/>
                <a:gd name="connsiteX3" fmla="*/ 332697 w 431989"/>
                <a:gd name="connsiteY3" fmla="*/ 448675 h 496837"/>
                <a:gd name="connsiteX4" fmla="*/ 212365 w 431989"/>
                <a:gd name="connsiteY4" fmla="*/ 444992 h 496837"/>
                <a:gd name="connsiteX5" fmla="*/ -1388 w 431989"/>
                <a:gd name="connsiteY5" fmla="*/ 442732 h 496837"/>
                <a:gd name="connsiteX6" fmla="*/ 52980 w 431989"/>
                <a:gd name="connsiteY6" fmla="*/ 39228 h 496837"/>
                <a:gd name="connsiteX7" fmla="*/ 369489 w 431989"/>
                <a:gd name="connsiteY7" fmla="*/ 39228 h 496837"/>
                <a:gd name="connsiteX8" fmla="*/ 430601 w 431989"/>
                <a:gd name="connsiteY8" fmla="*/ 494891 h 496837"/>
                <a:gd name="connsiteX9" fmla="*/ 423299 w 431989"/>
                <a:gd name="connsiteY9" fmla="*/ 494649 h 49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1989" h="496837">
                  <a:moveTo>
                    <a:pt x="423299" y="494649"/>
                  </a:moveTo>
                  <a:cubicBezTo>
                    <a:pt x="417253" y="491690"/>
                    <a:pt x="411386" y="484680"/>
                    <a:pt x="406204" y="480184"/>
                  </a:cubicBezTo>
                  <a:cubicBezTo>
                    <a:pt x="395994" y="471294"/>
                    <a:pt x="385961" y="461922"/>
                    <a:pt x="373489" y="456257"/>
                  </a:cubicBezTo>
                  <a:cubicBezTo>
                    <a:pt x="360535" y="450365"/>
                    <a:pt x="346654" y="449869"/>
                    <a:pt x="332697" y="448675"/>
                  </a:cubicBezTo>
                  <a:cubicBezTo>
                    <a:pt x="292552" y="445247"/>
                    <a:pt x="252598" y="445323"/>
                    <a:pt x="212365" y="444992"/>
                  </a:cubicBezTo>
                  <a:cubicBezTo>
                    <a:pt x="141105" y="444421"/>
                    <a:pt x="69871" y="443049"/>
                    <a:pt x="-1388" y="442732"/>
                  </a:cubicBezTo>
                  <a:cubicBezTo>
                    <a:pt x="24012" y="247635"/>
                    <a:pt x="52536" y="40765"/>
                    <a:pt x="52980" y="39228"/>
                  </a:cubicBezTo>
                  <a:cubicBezTo>
                    <a:pt x="151240" y="-14746"/>
                    <a:pt x="271229" y="-14746"/>
                    <a:pt x="369489" y="39228"/>
                  </a:cubicBezTo>
                  <a:cubicBezTo>
                    <a:pt x="369971" y="40905"/>
                    <a:pt x="403804" y="286472"/>
                    <a:pt x="430601" y="494891"/>
                  </a:cubicBezTo>
                  <a:cubicBezTo>
                    <a:pt x="428340" y="495767"/>
                    <a:pt x="425940" y="495945"/>
                    <a:pt x="423299" y="494649"/>
                  </a:cubicBezTo>
                </a:path>
              </a:pathLst>
            </a:custGeom>
            <a:solidFill>
              <a:srgbClr val="F383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0" name="Freeform: Shape 1839">
              <a:extLst>
                <a:ext uri="{FF2B5EF4-FFF2-40B4-BE49-F238E27FC236}">
                  <a16:creationId xmlns:a16="http://schemas.microsoft.com/office/drawing/2014/main" id="{FE5B7152-2782-4687-AEF2-58C43A458943}"/>
                </a:ext>
              </a:extLst>
            </p:cNvPr>
            <p:cNvSpPr/>
            <p:nvPr/>
          </p:nvSpPr>
          <p:spPr>
            <a:xfrm flipV="1">
              <a:off x="5243051" y="4428466"/>
              <a:ext cx="61874" cy="61872"/>
            </a:xfrm>
            <a:custGeom>
              <a:avLst/>
              <a:gdLst>
                <a:gd name="connsiteX0" fmla="*/ 60719 w 61874"/>
                <a:gd name="connsiteY0" fmla="*/ 30514 h 61872"/>
                <a:gd name="connsiteX1" fmla="*/ 29782 w 61874"/>
                <a:gd name="connsiteY1" fmla="*/ -406 h 61872"/>
                <a:gd name="connsiteX2" fmla="*/ -1155 w 61874"/>
                <a:gd name="connsiteY2" fmla="*/ 30514 h 61872"/>
                <a:gd name="connsiteX3" fmla="*/ 29782 w 61874"/>
                <a:gd name="connsiteY3" fmla="*/ 61466 h 61872"/>
                <a:gd name="connsiteX4" fmla="*/ 60719 w 61874"/>
                <a:gd name="connsiteY4" fmla="*/ 30514 h 6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74" h="61872">
                  <a:moveTo>
                    <a:pt x="60719" y="30514"/>
                  </a:moveTo>
                  <a:cubicBezTo>
                    <a:pt x="60719" y="13434"/>
                    <a:pt x="46876" y="-406"/>
                    <a:pt x="29782" y="-406"/>
                  </a:cubicBezTo>
                  <a:cubicBezTo>
                    <a:pt x="12701" y="-406"/>
                    <a:pt x="-1155" y="13434"/>
                    <a:pt x="-1155" y="30514"/>
                  </a:cubicBezTo>
                  <a:cubicBezTo>
                    <a:pt x="-1155" y="47610"/>
                    <a:pt x="12701" y="61466"/>
                    <a:pt x="29782" y="61466"/>
                  </a:cubicBezTo>
                  <a:cubicBezTo>
                    <a:pt x="46876" y="61466"/>
                    <a:pt x="60719" y="47610"/>
                    <a:pt x="60719" y="30514"/>
                  </a:cubicBezTo>
                </a:path>
              </a:pathLst>
            </a:custGeom>
            <a:solidFill>
              <a:srgbClr val="3C3A3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1" name="Freeform: Shape 1840">
              <a:extLst>
                <a:ext uri="{FF2B5EF4-FFF2-40B4-BE49-F238E27FC236}">
                  <a16:creationId xmlns:a16="http://schemas.microsoft.com/office/drawing/2014/main" id="{7192FD1A-00BF-41E0-B3E8-FC0E60CB1177}"/>
                </a:ext>
              </a:extLst>
            </p:cNvPr>
            <p:cNvSpPr/>
            <p:nvPr/>
          </p:nvSpPr>
          <p:spPr>
            <a:xfrm flipV="1">
              <a:off x="5229881" y="4415295"/>
              <a:ext cx="88213" cy="88215"/>
            </a:xfrm>
            <a:custGeom>
              <a:avLst/>
              <a:gdLst>
                <a:gd name="connsiteX0" fmla="*/ 42952 w 88213"/>
                <a:gd name="connsiteY0" fmla="*/ 61465 h 88215"/>
                <a:gd name="connsiteX1" fmla="*/ 25185 w 88213"/>
                <a:gd name="connsiteY1" fmla="*/ 43685 h 88215"/>
                <a:gd name="connsiteX2" fmla="*/ 42952 w 88213"/>
                <a:gd name="connsiteY2" fmla="*/ 25936 h 88215"/>
                <a:gd name="connsiteX3" fmla="*/ 60719 w 88213"/>
                <a:gd name="connsiteY3" fmla="*/ 43685 h 88215"/>
                <a:gd name="connsiteX4" fmla="*/ 42952 w 88213"/>
                <a:gd name="connsiteY4" fmla="*/ 61465 h 88215"/>
                <a:gd name="connsiteX5" fmla="*/ 42952 w 88213"/>
                <a:gd name="connsiteY5" fmla="*/ -406 h 88215"/>
                <a:gd name="connsiteX6" fmla="*/ -1155 w 88213"/>
                <a:gd name="connsiteY6" fmla="*/ 43685 h 88215"/>
                <a:gd name="connsiteX7" fmla="*/ 42952 w 88213"/>
                <a:gd name="connsiteY7" fmla="*/ 87809 h 88215"/>
                <a:gd name="connsiteX8" fmla="*/ 87059 w 88213"/>
                <a:gd name="connsiteY8" fmla="*/ 43685 h 88215"/>
                <a:gd name="connsiteX9" fmla="*/ 42952 w 88213"/>
                <a:gd name="connsiteY9" fmla="*/ -406 h 8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13" h="88215">
                  <a:moveTo>
                    <a:pt x="42952" y="61465"/>
                  </a:moveTo>
                  <a:cubicBezTo>
                    <a:pt x="33160" y="61465"/>
                    <a:pt x="25185" y="53493"/>
                    <a:pt x="25185" y="43685"/>
                  </a:cubicBezTo>
                  <a:cubicBezTo>
                    <a:pt x="25185" y="33897"/>
                    <a:pt x="33160" y="25936"/>
                    <a:pt x="42952" y="25936"/>
                  </a:cubicBezTo>
                  <a:cubicBezTo>
                    <a:pt x="52744" y="25936"/>
                    <a:pt x="60719" y="33897"/>
                    <a:pt x="60719" y="43685"/>
                  </a:cubicBezTo>
                  <a:cubicBezTo>
                    <a:pt x="60719" y="53493"/>
                    <a:pt x="52744" y="61465"/>
                    <a:pt x="42952" y="61465"/>
                  </a:cubicBezTo>
                  <a:close/>
                  <a:moveTo>
                    <a:pt x="42952" y="-406"/>
                  </a:moveTo>
                  <a:cubicBezTo>
                    <a:pt x="18631" y="-406"/>
                    <a:pt x="-1155" y="19367"/>
                    <a:pt x="-1155" y="43685"/>
                  </a:cubicBezTo>
                  <a:cubicBezTo>
                    <a:pt x="-1155" y="68010"/>
                    <a:pt x="18631" y="87809"/>
                    <a:pt x="42952" y="87809"/>
                  </a:cubicBezTo>
                  <a:cubicBezTo>
                    <a:pt x="67272" y="87809"/>
                    <a:pt x="87059" y="68010"/>
                    <a:pt x="87059" y="43685"/>
                  </a:cubicBezTo>
                  <a:cubicBezTo>
                    <a:pt x="87059" y="19367"/>
                    <a:pt x="67272" y="-406"/>
                    <a:pt x="42952" y="-40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2" name="Freeform: Shape 1841">
              <a:extLst>
                <a:ext uri="{FF2B5EF4-FFF2-40B4-BE49-F238E27FC236}">
                  <a16:creationId xmlns:a16="http://schemas.microsoft.com/office/drawing/2014/main" id="{3F3B8571-BFFC-4866-8DE8-566A25278819}"/>
                </a:ext>
              </a:extLst>
            </p:cNvPr>
            <p:cNvSpPr/>
            <p:nvPr/>
          </p:nvSpPr>
          <p:spPr>
            <a:xfrm flipV="1">
              <a:off x="5225906" y="4411321"/>
              <a:ext cx="96176" cy="48097"/>
            </a:xfrm>
            <a:custGeom>
              <a:avLst/>
              <a:gdLst>
                <a:gd name="connsiteX0" fmla="*/ 95022 w 96176"/>
                <a:gd name="connsiteY0" fmla="*/ -428 h 48097"/>
                <a:gd name="connsiteX1" fmla="*/ 95022 w 96176"/>
                <a:gd name="connsiteY1" fmla="*/ -413 h 48097"/>
                <a:gd name="connsiteX2" fmla="*/ 46927 w 96176"/>
                <a:gd name="connsiteY2" fmla="*/ 47669 h 48097"/>
                <a:gd name="connsiteX3" fmla="*/ -1155 w 96176"/>
                <a:gd name="connsiteY3" fmla="*/ -413 h 48097"/>
                <a:gd name="connsiteX4" fmla="*/ -1155 w 96176"/>
                <a:gd name="connsiteY4" fmla="*/ -428 h 48097"/>
                <a:gd name="connsiteX5" fmla="*/ 95022 w 96176"/>
                <a:gd name="connsiteY5" fmla="*/ -428 h 4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176" h="48097">
                  <a:moveTo>
                    <a:pt x="95022" y="-428"/>
                  </a:moveTo>
                  <a:lnTo>
                    <a:pt x="95022" y="-413"/>
                  </a:lnTo>
                  <a:cubicBezTo>
                    <a:pt x="95022" y="26104"/>
                    <a:pt x="73445" y="47669"/>
                    <a:pt x="46927" y="47669"/>
                  </a:cubicBezTo>
                  <a:cubicBezTo>
                    <a:pt x="20409" y="47669"/>
                    <a:pt x="-1155" y="26104"/>
                    <a:pt x="-1155" y="-413"/>
                  </a:cubicBezTo>
                  <a:lnTo>
                    <a:pt x="-1155" y="-428"/>
                  </a:lnTo>
                  <a:lnTo>
                    <a:pt x="95022" y="-428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3" name="Freeform: Shape 1842">
              <a:extLst>
                <a:ext uri="{FF2B5EF4-FFF2-40B4-BE49-F238E27FC236}">
                  <a16:creationId xmlns:a16="http://schemas.microsoft.com/office/drawing/2014/main" id="{B1257C91-622F-4EE8-93D1-1697DAD74DB4}"/>
                </a:ext>
              </a:extLst>
            </p:cNvPr>
            <p:cNvSpPr/>
            <p:nvPr/>
          </p:nvSpPr>
          <p:spPr>
            <a:xfrm flipV="1">
              <a:off x="5924417" y="4428466"/>
              <a:ext cx="61874" cy="61872"/>
            </a:xfrm>
            <a:custGeom>
              <a:avLst/>
              <a:gdLst>
                <a:gd name="connsiteX0" fmla="*/ 60254 w 61874"/>
                <a:gd name="connsiteY0" fmla="*/ 30514 h 61872"/>
                <a:gd name="connsiteX1" fmla="*/ 29317 w 61874"/>
                <a:gd name="connsiteY1" fmla="*/ -406 h 61872"/>
                <a:gd name="connsiteX2" fmla="*/ -1620 w 61874"/>
                <a:gd name="connsiteY2" fmla="*/ 30514 h 61872"/>
                <a:gd name="connsiteX3" fmla="*/ 29317 w 61874"/>
                <a:gd name="connsiteY3" fmla="*/ 61466 h 61872"/>
                <a:gd name="connsiteX4" fmla="*/ 60254 w 61874"/>
                <a:gd name="connsiteY4" fmla="*/ 30514 h 6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74" h="61872">
                  <a:moveTo>
                    <a:pt x="60254" y="30514"/>
                  </a:moveTo>
                  <a:cubicBezTo>
                    <a:pt x="60254" y="13434"/>
                    <a:pt x="46398" y="-406"/>
                    <a:pt x="29317" y="-406"/>
                  </a:cubicBezTo>
                  <a:cubicBezTo>
                    <a:pt x="12236" y="-406"/>
                    <a:pt x="-1620" y="13434"/>
                    <a:pt x="-1620" y="30514"/>
                  </a:cubicBezTo>
                  <a:cubicBezTo>
                    <a:pt x="-1620" y="47610"/>
                    <a:pt x="12236" y="61466"/>
                    <a:pt x="29317" y="61466"/>
                  </a:cubicBezTo>
                  <a:cubicBezTo>
                    <a:pt x="46398" y="61466"/>
                    <a:pt x="60254" y="47610"/>
                    <a:pt x="60254" y="30514"/>
                  </a:cubicBezTo>
                </a:path>
              </a:pathLst>
            </a:custGeom>
            <a:solidFill>
              <a:srgbClr val="3C3A3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4" name="Freeform: Shape 1843">
              <a:extLst>
                <a:ext uri="{FF2B5EF4-FFF2-40B4-BE49-F238E27FC236}">
                  <a16:creationId xmlns:a16="http://schemas.microsoft.com/office/drawing/2014/main" id="{794B7971-2550-4129-AE1B-191A053B5A20}"/>
                </a:ext>
              </a:extLst>
            </p:cNvPr>
            <p:cNvSpPr/>
            <p:nvPr/>
          </p:nvSpPr>
          <p:spPr>
            <a:xfrm flipV="1">
              <a:off x="5911247" y="4415295"/>
              <a:ext cx="88213" cy="88215"/>
            </a:xfrm>
            <a:custGeom>
              <a:avLst/>
              <a:gdLst>
                <a:gd name="connsiteX0" fmla="*/ 42487 w 88213"/>
                <a:gd name="connsiteY0" fmla="*/ 61465 h 88215"/>
                <a:gd name="connsiteX1" fmla="*/ 24720 w 88213"/>
                <a:gd name="connsiteY1" fmla="*/ 43685 h 88215"/>
                <a:gd name="connsiteX2" fmla="*/ 42487 w 88213"/>
                <a:gd name="connsiteY2" fmla="*/ 25936 h 88215"/>
                <a:gd name="connsiteX3" fmla="*/ 60254 w 88213"/>
                <a:gd name="connsiteY3" fmla="*/ 43685 h 88215"/>
                <a:gd name="connsiteX4" fmla="*/ 42487 w 88213"/>
                <a:gd name="connsiteY4" fmla="*/ 61465 h 88215"/>
                <a:gd name="connsiteX5" fmla="*/ 42487 w 88213"/>
                <a:gd name="connsiteY5" fmla="*/ -406 h 88215"/>
                <a:gd name="connsiteX6" fmla="*/ -1620 w 88213"/>
                <a:gd name="connsiteY6" fmla="*/ 43685 h 88215"/>
                <a:gd name="connsiteX7" fmla="*/ 42487 w 88213"/>
                <a:gd name="connsiteY7" fmla="*/ 87809 h 88215"/>
                <a:gd name="connsiteX8" fmla="*/ 86594 w 88213"/>
                <a:gd name="connsiteY8" fmla="*/ 43685 h 88215"/>
                <a:gd name="connsiteX9" fmla="*/ 42487 w 88213"/>
                <a:gd name="connsiteY9" fmla="*/ -406 h 8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13" h="88215">
                  <a:moveTo>
                    <a:pt x="42487" y="61465"/>
                  </a:moveTo>
                  <a:cubicBezTo>
                    <a:pt x="32695" y="61465"/>
                    <a:pt x="24720" y="53493"/>
                    <a:pt x="24720" y="43685"/>
                  </a:cubicBezTo>
                  <a:cubicBezTo>
                    <a:pt x="24720" y="33897"/>
                    <a:pt x="32695" y="25936"/>
                    <a:pt x="42487" y="25936"/>
                  </a:cubicBezTo>
                  <a:cubicBezTo>
                    <a:pt x="52279" y="25936"/>
                    <a:pt x="60254" y="33897"/>
                    <a:pt x="60254" y="43685"/>
                  </a:cubicBezTo>
                  <a:cubicBezTo>
                    <a:pt x="60254" y="53493"/>
                    <a:pt x="52279" y="61465"/>
                    <a:pt x="42487" y="61465"/>
                  </a:cubicBezTo>
                  <a:close/>
                  <a:moveTo>
                    <a:pt x="42487" y="-406"/>
                  </a:moveTo>
                  <a:cubicBezTo>
                    <a:pt x="18166" y="-406"/>
                    <a:pt x="-1620" y="19367"/>
                    <a:pt x="-1620" y="43685"/>
                  </a:cubicBezTo>
                  <a:cubicBezTo>
                    <a:pt x="-1620" y="68010"/>
                    <a:pt x="18166" y="87809"/>
                    <a:pt x="42487" y="87809"/>
                  </a:cubicBezTo>
                  <a:cubicBezTo>
                    <a:pt x="66807" y="87809"/>
                    <a:pt x="86594" y="68010"/>
                    <a:pt x="86594" y="43685"/>
                  </a:cubicBezTo>
                  <a:cubicBezTo>
                    <a:pt x="86594" y="19367"/>
                    <a:pt x="66807" y="-406"/>
                    <a:pt x="42487" y="-40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5" name="Freeform: Shape 1844">
              <a:extLst>
                <a:ext uri="{FF2B5EF4-FFF2-40B4-BE49-F238E27FC236}">
                  <a16:creationId xmlns:a16="http://schemas.microsoft.com/office/drawing/2014/main" id="{5F065B49-0276-494F-866A-6C411B6145CB}"/>
                </a:ext>
              </a:extLst>
            </p:cNvPr>
            <p:cNvSpPr/>
            <p:nvPr/>
          </p:nvSpPr>
          <p:spPr>
            <a:xfrm flipV="1">
              <a:off x="5907272" y="4411321"/>
              <a:ext cx="96164" cy="48097"/>
            </a:xfrm>
            <a:custGeom>
              <a:avLst/>
              <a:gdLst>
                <a:gd name="connsiteX0" fmla="*/ 94544 w 96164"/>
                <a:gd name="connsiteY0" fmla="*/ -428 h 48097"/>
                <a:gd name="connsiteX1" fmla="*/ 94544 w 96164"/>
                <a:gd name="connsiteY1" fmla="*/ -413 h 48097"/>
                <a:gd name="connsiteX2" fmla="*/ 46462 w 96164"/>
                <a:gd name="connsiteY2" fmla="*/ 47669 h 48097"/>
                <a:gd name="connsiteX3" fmla="*/ -1620 w 96164"/>
                <a:gd name="connsiteY3" fmla="*/ -413 h 48097"/>
                <a:gd name="connsiteX4" fmla="*/ -1620 w 96164"/>
                <a:gd name="connsiteY4" fmla="*/ -428 h 48097"/>
                <a:gd name="connsiteX5" fmla="*/ 94544 w 96164"/>
                <a:gd name="connsiteY5" fmla="*/ -428 h 4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164" h="48097">
                  <a:moveTo>
                    <a:pt x="94544" y="-428"/>
                  </a:moveTo>
                  <a:lnTo>
                    <a:pt x="94544" y="-413"/>
                  </a:lnTo>
                  <a:cubicBezTo>
                    <a:pt x="94544" y="26104"/>
                    <a:pt x="72980" y="47669"/>
                    <a:pt x="46462" y="47669"/>
                  </a:cubicBezTo>
                  <a:cubicBezTo>
                    <a:pt x="19944" y="47669"/>
                    <a:pt x="-1620" y="26104"/>
                    <a:pt x="-1620" y="-413"/>
                  </a:cubicBezTo>
                  <a:lnTo>
                    <a:pt x="-1620" y="-428"/>
                  </a:lnTo>
                  <a:lnTo>
                    <a:pt x="94544" y="-428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6" name="Freeform: Shape 1845">
              <a:extLst>
                <a:ext uri="{FF2B5EF4-FFF2-40B4-BE49-F238E27FC236}">
                  <a16:creationId xmlns:a16="http://schemas.microsoft.com/office/drawing/2014/main" id="{6BBDC56C-1A47-495D-B645-BF75070D668C}"/>
                </a:ext>
              </a:extLst>
            </p:cNvPr>
            <p:cNvSpPr/>
            <p:nvPr/>
          </p:nvSpPr>
          <p:spPr>
            <a:xfrm flipV="1">
              <a:off x="5711819" y="4428466"/>
              <a:ext cx="61861" cy="61872"/>
            </a:xfrm>
            <a:custGeom>
              <a:avLst/>
              <a:gdLst>
                <a:gd name="connsiteX0" fmla="*/ 60387 w 61861"/>
                <a:gd name="connsiteY0" fmla="*/ 30514 h 61872"/>
                <a:gd name="connsiteX1" fmla="*/ 29462 w 61861"/>
                <a:gd name="connsiteY1" fmla="*/ -406 h 61872"/>
                <a:gd name="connsiteX2" fmla="*/ -1475 w 61861"/>
                <a:gd name="connsiteY2" fmla="*/ 30514 h 61872"/>
                <a:gd name="connsiteX3" fmla="*/ 29462 w 61861"/>
                <a:gd name="connsiteY3" fmla="*/ 61466 h 61872"/>
                <a:gd name="connsiteX4" fmla="*/ 60387 w 61861"/>
                <a:gd name="connsiteY4" fmla="*/ 30514 h 6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61" h="61872">
                  <a:moveTo>
                    <a:pt x="60387" y="30514"/>
                  </a:moveTo>
                  <a:cubicBezTo>
                    <a:pt x="60387" y="13434"/>
                    <a:pt x="46544" y="-406"/>
                    <a:pt x="29462" y="-406"/>
                  </a:cubicBezTo>
                  <a:cubicBezTo>
                    <a:pt x="12368" y="-406"/>
                    <a:pt x="-1475" y="13434"/>
                    <a:pt x="-1475" y="30514"/>
                  </a:cubicBezTo>
                  <a:cubicBezTo>
                    <a:pt x="-1475" y="47610"/>
                    <a:pt x="12368" y="61466"/>
                    <a:pt x="29462" y="61466"/>
                  </a:cubicBezTo>
                  <a:cubicBezTo>
                    <a:pt x="46544" y="61466"/>
                    <a:pt x="60387" y="47610"/>
                    <a:pt x="60387" y="30514"/>
                  </a:cubicBezTo>
                </a:path>
              </a:pathLst>
            </a:custGeom>
            <a:solidFill>
              <a:srgbClr val="3C3A3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7" name="Freeform: Shape 1846">
              <a:extLst>
                <a:ext uri="{FF2B5EF4-FFF2-40B4-BE49-F238E27FC236}">
                  <a16:creationId xmlns:a16="http://schemas.microsoft.com/office/drawing/2014/main" id="{455F6295-AB55-4521-BDD1-E3B6A26BD562}"/>
                </a:ext>
              </a:extLst>
            </p:cNvPr>
            <p:cNvSpPr/>
            <p:nvPr/>
          </p:nvSpPr>
          <p:spPr>
            <a:xfrm flipV="1">
              <a:off x="5698637" y="4415295"/>
              <a:ext cx="88213" cy="88215"/>
            </a:xfrm>
            <a:custGeom>
              <a:avLst/>
              <a:gdLst>
                <a:gd name="connsiteX0" fmla="*/ 42645 w 88213"/>
                <a:gd name="connsiteY0" fmla="*/ 61465 h 88215"/>
                <a:gd name="connsiteX1" fmla="*/ 24877 w 88213"/>
                <a:gd name="connsiteY1" fmla="*/ 43685 h 88215"/>
                <a:gd name="connsiteX2" fmla="*/ 42645 w 88213"/>
                <a:gd name="connsiteY2" fmla="*/ 25936 h 88215"/>
                <a:gd name="connsiteX3" fmla="*/ 60399 w 88213"/>
                <a:gd name="connsiteY3" fmla="*/ 43685 h 88215"/>
                <a:gd name="connsiteX4" fmla="*/ 42645 w 88213"/>
                <a:gd name="connsiteY4" fmla="*/ 61465 h 88215"/>
                <a:gd name="connsiteX5" fmla="*/ 42645 w 88213"/>
                <a:gd name="connsiteY5" fmla="*/ -406 h 88215"/>
                <a:gd name="connsiteX6" fmla="*/ -1475 w 88213"/>
                <a:gd name="connsiteY6" fmla="*/ 43685 h 88215"/>
                <a:gd name="connsiteX7" fmla="*/ 42645 w 88213"/>
                <a:gd name="connsiteY7" fmla="*/ 87809 h 88215"/>
                <a:gd name="connsiteX8" fmla="*/ 86739 w 88213"/>
                <a:gd name="connsiteY8" fmla="*/ 43685 h 88215"/>
                <a:gd name="connsiteX9" fmla="*/ 42645 w 88213"/>
                <a:gd name="connsiteY9" fmla="*/ -406 h 8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13" h="88215">
                  <a:moveTo>
                    <a:pt x="42645" y="61465"/>
                  </a:moveTo>
                  <a:cubicBezTo>
                    <a:pt x="32840" y="61465"/>
                    <a:pt x="24877" y="53493"/>
                    <a:pt x="24877" y="43685"/>
                  </a:cubicBezTo>
                  <a:cubicBezTo>
                    <a:pt x="24877" y="33897"/>
                    <a:pt x="32840" y="25936"/>
                    <a:pt x="42645" y="25936"/>
                  </a:cubicBezTo>
                  <a:cubicBezTo>
                    <a:pt x="52436" y="25936"/>
                    <a:pt x="60399" y="33897"/>
                    <a:pt x="60399" y="43685"/>
                  </a:cubicBezTo>
                  <a:cubicBezTo>
                    <a:pt x="60399" y="53493"/>
                    <a:pt x="52436" y="61465"/>
                    <a:pt x="42645" y="61465"/>
                  </a:cubicBezTo>
                  <a:close/>
                  <a:moveTo>
                    <a:pt x="42645" y="-406"/>
                  </a:moveTo>
                  <a:cubicBezTo>
                    <a:pt x="18324" y="-406"/>
                    <a:pt x="-1475" y="19367"/>
                    <a:pt x="-1475" y="43685"/>
                  </a:cubicBezTo>
                  <a:cubicBezTo>
                    <a:pt x="-1475" y="68010"/>
                    <a:pt x="18324" y="87809"/>
                    <a:pt x="42645" y="87809"/>
                  </a:cubicBezTo>
                  <a:cubicBezTo>
                    <a:pt x="66953" y="87809"/>
                    <a:pt x="86739" y="68010"/>
                    <a:pt x="86739" y="43685"/>
                  </a:cubicBezTo>
                  <a:cubicBezTo>
                    <a:pt x="86739" y="19367"/>
                    <a:pt x="66953" y="-406"/>
                    <a:pt x="42645" y="-40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8" name="Freeform: Shape 1847">
              <a:extLst>
                <a:ext uri="{FF2B5EF4-FFF2-40B4-BE49-F238E27FC236}">
                  <a16:creationId xmlns:a16="http://schemas.microsoft.com/office/drawing/2014/main" id="{BD38BB8A-ABB6-4225-8D71-693BC8D48A2B}"/>
                </a:ext>
              </a:extLst>
            </p:cNvPr>
            <p:cNvSpPr/>
            <p:nvPr/>
          </p:nvSpPr>
          <p:spPr>
            <a:xfrm flipV="1">
              <a:off x="5694662" y="4411321"/>
              <a:ext cx="96176" cy="48097"/>
            </a:xfrm>
            <a:custGeom>
              <a:avLst/>
              <a:gdLst>
                <a:gd name="connsiteX0" fmla="*/ 94702 w 96176"/>
                <a:gd name="connsiteY0" fmla="*/ -428 h 48097"/>
                <a:gd name="connsiteX1" fmla="*/ 94702 w 96176"/>
                <a:gd name="connsiteY1" fmla="*/ -413 h 48097"/>
                <a:gd name="connsiteX2" fmla="*/ 46620 w 96176"/>
                <a:gd name="connsiteY2" fmla="*/ 47669 h 48097"/>
                <a:gd name="connsiteX3" fmla="*/ -1475 w 96176"/>
                <a:gd name="connsiteY3" fmla="*/ -413 h 48097"/>
                <a:gd name="connsiteX4" fmla="*/ -1475 w 96176"/>
                <a:gd name="connsiteY4" fmla="*/ -428 h 48097"/>
                <a:gd name="connsiteX5" fmla="*/ 94702 w 96176"/>
                <a:gd name="connsiteY5" fmla="*/ -428 h 4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176" h="48097">
                  <a:moveTo>
                    <a:pt x="94702" y="-428"/>
                  </a:moveTo>
                  <a:lnTo>
                    <a:pt x="94702" y="-413"/>
                  </a:lnTo>
                  <a:cubicBezTo>
                    <a:pt x="94702" y="26104"/>
                    <a:pt x="73125" y="47669"/>
                    <a:pt x="46620" y="47669"/>
                  </a:cubicBezTo>
                  <a:cubicBezTo>
                    <a:pt x="20102" y="47669"/>
                    <a:pt x="-1475" y="26104"/>
                    <a:pt x="-1475" y="-413"/>
                  </a:cubicBezTo>
                  <a:lnTo>
                    <a:pt x="-1475" y="-428"/>
                  </a:lnTo>
                  <a:lnTo>
                    <a:pt x="94702" y="-428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9" name="Freeform: Shape 1848">
              <a:extLst>
                <a:ext uri="{FF2B5EF4-FFF2-40B4-BE49-F238E27FC236}">
                  <a16:creationId xmlns:a16="http://schemas.microsoft.com/office/drawing/2014/main" id="{DDA1DFAA-F600-4B9E-A012-B2D0CDE5A9B9}"/>
                </a:ext>
              </a:extLst>
            </p:cNvPr>
            <p:cNvSpPr/>
            <p:nvPr/>
          </p:nvSpPr>
          <p:spPr>
            <a:xfrm flipV="1">
              <a:off x="5445120" y="4428466"/>
              <a:ext cx="61874" cy="61872"/>
            </a:xfrm>
            <a:custGeom>
              <a:avLst/>
              <a:gdLst>
                <a:gd name="connsiteX0" fmla="*/ 60581 w 61874"/>
                <a:gd name="connsiteY0" fmla="*/ 30514 h 61872"/>
                <a:gd name="connsiteX1" fmla="*/ 29644 w 61874"/>
                <a:gd name="connsiteY1" fmla="*/ -406 h 61872"/>
                <a:gd name="connsiteX2" fmla="*/ -1293 w 61874"/>
                <a:gd name="connsiteY2" fmla="*/ 30514 h 61872"/>
                <a:gd name="connsiteX3" fmla="*/ 29644 w 61874"/>
                <a:gd name="connsiteY3" fmla="*/ 61466 h 61872"/>
                <a:gd name="connsiteX4" fmla="*/ 60581 w 61874"/>
                <a:gd name="connsiteY4" fmla="*/ 30514 h 6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74" h="61872">
                  <a:moveTo>
                    <a:pt x="60581" y="30514"/>
                  </a:moveTo>
                  <a:cubicBezTo>
                    <a:pt x="60581" y="13434"/>
                    <a:pt x="46738" y="-406"/>
                    <a:pt x="29644" y="-406"/>
                  </a:cubicBezTo>
                  <a:cubicBezTo>
                    <a:pt x="12563" y="-406"/>
                    <a:pt x="-1293" y="13434"/>
                    <a:pt x="-1293" y="30514"/>
                  </a:cubicBezTo>
                  <a:cubicBezTo>
                    <a:pt x="-1293" y="47610"/>
                    <a:pt x="12563" y="61466"/>
                    <a:pt x="29644" y="61466"/>
                  </a:cubicBezTo>
                  <a:cubicBezTo>
                    <a:pt x="46738" y="61466"/>
                    <a:pt x="60581" y="47610"/>
                    <a:pt x="60581" y="30514"/>
                  </a:cubicBezTo>
                </a:path>
              </a:pathLst>
            </a:custGeom>
            <a:solidFill>
              <a:srgbClr val="3C3A3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0" name="Freeform: Shape 1849">
              <a:extLst>
                <a:ext uri="{FF2B5EF4-FFF2-40B4-BE49-F238E27FC236}">
                  <a16:creationId xmlns:a16="http://schemas.microsoft.com/office/drawing/2014/main" id="{69D8604D-8A2D-4869-A19E-6844AAB8E5E0}"/>
                </a:ext>
              </a:extLst>
            </p:cNvPr>
            <p:cNvSpPr/>
            <p:nvPr/>
          </p:nvSpPr>
          <p:spPr>
            <a:xfrm flipV="1">
              <a:off x="5431950" y="4415295"/>
              <a:ext cx="88213" cy="88215"/>
            </a:xfrm>
            <a:custGeom>
              <a:avLst/>
              <a:gdLst>
                <a:gd name="connsiteX0" fmla="*/ 42827 w 88213"/>
                <a:gd name="connsiteY0" fmla="*/ 61465 h 88215"/>
                <a:gd name="connsiteX1" fmla="*/ 25059 w 88213"/>
                <a:gd name="connsiteY1" fmla="*/ 43685 h 88215"/>
                <a:gd name="connsiteX2" fmla="*/ 42827 w 88213"/>
                <a:gd name="connsiteY2" fmla="*/ 25936 h 88215"/>
                <a:gd name="connsiteX3" fmla="*/ 60581 w 88213"/>
                <a:gd name="connsiteY3" fmla="*/ 43685 h 88215"/>
                <a:gd name="connsiteX4" fmla="*/ 42827 w 88213"/>
                <a:gd name="connsiteY4" fmla="*/ 61465 h 88215"/>
                <a:gd name="connsiteX5" fmla="*/ 42827 w 88213"/>
                <a:gd name="connsiteY5" fmla="*/ -406 h 88215"/>
                <a:gd name="connsiteX6" fmla="*/ -1293 w 88213"/>
                <a:gd name="connsiteY6" fmla="*/ 43685 h 88215"/>
                <a:gd name="connsiteX7" fmla="*/ 42827 w 88213"/>
                <a:gd name="connsiteY7" fmla="*/ 87809 h 88215"/>
                <a:gd name="connsiteX8" fmla="*/ 86921 w 88213"/>
                <a:gd name="connsiteY8" fmla="*/ 43685 h 88215"/>
                <a:gd name="connsiteX9" fmla="*/ 42827 w 88213"/>
                <a:gd name="connsiteY9" fmla="*/ -406 h 8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213" h="88215">
                  <a:moveTo>
                    <a:pt x="42827" y="61465"/>
                  </a:moveTo>
                  <a:cubicBezTo>
                    <a:pt x="33022" y="61465"/>
                    <a:pt x="25059" y="53493"/>
                    <a:pt x="25059" y="43685"/>
                  </a:cubicBezTo>
                  <a:cubicBezTo>
                    <a:pt x="25059" y="33897"/>
                    <a:pt x="33022" y="25936"/>
                    <a:pt x="42827" y="25936"/>
                  </a:cubicBezTo>
                  <a:cubicBezTo>
                    <a:pt x="52618" y="25936"/>
                    <a:pt x="60581" y="33897"/>
                    <a:pt x="60581" y="43685"/>
                  </a:cubicBezTo>
                  <a:cubicBezTo>
                    <a:pt x="60581" y="53493"/>
                    <a:pt x="52618" y="61465"/>
                    <a:pt x="42827" y="61465"/>
                  </a:cubicBezTo>
                  <a:close/>
                  <a:moveTo>
                    <a:pt x="42827" y="-406"/>
                  </a:moveTo>
                  <a:cubicBezTo>
                    <a:pt x="18494" y="-406"/>
                    <a:pt x="-1293" y="19367"/>
                    <a:pt x="-1293" y="43685"/>
                  </a:cubicBezTo>
                  <a:cubicBezTo>
                    <a:pt x="-1293" y="68010"/>
                    <a:pt x="18494" y="87809"/>
                    <a:pt x="42827" y="87809"/>
                  </a:cubicBezTo>
                  <a:cubicBezTo>
                    <a:pt x="67134" y="87809"/>
                    <a:pt x="86921" y="68010"/>
                    <a:pt x="86921" y="43685"/>
                  </a:cubicBezTo>
                  <a:cubicBezTo>
                    <a:pt x="86921" y="19367"/>
                    <a:pt x="67134" y="-406"/>
                    <a:pt x="42827" y="-406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1" name="Freeform: Shape 1850">
              <a:extLst>
                <a:ext uri="{FF2B5EF4-FFF2-40B4-BE49-F238E27FC236}">
                  <a16:creationId xmlns:a16="http://schemas.microsoft.com/office/drawing/2014/main" id="{0957F630-2BA9-434A-8318-6DEE3BE8B033}"/>
                </a:ext>
              </a:extLst>
            </p:cNvPr>
            <p:cNvSpPr/>
            <p:nvPr/>
          </p:nvSpPr>
          <p:spPr>
            <a:xfrm flipV="1">
              <a:off x="5427975" y="4411321"/>
              <a:ext cx="96176" cy="48097"/>
            </a:xfrm>
            <a:custGeom>
              <a:avLst/>
              <a:gdLst>
                <a:gd name="connsiteX0" fmla="*/ 94884 w 96176"/>
                <a:gd name="connsiteY0" fmla="*/ -428 h 48097"/>
                <a:gd name="connsiteX1" fmla="*/ 94884 w 96176"/>
                <a:gd name="connsiteY1" fmla="*/ -413 h 48097"/>
                <a:gd name="connsiteX2" fmla="*/ 46789 w 96176"/>
                <a:gd name="connsiteY2" fmla="*/ 47669 h 48097"/>
                <a:gd name="connsiteX3" fmla="*/ -1293 w 96176"/>
                <a:gd name="connsiteY3" fmla="*/ -413 h 48097"/>
                <a:gd name="connsiteX4" fmla="*/ -1293 w 96176"/>
                <a:gd name="connsiteY4" fmla="*/ -428 h 48097"/>
                <a:gd name="connsiteX5" fmla="*/ 94884 w 96176"/>
                <a:gd name="connsiteY5" fmla="*/ -428 h 4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176" h="48097">
                  <a:moveTo>
                    <a:pt x="94884" y="-428"/>
                  </a:moveTo>
                  <a:lnTo>
                    <a:pt x="94884" y="-413"/>
                  </a:lnTo>
                  <a:cubicBezTo>
                    <a:pt x="94884" y="26104"/>
                    <a:pt x="73307" y="47669"/>
                    <a:pt x="46789" y="47669"/>
                  </a:cubicBezTo>
                  <a:cubicBezTo>
                    <a:pt x="20284" y="47669"/>
                    <a:pt x="-1293" y="26104"/>
                    <a:pt x="-1293" y="-413"/>
                  </a:cubicBezTo>
                  <a:lnTo>
                    <a:pt x="-1293" y="-428"/>
                  </a:lnTo>
                  <a:lnTo>
                    <a:pt x="94884" y="-428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2" name="Freeform: Shape 1851">
              <a:extLst>
                <a:ext uri="{FF2B5EF4-FFF2-40B4-BE49-F238E27FC236}">
                  <a16:creationId xmlns:a16="http://schemas.microsoft.com/office/drawing/2014/main" id="{A82EA15B-80DC-4DC9-9E18-86962C74AC49}"/>
                </a:ext>
              </a:extLst>
            </p:cNvPr>
            <p:cNvSpPr/>
            <p:nvPr/>
          </p:nvSpPr>
          <p:spPr>
            <a:xfrm flipV="1">
              <a:off x="5303845" y="3661884"/>
              <a:ext cx="46088" cy="254710"/>
            </a:xfrm>
            <a:custGeom>
              <a:avLst/>
              <a:gdLst>
                <a:gd name="connsiteX0" fmla="*/ -1191 w 46088"/>
                <a:gd name="connsiteY0" fmla="*/ -1005 h 254710"/>
                <a:gd name="connsiteX1" fmla="*/ 44897 w 46088"/>
                <a:gd name="connsiteY1" fmla="*/ -1005 h 254710"/>
                <a:gd name="connsiteX2" fmla="*/ 44897 w 46088"/>
                <a:gd name="connsiteY2" fmla="*/ 253706 h 254710"/>
                <a:gd name="connsiteX3" fmla="*/ -1191 w 46088"/>
                <a:gd name="connsiteY3" fmla="*/ 253706 h 254710"/>
                <a:gd name="connsiteX4" fmla="*/ -1191 w 46088"/>
                <a:gd name="connsiteY4" fmla="*/ -1005 h 25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88" h="254710">
                  <a:moveTo>
                    <a:pt x="-1191" y="-1005"/>
                  </a:moveTo>
                  <a:lnTo>
                    <a:pt x="44897" y="-1005"/>
                  </a:lnTo>
                  <a:lnTo>
                    <a:pt x="44897" y="253706"/>
                  </a:lnTo>
                  <a:lnTo>
                    <a:pt x="-1191" y="253706"/>
                  </a:lnTo>
                  <a:lnTo>
                    <a:pt x="-1191" y="-1005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3" name="Freeform: Shape 1852">
              <a:extLst>
                <a:ext uri="{FF2B5EF4-FFF2-40B4-BE49-F238E27FC236}">
                  <a16:creationId xmlns:a16="http://schemas.microsoft.com/office/drawing/2014/main" id="{3EADC67D-9007-4CD3-B566-C2CB155B8CFC}"/>
                </a:ext>
              </a:extLst>
            </p:cNvPr>
            <p:cNvSpPr/>
            <p:nvPr/>
          </p:nvSpPr>
          <p:spPr>
            <a:xfrm flipV="1">
              <a:off x="5879408" y="3661884"/>
              <a:ext cx="46088" cy="254710"/>
            </a:xfrm>
            <a:custGeom>
              <a:avLst/>
              <a:gdLst>
                <a:gd name="connsiteX0" fmla="*/ -1584 w 46088"/>
                <a:gd name="connsiteY0" fmla="*/ -1005 h 254710"/>
                <a:gd name="connsiteX1" fmla="*/ 44504 w 46088"/>
                <a:gd name="connsiteY1" fmla="*/ -1005 h 254710"/>
                <a:gd name="connsiteX2" fmla="*/ 44504 w 46088"/>
                <a:gd name="connsiteY2" fmla="*/ 253706 h 254710"/>
                <a:gd name="connsiteX3" fmla="*/ -1584 w 46088"/>
                <a:gd name="connsiteY3" fmla="*/ 253706 h 254710"/>
                <a:gd name="connsiteX4" fmla="*/ -1584 w 46088"/>
                <a:gd name="connsiteY4" fmla="*/ -1005 h 25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88" h="254710">
                  <a:moveTo>
                    <a:pt x="-1584" y="-1005"/>
                  </a:moveTo>
                  <a:lnTo>
                    <a:pt x="44504" y="-1005"/>
                  </a:lnTo>
                  <a:lnTo>
                    <a:pt x="44504" y="253706"/>
                  </a:lnTo>
                  <a:lnTo>
                    <a:pt x="-1584" y="253706"/>
                  </a:lnTo>
                  <a:lnTo>
                    <a:pt x="-1584" y="-1005"/>
                  </a:ln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4" name="Freeform: Shape 1853">
              <a:extLst>
                <a:ext uri="{FF2B5EF4-FFF2-40B4-BE49-F238E27FC236}">
                  <a16:creationId xmlns:a16="http://schemas.microsoft.com/office/drawing/2014/main" id="{25F327BF-A080-4412-B79A-C7A94734C1FE}"/>
                </a:ext>
              </a:extLst>
            </p:cNvPr>
            <p:cNvSpPr/>
            <p:nvPr/>
          </p:nvSpPr>
          <p:spPr>
            <a:xfrm flipV="1">
              <a:off x="5303845" y="3661884"/>
              <a:ext cx="46088" cy="61099"/>
            </a:xfrm>
            <a:custGeom>
              <a:avLst/>
              <a:gdLst>
                <a:gd name="connsiteX0" fmla="*/ -1191 w 46088"/>
                <a:gd name="connsiteY0" fmla="*/ -1091 h 61099"/>
                <a:gd name="connsiteX1" fmla="*/ 44897 w 46088"/>
                <a:gd name="connsiteY1" fmla="*/ -1091 h 61099"/>
                <a:gd name="connsiteX2" fmla="*/ 44897 w 46088"/>
                <a:gd name="connsiteY2" fmla="*/ 60009 h 61099"/>
                <a:gd name="connsiteX3" fmla="*/ -1191 w 46088"/>
                <a:gd name="connsiteY3" fmla="*/ 60009 h 61099"/>
                <a:gd name="connsiteX4" fmla="*/ -1191 w 46088"/>
                <a:gd name="connsiteY4" fmla="*/ -1091 h 6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88" h="61099">
                  <a:moveTo>
                    <a:pt x="-1191" y="-1091"/>
                  </a:moveTo>
                  <a:lnTo>
                    <a:pt x="44897" y="-1091"/>
                  </a:lnTo>
                  <a:lnTo>
                    <a:pt x="44897" y="60009"/>
                  </a:lnTo>
                  <a:lnTo>
                    <a:pt x="-1191" y="60009"/>
                  </a:lnTo>
                  <a:lnTo>
                    <a:pt x="-1191" y="-1091"/>
                  </a:lnTo>
                </a:path>
              </a:pathLst>
            </a:custGeom>
            <a:solidFill>
              <a:srgbClr val="51525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5" name="Freeform: Shape 1854">
              <a:extLst>
                <a:ext uri="{FF2B5EF4-FFF2-40B4-BE49-F238E27FC236}">
                  <a16:creationId xmlns:a16="http://schemas.microsoft.com/office/drawing/2014/main" id="{B34A0D00-DA16-493D-AAD4-2B880926E8C0}"/>
                </a:ext>
              </a:extLst>
            </p:cNvPr>
            <p:cNvSpPr/>
            <p:nvPr/>
          </p:nvSpPr>
          <p:spPr>
            <a:xfrm flipV="1">
              <a:off x="5879408" y="3661884"/>
              <a:ext cx="46088" cy="61099"/>
            </a:xfrm>
            <a:custGeom>
              <a:avLst/>
              <a:gdLst>
                <a:gd name="connsiteX0" fmla="*/ -1584 w 46088"/>
                <a:gd name="connsiteY0" fmla="*/ -1091 h 61099"/>
                <a:gd name="connsiteX1" fmla="*/ 44504 w 46088"/>
                <a:gd name="connsiteY1" fmla="*/ -1091 h 61099"/>
                <a:gd name="connsiteX2" fmla="*/ 44504 w 46088"/>
                <a:gd name="connsiteY2" fmla="*/ 60009 h 61099"/>
                <a:gd name="connsiteX3" fmla="*/ -1584 w 46088"/>
                <a:gd name="connsiteY3" fmla="*/ 60009 h 61099"/>
                <a:gd name="connsiteX4" fmla="*/ -1584 w 46088"/>
                <a:gd name="connsiteY4" fmla="*/ -1091 h 6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88" h="61099">
                  <a:moveTo>
                    <a:pt x="-1584" y="-1091"/>
                  </a:moveTo>
                  <a:lnTo>
                    <a:pt x="44504" y="-1091"/>
                  </a:lnTo>
                  <a:lnTo>
                    <a:pt x="44504" y="60009"/>
                  </a:lnTo>
                  <a:lnTo>
                    <a:pt x="-1584" y="60009"/>
                  </a:lnTo>
                  <a:lnTo>
                    <a:pt x="-1584" y="-1091"/>
                  </a:lnTo>
                </a:path>
              </a:pathLst>
            </a:custGeom>
            <a:solidFill>
              <a:srgbClr val="515257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6" name="Freeform: Shape 1855">
              <a:extLst>
                <a:ext uri="{FF2B5EF4-FFF2-40B4-BE49-F238E27FC236}">
                  <a16:creationId xmlns:a16="http://schemas.microsoft.com/office/drawing/2014/main" id="{D0810827-9713-4DB8-ADF4-A9120238F28C}"/>
                </a:ext>
              </a:extLst>
            </p:cNvPr>
            <p:cNvSpPr/>
            <p:nvPr/>
          </p:nvSpPr>
          <p:spPr>
            <a:xfrm flipV="1">
              <a:off x="5590319" y="3957107"/>
              <a:ext cx="51739" cy="387117"/>
            </a:xfrm>
            <a:custGeom>
              <a:avLst/>
              <a:gdLst>
                <a:gd name="connsiteX0" fmla="*/ 50351 w 51739"/>
                <a:gd name="connsiteY0" fmla="*/ -682 h 387117"/>
                <a:gd name="connsiteX1" fmla="*/ -1389 w 51739"/>
                <a:gd name="connsiteY1" fmla="*/ -682 h 387117"/>
                <a:gd name="connsiteX2" fmla="*/ -1389 w 51739"/>
                <a:gd name="connsiteY2" fmla="*/ 386436 h 387117"/>
                <a:gd name="connsiteX3" fmla="*/ 50351 w 51739"/>
                <a:gd name="connsiteY3" fmla="*/ 386436 h 387117"/>
                <a:gd name="connsiteX4" fmla="*/ 50351 w 51739"/>
                <a:gd name="connsiteY4" fmla="*/ -682 h 38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39" h="387117">
                  <a:moveTo>
                    <a:pt x="50351" y="-682"/>
                  </a:moveTo>
                  <a:lnTo>
                    <a:pt x="-1389" y="-682"/>
                  </a:lnTo>
                  <a:lnTo>
                    <a:pt x="-1389" y="386436"/>
                  </a:lnTo>
                  <a:lnTo>
                    <a:pt x="50351" y="386436"/>
                  </a:lnTo>
                  <a:lnTo>
                    <a:pt x="50351" y="-682"/>
                  </a:lnTo>
                </a:path>
              </a:pathLst>
            </a:custGeom>
            <a:solidFill>
              <a:srgbClr val="A5A6A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7" name="Freeform: Shape 1856">
              <a:extLst>
                <a:ext uri="{FF2B5EF4-FFF2-40B4-BE49-F238E27FC236}">
                  <a16:creationId xmlns:a16="http://schemas.microsoft.com/office/drawing/2014/main" id="{504CAE68-2449-440C-B661-232AB75050C0}"/>
                </a:ext>
              </a:extLst>
            </p:cNvPr>
            <p:cNvSpPr/>
            <p:nvPr/>
          </p:nvSpPr>
          <p:spPr>
            <a:xfrm flipV="1">
              <a:off x="5596326" y="3957107"/>
              <a:ext cx="11315" cy="387117"/>
            </a:xfrm>
            <a:custGeom>
              <a:avLst/>
              <a:gdLst>
                <a:gd name="connsiteX0" fmla="*/ 9937 w 11315"/>
                <a:gd name="connsiteY0" fmla="*/ -682 h 387117"/>
                <a:gd name="connsiteX1" fmla="*/ -1379 w 11315"/>
                <a:gd name="connsiteY1" fmla="*/ -682 h 387117"/>
                <a:gd name="connsiteX2" fmla="*/ -1379 w 11315"/>
                <a:gd name="connsiteY2" fmla="*/ 386436 h 387117"/>
                <a:gd name="connsiteX3" fmla="*/ 9937 w 11315"/>
                <a:gd name="connsiteY3" fmla="*/ 386436 h 387117"/>
                <a:gd name="connsiteX4" fmla="*/ 9937 w 11315"/>
                <a:gd name="connsiteY4" fmla="*/ -682 h 387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15" h="387117">
                  <a:moveTo>
                    <a:pt x="9937" y="-682"/>
                  </a:moveTo>
                  <a:lnTo>
                    <a:pt x="-1379" y="-682"/>
                  </a:lnTo>
                  <a:lnTo>
                    <a:pt x="-1379" y="386436"/>
                  </a:lnTo>
                  <a:lnTo>
                    <a:pt x="9937" y="386436"/>
                  </a:lnTo>
                  <a:lnTo>
                    <a:pt x="9937" y="-682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8" name="Freeform: Shape 1857">
              <a:extLst>
                <a:ext uri="{FF2B5EF4-FFF2-40B4-BE49-F238E27FC236}">
                  <a16:creationId xmlns:a16="http://schemas.microsoft.com/office/drawing/2014/main" id="{537B4497-99CE-4D5C-B902-F91432F15C7A}"/>
                </a:ext>
              </a:extLst>
            </p:cNvPr>
            <p:cNvSpPr/>
            <p:nvPr/>
          </p:nvSpPr>
          <p:spPr>
            <a:xfrm flipV="1">
              <a:off x="5577606" y="3957107"/>
              <a:ext cx="77165" cy="147827"/>
            </a:xfrm>
            <a:custGeom>
              <a:avLst/>
              <a:gdLst>
                <a:gd name="connsiteX0" fmla="*/ 75776 w 77165"/>
                <a:gd name="connsiteY0" fmla="*/ -789 h 147827"/>
                <a:gd name="connsiteX1" fmla="*/ -1389 w 77165"/>
                <a:gd name="connsiteY1" fmla="*/ -789 h 147827"/>
                <a:gd name="connsiteX2" fmla="*/ -1389 w 77165"/>
                <a:gd name="connsiteY2" fmla="*/ 147039 h 147827"/>
                <a:gd name="connsiteX3" fmla="*/ 75776 w 77165"/>
                <a:gd name="connsiteY3" fmla="*/ 147039 h 147827"/>
                <a:gd name="connsiteX4" fmla="*/ 75776 w 77165"/>
                <a:gd name="connsiteY4" fmla="*/ -789 h 14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65" h="147827">
                  <a:moveTo>
                    <a:pt x="75776" y="-789"/>
                  </a:moveTo>
                  <a:lnTo>
                    <a:pt x="-1389" y="-789"/>
                  </a:lnTo>
                  <a:lnTo>
                    <a:pt x="-1389" y="147039"/>
                  </a:lnTo>
                  <a:lnTo>
                    <a:pt x="75776" y="147039"/>
                  </a:lnTo>
                  <a:lnTo>
                    <a:pt x="75776" y="-789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9" name="Freeform: Shape 1858">
              <a:extLst>
                <a:ext uri="{FF2B5EF4-FFF2-40B4-BE49-F238E27FC236}">
                  <a16:creationId xmlns:a16="http://schemas.microsoft.com/office/drawing/2014/main" id="{0ACDAA36-C441-4DE8-A1ED-0D04297463E7}"/>
                </a:ext>
              </a:extLst>
            </p:cNvPr>
            <p:cNvSpPr/>
            <p:nvPr/>
          </p:nvSpPr>
          <p:spPr>
            <a:xfrm flipV="1">
              <a:off x="5590319" y="3957107"/>
              <a:ext cx="17322" cy="147827"/>
            </a:xfrm>
            <a:custGeom>
              <a:avLst/>
              <a:gdLst>
                <a:gd name="connsiteX0" fmla="*/ 15946 w 17322"/>
                <a:gd name="connsiteY0" fmla="*/ -789 h 147827"/>
                <a:gd name="connsiteX1" fmla="*/ -1377 w 17322"/>
                <a:gd name="connsiteY1" fmla="*/ -789 h 147827"/>
                <a:gd name="connsiteX2" fmla="*/ -1377 w 17322"/>
                <a:gd name="connsiteY2" fmla="*/ 147039 h 147827"/>
                <a:gd name="connsiteX3" fmla="*/ 15946 w 17322"/>
                <a:gd name="connsiteY3" fmla="*/ 147039 h 147827"/>
                <a:gd name="connsiteX4" fmla="*/ 15946 w 17322"/>
                <a:gd name="connsiteY4" fmla="*/ -789 h 14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22" h="147827">
                  <a:moveTo>
                    <a:pt x="15946" y="-789"/>
                  </a:moveTo>
                  <a:lnTo>
                    <a:pt x="-1377" y="-789"/>
                  </a:lnTo>
                  <a:lnTo>
                    <a:pt x="-1377" y="147039"/>
                  </a:lnTo>
                  <a:lnTo>
                    <a:pt x="15946" y="147039"/>
                  </a:lnTo>
                  <a:lnTo>
                    <a:pt x="15946" y="-789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0" name="Freeform: Shape 1859">
              <a:extLst>
                <a:ext uri="{FF2B5EF4-FFF2-40B4-BE49-F238E27FC236}">
                  <a16:creationId xmlns:a16="http://schemas.microsoft.com/office/drawing/2014/main" id="{91917378-247B-416C-A750-9BCC3AE244BF}"/>
                </a:ext>
              </a:extLst>
            </p:cNvPr>
            <p:cNvSpPr/>
            <p:nvPr/>
          </p:nvSpPr>
          <p:spPr>
            <a:xfrm flipV="1">
              <a:off x="5556727" y="3957107"/>
              <a:ext cx="115887" cy="73901"/>
            </a:xfrm>
            <a:custGeom>
              <a:avLst/>
              <a:gdLst>
                <a:gd name="connsiteX0" fmla="*/ 114500 w 115887"/>
                <a:gd name="connsiteY0" fmla="*/ -822 h 73901"/>
                <a:gd name="connsiteX1" fmla="*/ -1388 w 115887"/>
                <a:gd name="connsiteY1" fmla="*/ -822 h 73901"/>
                <a:gd name="connsiteX2" fmla="*/ -1388 w 115887"/>
                <a:gd name="connsiteY2" fmla="*/ 73079 h 73901"/>
                <a:gd name="connsiteX3" fmla="*/ 114500 w 115887"/>
                <a:gd name="connsiteY3" fmla="*/ 73079 h 73901"/>
                <a:gd name="connsiteX4" fmla="*/ 114500 w 115887"/>
                <a:gd name="connsiteY4" fmla="*/ -822 h 73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887" h="73901">
                  <a:moveTo>
                    <a:pt x="114500" y="-822"/>
                  </a:moveTo>
                  <a:lnTo>
                    <a:pt x="-1388" y="-822"/>
                  </a:lnTo>
                  <a:lnTo>
                    <a:pt x="-1388" y="73079"/>
                  </a:lnTo>
                  <a:lnTo>
                    <a:pt x="114500" y="73079"/>
                  </a:lnTo>
                  <a:lnTo>
                    <a:pt x="114500" y="-822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1" name="Freeform: Shape 1860">
              <a:extLst>
                <a:ext uri="{FF2B5EF4-FFF2-40B4-BE49-F238E27FC236}">
                  <a16:creationId xmlns:a16="http://schemas.microsoft.com/office/drawing/2014/main" id="{226F666F-0129-4EED-8184-B032E414F8B2}"/>
                </a:ext>
              </a:extLst>
            </p:cNvPr>
            <p:cNvSpPr/>
            <p:nvPr/>
          </p:nvSpPr>
          <p:spPr>
            <a:xfrm flipV="1">
              <a:off x="5575828" y="3957107"/>
              <a:ext cx="26009" cy="73901"/>
            </a:xfrm>
            <a:custGeom>
              <a:avLst/>
              <a:gdLst>
                <a:gd name="connsiteX0" fmla="*/ 24640 w 26009"/>
                <a:gd name="connsiteY0" fmla="*/ -822 h 73901"/>
                <a:gd name="connsiteX1" fmla="*/ -1370 w 26009"/>
                <a:gd name="connsiteY1" fmla="*/ -822 h 73901"/>
                <a:gd name="connsiteX2" fmla="*/ -1370 w 26009"/>
                <a:gd name="connsiteY2" fmla="*/ 73079 h 73901"/>
                <a:gd name="connsiteX3" fmla="*/ 24640 w 26009"/>
                <a:gd name="connsiteY3" fmla="*/ 73079 h 73901"/>
                <a:gd name="connsiteX4" fmla="*/ 24640 w 26009"/>
                <a:gd name="connsiteY4" fmla="*/ -822 h 73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09" h="73901">
                  <a:moveTo>
                    <a:pt x="24640" y="-822"/>
                  </a:moveTo>
                  <a:lnTo>
                    <a:pt x="-1370" y="-822"/>
                  </a:lnTo>
                  <a:lnTo>
                    <a:pt x="-1370" y="73079"/>
                  </a:lnTo>
                  <a:lnTo>
                    <a:pt x="24640" y="73079"/>
                  </a:lnTo>
                  <a:lnTo>
                    <a:pt x="24640" y="-822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2" name="Freeform: Shape 1861">
              <a:extLst>
                <a:ext uri="{FF2B5EF4-FFF2-40B4-BE49-F238E27FC236}">
                  <a16:creationId xmlns:a16="http://schemas.microsoft.com/office/drawing/2014/main" id="{AE5FCD36-7927-40C1-846D-651BB6907EBC}"/>
                </a:ext>
              </a:extLst>
            </p:cNvPr>
            <p:cNvSpPr/>
            <p:nvPr/>
          </p:nvSpPr>
          <p:spPr>
            <a:xfrm flipV="1">
              <a:off x="5577606" y="4164635"/>
              <a:ext cx="77165" cy="179590"/>
            </a:xfrm>
            <a:custGeom>
              <a:avLst/>
              <a:gdLst>
                <a:gd name="connsiteX0" fmla="*/ 75776 w 77165"/>
                <a:gd name="connsiteY0" fmla="*/ 179001 h 179590"/>
                <a:gd name="connsiteX1" fmla="*/ -1389 w 77165"/>
                <a:gd name="connsiteY1" fmla="*/ 179001 h 179590"/>
                <a:gd name="connsiteX2" fmla="*/ -1389 w 77165"/>
                <a:gd name="connsiteY2" fmla="*/ -589 h 179590"/>
                <a:gd name="connsiteX3" fmla="*/ 75776 w 77165"/>
                <a:gd name="connsiteY3" fmla="*/ -589 h 179590"/>
                <a:gd name="connsiteX4" fmla="*/ 75776 w 77165"/>
                <a:gd name="connsiteY4" fmla="*/ 179001 h 179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65" h="179590">
                  <a:moveTo>
                    <a:pt x="75776" y="179001"/>
                  </a:moveTo>
                  <a:lnTo>
                    <a:pt x="-1389" y="179001"/>
                  </a:lnTo>
                  <a:lnTo>
                    <a:pt x="-1389" y="-589"/>
                  </a:lnTo>
                  <a:lnTo>
                    <a:pt x="75776" y="-589"/>
                  </a:lnTo>
                  <a:lnTo>
                    <a:pt x="75776" y="179001"/>
                  </a:lnTo>
                </a:path>
              </a:pathLst>
            </a:custGeom>
            <a:solidFill>
              <a:srgbClr val="211D1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3" name="Freeform: Shape 1862">
              <a:extLst>
                <a:ext uri="{FF2B5EF4-FFF2-40B4-BE49-F238E27FC236}">
                  <a16:creationId xmlns:a16="http://schemas.microsoft.com/office/drawing/2014/main" id="{9B67924C-A087-4FA0-BDBA-26DDF8185731}"/>
                </a:ext>
              </a:extLst>
            </p:cNvPr>
            <p:cNvSpPr/>
            <p:nvPr/>
          </p:nvSpPr>
          <p:spPr>
            <a:xfrm flipV="1">
              <a:off x="5590319" y="4164635"/>
              <a:ext cx="17322" cy="179590"/>
            </a:xfrm>
            <a:custGeom>
              <a:avLst/>
              <a:gdLst>
                <a:gd name="connsiteX0" fmla="*/ 15946 w 17322"/>
                <a:gd name="connsiteY0" fmla="*/ 179001 h 179590"/>
                <a:gd name="connsiteX1" fmla="*/ -1377 w 17322"/>
                <a:gd name="connsiteY1" fmla="*/ 179001 h 179590"/>
                <a:gd name="connsiteX2" fmla="*/ -1377 w 17322"/>
                <a:gd name="connsiteY2" fmla="*/ -589 h 179590"/>
                <a:gd name="connsiteX3" fmla="*/ 15946 w 17322"/>
                <a:gd name="connsiteY3" fmla="*/ -589 h 179590"/>
                <a:gd name="connsiteX4" fmla="*/ 15946 w 17322"/>
                <a:gd name="connsiteY4" fmla="*/ 179001 h 179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22" h="179590">
                  <a:moveTo>
                    <a:pt x="15946" y="179001"/>
                  </a:moveTo>
                  <a:lnTo>
                    <a:pt x="-1377" y="179001"/>
                  </a:lnTo>
                  <a:lnTo>
                    <a:pt x="-1377" y="-589"/>
                  </a:lnTo>
                  <a:lnTo>
                    <a:pt x="15946" y="-589"/>
                  </a:lnTo>
                  <a:lnTo>
                    <a:pt x="15946" y="179001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4" name="Freeform: Shape 1863">
              <a:extLst>
                <a:ext uri="{FF2B5EF4-FFF2-40B4-BE49-F238E27FC236}">
                  <a16:creationId xmlns:a16="http://schemas.microsoft.com/office/drawing/2014/main" id="{3F8C4866-7789-4A8E-BBCE-830EA44AB12F}"/>
                </a:ext>
              </a:extLst>
            </p:cNvPr>
            <p:cNvSpPr/>
            <p:nvPr/>
          </p:nvSpPr>
          <p:spPr>
            <a:xfrm flipV="1">
              <a:off x="5333525" y="3333297"/>
              <a:ext cx="562303" cy="657159"/>
            </a:xfrm>
            <a:custGeom>
              <a:avLst/>
              <a:gdLst>
                <a:gd name="connsiteX0" fmla="*/ 560726 w 562303"/>
                <a:gd name="connsiteY0" fmla="*/ 131152 h 657159"/>
                <a:gd name="connsiteX1" fmla="*/ 560853 w 562303"/>
                <a:gd name="connsiteY1" fmla="*/ 132282 h 657159"/>
                <a:gd name="connsiteX2" fmla="*/ 560904 w 562303"/>
                <a:gd name="connsiteY2" fmla="*/ 133882 h 657159"/>
                <a:gd name="connsiteX3" fmla="*/ 560904 w 562303"/>
                <a:gd name="connsiteY3" fmla="*/ 135013 h 657159"/>
                <a:gd name="connsiteX4" fmla="*/ 560916 w 562303"/>
                <a:gd name="connsiteY4" fmla="*/ 135292 h 657159"/>
                <a:gd name="connsiteX5" fmla="*/ 538679 w 562303"/>
                <a:gd name="connsiteY5" fmla="*/ 631620 h 657159"/>
                <a:gd name="connsiteX6" fmla="*/ 513152 w 562303"/>
                <a:gd name="connsiteY6" fmla="*/ 656042 h 657159"/>
                <a:gd name="connsiteX7" fmla="*/ 46377 w 562303"/>
                <a:gd name="connsiteY7" fmla="*/ 656042 h 657159"/>
                <a:gd name="connsiteX8" fmla="*/ 20837 w 562303"/>
                <a:gd name="connsiteY8" fmla="*/ 631620 h 657159"/>
                <a:gd name="connsiteX9" fmla="*/ -1388 w 562303"/>
                <a:gd name="connsiteY9" fmla="*/ 135292 h 657159"/>
                <a:gd name="connsiteX10" fmla="*/ -1388 w 562303"/>
                <a:gd name="connsiteY10" fmla="*/ 135013 h 657159"/>
                <a:gd name="connsiteX11" fmla="*/ -1388 w 562303"/>
                <a:gd name="connsiteY11" fmla="*/ 133882 h 657159"/>
                <a:gd name="connsiteX12" fmla="*/ -1337 w 562303"/>
                <a:gd name="connsiteY12" fmla="*/ 132282 h 657159"/>
                <a:gd name="connsiteX13" fmla="*/ -1210 w 562303"/>
                <a:gd name="connsiteY13" fmla="*/ 131152 h 657159"/>
                <a:gd name="connsiteX14" fmla="*/ -981 w 562303"/>
                <a:gd name="connsiteY14" fmla="*/ 129565 h 657159"/>
                <a:gd name="connsiteX15" fmla="*/ -905 w 562303"/>
                <a:gd name="connsiteY15" fmla="*/ 129082 h 657159"/>
                <a:gd name="connsiteX16" fmla="*/ 21320 w 562303"/>
                <a:gd name="connsiteY16" fmla="*/ 19367 h 657159"/>
                <a:gd name="connsiteX17" fmla="*/ 46377 w 562303"/>
                <a:gd name="connsiteY17" fmla="*/ -1118 h 657159"/>
                <a:gd name="connsiteX18" fmla="*/ 513152 w 562303"/>
                <a:gd name="connsiteY18" fmla="*/ -1118 h 657159"/>
                <a:gd name="connsiteX19" fmla="*/ 538196 w 562303"/>
                <a:gd name="connsiteY19" fmla="*/ 19367 h 657159"/>
                <a:gd name="connsiteX20" fmla="*/ 560434 w 562303"/>
                <a:gd name="connsiteY20" fmla="*/ 129082 h 657159"/>
                <a:gd name="connsiteX21" fmla="*/ 560497 w 562303"/>
                <a:gd name="connsiteY21" fmla="*/ 129565 h 657159"/>
                <a:gd name="connsiteX22" fmla="*/ 560726 w 562303"/>
                <a:gd name="connsiteY22" fmla="*/ 131152 h 65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62303" h="657159">
                  <a:moveTo>
                    <a:pt x="560726" y="131152"/>
                  </a:moveTo>
                  <a:lnTo>
                    <a:pt x="560853" y="132282"/>
                  </a:lnTo>
                  <a:lnTo>
                    <a:pt x="560904" y="133882"/>
                  </a:lnTo>
                  <a:lnTo>
                    <a:pt x="560904" y="135013"/>
                  </a:lnTo>
                  <a:lnTo>
                    <a:pt x="560916" y="135292"/>
                  </a:lnTo>
                  <a:lnTo>
                    <a:pt x="538679" y="631620"/>
                  </a:lnTo>
                  <a:cubicBezTo>
                    <a:pt x="538069" y="645285"/>
                    <a:pt x="526817" y="656042"/>
                    <a:pt x="513152" y="656042"/>
                  </a:cubicBezTo>
                  <a:lnTo>
                    <a:pt x="46377" y="656042"/>
                  </a:lnTo>
                  <a:cubicBezTo>
                    <a:pt x="32699" y="656042"/>
                    <a:pt x="21447" y="645285"/>
                    <a:pt x="20837" y="631620"/>
                  </a:cubicBezTo>
                  <a:lnTo>
                    <a:pt x="-1388" y="135292"/>
                  </a:lnTo>
                  <a:lnTo>
                    <a:pt x="-1388" y="135013"/>
                  </a:lnTo>
                  <a:lnTo>
                    <a:pt x="-1388" y="133882"/>
                  </a:lnTo>
                  <a:lnTo>
                    <a:pt x="-1337" y="132282"/>
                  </a:lnTo>
                  <a:lnTo>
                    <a:pt x="-1210" y="131152"/>
                  </a:lnTo>
                  <a:lnTo>
                    <a:pt x="-981" y="129565"/>
                  </a:lnTo>
                  <a:lnTo>
                    <a:pt x="-905" y="129082"/>
                  </a:lnTo>
                  <a:lnTo>
                    <a:pt x="21320" y="19367"/>
                  </a:lnTo>
                  <a:cubicBezTo>
                    <a:pt x="23733" y="7454"/>
                    <a:pt x="34211" y="-1118"/>
                    <a:pt x="46377" y="-1118"/>
                  </a:cubicBezTo>
                  <a:lnTo>
                    <a:pt x="513152" y="-1118"/>
                  </a:lnTo>
                  <a:cubicBezTo>
                    <a:pt x="525306" y="-1118"/>
                    <a:pt x="535783" y="7454"/>
                    <a:pt x="538196" y="19367"/>
                  </a:cubicBezTo>
                  <a:lnTo>
                    <a:pt x="560434" y="129082"/>
                  </a:lnTo>
                  <a:lnTo>
                    <a:pt x="560497" y="129565"/>
                  </a:lnTo>
                  <a:lnTo>
                    <a:pt x="560726" y="131152"/>
                  </a:lnTo>
                </a:path>
              </a:pathLst>
            </a:custGeom>
            <a:solidFill>
              <a:srgbClr val="45726D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5" name="Freeform: Shape 1864">
              <a:extLst>
                <a:ext uri="{FF2B5EF4-FFF2-40B4-BE49-F238E27FC236}">
                  <a16:creationId xmlns:a16="http://schemas.microsoft.com/office/drawing/2014/main" id="{8D986676-F7C5-47E1-A1B4-AA13119849F6}"/>
                </a:ext>
              </a:extLst>
            </p:cNvPr>
            <p:cNvSpPr/>
            <p:nvPr/>
          </p:nvSpPr>
          <p:spPr>
            <a:xfrm flipV="1">
              <a:off x="5333525" y="3355649"/>
              <a:ext cx="562303" cy="634807"/>
            </a:xfrm>
            <a:custGeom>
              <a:avLst/>
              <a:gdLst>
                <a:gd name="connsiteX0" fmla="*/ 560904 w 562303"/>
                <a:gd name="connsiteY0" fmla="*/ 135023 h 634807"/>
                <a:gd name="connsiteX1" fmla="*/ 560916 w 562303"/>
                <a:gd name="connsiteY1" fmla="*/ 135302 h 634807"/>
                <a:gd name="connsiteX2" fmla="*/ 509024 w 562303"/>
                <a:gd name="connsiteY2" fmla="*/ 614383 h 634807"/>
                <a:gd name="connsiteX3" fmla="*/ 465184 w 562303"/>
                <a:gd name="connsiteY3" fmla="*/ 633700 h 634807"/>
                <a:gd name="connsiteX4" fmla="*/ 91576 w 562303"/>
                <a:gd name="connsiteY4" fmla="*/ 623603 h 634807"/>
                <a:gd name="connsiteX5" fmla="*/ 47520 w 562303"/>
                <a:gd name="connsiteY5" fmla="*/ 591155 h 634807"/>
                <a:gd name="connsiteX6" fmla="*/ -1388 w 562303"/>
                <a:gd name="connsiteY6" fmla="*/ 133892 h 634807"/>
                <a:gd name="connsiteX7" fmla="*/ -1337 w 562303"/>
                <a:gd name="connsiteY7" fmla="*/ 132292 h 634807"/>
                <a:gd name="connsiteX8" fmla="*/ -1210 w 562303"/>
                <a:gd name="connsiteY8" fmla="*/ 131162 h 634807"/>
                <a:gd name="connsiteX9" fmla="*/ 21320 w 562303"/>
                <a:gd name="connsiteY9" fmla="*/ 19377 h 634807"/>
                <a:gd name="connsiteX10" fmla="*/ 46377 w 562303"/>
                <a:gd name="connsiteY10" fmla="*/ -1108 h 634807"/>
                <a:gd name="connsiteX11" fmla="*/ 513152 w 562303"/>
                <a:gd name="connsiteY11" fmla="*/ -1108 h 634807"/>
                <a:gd name="connsiteX12" fmla="*/ 538196 w 562303"/>
                <a:gd name="connsiteY12" fmla="*/ 19377 h 634807"/>
                <a:gd name="connsiteX13" fmla="*/ 560904 w 562303"/>
                <a:gd name="connsiteY13" fmla="*/ 135023 h 63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2303" h="634807">
                  <a:moveTo>
                    <a:pt x="560904" y="135023"/>
                  </a:moveTo>
                  <a:lnTo>
                    <a:pt x="560916" y="135302"/>
                  </a:lnTo>
                  <a:lnTo>
                    <a:pt x="509024" y="614383"/>
                  </a:lnTo>
                  <a:lnTo>
                    <a:pt x="465184" y="633700"/>
                  </a:lnTo>
                  <a:lnTo>
                    <a:pt x="91576" y="623603"/>
                  </a:lnTo>
                  <a:lnTo>
                    <a:pt x="47520" y="591155"/>
                  </a:lnTo>
                  <a:lnTo>
                    <a:pt x="-1388" y="133892"/>
                  </a:lnTo>
                  <a:lnTo>
                    <a:pt x="-1337" y="132292"/>
                  </a:lnTo>
                  <a:lnTo>
                    <a:pt x="-1210" y="131162"/>
                  </a:lnTo>
                  <a:lnTo>
                    <a:pt x="21320" y="19377"/>
                  </a:lnTo>
                  <a:cubicBezTo>
                    <a:pt x="23733" y="7464"/>
                    <a:pt x="34211" y="-1108"/>
                    <a:pt x="46377" y="-1108"/>
                  </a:cubicBezTo>
                  <a:lnTo>
                    <a:pt x="513152" y="-1108"/>
                  </a:lnTo>
                  <a:cubicBezTo>
                    <a:pt x="525306" y="-1108"/>
                    <a:pt x="535783" y="7464"/>
                    <a:pt x="538196" y="19377"/>
                  </a:cubicBezTo>
                  <a:lnTo>
                    <a:pt x="560904" y="135023"/>
                  </a:lnTo>
                </a:path>
              </a:pathLst>
            </a:custGeom>
            <a:solidFill>
              <a:srgbClr val="094A44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6" name="Freeform: Shape 1865">
              <a:extLst>
                <a:ext uri="{FF2B5EF4-FFF2-40B4-BE49-F238E27FC236}">
                  <a16:creationId xmlns:a16="http://schemas.microsoft.com/office/drawing/2014/main" id="{6A341371-CB25-479B-926B-76F5316417E8}"/>
                </a:ext>
              </a:extLst>
            </p:cNvPr>
            <p:cNvSpPr/>
            <p:nvPr/>
          </p:nvSpPr>
          <p:spPr>
            <a:xfrm flipV="1">
              <a:off x="5333525" y="3479461"/>
              <a:ext cx="562303" cy="510995"/>
            </a:xfrm>
            <a:custGeom>
              <a:avLst/>
              <a:gdLst>
                <a:gd name="connsiteX0" fmla="*/ 539758 w 562303"/>
                <a:gd name="connsiteY0" fmla="*/ 493903 h 510995"/>
                <a:gd name="connsiteX1" fmla="*/ 488298 w 562303"/>
                <a:gd name="connsiteY1" fmla="*/ 393979 h 510995"/>
                <a:gd name="connsiteX2" fmla="*/ 158327 w 562303"/>
                <a:gd name="connsiteY2" fmla="*/ 175375 h 510995"/>
                <a:gd name="connsiteX3" fmla="*/ -930 w 562303"/>
                <a:gd name="connsiteY3" fmla="*/ 145555 h 510995"/>
                <a:gd name="connsiteX4" fmla="*/ -1388 w 562303"/>
                <a:gd name="connsiteY4" fmla="*/ 135357 h 510995"/>
                <a:gd name="connsiteX5" fmla="*/ -1388 w 562303"/>
                <a:gd name="connsiteY5" fmla="*/ 135078 h 510995"/>
                <a:gd name="connsiteX6" fmla="*/ -1388 w 562303"/>
                <a:gd name="connsiteY6" fmla="*/ 133948 h 510995"/>
                <a:gd name="connsiteX7" fmla="*/ -1337 w 562303"/>
                <a:gd name="connsiteY7" fmla="*/ 132347 h 510995"/>
                <a:gd name="connsiteX8" fmla="*/ -1210 w 562303"/>
                <a:gd name="connsiteY8" fmla="*/ 131217 h 510995"/>
                <a:gd name="connsiteX9" fmla="*/ -981 w 562303"/>
                <a:gd name="connsiteY9" fmla="*/ 129630 h 510995"/>
                <a:gd name="connsiteX10" fmla="*/ -905 w 562303"/>
                <a:gd name="connsiteY10" fmla="*/ 129147 h 510995"/>
                <a:gd name="connsiteX11" fmla="*/ 21320 w 562303"/>
                <a:gd name="connsiteY11" fmla="*/ 19432 h 510995"/>
                <a:gd name="connsiteX12" fmla="*/ 46377 w 562303"/>
                <a:gd name="connsiteY12" fmla="*/ -1053 h 510995"/>
                <a:gd name="connsiteX13" fmla="*/ 513152 w 562303"/>
                <a:gd name="connsiteY13" fmla="*/ -1053 h 510995"/>
                <a:gd name="connsiteX14" fmla="*/ 538196 w 562303"/>
                <a:gd name="connsiteY14" fmla="*/ 19432 h 510995"/>
                <a:gd name="connsiteX15" fmla="*/ 560434 w 562303"/>
                <a:gd name="connsiteY15" fmla="*/ 129147 h 510995"/>
                <a:gd name="connsiteX16" fmla="*/ 560497 w 562303"/>
                <a:gd name="connsiteY16" fmla="*/ 129630 h 510995"/>
                <a:gd name="connsiteX17" fmla="*/ 560726 w 562303"/>
                <a:gd name="connsiteY17" fmla="*/ 131217 h 510995"/>
                <a:gd name="connsiteX18" fmla="*/ 560853 w 562303"/>
                <a:gd name="connsiteY18" fmla="*/ 132347 h 510995"/>
                <a:gd name="connsiteX19" fmla="*/ 560904 w 562303"/>
                <a:gd name="connsiteY19" fmla="*/ 133948 h 510995"/>
                <a:gd name="connsiteX20" fmla="*/ 560904 w 562303"/>
                <a:gd name="connsiteY20" fmla="*/ 135078 h 510995"/>
                <a:gd name="connsiteX21" fmla="*/ 560916 w 562303"/>
                <a:gd name="connsiteY21" fmla="*/ 135357 h 510995"/>
                <a:gd name="connsiteX22" fmla="*/ 544127 w 562303"/>
                <a:gd name="connsiteY22" fmla="*/ 509943 h 510995"/>
                <a:gd name="connsiteX23" fmla="*/ 539758 w 562303"/>
                <a:gd name="connsiteY23" fmla="*/ 493903 h 510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62303" h="510995">
                  <a:moveTo>
                    <a:pt x="539758" y="493903"/>
                  </a:moveTo>
                  <a:cubicBezTo>
                    <a:pt x="529103" y="457721"/>
                    <a:pt x="510307" y="424447"/>
                    <a:pt x="488298" y="393979"/>
                  </a:cubicBezTo>
                  <a:cubicBezTo>
                    <a:pt x="409304" y="284671"/>
                    <a:pt x="286419" y="211964"/>
                    <a:pt x="158327" y="175375"/>
                  </a:cubicBezTo>
                  <a:cubicBezTo>
                    <a:pt x="106207" y="160465"/>
                    <a:pt x="52879" y="150978"/>
                    <a:pt x="-930" y="145555"/>
                  </a:cubicBezTo>
                  <a:lnTo>
                    <a:pt x="-1388" y="135357"/>
                  </a:lnTo>
                  <a:lnTo>
                    <a:pt x="-1388" y="135078"/>
                  </a:lnTo>
                  <a:lnTo>
                    <a:pt x="-1388" y="133948"/>
                  </a:lnTo>
                  <a:lnTo>
                    <a:pt x="-1337" y="132347"/>
                  </a:lnTo>
                  <a:lnTo>
                    <a:pt x="-1210" y="131217"/>
                  </a:lnTo>
                  <a:lnTo>
                    <a:pt x="-981" y="129630"/>
                  </a:lnTo>
                  <a:lnTo>
                    <a:pt x="-905" y="129147"/>
                  </a:lnTo>
                  <a:lnTo>
                    <a:pt x="21320" y="19432"/>
                  </a:lnTo>
                  <a:cubicBezTo>
                    <a:pt x="23733" y="7520"/>
                    <a:pt x="34211" y="-1053"/>
                    <a:pt x="46377" y="-1053"/>
                  </a:cubicBezTo>
                  <a:lnTo>
                    <a:pt x="513152" y="-1053"/>
                  </a:lnTo>
                  <a:cubicBezTo>
                    <a:pt x="525306" y="-1053"/>
                    <a:pt x="535783" y="7520"/>
                    <a:pt x="538196" y="19432"/>
                  </a:cubicBezTo>
                  <a:lnTo>
                    <a:pt x="560434" y="129147"/>
                  </a:lnTo>
                  <a:lnTo>
                    <a:pt x="560497" y="129630"/>
                  </a:lnTo>
                  <a:lnTo>
                    <a:pt x="560726" y="131217"/>
                  </a:lnTo>
                  <a:lnTo>
                    <a:pt x="560853" y="132347"/>
                  </a:lnTo>
                  <a:lnTo>
                    <a:pt x="560904" y="133948"/>
                  </a:lnTo>
                  <a:lnTo>
                    <a:pt x="560904" y="135078"/>
                  </a:lnTo>
                  <a:lnTo>
                    <a:pt x="560916" y="135357"/>
                  </a:lnTo>
                  <a:lnTo>
                    <a:pt x="544127" y="509943"/>
                  </a:lnTo>
                  <a:cubicBezTo>
                    <a:pt x="542768" y="504571"/>
                    <a:pt x="541320" y="499224"/>
                    <a:pt x="539758" y="493903"/>
                  </a:cubicBezTo>
                </a:path>
              </a:pathLst>
            </a:custGeom>
            <a:solidFill>
              <a:srgbClr val="052D29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7" name="Freeform: Shape 1866">
              <a:extLst>
                <a:ext uri="{FF2B5EF4-FFF2-40B4-BE49-F238E27FC236}">
                  <a16:creationId xmlns:a16="http://schemas.microsoft.com/office/drawing/2014/main" id="{881F1529-A614-41A4-8197-B5799266FCA0}"/>
                </a:ext>
              </a:extLst>
            </p:cNvPr>
            <p:cNvSpPr/>
            <p:nvPr/>
          </p:nvSpPr>
          <p:spPr>
            <a:xfrm flipV="1">
              <a:off x="5246855" y="4322497"/>
              <a:ext cx="725090" cy="110783"/>
            </a:xfrm>
            <a:custGeom>
              <a:avLst/>
              <a:gdLst>
                <a:gd name="connsiteX0" fmla="*/ 19678 w 725090"/>
                <a:gd name="connsiteY0" fmla="*/ -479 h 110783"/>
                <a:gd name="connsiteX1" fmla="*/ -527 w 725090"/>
                <a:gd name="connsiteY1" fmla="*/ 14672 h 110783"/>
                <a:gd name="connsiteX2" fmla="*/ 13785 w 725090"/>
                <a:gd name="connsiteY2" fmla="*/ 40821 h 110783"/>
                <a:gd name="connsiteX3" fmla="*/ 243172 w 725090"/>
                <a:gd name="connsiteY3" fmla="*/ 107928 h 110783"/>
                <a:gd name="connsiteX4" fmla="*/ 250830 w 725090"/>
                <a:gd name="connsiteY4" fmla="*/ 109426 h 110783"/>
                <a:gd name="connsiteX5" fmla="*/ 470781 w 725090"/>
                <a:gd name="connsiteY5" fmla="*/ 110304 h 110783"/>
                <a:gd name="connsiteX6" fmla="*/ 478693 w 725090"/>
                <a:gd name="connsiteY6" fmla="*/ 108805 h 110783"/>
                <a:gd name="connsiteX7" fmla="*/ 708385 w 725090"/>
                <a:gd name="connsiteY7" fmla="*/ 43614 h 110783"/>
                <a:gd name="connsiteX8" fmla="*/ 722901 w 725090"/>
                <a:gd name="connsiteY8" fmla="*/ 17604 h 110783"/>
                <a:gd name="connsiteX9" fmla="*/ 696879 w 725090"/>
                <a:gd name="connsiteY9" fmla="*/ 3088 h 110783"/>
                <a:gd name="connsiteX10" fmla="*/ 467593 w 725090"/>
                <a:gd name="connsiteY10" fmla="*/ 68151 h 110783"/>
                <a:gd name="connsiteX11" fmla="*/ 254386 w 725090"/>
                <a:gd name="connsiteY11" fmla="*/ 67303 h 110783"/>
                <a:gd name="connsiteX12" fmla="*/ 25609 w 725090"/>
                <a:gd name="connsiteY12" fmla="*/ 369 h 110783"/>
                <a:gd name="connsiteX13" fmla="*/ 19678 w 725090"/>
                <a:gd name="connsiteY13" fmla="*/ -479 h 110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5090" h="110783">
                  <a:moveTo>
                    <a:pt x="19678" y="-479"/>
                  </a:moveTo>
                  <a:cubicBezTo>
                    <a:pt x="10572" y="-479"/>
                    <a:pt x="2152" y="5490"/>
                    <a:pt x="-527" y="14672"/>
                  </a:cubicBezTo>
                  <a:cubicBezTo>
                    <a:pt x="-3804" y="25849"/>
                    <a:pt x="2609" y="37557"/>
                    <a:pt x="13785" y="40821"/>
                  </a:cubicBezTo>
                  <a:lnTo>
                    <a:pt x="243172" y="107928"/>
                  </a:lnTo>
                  <a:cubicBezTo>
                    <a:pt x="245585" y="108895"/>
                    <a:pt x="248176" y="109416"/>
                    <a:pt x="250830" y="109426"/>
                  </a:cubicBezTo>
                  <a:lnTo>
                    <a:pt x="470781" y="110304"/>
                  </a:lnTo>
                  <a:cubicBezTo>
                    <a:pt x="473423" y="110200"/>
                    <a:pt x="476255" y="109783"/>
                    <a:pt x="478693" y="108805"/>
                  </a:cubicBezTo>
                  <a:lnTo>
                    <a:pt x="708385" y="43614"/>
                  </a:lnTo>
                  <a:cubicBezTo>
                    <a:pt x="719586" y="40454"/>
                    <a:pt x="726076" y="28796"/>
                    <a:pt x="722901" y="17604"/>
                  </a:cubicBezTo>
                  <a:cubicBezTo>
                    <a:pt x="719726" y="6402"/>
                    <a:pt x="708093" y="-97"/>
                    <a:pt x="696879" y="3088"/>
                  </a:cubicBezTo>
                  <a:lnTo>
                    <a:pt x="467593" y="68151"/>
                  </a:lnTo>
                  <a:lnTo>
                    <a:pt x="254386" y="67303"/>
                  </a:lnTo>
                  <a:lnTo>
                    <a:pt x="25609" y="369"/>
                  </a:lnTo>
                  <a:cubicBezTo>
                    <a:pt x="23628" y="-211"/>
                    <a:pt x="21647" y="-479"/>
                    <a:pt x="19678" y="-479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8" name="Freeform: Shape 1867">
              <a:extLst>
                <a:ext uri="{FF2B5EF4-FFF2-40B4-BE49-F238E27FC236}">
                  <a16:creationId xmlns:a16="http://schemas.microsoft.com/office/drawing/2014/main" id="{CE5366F8-2409-4E62-9732-4E0FB77761F4}"/>
                </a:ext>
              </a:extLst>
            </p:cNvPr>
            <p:cNvSpPr/>
            <p:nvPr/>
          </p:nvSpPr>
          <p:spPr>
            <a:xfrm flipV="1">
              <a:off x="5476599" y="4322787"/>
              <a:ext cx="265606" cy="109563"/>
            </a:xfrm>
            <a:custGeom>
              <a:avLst/>
              <a:gdLst>
                <a:gd name="connsiteX0" fmla="*/ 19702 w 265606"/>
                <a:gd name="connsiteY0" fmla="*/ -480 h 109563"/>
                <a:gd name="connsiteX1" fmla="*/ 3928 w 265606"/>
                <a:gd name="connsiteY1" fmla="*/ 6605 h 109563"/>
                <a:gd name="connsiteX2" fmla="*/ 5694 w 265606"/>
                <a:gd name="connsiteY2" fmla="*/ 36350 h 109563"/>
                <a:gd name="connsiteX3" fmla="*/ 80179 w 265606"/>
                <a:gd name="connsiteY3" fmla="*/ 102479 h 109563"/>
                <a:gd name="connsiteX4" fmla="*/ 95076 w 265606"/>
                <a:gd name="connsiteY4" fmla="*/ 108805 h 109563"/>
                <a:gd name="connsiteX5" fmla="*/ 167047 w 265606"/>
                <a:gd name="connsiteY5" fmla="*/ 109082 h 109563"/>
                <a:gd name="connsiteX6" fmla="*/ 182007 w 265606"/>
                <a:gd name="connsiteY6" fmla="*/ 102945 h 109563"/>
                <a:gd name="connsiteX7" fmla="*/ 182363 w 265606"/>
                <a:gd name="connsiteY7" fmla="*/ 102569 h 109563"/>
                <a:gd name="connsiteX8" fmla="*/ 257013 w 265606"/>
                <a:gd name="connsiteY8" fmla="*/ 37368 h 109563"/>
                <a:gd name="connsiteX9" fmla="*/ 259020 w 265606"/>
                <a:gd name="connsiteY9" fmla="*/ 7637 h 109563"/>
                <a:gd name="connsiteX10" fmla="*/ 229289 w 265606"/>
                <a:gd name="connsiteY10" fmla="*/ 5628 h 109563"/>
                <a:gd name="connsiteX11" fmla="*/ 159135 w 265606"/>
                <a:gd name="connsiteY11" fmla="*/ 66919 h 109563"/>
                <a:gd name="connsiteX12" fmla="*/ 103344 w 265606"/>
                <a:gd name="connsiteY12" fmla="*/ 66677 h 109563"/>
                <a:gd name="connsiteX13" fmla="*/ 33685 w 265606"/>
                <a:gd name="connsiteY13" fmla="*/ 4829 h 109563"/>
                <a:gd name="connsiteX14" fmla="*/ 19702 w 265606"/>
                <a:gd name="connsiteY14" fmla="*/ -480 h 10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5606" h="109563">
                  <a:moveTo>
                    <a:pt x="19702" y="-480"/>
                  </a:moveTo>
                  <a:cubicBezTo>
                    <a:pt x="13885" y="-480"/>
                    <a:pt x="8094" y="1907"/>
                    <a:pt x="3928" y="6605"/>
                  </a:cubicBezTo>
                  <a:cubicBezTo>
                    <a:pt x="-3793" y="15307"/>
                    <a:pt x="-3006" y="28626"/>
                    <a:pt x="5694" y="36350"/>
                  </a:cubicBezTo>
                  <a:lnTo>
                    <a:pt x="80179" y="102479"/>
                  </a:lnTo>
                  <a:cubicBezTo>
                    <a:pt x="83989" y="106364"/>
                    <a:pt x="89260" y="108774"/>
                    <a:pt x="95076" y="108805"/>
                  </a:cubicBezTo>
                  <a:lnTo>
                    <a:pt x="167047" y="109082"/>
                  </a:lnTo>
                  <a:cubicBezTo>
                    <a:pt x="172698" y="109172"/>
                    <a:pt x="178032" y="106900"/>
                    <a:pt x="182007" y="102945"/>
                  </a:cubicBezTo>
                  <a:lnTo>
                    <a:pt x="182363" y="102569"/>
                  </a:lnTo>
                  <a:lnTo>
                    <a:pt x="257013" y="37368"/>
                  </a:lnTo>
                  <a:cubicBezTo>
                    <a:pt x="265776" y="29707"/>
                    <a:pt x="266678" y="16397"/>
                    <a:pt x="259020" y="7637"/>
                  </a:cubicBezTo>
                  <a:cubicBezTo>
                    <a:pt x="251362" y="-1140"/>
                    <a:pt x="238052" y="-2033"/>
                    <a:pt x="229289" y="5628"/>
                  </a:cubicBezTo>
                  <a:lnTo>
                    <a:pt x="159135" y="66919"/>
                  </a:lnTo>
                  <a:lnTo>
                    <a:pt x="103344" y="66677"/>
                  </a:lnTo>
                  <a:lnTo>
                    <a:pt x="33685" y="4829"/>
                  </a:lnTo>
                  <a:cubicBezTo>
                    <a:pt x="29671" y="1272"/>
                    <a:pt x="24668" y="-480"/>
                    <a:pt x="19702" y="-480"/>
                  </a:cubicBezTo>
                </a:path>
              </a:pathLst>
            </a:custGeom>
            <a:solidFill>
              <a:srgbClr val="00000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9" name="Freeform: Shape 1868">
              <a:extLst>
                <a:ext uri="{FF2B5EF4-FFF2-40B4-BE49-F238E27FC236}">
                  <a16:creationId xmlns:a16="http://schemas.microsoft.com/office/drawing/2014/main" id="{B47FC0B7-719F-4A32-8EBE-1CC75F638C52}"/>
                </a:ext>
              </a:extLst>
            </p:cNvPr>
            <p:cNvSpPr/>
            <p:nvPr/>
          </p:nvSpPr>
          <p:spPr>
            <a:xfrm flipV="1">
              <a:off x="5497606" y="4345903"/>
              <a:ext cx="67287" cy="53597"/>
            </a:xfrm>
            <a:custGeom>
              <a:avLst/>
              <a:gdLst>
                <a:gd name="connsiteX0" fmla="*/ -1265 w 67287"/>
                <a:gd name="connsiteY0" fmla="*/ -484 h 53597"/>
                <a:gd name="connsiteX1" fmla="*/ 42868 w 67287"/>
                <a:gd name="connsiteY1" fmla="*/ 51740 h 53597"/>
                <a:gd name="connsiteX2" fmla="*/ 50310 w 67287"/>
                <a:gd name="connsiteY2" fmla="*/ 53114 h 53597"/>
                <a:gd name="connsiteX3" fmla="*/ 65664 w 67287"/>
                <a:gd name="connsiteY3" fmla="*/ 49165 h 53597"/>
                <a:gd name="connsiteX4" fmla="*/ 6431 w 67287"/>
                <a:gd name="connsiteY4" fmla="*/ 3495 h 53597"/>
                <a:gd name="connsiteX5" fmla="*/ -1265 w 67287"/>
                <a:gd name="connsiteY5" fmla="*/ -484 h 5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287" h="53597">
                  <a:moveTo>
                    <a:pt x="-1265" y="-484"/>
                  </a:moveTo>
                  <a:cubicBezTo>
                    <a:pt x="-3309" y="-484"/>
                    <a:pt x="42868" y="51740"/>
                    <a:pt x="42868" y="51740"/>
                  </a:cubicBezTo>
                  <a:cubicBezTo>
                    <a:pt x="43858" y="52718"/>
                    <a:pt x="46817" y="53114"/>
                    <a:pt x="50310" y="53114"/>
                  </a:cubicBezTo>
                  <a:cubicBezTo>
                    <a:pt x="57828" y="53114"/>
                    <a:pt x="67798" y="51244"/>
                    <a:pt x="65664" y="49165"/>
                  </a:cubicBezTo>
                  <a:lnTo>
                    <a:pt x="6431" y="3495"/>
                  </a:lnTo>
                  <a:cubicBezTo>
                    <a:pt x="4895" y="1983"/>
                    <a:pt x="742" y="-484"/>
                    <a:pt x="-1265" y="-484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0" name="Freeform: Shape 1869">
              <a:extLst>
                <a:ext uri="{FF2B5EF4-FFF2-40B4-BE49-F238E27FC236}">
                  <a16:creationId xmlns:a16="http://schemas.microsoft.com/office/drawing/2014/main" id="{39E4A067-E7AC-4367-9392-6BE1E1BBCE1D}"/>
                </a:ext>
              </a:extLst>
            </p:cNvPr>
            <p:cNvSpPr/>
            <p:nvPr/>
          </p:nvSpPr>
          <p:spPr>
            <a:xfrm flipV="1">
              <a:off x="5497606" y="4345903"/>
              <a:ext cx="67287" cy="53597"/>
            </a:xfrm>
            <a:custGeom>
              <a:avLst/>
              <a:gdLst>
                <a:gd name="connsiteX0" fmla="*/ -1265 w 67287"/>
                <a:gd name="connsiteY0" fmla="*/ -484 h 53597"/>
                <a:gd name="connsiteX1" fmla="*/ 42868 w 67287"/>
                <a:gd name="connsiteY1" fmla="*/ 51740 h 53597"/>
                <a:gd name="connsiteX2" fmla="*/ 50310 w 67287"/>
                <a:gd name="connsiteY2" fmla="*/ 53114 h 53597"/>
                <a:gd name="connsiteX3" fmla="*/ 65664 w 67287"/>
                <a:gd name="connsiteY3" fmla="*/ 49165 h 53597"/>
                <a:gd name="connsiteX4" fmla="*/ 6431 w 67287"/>
                <a:gd name="connsiteY4" fmla="*/ 3495 h 53597"/>
                <a:gd name="connsiteX5" fmla="*/ -1265 w 67287"/>
                <a:gd name="connsiteY5" fmla="*/ -484 h 53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287" h="53597">
                  <a:moveTo>
                    <a:pt x="-1265" y="-484"/>
                  </a:moveTo>
                  <a:cubicBezTo>
                    <a:pt x="-3309" y="-484"/>
                    <a:pt x="42868" y="51740"/>
                    <a:pt x="42868" y="51740"/>
                  </a:cubicBezTo>
                  <a:cubicBezTo>
                    <a:pt x="43858" y="52718"/>
                    <a:pt x="46817" y="53114"/>
                    <a:pt x="50310" y="53114"/>
                  </a:cubicBezTo>
                  <a:cubicBezTo>
                    <a:pt x="57828" y="53114"/>
                    <a:pt x="67798" y="51244"/>
                    <a:pt x="65664" y="49165"/>
                  </a:cubicBezTo>
                  <a:lnTo>
                    <a:pt x="6431" y="3495"/>
                  </a:lnTo>
                  <a:cubicBezTo>
                    <a:pt x="4895" y="1983"/>
                    <a:pt x="742" y="-484"/>
                    <a:pt x="-1265" y="-484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1" name="Freeform: Shape 1870">
              <a:extLst>
                <a:ext uri="{FF2B5EF4-FFF2-40B4-BE49-F238E27FC236}">
                  <a16:creationId xmlns:a16="http://schemas.microsoft.com/office/drawing/2014/main" id="{44799638-D469-4356-8D62-DB3EE41C2F9D}"/>
                </a:ext>
              </a:extLst>
            </p:cNvPr>
            <p:cNvSpPr/>
            <p:nvPr/>
          </p:nvSpPr>
          <p:spPr>
            <a:xfrm flipV="1">
              <a:off x="5725765" y="4332696"/>
              <a:ext cx="215720" cy="58940"/>
            </a:xfrm>
            <a:custGeom>
              <a:avLst/>
              <a:gdLst>
                <a:gd name="connsiteX0" fmla="*/ 214171 w 215720"/>
                <a:gd name="connsiteY0" fmla="*/ -493 h 58940"/>
                <a:gd name="connsiteX1" fmla="*/ -662 w 215720"/>
                <a:gd name="connsiteY1" fmla="*/ 42994 h 58940"/>
                <a:gd name="connsiteX2" fmla="*/ 10730 w 215720"/>
                <a:gd name="connsiteY2" fmla="*/ 58447 h 58940"/>
                <a:gd name="connsiteX3" fmla="*/ 11251 w 215720"/>
                <a:gd name="connsiteY3" fmla="*/ 58372 h 58940"/>
                <a:gd name="connsiteX4" fmla="*/ 214133 w 215720"/>
                <a:gd name="connsiteY4" fmla="*/ -469 h 58940"/>
                <a:gd name="connsiteX5" fmla="*/ 214171 w 215720"/>
                <a:gd name="connsiteY5" fmla="*/ -493 h 5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720" h="58940">
                  <a:moveTo>
                    <a:pt x="214171" y="-493"/>
                  </a:moveTo>
                  <a:cubicBezTo>
                    <a:pt x="212253" y="-493"/>
                    <a:pt x="-662" y="42994"/>
                    <a:pt x="-662" y="42994"/>
                  </a:cubicBezTo>
                  <a:cubicBezTo>
                    <a:pt x="-4675" y="44199"/>
                    <a:pt x="6158" y="58447"/>
                    <a:pt x="10730" y="58447"/>
                  </a:cubicBezTo>
                  <a:cubicBezTo>
                    <a:pt x="10908" y="58447"/>
                    <a:pt x="11086" y="58422"/>
                    <a:pt x="11251" y="58372"/>
                  </a:cubicBezTo>
                  <a:lnTo>
                    <a:pt x="214133" y="-469"/>
                  </a:lnTo>
                  <a:cubicBezTo>
                    <a:pt x="214183" y="-479"/>
                    <a:pt x="214196" y="-493"/>
                    <a:pt x="214171" y="-493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2" name="Freeform: Shape 1871">
              <a:extLst>
                <a:ext uri="{FF2B5EF4-FFF2-40B4-BE49-F238E27FC236}">
                  <a16:creationId xmlns:a16="http://schemas.microsoft.com/office/drawing/2014/main" id="{E17B19B9-5A4E-483C-8607-09B06C34A1DE}"/>
                </a:ext>
              </a:extLst>
            </p:cNvPr>
            <p:cNvSpPr/>
            <p:nvPr/>
          </p:nvSpPr>
          <p:spPr>
            <a:xfrm flipV="1">
              <a:off x="5725765" y="4332696"/>
              <a:ext cx="215720" cy="58940"/>
            </a:xfrm>
            <a:custGeom>
              <a:avLst/>
              <a:gdLst>
                <a:gd name="connsiteX0" fmla="*/ 214171 w 215720"/>
                <a:gd name="connsiteY0" fmla="*/ -493 h 58940"/>
                <a:gd name="connsiteX1" fmla="*/ -662 w 215720"/>
                <a:gd name="connsiteY1" fmla="*/ 42994 h 58940"/>
                <a:gd name="connsiteX2" fmla="*/ 10730 w 215720"/>
                <a:gd name="connsiteY2" fmla="*/ 58447 h 58940"/>
                <a:gd name="connsiteX3" fmla="*/ 11251 w 215720"/>
                <a:gd name="connsiteY3" fmla="*/ 58372 h 58940"/>
                <a:gd name="connsiteX4" fmla="*/ 214133 w 215720"/>
                <a:gd name="connsiteY4" fmla="*/ -469 h 58940"/>
                <a:gd name="connsiteX5" fmla="*/ 214171 w 215720"/>
                <a:gd name="connsiteY5" fmla="*/ -493 h 5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720" h="58940">
                  <a:moveTo>
                    <a:pt x="214171" y="-493"/>
                  </a:moveTo>
                  <a:cubicBezTo>
                    <a:pt x="212253" y="-493"/>
                    <a:pt x="-662" y="42994"/>
                    <a:pt x="-662" y="42994"/>
                  </a:cubicBezTo>
                  <a:cubicBezTo>
                    <a:pt x="-4675" y="44199"/>
                    <a:pt x="6158" y="58447"/>
                    <a:pt x="10730" y="58447"/>
                  </a:cubicBezTo>
                  <a:cubicBezTo>
                    <a:pt x="10908" y="58447"/>
                    <a:pt x="11086" y="58422"/>
                    <a:pt x="11251" y="58372"/>
                  </a:cubicBezTo>
                  <a:lnTo>
                    <a:pt x="214133" y="-469"/>
                  </a:lnTo>
                  <a:cubicBezTo>
                    <a:pt x="214183" y="-479"/>
                    <a:pt x="214196" y="-493"/>
                    <a:pt x="214171" y="-493"/>
                  </a:cubicBezTo>
                </a:path>
              </a:pathLst>
            </a:custGeom>
            <a:solidFill>
              <a:srgbClr val="4C4340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3" name="Freeform: Shape 1872">
              <a:extLst>
                <a:ext uri="{FF2B5EF4-FFF2-40B4-BE49-F238E27FC236}">
                  <a16:creationId xmlns:a16="http://schemas.microsoft.com/office/drawing/2014/main" id="{0A175303-70DF-4274-A29F-8A533CC63D98}"/>
                </a:ext>
              </a:extLst>
            </p:cNvPr>
            <p:cNvSpPr/>
            <p:nvPr/>
          </p:nvSpPr>
          <p:spPr>
            <a:xfrm flipV="1">
              <a:off x="5512369" y="2730510"/>
              <a:ext cx="220247" cy="244172"/>
            </a:xfrm>
            <a:custGeom>
              <a:avLst/>
              <a:gdLst>
                <a:gd name="connsiteX0" fmla="*/ 21376 w 220247"/>
                <a:gd name="connsiteY0" fmla="*/ 194254 h 244172"/>
                <a:gd name="connsiteX1" fmla="*/ 57279 w 220247"/>
                <a:gd name="connsiteY1" fmla="*/ 233586 h 244172"/>
                <a:gd name="connsiteX2" fmla="*/ 84876 w 220247"/>
                <a:gd name="connsiteY2" fmla="*/ 239758 h 244172"/>
                <a:gd name="connsiteX3" fmla="*/ 145582 w 220247"/>
                <a:gd name="connsiteY3" fmla="*/ 240596 h 244172"/>
                <a:gd name="connsiteX4" fmla="*/ 198172 w 220247"/>
                <a:gd name="connsiteY4" fmla="*/ 212668 h 244172"/>
                <a:gd name="connsiteX5" fmla="*/ 214974 w 220247"/>
                <a:gd name="connsiteY5" fmla="*/ 174112 h 244172"/>
                <a:gd name="connsiteX6" fmla="*/ 202223 w 220247"/>
                <a:gd name="connsiteY6" fmla="*/ 68257 h 244172"/>
                <a:gd name="connsiteX7" fmla="*/ 120474 w 220247"/>
                <a:gd name="connsiteY7" fmla="*/ 1278 h 244172"/>
                <a:gd name="connsiteX8" fmla="*/ 61863 w 220247"/>
                <a:gd name="connsiteY8" fmla="*/ 9482 h 244172"/>
                <a:gd name="connsiteX9" fmla="*/ 45392 w 220247"/>
                <a:gd name="connsiteY9" fmla="*/ 29256 h 244172"/>
                <a:gd name="connsiteX10" fmla="*/ 4282 w 220247"/>
                <a:gd name="connsiteY10" fmla="*/ 104440 h 244172"/>
                <a:gd name="connsiteX11" fmla="*/ 11584 w 220247"/>
                <a:gd name="connsiteY11" fmla="*/ 187345 h 244172"/>
                <a:gd name="connsiteX12" fmla="*/ 21376 w 220247"/>
                <a:gd name="connsiteY12" fmla="*/ 194254 h 244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0247" h="244172">
                  <a:moveTo>
                    <a:pt x="21376" y="194254"/>
                  </a:moveTo>
                  <a:cubicBezTo>
                    <a:pt x="30672" y="209710"/>
                    <a:pt x="40896" y="226029"/>
                    <a:pt x="57279" y="233586"/>
                  </a:cubicBezTo>
                  <a:cubicBezTo>
                    <a:pt x="65877" y="237548"/>
                    <a:pt x="75465" y="238716"/>
                    <a:pt x="84876" y="239758"/>
                  </a:cubicBezTo>
                  <a:cubicBezTo>
                    <a:pt x="105056" y="241967"/>
                    <a:pt x="125541" y="243822"/>
                    <a:pt x="145582" y="240596"/>
                  </a:cubicBezTo>
                  <a:cubicBezTo>
                    <a:pt x="165635" y="237357"/>
                    <a:pt x="185459" y="228506"/>
                    <a:pt x="198172" y="212668"/>
                  </a:cubicBezTo>
                  <a:cubicBezTo>
                    <a:pt x="207024" y="201645"/>
                    <a:pt x="211926" y="187929"/>
                    <a:pt x="214974" y="174112"/>
                  </a:cubicBezTo>
                  <a:cubicBezTo>
                    <a:pt x="222772" y="138704"/>
                    <a:pt x="218962" y="100439"/>
                    <a:pt x="202223" y="68257"/>
                  </a:cubicBezTo>
                  <a:cubicBezTo>
                    <a:pt x="185497" y="36088"/>
                    <a:pt x="155538" y="10549"/>
                    <a:pt x="120474" y="1278"/>
                  </a:cubicBezTo>
                  <a:cubicBezTo>
                    <a:pt x="100674" y="-3967"/>
                    <a:pt x="77751" y="-3447"/>
                    <a:pt x="61863" y="9482"/>
                  </a:cubicBezTo>
                  <a:cubicBezTo>
                    <a:pt x="55183" y="14917"/>
                    <a:pt x="50243" y="22144"/>
                    <a:pt x="45392" y="29256"/>
                  </a:cubicBezTo>
                  <a:cubicBezTo>
                    <a:pt x="29237" y="52941"/>
                    <a:pt x="12854" y="77084"/>
                    <a:pt x="4282" y="104440"/>
                  </a:cubicBezTo>
                  <a:cubicBezTo>
                    <a:pt x="-4303" y="131795"/>
                    <a:pt x="-4113" y="163355"/>
                    <a:pt x="11584" y="187345"/>
                  </a:cubicBezTo>
                  <a:lnTo>
                    <a:pt x="21376" y="194254"/>
                  </a:lnTo>
                </a:path>
              </a:pathLst>
            </a:custGeom>
            <a:solidFill>
              <a:srgbClr val="704425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80" name="Slide Number Placeholder 203">
            <a:extLst>
              <a:ext uri="{FF2B5EF4-FFF2-40B4-BE49-F238E27FC236}">
                <a16:creationId xmlns:a16="http://schemas.microsoft.com/office/drawing/2014/main" id="{74038B4F-27F8-4E62-862A-2EFAC7563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73767"/>
            <a:ext cx="395914" cy="362202"/>
          </a:xfrm>
        </p:spPr>
        <p:txBody>
          <a:bodyPr/>
          <a:lstStyle/>
          <a:p>
            <a:fld id="{366E39CD-16F1-4381-8EB5-8BA4094A64D1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5E2E4A-BE66-41B9-9F6A-8580981CF6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40578" y="1095108"/>
            <a:ext cx="5896575" cy="438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473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6" name="Graphic 28">
            <a:extLst>
              <a:ext uri="{FF2B5EF4-FFF2-40B4-BE49-F238E27FC236}">
                <a16:creationId xmlns:a16="http://schemas.microsoft.com/office/drawing/2014/main" id="{8A99B8AC-DDCB-4F88-A850-260FD0972691}"/>
              </a:ext>
            </a:extLst>
          </p:cNvPr>
          <p:cNvGrpSpPr/>
          <p:nvPr/>
        </p:nvGrpSpPr>
        <p:grpSpPr>
          <a:xfrm rot="8886293">
            <a:off x="1318249" y="4212475"/>
            <a:ext cx="302176" cy="302310"/>
            <a:chOff x="10517187" y="-377031"/>
            <a:chExt cx="214979" cy="215074"/>
          </a:xfrm>
          <a:solidFill>
            <a:srgbClr val="094A44"/>
          </a:solidFill>
        </p:grpSpPr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E960B3F6-63D9-47F7-B683-D2CA084E6820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F77E3427-7B48-4B5F-89EE-AD6777FE9231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91" name="Graphic 890">
            <a:extLst>
              <a:ext uri="{FF2B5EF4-FFF2-40B4-BE49-F238E27FC236}">
                <a16:creationId xmlns:a16="http://schemas.microsoft.com/office/drawing/2014/main" id="{41EDC71A-C27F-4D0B-873B-143503763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7497"/>
          <a:stretch>
            <a:fillRect/>
          </a:stretch>
        </p:blipFill>
        <p:spPr>
          <a:xfrm flipV="1">
            <a:off x="492724" y="0"/>
            <a:ext cx="2050243" cy="1076432"/>
          </a:xfrm>
          <a:custGeom>
            <a:avLst/>
            <a:gdLst>
              <a:gd name="connsiteX0" fmla="*/ 0 w 2756958"/>
              <a:gd name="connsiteY0" fmla="*/ 0 h 1447476"/>
              <a:gd name="connsiteX1" fmla="*/ 2756958 w 2756958"/>
              <a:gd name="connsiteY1" fmla="*/ 0 h 1447476"/>
              <a:gd name="connsiteX2" fmla="*/ 2756958 w 2756958"/>
              <a:gd name="connsiteY2" fmla="*/ 1447476 h 1447476"/>
              <a:gd name="connsiteX3" fmla="*/ 0 w 2756958"/>
              <a:gd name="connsiteY3" fmla="*/ 1447476 h 144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6958" h="1447476">
                <a:moveTo>
                  <a:pt x="0" y="0"/>
                </a:moveTo>
                <a:lnTo>
                  <a:pt x="2756958" y="0"/>
                </a:lnTo>
                <a:lnTo>
                  <a:pt x="2756958" y="1447476"/>
                </a:lnTo>
                <a:lnTo>
                  <a:pt x="0" y="1447476"/>
                </a:lnTo>
                <a:close/>
              </a:path>
            </a:pathLst>
          </a:custGeom>
        </p:spPr>
      </p:pic>
      <p:pic>
        <p:nvPicPr>
          <p:cNvPr id="892" name="Graphic 891">
            <a:extLst>
              <a:ext uri="{FF2B5EF4-FFF2-40B4-BE49-F238E27FC236}">
                <a16:creationId xmlns:a16="http://schemas.microsoft.com/office/drawing/2014/main" id="{E87DEBBA-2F9C-4FE6-8BAB-6CFAB2F5ED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0155660" flipV="1">
            <a:off x="827870" y="104583"/>
            <a:ext cx="333375" cy="333375"/>
          </a:xfrm>
          <a:prstGeom prst="rect">
            <a:avLst/>
          </a:prstGeom>
        </p:spPr>
      </p:pic>
      <p:sp>
        <p:nvSpPr>
          <p:cNvPr id="893" name="Freeform: Shape 892">
            <a:extLst>
              <a:ext uri="{FF2B5EF4-FFF2-40B4-BE49-F238E27FC236}">
                <a16:creationId xmlns:a16="http://schemas.microsoft.com/office/drawing/2014/main" id="{571F294A-15A5-4531-8C93-BE6AFB0BDF85}"/>
              </a:ext>
            </a:extLst>
          </p:cNvPr>
          <p:cNvSpPr/>
          <p:nvPr/>
        </p:nvSpPr>
        <p:spPr>
          <a:xfrm>
            <a:off x="5985649" y="5743523"/>
            <a:ext cx="634672" cy="634736"/>
          </a:xfrm>
          <a:custGeom>
            <a:avLst/>
            <a:gdLst>
              <a:gd name="connsiteX0" fmla="*/ 181701 w 634672"/>
              <a:gd name="connsiteY0" fmla="*/ 92578 h 634736"/>
              <a:gd name="connsiteX1" fmla="*/ 245360 w 634672"/>
              <a:gd name="connsiteY1" fmla="*/ 64875 h 634736"/>
              <a:gd name="connsiteX2" fmla="*/ 258476 w 634672"/>
              <a:gd name="connsiteY2" fmla="*/ 1855 h 634736"/>
              <a:gd name="connsiteX3" fmla="*/ 365001 w 634672"/>
              <a:gd name="connsiteY3" fmla="*/ 0 h 634736"/>
              <a:gd name="connsiteX4" fmla="*/ 380356 w 634672"/>
              <a:gd name="connsiteY4" fmla="*/ 62508 h 634736"/>
              <a:gd name="connsiteX5" fmla="*/ 444975 w 634672"/>
              <a:gd name="connsiteY5" fmla="*/ 87907 h 634736"/>
              <a:gd name="connsiteX6" fmla="*/ 498781 w 634672"/>
              <a:gd name="connsiteY6" fmla="*/ 52655 h 634736"/>
              <a:gd name="connsiteX7" fmla="*/ 575428 w 634672"/>
              <a:gd name="connsiteY7" fmla="*/ 126679 h 634736"/>
              <a:gd name="connsiteX8" fmla="*/ 542095 w 634672"/>
              <a:gd name="connsiteY8" fmla="*/ 181701 h 634736"/>
              <a:gd name="connsiteX9" fmla="*/ 569798 w 634672"/>
              <a:gd name="connsiteY9" fmla="*/ 245424 h 634736"/>
              <a:gd name="connsiteX10" fmla="*/ 632817 w 634672"/>
              <a:gd name="connsiteY10" fmla="*/ 258540 h 634736"/>
              <a:gd name="connsiteX11" fmla="*/ 634673 w 634672"/>
              <a:gd name="connsiteY11" fmla="*/ 365065 h 634736"/>
              <a:gd name="connsiteX12" fmla="*/ 572165 w 634672"/>
              <a:gd name="connsiteY12" fmla="*/ 380420 h 634736"/>
              <a:gd name="connsiteX13" fmla="*/ 546765 w 634672"/>
              <a:gd name="connsiteY13" fmla="*/ 445039 h 634736"/>
              <a:gd name="connsiteX14" fmla="*/ 582018 w 634672"/>
              <a:gd name="connsiteY14" fmla="*/ 498845 h 634736"/>
              <a:gd name="connsiteX15" fmla="*/ 508058 w 634672"/>
              <a:gd name="connsiteY15" fmla="*/ 575492 h 634736"/>
              <a:gd name="connsiteX16" fmla="*/ 453036 w 634672"/>
              <a:gd name="connsiteY16" fmla="*/ 542159 h 634736"/>
              <a:gd name="connsiteX17" fmla="*/ 389313 w 634672"/>
              <a:gd name="connsiteY17" fmla="*/ 569862 h 634736"/>
              <a:gd name="connsiteX18" fmla="*/ 376197 w 634672"/>
              <a:gd name="connsiteY18" fmla="*/ 632881 h 634736"/>
              <a:gd name="connsiteX19" fmla="*/ 269672 w 634672"/>
              <a:gd name="connsiteY19" fmla="*/ 634737 h 634736"/>
              <a:gd name="connsiteX20" fmla="*/ 254317 w 634672"/>
              <a:gd name="connsiteY20" fmla="*/ 572229 h 634736"/>
              <a:gd name="connsiteX21" fmla="*/ 189698 w 634672"/>
              <a:gd name="connsiteY21" fmla="*/ 546830 h 634736"/>
              <a:gd name="connsiteX22" fmla="*/ 135892 w 634672"/>
              <a:gd name="connsiteY22" fmla="*/ 582082 h 634736"/>
              <a:gd name="connsiteX23" fmla="*/ 59245 w 634672"/>
              <a:gd name="connsiteY23" fmla="*/ 508122 h 634736"/>
              <a:gd name="connsiteX24" fmla="*/ 92578 w 634672"/>
              <a:gd name="connsiteY24" fmla="*/ 453100 h 634736"/>
              <a:gd name="connsiteX25" fmla="*/ 64875 w 634672"/>
              <a:gd name="connsiteY25" fmla="*/ 389377 h 634736"/>
              <a:gd name="connsiteX26" fmla="*/ 1855 w 634672"/>
              <a:gd name="connsiteY26" fmla="*/ 376261 h 634736"/>
              <a:gd name="connsiteX27" fmla="*/ 0 w 634672"/>
              <a:gd name="connsiteY27" fmla="*/ 269736 h 634736"/>
              <a:gd name="connsiteX28" fmla="*/ 62508 w 634672"/>
              <a:gd name="connsiteY28" fmla="*/ 254381 h 634736"/>
              <a:gd name="connsiteX29" fmla="*/ 87907 w 634672"/>
              <a:gd name="connsiteY29" fmla="*/ 189762 h 634736"/>
              <a:gd name="connsiteX30" fmla="*/ 52655 w 634672"/>
              <a:gd name="connsiteY30" fmla="*/ 135956 h 634736"/>
              <a:gd name="connsiteX31" fmla="*/ 126615 w 634672"/>
              <a:gd name="connsiteY31" fmla="*/ 59309 h 634736"/>
              <a:gd name="connsiteX32" fmla="*/ 181701 w 634672"/>
              <a:gd name="connsiteY32" fmla="*/ 92578 h 634736"/>
              <a:gd name="connsiteX33" fmla="*/ 181701 w 634672"/>
              <a:gd name="connsiteY33" fmla="*/ 92578 h 634736"/>
              <a:gd name="connsiteX34" fmla="*/ 238514 w 634672"/>
              <a:gd name="connsiteY34" fmla="*/ 234483 h 634736"/>
              <a:gd name="connsiteX35" fmla="*/ 241329 w 634672"/>
              <a:gd name="connsiteY35" fmla="*/ 396031 h 634736"/>
              <a:gd name="connsiteX36" fmla="*/ 402876 w 634672"/>
              <a:gd name="connsiteY36" fmla="*/ 393216 h 634736"/>
              <a:gd name="connsiteX37" fmla="*/ 400061 w 634672"/>
              <a:gd name="connsiteY37" fmla="*/ 231668 h 634736"/>
              <a:gd name="connsiteX38" fmla="*/ 238514 w 634672"/>
              <a:gd name="connsiteY38" fmla="*/ 234483 h 63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34672" h="634736">
                <a:moveTo>
                  <a:pt x="181701" y="92578"/>
                </a:moveTo>
                <a:cubicBezTo>
                  <a:pt x="201854" y="80422"/>
                  <a:pt x="223287" y="71209"/>
                  <a:pt x="245360" y="64875"/>
                </a:cubicBezTo>
                <a:lnTo>
                  <a:pt x="258476" y="1855"/>
                </a:lnTo>
                <a:lnTo>
                  <a:pt x="365001" y="0"/>
                </a:lnTo>
                <a:lnTo>
                  <a:pt x="380356" y="62508"/>
                </a:lnTo>
                <a:cubicBezTo>
                  <a:pt x="402685" y="68010"/>
                  <a:pt x="424437" y="76455"/>
                  <a:pt x="444975" y="87907"/>
                </a:cubicBezTo>
                <a:lnTo>
                  <a:pt x="498781" y="52655"/>
                </a:lnTo>
                <a:lnTo>
                  <a:pt x="575428" y="126679"/>
                </a:lnTo>
                <a:lnTo>
                  <a:pt x="542095" y="181701"/>
                </a:lnTo>
                <a:cubicBezTo>
                  <a:pt x="554251" y="201854"/>
                  <a:pt x="563464" y="223287"/>
                  <a:pt x="569798" y="245424"/>
                </a:cubicBezTo>
                <a:lnTo>
                  <a:pt x="632817" y="258540"/>
                </a:lnTo>
                <a:lnTo>
                  <a:pt x="634673" y="365065"/>
                </a:lnTo>
                <a:lnTo>
                  <a:pt x="572165" y="380420"/>
                </a:lnTo>
                <a:cubicBezTo>
                  <a:pt x="566663" y="402749"/>
                  <a:pt x="558218" y="424501"/>
                  <a:pt x="546765" y="445039"/>
                </a:cubicBezTo>
                <a:lnTo>
                  <a:pt x="582018" y="498845"/>
                </a:lnTo>
                <a:lnTo>
                  <a:pt x="508058" y="575492"/>
                </a:lnTo>
                <a:lnTo>
                  <a:pt x="453036" y="542159"/>
                </a:lnTo>
                <a:cubicBezTo>
                  <a:pt x="432883" y="554315"/>
                  <a:pt x="411450" y="563528"/>
                  <a:pt x="389313" y="569862"/>
                </a:cubicBezTo>
                <a:lnTo>
                  <a:pt x="376197" y="632881"/>
                </a:lnTo>
                <a:lnTo>
                  <a:pt x="269672" y="634737"/>
                </a:lnTo>
                <a:lnTo>
                  <a:pt x="254317" y="572229"/>
                </a:lnTo>
                <a:cubicBezTo>
                  <a:pt x="231988" y="566727"/>
                  <a:pt x="210235" y="558282"/>
                  <a:pt x="189698" y="546830"/>
                </a:cubicBezTo>
                <a:lnTo>
                  <a:pt x="135892" y="582082"/>
                </a:lnTo>
                <a:lnTo>
                  <a:pt x="59245" y="508122"/>
                </a:lnTo>
                <a:lnTo>
                  <a:pt x="92578" y="453100"/>
                </a:lnTo>
                <a:cubicBezTo>
                  <a:pt x="80422" y="432947"/>
                  <a:pt x="71209" y="411514"/>
                  <a:pt x="64875" y="389377"/>
                </a:cubicBezTo>
                <a:lnTo>
                  <a:pt x="1855" y="376261"/>
                </a:lnTo>
                <a:lnTo>
                  <a:pt x="0" y="269736"/>
                </a:lnTo>
                <a:lnTo>
                  <a:pt x="62508" y="254381"/>
                </a:lnTo>
                <a:cubicBezTo>
                  <a:pt x="68010" y="232052"/>
                  <a:pt x="76455" y="210299"/>
                  <a:pt x="87907" y="189762"/>
                </a:cubicBezTo>
                <a:lnTo>
                  <a:pt x="52655" y="135956"/>
                </a:lnTo>
                <a:lnTo>
                  <a:pt x="126615" y="59309"/>
                </a:lnTo>
                <a:lnTo>
                  <a:pt x="181701" y="92578"/>
                </a:lnTo>
                <a:lnTo>
                  <a:pt x="181701" y="92578"/>
                </a:lnTo>
                <a:close/>
                <a:moveTo>
                  <a:pt x="238514" y="234483"/>
                </a:moveTo>
                <a:cubicBezTo>
                  <a:pt x="194688" y="279909"/>
                  <a:pt x="195968" y="352205"/>
                  <a:pt x="241329" y="396031"/>
                </a:cubicBezTo>
                <a:cubicBezTo>
                  <a:pt x="286754" y="439856"/>
                  <a:pt x="359051" y="438577"/>
                  <a:pt x="402876" y="393216"/>
                </a:cubicBezTo>
                <a:cubicBezTo>
                  <a:pt x="446702" y="347791"/>
                  <a:pt x="445423" y="275494"/>
                  <a:pt x="400061" y="231668"/>
                </a:cubicBezTo>
                <a:cubicBezTo>
                  <a:pt x="354700" y="187779"/>
                  <a:pt x="282340" y="189058"/>
                  <a:pt x="238514" y="234483"/>
                </a:cubicBezTo>
                <a:close/>
              </a:path>
            </a:pathLst>
          </a:custGeom>
          <a:solidFill>
            <a:srgbClr val="45726D"/>
          </a:solidFill>
          <a:ln w="638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0" name="Freeform: Shape 899">
            <a:extLst>
              <a:ext uri="{FF2B5EF4-FFF2-40B4-BE49-F238E27FC236}">
                <a16:creationId xmlns:a16="http://schemas.microsoft.com/office/drawing/2014/main" id="{3824474C-06B8-46CF-BB22-8A357AB42481}"/>
              </a:ext>
            </a:extLst>
          </p:cNvPr>
          <p:cNvSpPr/>
          <p:nvPr/>
        </p:nvSpPr>
        <p:spPr>
          <a:xfrm>
            <a:off x="6696529" y="5911783"/>
            <a:ext cx="443489" cy="443534"/>
          </a:xfrm>
          <a:custGeom>
            <a:avLst/>
            <a:gdLst>
              <a:gd name="connsiteX0" fmla="*/ 181701 w 634672"/>
              <a:gd name="connsiteY0" fmla="*/ 92578 h 634736"/>
              <a:gd name="connsiteX1" fmla="*/ 245360 w 634672"/>
              <a:gd name="connsiteY1" fmla="*/ 64875 h 634736"/>
              <a:gd name="connsiteX2" fmla="*/ 258476 w 634672"/>
              <a:gd name="connsiteY2" fmla="*/ 1855 h 634736"/>
              <a:gd name="connsiteX3" fmla="*/ 365001 w 634672"/>
              <a:gd name="connsiteY3" fmla="*/ 0 h 634736"/>
              <a:gd name="connsiteX4" fmla="*/ 380356 w 634672"/>
              <a:gd name="connsiteY4" fmla="*/ 62508 h 634736"/>
              <a:gd name="connsiteX5" fmla="*/ 444975 w 634672"/>
              <a:gd name="connsiteY5" fmla="*/ 87907 h 634736"/>
              <a:gd name="connsiteX6" fmla="*/ 498781 w 634672"/>
              <a:gd name="connsiteY6" fmla="*/ 52655 h 634736"/>
              <a:gd name="connsiteX7" fmla="*/ 575428 w 634672"/>
              <a:gd name="connsiteY7" fmla="*/ 126679 h 634736"/>
              <a:gd name="connsiteX8" fmla="*/ 542095 w 634672"/>
              <a:gd name="connsiteY8" fmla="*/ 181701 h 634736"/>
              <a:gd name="connsiteX9" fmla="*/ 569798 w 634672"/>
              <a:gd name="connsiteY9" fmla="*/ 245424 h 634736"/>
              <a:gd name="connsiteX10" fmla="*/ 632817 w 634672"/>
              <a:gd name="connsiteY10" fmla="*/ 258540 h 634736"/>
              <a:gd name="connsiteX11" fmla="*/ 634673 w 634672"/>
              <a:gd name="connsiteY11" fmla="*/ 365065 h 634736"/>
              <a:gd name="connsiteX12" fmla="*/ 572165 w 634672"/>
              <a:gd name="connsiteY12" fmla="*/ 380420 h 634736"/>
              <a:gd name="connsiteX13" fmla="*/ 546765 w 634672"/>
              <a:gd name="connsiteY13" fmla="*/ 445039 h 634736"/>
              <a:gd name="connsiteX14" fmla="*/ 582018 w 634672"/>
              <a:gd name="connsiteY14" fmla="*/ 498845 h 634736"/>
              <a:gd name="connsiteX15" fmla="*/ 508058 w 634672"/>
              <a:gd name="connsiteY15" fmla="*/ 575492 h 634736"/>
              <a:gd name="connsiteX16" fmla="*/ 453036 w 634672"/>
              <a:gd name="connsiteY16" fmla="*/ 542159 h 634736"/>
              <a:gd name="connsiteX17" fmla="*/ 389313 w 634672"/>
              <a:gd name="connsiteY17" fmla="*/ 569862 h 634736"/>
              <a:gd name="connsiteX18" fmla="*/ 376197 w 634672"/>
              <a:gd name="connsiteY18" fmla="*/ 632881 h 634736"/>
              <a:gd name="connsiteX19" fmla="*/ 269672 w 634672"/>
              <a:gd name="connsiteY19" fmla="*/ 634737 h 634736"/>
              <a:gd name="connsiteX20" fmla="*/ 254317 w 634672"/>
              <a:gd name="connsiteY20" fmla="*/ 572229 h 634736"/>
              <a:gd name="connsiteX21" fmla="*/ 189698 w 634672"/>
              <a:gd name="connsiteY21" fmla="*/ 546830 h 634736"/>
              <a:gd name="connsiteX22" fmla="*/ 135892 w 634672"/>
              <a:gd name="connsiteY22" fmla="*/ 582082 h 634736"/>
              <a:gd name="connsiteX23" fmla="*/ 59245 w 634672"/>
              <a:gd name="connsiteY23" fmla="*/ 508122 h 634736"/>
              <a:gd name="connsiteX24" fmla="*/ 92578 w 634672"/>
              <a:gd name="connsiteY24" fmla="*/ 453100 h 634736"/>
              <a:gd name="connsiteX25" fmla="*/ 64875 w 634672"/>
              <a:gd name="connsiteY25" fmla="*/ 389377 h 634736"/>
              <a:gd name="connsiteX26" fmla="*/ 1855 w 634672"/>
              <a:gd name="connsiteY26" fmla="*/ 376261 h 634736"/>
              <a:gd name="connsiteX27" fmla="*/ 0 w 634672"/>
              <a:gd name="connsiteY27" fmla="*/ 269736 h 634736"/>
              <a:gd name="connsiteX28" fmla="*/ 62508 w 634672"/>
              <a:gd name="connsiteY28" fmla="*/ 254381 h 634736"/>
              <a:gd name="connsiteX29" fmla="*/ 87907 w 634672"/>
              <a:gd name="connsiteY29" fmla="*/ 189762 h 634736"/>
              <a:gd name="connsiteX30" fmla="*/ 52655 w 634672"/>
              <a:gd name="connsiteY30" fmla="*/ 135956 h 634736"/>
              <a:gd name="connsiteX31" fmla="*/ 126615 w 634672"/>
              <a:gd name="connsiteY31" fmla="*/ 59309 h 634736"/>
              <a:gd name="connsiteX32" fmla="*/ 181701 w 634672"/>
              <a:gd name="connsiteY32" fmla="*/ 92578 h 634736"/>
              <a:gd name="connsiteX33" fmla="*/ 181701 w 634672"/>
              <a:gd name="connsiteY33" fmla="*/ 92578 h 634736"/>
              <a:gd name="connsiteX34" fmla="*/ 238514 w 634672"/>
              <a:gd name="connsiteY34" fmla="*/ 234483 h 634736"/>
              <a:gd name="connsiteX35" fmla="*/ 241329 w 634672"/>
              <a:gd name="connsiteY35" fmla="*/ 396031 h 634736"/>
              <a:gd name="connsiteX36" fmla="*/ 402876 w 634672"/>
              <a:gd name="connsiteY36" fmla="*/ 393216 h 634736"/>
              <a:gd name="connsiteX37" fmla="*/ 400061 w 634672"/>
              <a:gd name="connsiteY37" fmla="*/ 231668 h 634736"/>
              <a:gd name="connsiteX38" fmla="*/ 238514 w 634672"/>
              <a:gd name="connsiteY38" fmla="*/ 234483 h 63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34672" h="634736">
                <a:moveTo>
                  <a:pt x="181701" y="92578"/>
                </a:moveTo>
                <a:cubicBezTo>
                  <a:pt x="201854" y="80422"/>
                  <a:pt x="223287" y="71209"/>
                  <a:pt x="245360" y="64875"/>
                </a:cubicBezTo>
                <a:lnTo>
                  <a:pt x="258476" y="1855"/>
                </a:lnTo>
                <a:lnTo>
                  <a:pt x="365001" y="0"/>
                </a:lnTo>
                <a:lnTo>
                  <a:pt x="380356" y="62508"/>
                </a:lnTo>
                <a:cubicBezTo>
                  <a:pt x="402685" y="68010"/>
                  <a:pt x="424437" y="76455"/>
                  <a:pt x="444975" y="87907"/>
                </a:cubicBezTo>
                <a:lnTo>
                  <a:pt x="498781" y="52655"/>
                </a:lnTo>
                <a:lnTo>
                  <a:pt x="575428" y="126679"/>
                </a:lnTo>
                <a:lnTo>
                  <a:pt x="542095" y="181701"/>
                </a:lnTo>
                <a:cubicBezTo>
                  <a:pt x="554251" y="201854"/>
                  <a:pt x="563464" y="223287"/>
                  <a:pt x="569798" y="245424"/>
                </a:cubicBezTo>
                <a:lnTo>
                  <a:pt x="632817" y="258540"/>
                </a:lnTo>
                <a:lnTo>
                  <a:pt x="634673" y="365065"/>
                </a:lnTo>
                <a:lnTo>
                  <a:pt x="572165" y="380420"/>
                </a:lnTo>
                <a:cubicBezTo>
                  <a:pt x="566663" y="402749"/>
                  <a:pt x="558218" y="424501"/>
                  <a:pt x="546765" y="445039"/>
                </a:cubicBezTo>
                <a:lnTo>
                  <a:pt x="582018" y="498845"/>
                </a:lnTo>
                <a:lnTo>
                  <a:pt x="508058" y="575492"/>
                </a:lnTo>
                <a:lnTo>
                  <a:pt x="453036" y="542159"/>
                </a:lnTo>
                <a:cubicBezTo>
                  <a:pt x="432883" y="554315"/>
                  <a:pt x="411450" y="563528"/>
                  <a:pt x="389313" y="569862"/>
                </a:cubicBezTo>
                <a:lnTo>
                  <a:pt x="376197" y="632881"/>
                </a:lnTo>
                <a:lnTo>
                  <a:pt x="269672" y="634737"/>
                </a:lnTo>
                <a:lnTo>
                  <a:pt x="254317" y="572229"/>
                </a:lnTo>
                <a:cubicBezTo>
                  <a:pt x="231988" y="566727"/>
                  <a:pt x="210235" y="558282"/>
                  <a:pt x="189698" y="546830"/>
                </a:cubicBezTo>
                <a:lnTo>
                  <a:pt x="135892" y="582082"/>
                </a:lnTo>
                <a:lnTo>
                  <a:pt x="59245" y="508122"/>
                </a:lnTo>
                <a:lnTo>
                  <a:pt x="92578" y="453100"/>
                </a:lnTo>
                <a:cubicBezTo>
                  <a:pt x="80422" y="432947"/>
                  <a:pt x="71209" y="411514"/>
                  <a:pt x="64875" y="389377"/>
                </a:cubicBezTo>
                <a:lnTo>
                  <a:pt x="1855" y="376261"/>
                </a:lnTo>
                <a:lnTo>
                  <a:pt x="0" y="269736"/>
                </a:lnTo>
                <a:lnTo>
                  <a:pt x="62508" y="254381"/>
                </a:lnTo>
                <a:cubicBezTo>
                  <a:pt x="68010" y="232052"/>
                  <a:pt x="76455" y="210299"/>
                  <a:pt x="87907" y="189762"/>
                </a:cubicBezTo>
                <a:lnTo>
                  <a:pt x="52655" y="135956"/>
                </a:lnTo>
                <a:lnTo>
                  <a:pt x="126615" y="59309"/>
                </a:lnTo>
                <a:lnTo>
                  <a:pt x="181701" y="92578"/>
                </a:lnTo>
                <a:lnTo>
                  <a:pt x="181701" y="92578"/>
                </a:lnTo>
                <a:close/>
                <a:moveTo>
                  <a:pt x="238514" y="234483"/>
                </a:moveTo>
                <a:cubicBezTo>
                  <a:pt x="194688" y="279909"/>
                  <a:pt x="195968" y="352205"/>
                  <a:pt x="241329" y="396031"/>
                </a:cubicBezTo>
                <a:cubicBezTo>
                  <a:pt x="286754" y="439856"/>
                  <a:pt x="359051" y="438577"/>
                  <a:pt x="402876" y="393216"/>
                </a:cubicBezTo>
                <a:cubicBezTo>
                  <a:pt x="446702" y="347791"/>
                  <a:pt x="445423" y="275494"/>
                  <a:pt x="400061" y="231668"/>
                </a:cubicBezTo>
                <a:cubicBezTo>
                  <a:pt x="354700" y="187779"/>
                  <a:pt x="282340" y="189058"/>
                  <a:pt x="238514" y="234483"/>
                </a:cubicBezTo>
                <a:close/>
              </a:path>
            </a:pathLst>
          </a:custGeom>
          <a:solidFill>
            <a:srgbClr val="45726D"/>
          </a:solidFill>
          <a:ln w="638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1" name="Freeform: Shape 900">
            <a:extLst>
              <a:ext uri="{FF2B5EF4-FFF2-40B4-BE49-F238E27FC236}">
                <a16:creationId xmlns:a16="http://schemas.microsoft.com/office/drawing/2014/main" id="{40F02335-5F4E-4A65-B3BD-452D974AAC29}"/>
              </a:ext>
            </a:extLst>
          </p:cNvPr>
          <p:cNvSpPr/>
          <p:nvPr/>
        </p:nvSpPr>
        <p:spPr>
          <a:xfrm>
            <a:off x="3016481" y="0"/>
            <a:ext cx="870586" cy="911214"/>
          </a:xfrm>
          <a:custGeom>
            <a:avLst/>
            <a:gdLst>
              <a:gd name="connsiteX0" fmla="*/ 7151 w 978708"/>
              <a:gd name="connsiteY0" fmla="*/ 0 h 1024382"/>
              <a:gd name="connsiteX1" fmla="*/ 971558 w 978708"/>
              <a:gd name="connsiteY1" fmla="*/ 0 h 1024382"/>
              <a:gd name="connsiteX2" fmla="*/ 978708 w 978708"/>
              <a:gd name="connsiteY2" fmla="*/ 35418 h 1024382"/>
              <a:gd name="connsiteX3" fmla="*/ 978708 w 978708"/>
              <a:gd name="connsiteY3" fmla="*/ 861261 h 1024382"/>
              <a:gd name="connsiteX4" fmla="*/ 815587 w 978708"/>
              <a:gd name="connsiteY4" fmla="*/ 1024382 h 1024382"/>
              <a:gd name="connsiteX5" fmla="*/ 163121 w 978708"/>
              <a:gd name="connsiteY5" fmla="*/ 1024382 h 1024382"/>
              <a:gd name="connsiteX6" fmla="*/ 0 w 978708"/>
              <a:gd name="connsiteY6" fmla="*/ 861261 h 1024382"/>
              <a:gd name="connsiteX7" fmla="*/ 0 w 978708"/>
              <a:gd name="connsiteY7" fmla="*/ 35418 h 102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708" h="1024382">
                <a:moveTo>
                  <a:pt x="7151" y="0"/>
                </a:moveTo>
                <a:lnTo>
                  <a:pt x="971558" y="0"/>
                </a:lnTo>
                <a:lnTo>
                  <a:pt x="978708" y="35418"/>
                </a:lnTo>
                <a:lnTo>
                  <a:pt x="978708" y="861261"/>
                </a:lnTo>
                <a:cubicBezTo>
                  <a:pt x="978708" y="951350"/>
                  <a:pt x="905676" y="1024382"/>
                  <a:pt x="815587" y="1024382"/>
                </a:cubicBezTo>
                <a:lnTo>
                  <a:pt x="163121" y="1024382"/>
                </a:lnTo>
                <a:cubicBezTo>
                  <a:pt x="73032" y="1024382"/>
                  <a:pt x="0" y="951350"/>
                  <a:pt x="0" y="861261"/>
                </a:cubicBezTo>
                <a:lnTo>
                  <a:pt x="0" y="35418"/>
                </a:ln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909" name="Graphic 905" descr="Two circles, one solid and one filled with dots">
            <a:extLst>
              <a:ext uri="{FF2B5EF4-FFF2-40B4-BE49-F238E27FC236}">
                <a16:creationId xmlns:a16="http://schemas.microsoft.com/office/drawing/2014/main" id="{F474094B-0A6F-4796-8A19-67BB7B45287F}"/>
              </a:ext>
            </a:extLst>
          </p:cNvPr>
          <p:cNvGrpSpPr/>
          <p:nvPr/>
        </p:nvGrpSpPr>
        <p:grpSpPr>
          <a:xfrm>
            <a:off x="11249986" y="324373"/>
            <a:ext cx="545626" cy="545626"/>
            <a:chOff x="12567532" y="1668451"/>
            <a:chExt cx="2003545" cy="2003545"/>
          </a:xfrm>
          <a:solidFill>
            <a:srgbClr val="45726D"/>
          </a:solidFill>
        </p:grpSpPr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1D4882D4-A369-42DA-BAFB-9021CB593555}"/>
                </a:ext>
              </a:extLst>
            </p:cNvPr>
            <p:cNvSpPr/>
            <p:nvPr/>
          </p:nvSpPr>
          <p:spPr>
            <a:xfrm>
              <a:off x="12996862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AA347B46-AF1B-43F2-9A69-4A664813D4AC}"/>
                </a:ext>
              </a:extLst>
            </p:cNvPr>
            <p:cNvSpPr/>
            <p:nvPr/>
          </p:nvSpPr>
          <p:spPr>
            <a:xfrm>
              <a:off x="13211526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FD37477E-B0BB-46DA-9557-DB3B053BBE20}"/>
                </a:ext>
              </a:extLst>
            </p:cNvPr>
            <p:cNvSpPr/>
            <p:nvPr/>
          </p:nvSpPr>
          <p:spPr>
            <a:xfrm>
              <a:off x="13426191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98DF180A-FA0F-4276-A373-406806E69477}"/>
                </a:ext>
              </a:extLst>
            </p:cNvPr>
            <p:cNvSpPr/>
            <p:nvPr/>
          </p:nvSpPr>
          <p:spPr>
            <a:xfrm>
              <a:off x="13640866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4CF64EBF-7DFB-4A70-9120-4495E01B9675}"/>
                </a:ext>
              </a:extLst>
            </p:cNvPr>
            <p:cNvSpPr/>
            <p:nvPr/>
          </p:nvSpPr>
          <p:spPr>
            <a:xfrm>
              <a:off x="13855531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6653B454-FA90-464F-AD5B-FCA66E3AC19B}"/>
                </a:ext>
              </a:extLst>
            </p:cNvPr>
            <p:cNvSpPr/>
            <p:nvPr/>
          </p:nvSpPr>
          <p:spPr>
            <a:xfrm>
              <a:off x="14070196" y="166845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A82ACD83-7F8D-4B45-BEE8-F1B441598381}"/>
                </a:ext>
              </a:extLst>
            </p:cNvPr>
            <p:cNvSpPr/>
            <p:nvPr/>
          </p:nvSpPr>
          <p:spPr>
            <a:xfrm>
              <a:off x="12782197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9695C363-5DB2-4A17-A7D6-DB02D5F63322}"/>
                </a:ext>
              </a:extLst>
            </p:cNvPr>
            <p:cNvSpPr/>
            <p:nvPr/>
          </p:nvSpPr>
          <p:spPr>
            <a:xfrm>
              <a:off x="12996862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EE286B4F-F473-4B49-AA93-C9CA71D77417}"/>
                </a:ext>
              </a:extLst>
            </p:cNvPr>
            <p:cNvSpPr/>
            <p:nvPr/>
          </p:nvSpPr>
          <p:spPr>
            <a:xfrm>
              <a:off x="13211526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F7E60B5D-D6FF-46FA-844A-2F8838EC9D0D}"/>
                </a:ext>
              </a:extLst>
            </p:cNvPr>
            <p:cNvSpPr/>
            <p:nvPr/>
          </p:nvSpPr>
          <p:spPr>
            <a:xfrm>
              <a:off x="13426191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E09D64B6-E311-4C46-97AA-BD65D11C79A4}"/>
                </a:ext>
              </a:extLst>
            </p:cNvPr>
            <p:cNvSpPr/>
            <p:nvPr/>
          </p:nvSpPr>
          <p:spPr>
            <a:xfrm>
              <a:off x="13640866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86D703FC-1962-4222-8FBA-B3B43FB5EF66}"/>
                </a:ext>
              </a:extLst>
            </p:cNvPr>
            <p:cNvSpPr/>
            <p:nvPr/>
          </p:nvSpPr>
          <p:spPr>
            <a:xfrm>
              <a:off x="13855531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F888E7CD-7D9B-40C7-B5AD-5D8AE573A9C2}"/>
                </a:ext>
              </a:extLst>
            </p:cNvPr>
            <p:cNvSpPr/>
            <p:nvPr/>
          </p:nvSpPr>
          <p:spPr>
            <a:xfrm>
              <a:off x="14070196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6444D9A0-5FA6-4195-82BC-30873AC82B50}"/>
                </a:ext>
              </a:extLst>
            </p:cNvPr>
            <p:cNvSpPr/>
            <p:nvPr/>
          </p:nvSpPr>
          <p:spPr>
            <a:xfrm>
              <a:off x="14284861" y="1883116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EAC4B74E-DCC3-4CA1-8E5A-3031211B446F}"/>
                </a:ext>
              </a:extLst>
            </p:cNvPr>
            <p:cNvSpPr/>
            <p:nvPr/>
          </p:nvSpPr>
          <p:spPr>
            <a:xfrm>
              <a:off x="12567532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907CA444-119D-4F64-8039-97493E050469}"/>
                </a:ext>
              </a:extLst>
            </p:cNvPr>
            <p:cNvSpPr/>
            <p:nvPr/>
          </p:nvSpPr>
          <p:spPr>
            <a:xfrm>
              <a:off x="12782197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3975BDE4-4AA6-41D7-8455-5687745095E9}"/>
                </a:ext>
              </a:extLst>
            </p:cNvPr>
            <p:cNvSpPr/>
            <p:nvPr/>
          </p:nvSpPr>
          <p:spPr>
            <a:xfrm>
              <a:off x="12996862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A1D7F65B-3B0F-4063-A31B-964FA5871A71}"/>
                </a:ext>
              </a:extLst>
            </p:cNvPr>
            <p:cNvSpPr/>
            <p:nvPr/>
          </p:nvSpPr>
          <p:spPr>
            <a:xfrm>
              <a:off x="13211526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A0F28A80-AB68-497A-8A13-C66D9857A951}"/>
                </a:ext>
              </a:extLst>
            </p:cNvPr>
            <p:cNvSpPr/>
            <p:nvPr/>
          </p:nvSpPr>
          <p:spPr>
            <a:xfrm>
              <a:off x="13426191" y="2097781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3BA1ED81-B377-472D-85D6-D88510D584FC}"/>
                </a:ext>
              </a:extLst>
            </p:cNvPr>
            <p:cNvSpPr/>
            <p:nvPr/>
          </p:nvSpPr>
          <p:spPr>
            <a:xfrm>
              <a:off x="13640866" y="2097781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9B54029F-FFAF-4A9D-9DFF-65A6C9A12CFB}"/>
                </a:ext>
              </a:extLst>
            </p:cNvPr>
            <p:cNvSpPr/>
            <p:nvPr/>
          </p:nvSpPr>
          <p:spPr>
            <a:xfrm>
              <a:off x="13855531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4E110E4E-68E1-4918-8431-487C6D5FD464}"/>
                </a:ext>
              </a:extLst>
            </p:cNvPr>
            <p:cNvSpPr/>
            <p:nvPr/>
          </p:nvSpPr>
          <p:spPr>
            <a:xfrm>
              <a:off x="14070196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CDF38ADB-02A1-4430-8689-0DA2CDCFC54A}"/>
                </a:ext>
              </a:extLst>
            </p:cNvPr>
            <p:cNvSpPr/>
            <p:nvPr/>
          </p:nvSpPr>
          <p:spPr>
            <a:xfrm>
              <a:off x="14284861" y="2097781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2E5C0C63-512C-4F17-9ACD-423617174BC4}"/>
                </a:ext>
              </a:extLst>
            </p:cNvPr>
            <p:cNvSpPr/>
            <p:nvPr/>
          </p:nvSpPr>
          <p:spPr>
            <a:xfrm>
              <a:off x="14499526" y="2097790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102D9242-07F1-4D65-9627-4CCA3EAF76DA}"/>
                </a:ext>
              </a:extLst>
            </p:cNvPr>
            <p:cNvSpPr/>
            <p:nvPr/>
          </p:nvSpPr>
          <p:spPr>
            <a:xfrm>
              <a:off x="12567532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D18356F8-693B-4A46-AD0E-CF234A100C2E}"/>
                </a:ext>
              </a:extLst>
            </p:cNvPr>
            <p:cNvSpPr/>
            <p:nvPr/>
          </p:nvSpPr>
          <p:spPr>
            <a:xfrm>
              <a:off x="12782197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6EDE40B4-ED62-4AF7-8EB3-C9534592846E}"/>
                </a:ext>
              </a:extLst>
            </p:cNvPr>
            <p:cNvSpPr/>
            <p:nvPr/>
          </p:nvSpPr>
          <p:spPr>
            <a:xfrm>
              <a:off x="12996862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2944D423-F7FB-4EF4-ACEC-89E5649D2EB9}"/>
                </a:ext>
              </a:extLst>
            </p:cNvPr>
            <p:cNvSpPr/>
            <p:nvPr/>
          </p:nvSpPr>
          <p:spPr>
            <a:xfrm>
              <a:off x="13211526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6A3B0347-051A-4F3D-943D-4F3EAD88E654}"/>
                </a:ext>
              </a:extLst>
            </p:cNvPr>
            <p:cNvSpPr/>
            <p:nvPr/>
          </p:nvSpPr>
          <p:spPr>
            <a:xfrm>
              <a:off x="13426191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F165A3CE-4FFE-4327-A41F-4EC6575451D4}"/>
                </a:ext>
              </a:extLst>
            </p:cNvPr>
            <p:cNvSpPr/>
            <p:nvPr/>
          </p:nvSpPr>
          <p:spPr>
            <a:xfrm>
              <a:off x="13640866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2FF8863B-73AB-405B-8B3F-E8D49E78CFE1}"/>
                </a:ext>
              </a:extLst>
            </p:cNvPr>
            <p:cNvSpPr/>
            <p:nvPr/>
          </p:nvSpPr>
          <p:spPr>
            <a:xfrm>
              <a:off x="13855531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B4F1CC44-5034-4CF7-89EC-CCF1DAD52B81}"/>
                </a:ext>
              </a:extLst>
            </p:cNvPr>
            <p:cNvSpPr/>
            <p:nvPr/>
          </p:nvSpPr>
          <p:spPr>
            <a:xfrm>
              <a:off x="14070196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44FE2D7A-4142-46B9-9DAC-2E08CE6121F5}"/>
                </a:ext>
              </a:extLst>
            </p:cNvPr>
            <p:cNvSpPr/>
            <p:nvPr/>
          </p:nvSpPr>
          <p:spPr>
            <a:xfrm>
              <a:off x="14284861" y="2312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7EA30B57-64C5-48B9-87F7-FCCE253E3DDC}"/>
                </a:ext>
              </a:extLst>
            </p:cNvPr>
            <p:cNvSpPr/>
            <p:nvPr/>
          </p:nvSpPr>
          <p:spPr>
            <a:xfrm>
              <a:off x="14499526" y="2312455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DA78853D-D000-4741-B99C-00963AF3EEAF}"/>
                </a:ext>
              </a:extLst>
            </p:cNvPr>
            <p:cNvSpPr/>
            <p:nvPr/>
          </p:nvSpPr>
          <p:spPr>
            <a:xfrm>
              <a:off x="12567532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125F6ECA-552C-4D5E-B047-3444526B6C43}"/>
                </a:ext>
              </a:extLst>
            </p:cNvPr>
            <p:cNvSpPr/>
            <p:nvPr/>
          </p:nvSpPr>
          <p:spPr>
            <a:xfrm>
              <a:off x="12782197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C56C322-AD23-40CF-AC2F-64B2A64DACB8}"/>
                </a:ext>
              </a:extLst>
            </p:cNvPr>
            <p:cNvSpPr/>
            <p:nvPr/>
          </p:nvSpPr>
          <p:spPr>
            <a:xfrm>
              <a:off x="12996862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719C24E8-A84B-40FB-A9DF-F19FFF3B237C}"/>
                </a:ext>
              </a:extLst>
            </p:cNvPr>
            <p:cNvSpPr/>
            <p:nvPr/>
          </p:nvSpPr>
          <p:spPr>
            <a:xfrm>
              <a:off x="13211526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51B46CD8-5C9E-4934-AC18-3A66641089B3}"/>
                </a:ext>
              </a:extLst>
            </p:cNvPr>
            <p:cNvSpPr/>
            <p:nvPr/>
          </p:nvSpPr>
          <p:spPr>
            <a:xfrm>
              <a:off x="13426191" y="2527110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708D2B53-6D4D-40D4-AB09-E830BF813973}"/>
                </a:ext>
              </a:extLst>
            </p:cNvPr>
            <p:cNvSpPr/>
            <p:nvPr/>
          </p:nvSpPr>
          <p:spPr>
            <a:xfrm>
              <a:off x="13640866" y="2527110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F379477-8BD3-4395-A133-9505939DD4F3}"/>
                </a:ext>
              </a:extLst>
            </p:cNvPr>
            <p:cNvSpPr/>
            <p:nvPr/>
          </p:nvSpPr>
          <p:spPr>
            <a:xfrm>
              <a:off x="13855531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E8099D15-223C-4CBD-A8EE-22ACAAC91F88}"/>
                </a:ext>
              </a:extLst>
            </p:cNvPr>
            <p:cNvSpPr/>
            <p:nvPr/>
          </p:nvSpPr>
          <p:spPr>
            <a:xfrm>
              <a:off x="14070196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1C57A235-5DE6-42CF-93F6-2635454ED6B5}"/>
                </a:ext>
              </a:extLst>
            </p:cNvPr>
            <p:cNvSpPr/>
            <p:nvPr/>
          </p:nvSpPr>
          <p:spPr>
            <a:xfrm>
              <a:off x="14284861" y="252711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FC890025-2020-40D5-8A9D-A037548CF715}"/>
                </a:ext>
              </a:extLst>
            </p:cNvPr>
            <p:cNvSpPr/>
            <p:nvPr/>
          </p:nvSpPr>
          <p:spPr>
            <a:xfrm>
              <a:off x="14499526" y="2527120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F50A0E9-5E97-4C98-819C-2DF8678A0098}"/>
                </a:ext>
              </a:extLst>
            </p:cNvPr>
            <p:cNvSpPr/>
            <p:nvPr/>
          </p:nvSpPr>
          <p:spPr>
            <a:xfrm>
              <a:off x="12567532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ABCF06A1-A79F-4D57-945A-EA0487CFCC34}"/>
                </a:ext>
              </a:extLst>
            </p:cNvPr>
            <p:cNvSpPr/>
            <p:nvPr/>
          </p:nvSpPr>
          <p:spPr>
            <a:xfrm>
              <a:off x="12782197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16ECD66F-D1FE-408D-ADA0-72FAF2DB8795}"/>
                </a:ext>
              </a:extLst>
            </p:cNvPr>
            <p:cNvSpPr/>
            <p:nvPr/>
          </p:nvSpPr>
          <p:spPr>
            <a:xfrm>
              <a:off x="12996862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F806C843-EDDC-4166-80CC-861D8DEBA51C}"/>
                </a:ext>
              </a:extLst>
            </p:cNvPr>
            <p:cNvSpPr/>
            <p:nvPr/>
          </p:nvSpPr>
          <p:spPr>
            <a:xfrm>
              <a:off x="13211526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536A97D7-C110-4503-9997-F7261E5246DE}"/>
                </a:ext>
              </a:extLst>
            </p:cNvPr>
            <p:cNvSpPr/>
            <p:nvPr/>
          </p:nvSpPr>
          <p:spPr>
            <a:xfrm>
              <a:off x="13426191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8EDE26B6-A833-4E09-AF0F-3668C91FD91F}"/>
                </a:ext>
              </a:extLst>
            </p:cNvPr>
            <p:cNvSpPr/>
            <p:nvPr/>
          </p:nvSpPr>
          <p:spPr>
            <a:xfrm>
              <a:off x="13640866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81FC6784-DF88-46F1-9F51-731AA8CF6EBB}"/>
                </a:ext>
              </a:extLst>
            </p:cNvPr>
            <p:cNvSpPr/>
            <p:nvPr/>
          </p:nvSpPr>
          <p:spPr>
            <a:xfrm>
              <a:off x="13855531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F0C61644-1CBC-436B-8706-0B94E893040A}"/>
                </a:ext>
              </a:extLst>
            </p:cNvPr>
            <p:cNvSpPr/>
            <p:nvPr/>
          </p:nvSpPr>
          <p:spPr>
            <a:xfrm>
              <a:off x="14070196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46CAF4D4-02DB-4673-B1DF-020617FAD7BE}"/>
                </a:ext>
              </a:extLst>
            </p:cNvPr>
            <p:cNvSpPr/>
            <p:nvPr/>
          </p:nvSpPr>
          <p:spPr>
            <a:xfrm>
              <a:off x="14284861" y="274177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D91BE317-DF4A-492C-BEBE-AB1BFDDDB06B}"/>
                </a:ext>
              </a:extLst>
            </p:cNvPr>
            <p:cNvSpPr/>
            <p:nvPr/>
          </p:nvSpPr>
          <p:spPr>
            <a:xfrm>
              <a:off x="14499526" y="2741785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27867C11-C625-4C37-8B6A-AC6475D95977}"/>
                </a:ext>
              </a:extLst>
            </p:cNvPr>
            <p:cNvSpPr/>
            <p:nvPr/>
          </p:nvSpPr>
          <p:spPr>
            <a:xfrm>
              <a:off x="12567532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66994F50-B340-46A2-93F3-C2370D74E8B7}"/>
                </a:ext>
              </a:extLst>
            </p:cNvPr>
            <p:cNvSpPr/>
            <p:nvPr/>
          </p:nvSpPr>
          <p:spPr>
            <a:xfrm>
              <a:off x="12782197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A8399831-83D4-4576-B017-3AD6CBF396A7}"/>
                </a:ext>
              </a:extLst>
            </p:cNvPr>
            <p:cNvSpPr/>
            <p:nvPr/>
          </p:nvSpPr>
          <p:spPr>
            <a:xfrm>
              <a:off x="12996862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869ED12F-0064-4D37-A9CA-03E7EBFAA135}"/>
                </a:ext>
              </a:extLst>
            </p:cNvPr>
            <p:cNvSpPr/>
            <p:nvPr/>
          </p:nvSpPr>
          <p:spPr>
            <a:xfrm>
              <a:off x="13211526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489C430F-D239-44CD-82B5-EA96021CA919}"/>
                </a:ext>
              </a:extLst>
            </p:cNvPr>
            <p:cNvSpPr/>
            <p:nvPr/>
          </p:nvSpPr>
          <p:spPr>
            <a:xfrm>
              <a:off x="13426191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91E7A4B5-6C8B-43AC-956F-ADB2650E9E18}"/>
                </a:ext>
              </a:extLst>
            </p:cNvPr>
            <p:cNvSpPr/>
            <p:nvPr/>
          </p:nvSpPr>
          <p:spPr>
            <a:xfrm>
              <a:off x="13640866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4D7D3C12-5BC3-42D3-B146-78951A14A148}"/>
                </a:ext>
              </a:extLst>
            </p:cNvPr>
            <p:cNvSpPr/>
            <p:nvPr/>
          </p:nvSpPr>
          <p:spPr>
            <a:xfrm>
              <a:off x="13855531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44ED1995-00DC-4936-9B6F-89CAB9C67D11}"/>
                </a:ext>
              </a:extLst>
            </p:cNvPr>
            <p:cNvSpPr/>
            <p:nvPr/>
          </p:nvSpPr>
          <p:spPr>
            <a:xfrm>
              <a:off x="14070196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2C82EBF9-19EF-4A6F-859D-15AF0FCFCD2A}"/>
                </a:ext>
              </a:extLst>
            </p:cNvPr>
            <p:cNvSpPr/>
            <p:nvPr/>
          </p:nvSpPr>
          <p:spPr>
            <a:xfrm>
              <a:off x="14284861" y="295644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0 w 71551"/>
                <a:gd name="connsiteY2" fmla="*/ 35776 h 71551"/>
                <a:gd name="connsiteX3" fmla="*/ 35776 w 71551"/>
                <a:gd name="connsiteY3" fmla="*/ 71552 h 71551"/>
                <a:gd name="connsiteX4" fmla="*/ 71552 w 71551"/>
                <a:gd name="connsiteY4" fmla="*/ 35776 h 71551"/>
                <a:gd name="connsiteX5" fmla="*/ 71552 w 71551"/>
                <a:gd name="connsiteY5" fmla="*/ 35776 h 71551"/>
                <a:gd name="connsiteX6" fmla="*/ 35776 w 71551"/>
                <a:gd name="connsiteY6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561F4729-F7F1-456F-80A4-D74629D2410E}"/>
                </a:ext>
              </a:extLst>
            </p:cNvPr>
            <p:cNvSpPr/>
            <p:nvPr/>
          </p:nvSpPr>
          <p:spPr>
            <a:xfrm>
              <a:off x="14499526" y="2956450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71552 w 71551"/>
                <a:gd name="connsiteY2" fmla="*/ 35776 h 71551"/>
                <a:gd name="connsiteX3" fmla="*/ 35776 w 71551"/>
                <a:gd name="connsiteY3" fmla="*/ 0 h 71551"/>
                <a:gd name="connsiteX4" fmla="*/ 0 w 71551"/>
                <a:gd name="connsiteY4" fmla="*/ 35776 h 71551"/>
                <a:gd name="connsiteX5" fmla="*/ 0 w 71551"/>
                <a:gd name="connsiteY5" fmla="*/ 35776 h 71551"/>
                <a:gd name="connsiteX6" fmla="*/ 35776 w 71551"/>
                <a:gd name="connsiteY6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lnTo>
                    <a:pt x="71552" y="35776"/>
                  </a:lnTo>
                  <a:cubicBezTo>
                    <a:pt x="71552" y="16021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lnTo>
                    <a:pt x="0" y="35776"/>
                  </a:ln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D15E082D-CDA9-486D-A638-127317EA8FEF}"/>
                </a:ext>
              </a:extLst>
            </p:cNvPr>
            <p:cNvSpPr/>
            <p:nvPr/>
          </p:nvSpPr>
          <p:spPr>
            <a:xfrm>
              <a:off x="12567532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15850E1A-217B-4D2D-AB53-6473D2E10F71}"/>
                </a:ext>
              </a:extLst>
            </p:cNvPr>
            <p:cNvSpPr/>
            <p:nvPr/>
          </p:nvSpPr>
          <p:spPr>
            <a:xfrm>
              <a:off x="12782197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24434215-7BBD-404D-AD10-2398017A5536}"/>
                </a:ext>
              </a:extLst>
            </p:cNvPr>
            <p:cNvSpPr/>
            <p:nvPr/>
          </p:nvSpPr>
          <p:spPr>
            <a:xfrm>
              <a:off x="12996862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7F4DD820-0D6B-4F12-ABE9-9B667CA498CB}"/>
                </a:ext>
              </a:extLst>
            </p:cNvPr>
            <p:cNvSpPr/>
            <p:nvPr/>
          </p:nvSpPr>
          <p:spPr>
            <a:xfrm>
              <a:off x="13211526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61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442595E6-4822-4821-9F79-7AB8562AD370}"/>
                </a:ext>
              </a:extLst>
            </p:cNvPr>
            <p:cNvSpPr/>
            <p:nvPr/>
          </p:nvSpPr>
          <p:spPr>
            <a:xfrm>
              <a:off x="13426191" y="317111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98816F8B-49D7-4246-8BF3-74F35A4B84D8}"/>
                </a:ext>
              </a:extLst>
            </p:cNvPr>
            <p:cNvSpPr/>
            <p:nvPr/>
          </p:nvSpPr>
          <p:spPr>
            <a:xfrm>
              <a:off x="13640866" y="317111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4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8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F25D5224-6B60-4D00-A5F3-4DF890EFA327}"/>
                </a:ext>
              </a:extLst>
            </p:cNvPr>
            <p:cNvSpPr/>
            <p:nvPr/>
          </p:nvSpPr>
          <p:spPr>
            <a:xfrm>
              <a:off x="13855531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DB957F66-6863-48E0-8655-BD9A1BBA6AEC}"/>
                </a:ext>
              </a:extLst>
            </p:cNvPr>
            <p:cNvSpPr/>
            <p:nvPr/>
          </p:nvSpPr>
          <p:spPr>
            <a:xfrm>
              <a:off x="14070196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3DD759E-735A-431B-A9A5-8EE081DE673A}"/>
                </a:ext>
              </a:extLst>
            </p:cNvPr>
            <p:cNvSpPr/>
            <p:nvPr/>
          </p:nvSpPr>
          <p:spPr>
            <a:xfrm>
              <a:off x="14284861" y="317110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020A5440-6EEC-4633-9217-CA15728DAEF6}"/>
                </a:ext>
              </a:extLst>
            </p:cNvPr>
            <p:cNvSpPr/>
            <p:nvPr/>
          </p:nvSpPr>
          <p:spPr>
            <a:xfrm>
              <a:off x="14499526" y="3171115"/>
              <a:ext cx="71551" cy="71551"/>
            </a:xfrm>
            <a:custGeom>
              <a:avLst/>
              <a:gdLst>
                <a:gd name="connsiteX0" fmla="*/ 35776 w 71551"/>
                <a:gd name="connsiteY0" fmla="*/ 71552 h 71551"/>
                <a:gd name="connsiteX1" fmla="*/ 71552 w 71551"/>
                <a:gd name="connsiteY1" fmla="*/ 35776 h 71551"/>
                <a:gd name="connsiteX2" fmla="*/ 35776 w 71551"/>
                <a:gd name="connsiteY2" fmla="*/ 0 h 71551"/>
                <a:gd name="connsiteX3" fmla="*/ 0 w 71551"/>
                <a:gd name="connsiteY3" fmla="*/ 35776 h 71551"/>
                <a:gd name="connsiteX4" fmla="*/ 35776 w 71551"/>
                <a:gd name="connsiteY4" fmla="*/ 71552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71552"/>
                  </a:move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12"/>
                    <a:pt x="55531" y="0"/>
                    <a:pt x="35776" y="0"/>
                  </a:cubicBez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12" y="71552"/>
                    <a:pt x="35776" y="715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8D7E5F8A-6880-4CCA-A282-DC5E7DBD04D5}"/>
                </a:ext>
              </a:extLst>
            </p:cNvPr>
            <p:cNvSpPr/>
            <p:nvPr/>
          </p:nvSpPr>
          <p:spPr>
            <a:xfrm>
              <a:off x="12782197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3A3D5200-BEB3-4EB2-8D4F-A1C822D7A2C5}"/>
                </a:ext>
              </a:extLst>
            </p:cNvPr>
            <p:cNvSpPr/>
            <p:nvPr/>
          </p:nvSpPr>
          <p:spPr>
            <a:xfrm>
              <a:off x="12996862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7D7757B3-9117-4F29-82B9-0632C4AB2A62}"/>
                </a:ext>
              </a:extLst>
            </p:cNvPr>
            <p:cNvSpPr/>
            <p:nvPr/>
          </p:nvSpPr>
          <p:spPr>
            <a:xfrm>
              <a:off x="13211526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011EDDEC-39E2-4DD3-A040-A4DEBD1F5592}"/>
                </a:ext>
              </a:extLst>
            </p:cNvPr>
            <p:cNvSpPr/>
            <p:nvPr/>
          </p:nvSpPr>
          <p:spPr>
            <a:xfrm>
              <a:off x="13426191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4E6D0925-BF4C-488D-A973-CF06E2565B70}"/>
                </a:ext>
              </a:extLst>
            </p:cNvPr>
            <p:cNvSpPr/>
            <p:nvPr/>
          </p:nvSpPr>
          <p:spPr>
            <a:xfrm>
              <a:off x="13640866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BB1D212E-10EE-4EE9-AD9A-3C1D1BDF573D}"/>
                </a:ext>
              </a:extLst>
            </p:cNvPr>
            <p:cNvSpPr/>
            <p:nvPr/>
          </p:nvSpPr>
          <p:spPr>
            <a:xfrm>
              <a:off x="13855531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957D001B-824C-43BF-B058-72E1F7ADCDB7}"/>
                </a:ext>
              </a:extLst>
            </p:cNvPr>
            <p:cNvSpPr/>
            <p:nvPr/>
          </p:nvSpPr>
          <p:spPr>
            <a:xfrm>
              <a:off x="14070196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08BE7B2A-97CE-4FFE-A7A1-2200AFA6D656}"/>
                </a:ext>
              </a:extLst>
            </p:cNvPr>
            <p:cNvSpPr/>
            <p:nvPr/>
          </p:nvSpPr>
          <p:spPr>
            <a:xfrm>
              <a:off x="14284861" y="3385780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B3F7073-BC70-4E9D-8205-8FFAE99E3BF2}"/>
                </a:ext>
              </a:extLst>
            </p:cNvPr>
            <p:cNvSpPr/>
            <p:nvPr/>
          </p:nvSpPr>
          <p:spPr>
            <a:xfrm>
              <a:off x="12996862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3E638BAE-CA28-4A76-B583-EA69A6C5516C}"/>
                </a:ext>
              </a:extLst>
            </p:cNvPr>
            <p:cNvSpPr/>
            <p:nvPr/>
          </p:nvSpPr>
          <p:spPr>
            <a:xfrm>
              <a:off x="13211526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21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40" y="71552"/>
                    <a:pt x="71552" y="55531"/>
                    <a:pt x="71552" y="35776"/>
                  </a:cubicBezTo>
                  <a:cubicBezTo>
                    <a:pt x="71552" y="16021"/>
                    <a:pt x="55540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AD9ECA79-A485-4F43-A62C-1C6C8C84D418}"/>
                </a:ext>
              </a:extLst>
            </p:cNvPr>
            <p:cNvSpPr/>
            <p:nvPr/>
          </p:nvSpPr>
          <p:spPr>
            <a:xfrm>
              <a:off x="13426191" y="360044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5"/>
                    <a:pt x="0" y="35776"/>
                  </a:cubicBezTo>
                  <a:cubicBezTo>
                    <a:pt x="0" y="16017"/>
                    <a:pt x="16018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14959298-C4D3-4481-A91A-253500DEDE04}"/>
                </a:ext>
              </a:extLst>
            </p:cNvPr>
            <p:cNvSpPr/>
            <p:nvPr/>
          </p:nvSpPr>
          <p:spPr>
            <a:xfrm>
              <a:off x="13640866" y="3600445"/>
              <a:ext cx="71551" cy="71551"/>
            </a:xfrm>
            <a:custGeom>
              <a:avLst/>
              <a:gdLst>
                <a:gd name="connsiteX0" fmla="*/ 71552 w 71551"/>
                <a:gd name="connsiteY0" fmla="*/ 35776 h 71551"/>
                <a:gd name="connsiteX1" fmla="*/ 35776 w 71551"/>
                <a:gd name="connsiteY1" fmla="*/ 71552 h 71551"/>
                <a:gd name="connsiteX2" fmla="*/ 0 w 71551"/>
                <a:gd name="connsiteY2" fmla="*/ 35776 h 71551"/>
                <a:gd name="connsiteX3" fmla="*/ 35776 w 71551"/>
                <a:gd name="connsiteY3" fmla="*/ 0 h 71551"/>
                <a:gd name="connsiteX4" fmla="*/ 71552 w 71551"/>
                <a:gd name="connsiteY4" fmla="*/ 35776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71552" y="35776"/>
                  </a:moveTo>
                  <a:cubicBezTo>
                    <a:pt x="71552" y="55534"/>
                    <a:pt x="55534" y="71552"/>
                    <a:pt x="35776" y="71552"/>
                  </a:cubicBezTo>
                  <a:cubicBezTo>
                    <a:pt x="16017" y="71552"/>
                    <a:pt x="0" y="55535"/>
                    <a:pt x="0" y="35776"/>
                  </a:cubicBezTo>
                  <a:cubicBezTo>
                    <a:pt x="0" y="16017"/>
                    <a:pt x="16017" y="0"/>
                    <a:pt x="35776" y="0"/>
                  </a:cubicBezTo>
                  <a:cubicBezTo>
                    <a:pt x="55534" y="0"/>
                    <a:pt x="71552" y="16017"/>
                    <a:pt x="71552" y="357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E0F89723-7BCD-4C89-8BC9-13005F9FE4CC}"/>
                </a:ext>
              </a:extLst>
            </p:cNvPr>
            <p:cNvSpPr/>
            <p:nvPr/>
          </p:nvSpPr>
          <p:spPr>
            <a:xfrm>
              <a:off x="13855531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99A83C20-EEF3-4541-941B-1BBBE6F22210}"/>
                </a:ext>
              </a:extLst>
            </p:cNvPr>
            <p:cNvSpPr/>
            <p:nvPr/>
          </p:nvSpPr>
          <p:spPr>
            <a:xfrm>
              <a:off x="14070196" y="3600445"/>
              <a:ext cx="71551" cy="71551"/>
            </a:xfrm>
            <a:custGeom>
              <a:avLst/>
              <a:gdLst>
                <a:gd name="connsiteX0" fmla="*/ 35776 w 71551"/>
                <a:gd name="connsiteY0" fmla="*/ 0 h 71551"/>
                <a:gd name="connsiteX1" fmla="*/ 0 w 71551"/>
                <a:gd name="connsiteY1" fmla="*/ 35776 h 71551"/>
                <a:gd name="connsiteX2" fmla="*/ 35776 w 71551"/>
                <a:gd name="connsiteY2" fmla="*/ 71552 h 71551"/>
                <a:gd name="connsiteX3" fmla="*/ 71552 w 71551"/>
                <a:gd name="connsiteY3" fmla="*/ 35776 h 71551"/>
                <a:gd name="connsiteX4" fmla="*/ 35776 w 71551"/>
                <a:gd name="connsiteY4" fmla="*/ 0 h 7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51" h="71551">
                  <a:moveTo>
                    <a:pt x="35776" y="0"/>
                  </a:moveTo>
                  <a:cubicBezTo>
                    <a:pt x="16012" y="0"/>
                    <a:pt x="0" y="16021"/>
                    <a:pt x="0" y="35776"/>
                  </a:cubicBezTo>
                  <a:cubicBezTo>
                    <a:pt x="0" y="55531"/>
                    <a:pt x="16021" y="71552"/>
                    <a:pt x="35776" y="71552"/>
                  </a:cubicBezTo>
                  <a:cubicBezTo>
                    <a:pt x="55531" y="71552"/>
                    <a:pt x="71552" y="55531"/>
                    <a:pt x="71552" y="35776"/>
                  </a:cubicBezTo>
                  <a:cubicBezTo>
                    <a:pt x="71552" y="16021"/>
                    <a:pt x="55531" y="0"/>
                    <a:pt x="3577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98" name="Freeform 176">
            <a:extLst>
              <a:ext uri="{FF2B5EF4-FFF2-40B4-BE49-F238E27FC236}">
                <a16:creationId xmlns:a16="http://schemas.microsoft.com/office/drawing/2014/main" id="{3F7B4F14-A4E6-4939-AB1D-F65ACF702470}"/>
              </a:ext>
            </a:extLst>
          </p:cNvPr>
          <p:cNvSpPr>
            <a:spLocks noEditPoints="1"/>
          </p:cNvSpPr>
          <p:nvPr/>
        </p:nvSpPr>
        <p:spPr bwMode="auto">
          <a:xfrm>
            <a:off x="3243335" y="111220"/>
            <a:ext cx="435271" cy="479643"/>
          </a:xfrm>
          <a:custGeom>
            <a:avLst/>
            <a:gdLst>
              <a:gd name="T0" fmla="*/ 81 w 87"/>
              <a:gd name="T1" fmla="*/ 39 h 96"/>
              <a:gd name="T2" fmla="*/ 78 w 87"/>
              <a:gd name="T3" fmla="*/ 34 h 96"/>
              <a:gd name="T4" fmla="*/ 40 w 87"/>
              <a:gd name="T5" fmla="*/ 0 h 96"/>
              <a:gd name="T6" fmla="*/ 0 w 87"/>
              <a:gd name="T7" fmla="*/ 40 h 96"/>
              <a:gd name="T8" fmla="*/ 16 w 87"/>
              <a:gd name="T9" fmla="*/ 72 h 96"/>
              <a:gd name="T10" fmla="*/ 16 w 87"/>
              <a:gd name="T11" fmla="*/ 94 h 96"/>
              <a:gd name="T12" fmla="*/ 18 w 87"/>
              <a:gd name="T13" fmla="*/ 96 h 96"/>
              <a:gd name="T14" fmla="*/ 58 w 87"/>
              <a:gd name="T15" fmla="*/ 96 h 96"/>
              <a:gd name="T16" fmla="*/ 60 w 87"/>
              <a:gd name="T17" fmla="*/ 94 h 96"/>
              <a:gd name="T18" fmla="*/ 60 w 87"/>
              <a:gd name="T19" fmla="*/ 82 h 96"/>
              <a:gd name="T20" fmla="*/ 74 w 87"/>
              <a:gd name="T21" fmla="*/ 78 h 96"/>
              <a:gd name="T22" fmla="*/ 78 w 87"/>
              <a:gd name="T23" fmla="*/ 60 h 96"/>
              <a:gd name="T24" fmla="*/ 82 w 87"/>
              <a:gd name="T25" fmla="*/ 60 h 96"/>
              <a:gd name="T26" fmla="*/ 86 w 87"/>
              <a:gd name="T27" fmla="*/ 58 h 96"/>
              <a:gd name="T28" fmla="*/ 87 w 87"/>
              <a:gd name="T29" fmla="*/ 55 h 96"/>
              <a:gd name="T30" fmla="*/ 87 w 87"/>
              <a:gd name="T31" fmla="*/ 54 h 96"/>
              <a:gd name="T32" fmla="*/ 81 w 87"/>
              <a:gd name="T33" fmla="*/ 39 h 96"/>
              <a:gd name="T34" fmla="*/ 41 w 87"/>
              <a:gd name="T35" fmla="*/ 60 h 96"/>
              <a:gd name="T36" fmla="*/ 40 w 87"/>
              <a:gd name="T37" fmla="*/ 60 h 96"/>
              <a:gd name="T38" fmla="*/ 39 w 87"/>
              <a:gd name="T39" fmla="*/ 60 h 96"/>
              <a:gd name="T40" fmla="*/ 18 w 87"/>
              <a:gd name="T41" fmla="*/ 33 h 96"/>
              <a:gd name="T42" fmla="*/ 30 w 87"/>
              <a:gd name="T43" fmla="*/ 20 h 96"/>
              <a:gd name="T44" fmla="*/ 40 w 87"/>
              <a:gd name="T45" fmla="*/ 26 h 96"/>
              <a:gd name="T46" fmla="*/ 50 w 87"/>
              <a:gd name="T47" fmla="*/ 20 h 96"/>
              <a:gd name="T48" fmla="*/ 62 w 87"/>
              <a:gd name="T49" fmla="*/ 33 h 96"/>
              <a:gd name="T50" fmla="*/ 41 w 87"/>
              <a:gd name="T5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7" h="96">
                <a:moveTo>
                  <a:pt x="81" y="39"/>
                </a:moveTo>
                <a:cubicBezTo>
                  <a:pt x="80" y="37"/>
                  <a:pt x="78" y="34"/>
                  <a:pt x="78" y="34"/>
                </a:cubicBezTo>
                <a:cubicBezTo>
                  <a:pt x="78" y="13"/>
                  <a:pt x="59" y="0"/>
                  <a:pt x="40" y="0"/>
                </a:cubicBezTo>
                <a:cubicBezTo>
                  <a:pt x="18" y="0"/>
                  <a:pt x="0" y="18"/>
                  <a:pt x="0" y="40"/>
                </a:cubicBezTo>
                <a:cubicBezTo>
                  <a:pt x="0" y="55"/>
                  <a:pt x="5" y="65"/>
                  <a:pt x="16" y="72"/>
                </a:cubicBezTo>
                <a:cubicBezTo>
                  <a:pt x="16" y="94"/>
                  <a:pt x="16" y="94"/>
                  <a:pt x="16" y="94"/>
                </a:cubicBezTo>
                <a:cubicBezTo>
                  <a:pt x="16" y="95"/>
                  <a:pt x="17" y="96"/>
                  <a:pt x="18" y="96"/>
                </a:cubicBezTo>
                <a:cubicBezTo>
                  <a:pt x="58" y="96"/>
                  <a:pt x="58" y="96"/>
                  <a:pt x="58" y="96"/>
                </a:cubicBezTo>
                <a:cubicBezTo>
                  <a:pt x="59" y="96"/>
                  <a:pt x="60" y="95"/>
                  <a:pt x="60" y="94"/>
                </a:cubicBezTo>
                <a:cubicBezTo>
                  <a:pt x="60" y="82"/>
                  <a:pt x="60" y="82"/>
                  <a:pt x="60" y="82"/>
                </a:cubicBezTo>
                <a:cubicBezTo>
                  <a:pt x="67" y="82"/>
                  <a:pt x="71" y="81"/>
                  <a:pt x="74" y="78"/>
                </a:cubicBezTo>
                <a:cubicBezTo>
                  <a:pt x="78" y="75"/>
                  <a:pt x="78" y="65"/>
                  <a:pt x="78" y="60"/>
                </a:cubicBezTo>
                <a:cubicBezTo>
                  <a:pt x="79" y="60"/>
                  <a:pt x="81" y="60"/>
                  <a:pt x="82" y="60"/>
                </a:cubicBezTo>
                <a:cubicBezTo>
                  <a:pt x="84" y="60"/>
                  <a:pt x="85" y="59"/>
                  <a:pt x="86" y="58"/>
                </a:cubicBezTo>
                <a:cubicBezTo>
                  <a:pt x="87" y="57"/>
                  <a:pt x="87" y="56"/>
                  <a:pt x="87" y="55"/>
                </a:cubicBezTo>
                <a:cubicBezTo>
                  <a:pt x="87" y="54"/>
                  <a:pt x="87" y="54"/>
                  <a:pt x="87" y="54"/>
                </a:cubicBezTo>
                <a:cubicBezTo>
                  <a:pt x="87" y="50"/>
                  <a:pt x="84" y="44"/>
                  <a:pt x="81" y="39"/>
                </a:cubicBezTo>
                <a:close/>
                <a:moveTo>
                  <a:pt x="41" y="60"/>
                </a:moveTo>
                <a:cubicBezTo>
                  <a:pt x="41" y="60"/>
                  <a:pt x="40" y="60"/>
                  <a:pt x="40" y="60"/>
                </a:cubicBezTo>
                <a:cubicBezTo>
                  <a:pt x="40" y="60"/>
                  <a:pt x="39" y="60"/>
                  <a:pt x="39" y="60"/>
                </a:cubicBezTo>
                <a:cubicBezTo>
                  <a:pt x="37" y="58"/>
                  <a:pt x="18" y="45"/>
                  <a:pt x="18" y="33"/>
                </a:cubicBezTo>
                <a:cubicBezTo>
                  <a:pt x="18" y="25"/>
                  <a:pt x="24" y="20"/>
                  <a:pt x="30" y="20"/>
                </a:cubicBezTo>
                <a:cubicBezTo>
                  <a:pt x="33" y="20"/>
                  <a:pt x="37" y="22"/>
                  <a:pt x="40" y="26"/>
                </a:cubicBezTo>
                <a:cubicBezTo>
                  <a:pt x="43" y="22"/>
                  <a:pt x="47" y="20"/>
                  <a:pt x="50" y="20"/>
                </a:cubicBezTo>
                <a:cubicBezTo>
                  <a:pt x="56" y="20"/>
                  <a:pt x="62" y="25"/>
                  <a:pt x="62" y="33"/>
                </a:cubicBezTo>
                <a:cubicBezTo>
                  <a:pt x="62" y="45"/>
                  <a:pt x="43" y="58"/>
                  <a:pt x="41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433" name="Graphic 28">
            <a:extLst>
              <a:ext uri="{FF2B5EF4-FFF2-40B4-BE49-F238E27FC236}">
                <a16:creationId xmlns:a16="http://schemas.microsoft.com/office/drawing/2014/main" id="{125C154A-1CBD-4522-A4EC-040AC61290FD}"/>
              </a:ext>
            </a:extLst>
          </p:cNvPr>
          <p:cNvGrpSpPr/>
          <p:nvPr/>
        </p:nvGrpSpPr>
        <p:grpSpPr>
          <a:xfrm rot="8886293">
            <a:off x="10343345" y="500229"/>
            <a:ext cx="209107" cy="209200"/>
            <a:chOff x="10517187" y="-377031"/>
            <a:chExt cx="214979" cy="215074"/>
          </a:xfrm>
          <a:solidFill>
            <a:srgbClr val="45726D"/>
          </a:solidFill>
        </p:grpSpPr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F749881-D063-4875-95C6-F18942F100D9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D9F8C98E-B5A8-48BE-A2DC-E4619DD25A20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36" name="Graphic 28">
            <a:extLst>
              <a:ext uri="{FF2B5EF4-FFF2-40B4-BE49-F238E27FC236}">
                <a16:creationId xmlns:a16="http://schemas.microsoft.com/office/drawing/2014/main" id="{9674826B-A4CC-4B54-8AC2-4BDBBB83956F}"/>
              </a:ext>
            </a:extLst>
          </p:cNvPr>
          <p:cNvGrpSpPr/>
          <p:nvPr/>
        </p:nvGrpSpPr>
        <p:grpSpPr>
          <a:xfrm rot="10800000">
            <a:off x="10118738" y="295068"/>
            <a:ext cx="165637" cy="165711"/>
            <a:chOff x="10517187" y="-377031"/>
            <a:chExt cx="214979" cy="215074"/>
          </a:xfrm>
          <a:solidFill>
            <a:srgbClr val="45726D"/>
          </a:solidFill>
        </p:grpSpPr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64CA534E-410B-42D2-A03F-1E972B15AC76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096EABB6-87C1-40EA-AD9F-37A40FE733CD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80" name="Slide Number Placeholder 203">
            <a:extLst>
              <a:ext uri="{FF2B5EF4-FFF2-40B4-BE49-F238E27FC236}">
                <a16:creationId xmlns:a16="http://schemas.microsoft.com/office/drawing/2014/main" id="{74038B4F-27F8-4E62-862A-2EFAC7563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73767"/>
            <a:ext cx="395914" cy="362202"/>
          </a:xfrm>
        </p:spPr>
        <p:txBody>
          <a:bodyPr/>
          <a:lstStyle/>
          <a:p>
            <a:fld id="{366E39CD-16F1-4381-8EB5-8BA4094A64D1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CCD3DB-F072-A70B-527D-98FC79E530B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90"/>
          <a:stretch/>
        </p:blipFill>
        <p:spPr>
          <a:xfrm>
            <a:off x="5313975" y="3460581"/>
            <a:ext cx="6403692" cy="1806097"/>
          </a:xfrm>
          <a:prstGeom prst="rect">
            <a:avLst/>
          </a:prstGeom>
        </p:spPr>
      </p:pic>
      <p:sp>
        <p:nvSpPr>
          <p:cNvPr id="525" name="TextBox 524">
            <a:extLst>
              <a:ext uri="{FF2B5EF4-FFF2-40B4-BE49-F238E27FC236}">
                <a16:creationId xmlns:a16="http://schemas.microsoft.com/office/drawing/2014/main" id="{64925816-BCB7-FC43-3F2C-10346A849139}"/>
              </a:ext>
            </a:extLst>
          </p:cNvPr>
          <p:cNvSpPr txBox="1"/>
          <p:nvPr/>
        </p:nvSpPr>
        <p:spPr>
          <a:xfrm>
            <a:off x="431672" y="997851"/>
            <a:ext cx="5422706" cy="243114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4400" b="1">
                <a:solidFill>
                  <a:srgbClr val="094A44"/>
                </a:solidFill>
                <a:latin typeface="Georgia" panose="02040502050405020303" pitchFamily="18" charset="0"/>
              </a:rPr>
              <a:t>K-10 Test Result</a:t>
            </a:r>
          </a:p>
        </p:txBody>
      </p:sp>
      <p:sp>
        <p:nvSpPr>
          <p:cNvPr id="526" name="Freeform: Shape 525">
            <a:extLst>
              <a:ext uri="{FF2B5EF4-FFF2-40B4-BE49-F238E27FC236}">
                <a16:creationId xmlns:a16="http://schemas.microsoft.com/office/drawing/2014/main" id="{805EE8E5-6267-52A9-0E73-C35C058987CD}"/>
              </a:ext>
            </a:extLst>
          </p:cNvPr>
          <p:cNvSpPr/>
          <p:nvPr/>
        </p:nvSpPr>
        <p:spPr>
          <a:xfrm>
            <a:off x="377205" y="2916116"/>
            <a:ext cx="3709864" cy="646032"/>
          </a:xfrm>
          <a:custGeom>
            <a:avLst/>
            <a:gdLst>
              <a:gd name="connsiteX0" fmla="*/ 3294279 w 3709864"/>
              <a:gd name="connsiteY0" fmla="*/ 0 h 646032"/>
              <a:gd name="connsiteX1" fmla="*/ 3709864 w 3709864"/>
              <a:gd name="connsiteY1" fmla="*/ 323016 h 646032"/>
              <a:gd name="connsiteX2" fmla="*/ 3294279 w 3709864"/>
              <a:gd name="connsiteY2" fmla="*/ 646032 h 646032"/>
              <a:gd name="connsiteX3" fmla="*/ 3294279 w 3709864"/>
              <a:gd name="connsiteY3" fmla="*/ 467533 h 646032"/>
              <a:gd name="connsiteX4" fmla="*/ 0 w 3709864"/>
              <a:gd name="connsiteY4" fmla="*/ 467533 h 646032"/>
              <a:gd name="connsiteX5" fmla="*/ 0 w 3709864"/>
              <a:gd name="connsiteY5" fmla="*/ 178498 h 646032"/>
              <a:gd name="connsiteX6" fmla="*/ 3294279 w 3709864"/>
              <a:gd name="connsiteY6" fmla="*/ 178498 h 646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9864" h="646032">
                <a:moveTo>
                  <a:pt x="3294279" y="0"/>
                </a:moveTo>
                <a:lnTo>
                  <a:pt x="3709864" y="323016"/>
                </a:lnTo>
                <a:lnTo>
                  <a:pt x="3294279" y="646032"/>
                </a:lnTo>
                <a:lnTo>
                  <a:pt x="3294279" y="467533"/>
                </a:lnTo>
                <a:lnTo>
                  <a:pt x="0" y="467533"/>
                </a:lnTo>
                <a:lnTo>
                  <a:pt x="0" y="178498"/>
                </a:lnTo>
                <a:lnTo>
                  <a:pt x="3294279" y="178498"/>
                </a:lnTo>
                <a:close/>
              </a:path>
            </a:pathLst>
          </a:custGeom>
          <a:noFill/>
          <a:ln w="6781" cap="flat">
            <a:solidFill>
              <a:srgbClr val="F3836D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00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945DE1B-24BD-4DAB-B5BC-7EBFC7819342}"/>
              </a:ext>
            </a:extLst>
          </p:cNvPr>
          <p:cNvSpPr/>
          <p:nvPr/>
        </p:nvSpPr>
        <p:spPr>
          <a:xfrm>
            <a:off x="551543" y="2873829"/>
            <a:ext cx="11107057" cy="3236685"/>
          </a:xfrm>
          <a:prstGeom prst="roundRect">
            <a:avLst/>
          </a:pr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C6746CAC-9597-48EE-BA86-A51FF0877C08}"/>
              </a:ext>
            </a:extLst>
          </p:cNvPr>
          <p:cNvGrpSpPr/>
          <p:nvPr/>
        </p:nvGrpSpPr>
        <p:grpSpPr>
          <a:xfrm>
            <a:off x="6844637" y="396741"/>
            <a:ext cx="4488049" cy="2831651"/>
            <a:chOff x="6844637" y="396741"/>
            <a:chExt cx="4488049" cy="2831651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BC0950C-FB85-4649-9436-D2724DEB9E11}"/>
                </a:ext>
              </a:extLst>
            </p:cNvPr>
            <p:cNvSpPr/>
            <p:nvPr/>
          </p:nvSpPr>
          <p:spPr>
            <a:xfrm>
              <a:off x="10899326" y="2156932"/>
              <a:ext cx="433360" cy="705052"/>
            </a:xfrm>
            <a:custGeom>
              <a:avLst/>
              <a:gdLst>
                <a:gd name="connsiteX0" fmla="*/ 413996 w 433360"/>
                <a:gd name="connsiteY0" fmla="*/ 2434 h 705052"/>
                <a:gd name="connsiteX1" fmla="*/ 337541 w 433360"/>
                <a:gd name="connsiteY1" fmla="*/ 68396 h 705052"/>
                <a:gd name="connsiteX2" fmla="*/ 283990 w 433360"/>
                <a:gd name="connsiteY2" fmla="*/ 206591 h 705052"/>
                <a:gd name="connsiteX3" fmla="*/ 260382 w 433360"/>
                <a:gd name="connsiteY3" fmla="*/ 214013 h 705052"/>
                <a:gd name="connsiteX4" fmla="*/ 208239 w 433360"/>
                <a:gd name="connsiteY4" fmla="*/ 177417 h 705052"/>
                <a:gd name="connsiteX5" fmla="*/ 186742 w 433360"/>
                <a:gd name="connsiteY5" fmla="*/ 244851 h 705052"/>
                <a:gd name="connsiteX6" fmla="*/ 203632 w 433360"/>
                <a:gd name="connsiteY6" fmla="*/ 365579 h 705052"/>
                <a:gd name="connsiteX7" fmla="*/ 191028 w 433360"/>
                <a:gd name="connsiteY7" fmla="*/ 376839 h 705052"/>
                <a:gd name="connsiteX8" fmla="*/ 95700 w 433360"/>
                <a:gd name="connsiteY8" fmla="*/ 340947 h 705052"/>
                <a:gd name="connsiteX9" fmla="*/ 105297 w 433360"/>
                <a:gd name="connsiteY9" fmla="*/ 477223 h 705052"/>
                <a:gd name="connsiteX10" fmla="*/ 101841 w 433360"/>
                <a:gd name="connsiteY10" fmla="*/ 495393 h 705052"/>
                <a:gd name="connsiteX11" fmla="*/ 61599 w 433360"/>
                <a:gd name="connsiteY11" fmla="*/ 460332 h 705052"/>
                <a:gd name="connsiteX12" fmla="*/ 7280 w 433360"/>
                <a:gd name="connsiteY12" fmla="*/ 446769 h 705052"/>
                <a:gd name="connsiteX13" fmla="*/ 67869 w 433360"/>
                <a:gd name="connsiteY13" fmla="*/ 653869 h 705052"/>
                <a:gd name="connsiteX14" fmla="*/ 106384 w 433360"/>
                <a:gd name="connsiteY14" fmla="*/ 705052 h 705052"/>
                <a:gd name="connsiteX15" fmla="*/ 170363 w 433360"/>
                <a:gd name="connsiteY15" fmla="*/ 698334 h 705052"/>
                <a:gd name="connsiteX16" fmla="*/ 363644 w 433360"/>
                <a:gd name="connsiteY16" fmla="*/ 602366 h 705052"/>
                <a:gd name="connsiteX17" fmla="*/ 316876 w 433360"/>
                <a:gd name="connsiteY17" fmla="*/ 571656 h 705052"/>
                <a:gd name="connsiteX18" fmla="*/ 263773 w 433360"/>
                <a:gd name="connsiteY18" fmla="*/ 565834 h 705052"/>
                <a:gd name="connsiteX19" fmla="*/ 274777 w 433360"/>
                <a:gd name="connsiteY19" fmla="*/ 550991 h 705052"/>
                <a:gd name="connsiteX20" fmla="*/ 381430 w 433360"/>
                <a:gd name="connsiteY20" fmla="*/ 465642 h 705052"/>
                <a:gd name="connsiteX21" fmla="*/ 290452 w 433360"/>
                <a:gd name="connsiteY21" fmla="*/ 419961 h 705052"/>
                <a:gd name="connsiteX22" fmla="*/ 290132 w 433360"/>
                <a:gd name="connsiteY22" fmla="*/ 403071 h 705052"/>
                <a:gd name="connsiteX23" fmla="*/ 390323 w 433360"/>
                <a:gd name="connsiteY23" fmla="*/ 333590 h 705052"/>
                <a:gd name="connsiteX24" fmla="*/ 425256 w 433360"/>
                <a:gd name="connsiteY24" fmla="*/ 272106 h 705052"/>
                <a:gd name="connsiteX25" fmla="*/ 363004 w 433360"/>
                <a:gd name="connsiteY25" fmla="*/ 258606 h 705052"/>
                <a:gd name="connsiteX26" fmla="*/ 352448 w 433360"/>
                <a:gd name="connsiteY26" fmla="*/ 236277 h 705052"/>
                <a:gd name="connsiteX27" fmla="*/ 417643 w 433360"/>
                <a:gd name="connsiteY27" fmla="*/ 103201 h 705052"/>
                <a:gd name="connsiteX28" fmla="*/ 413164 w 433360"/>
                <a:gd name="connsiteY28" fmla="*/ 2178 h 705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33360" h="705052">
                  <a:moveTo>
                    <a:pt x="413996" y="2434"/>
                  </a:moveTo>
                  <a:cubicBezTo>
                    <a:pt x="413996" y="2434"/>
                    <a:pt x="376952" y="-19511"/>
                    <a:pt x="337541" y="68396"/>
                  </a:cubicBezTo>
                  <a:cubicBezTo>
                    <a:pt x="298066" y="156303"/>
                    <a:pt x="283990" y="206591"/>
                    <a:pt x="283990" y="206591"/>
                  </a:cubicBezTo>
                  <a:cubicBezTo>
                    <a:pt x="283990" y="206591"/>
                    <a:pt x="273306" y="225145"/>
                    <a:pt x="260382" y="214013"/>
                  </a:cubicBezTo>
                  <a:cubicBezTo>
                    <a:pt x="247458" y="202880"/>
                    <a:pt x="228904" y="170379"/>
                    <a:pt x="208239" y="177417"/>
                  </a:cubicBezTo>
                  <a:cubicBezTo>
                    <a:pt x="186806" y="184710"/>
                    <a:pt x="180856" y="209342"/>
                    <a:pt x="186742" y="244851"/>
                  </a:cubicBezTo>
                  <a:cubicBezTo>
                    <a:pt x="192628" y="280295"/>
                    <a:pt x="202801" y="358477"/>
                    <a:pt x="203632" y="365579"/>
                  </a:cubicBezTo>
                  <a:cubicBezTo>
                    <a:pt x="204528" y="372553"/>
                    <a:pt x="201009" y="382981"/>
                    <a:pt x="191028" y="376839"/>
                  </a:cubicBezTo>
                  <a:cubicBezTo>
                    <a:pt x="180984" y="370697"/>
                    <a:pt x="122187" y="311389"/>
                    <a:pt x="95700" y="340947"/>
                  </a:cubicBezTo>
                  <a:cubicBezTo>
                    <a:pt x="69212" y="370569"/>
                    <a:pt x="101970" y="466666"/>
                    <a:pt x="105297" y="477223"/>
                  </a:cubicBezTo>
                  <a:cubicBezTo>
                    <a:pt x="108687" y="487779"/>
                    <a:pt x="106832" y="492450"/>
                    <a:pt x="101841" y="495393"/>
                  </a:cubicBezTo>
                  <a:cubicBezTo>
                    <a:pt x="96915" y="498272"/>
                    <a:pt x="79001" y="476519"/>
                    <a:pt x="61599" y="460332"/>
                  </a:cubicBezTo>
                  <a:cubicBezTo>
                    <a:pt x="44197" y="444145"/>
                    <a:pt x="21164" y="428471"/>
                    <a:pt x="7280" y="446769"/>
                  </a:cubicBezTo>
                  <a:cubicBezTo>
                    <a:pt x="-6539" y="465131"/>
                    <a:pt x="-7627" y="538515"/>
                    <a:pt x="67869" y="653869"/>
                  </a:cubicBezTo>
                  <a:lnTo>
                    <a:pt x="106384" y="705052"/>
                  </a:lnTo>
                  <a:lnTo>
                    <a:pt x="170363" y="698334"/>
                  </a:lnTo>
                  <a:cubicBezTo>
                    <a:pt x="306319" y="675558"/>
                    <a:pt x="359549" y="625014"/>
                    <a:pt x="363644" y="602366"/>
                  </a:cubicBezTo>
                  <a:cubicBezTo>
                    <a:pt x="367739" y="579717"/>
                    <a:pt x="340547" y="573447"/>
                    <a:pt x="316876" y="571656"/>
                  </a:cubicBezTo>
                  <a:cubicBezTo>
                    <a:pt x="293139" y="569800"/>
                    <a:pt x="264988" y="571464"/>
                    <a:pt x="263773" y="565834"/>
                  </a:cubicBezTo>
                  <a:cubicBezTo>
                    <a:pt x="262557" y="560204"/>
                    <a:pt x="264732" y="555661"/>
                    <a:pt x="274777" y="550991"/>
                  </a:cubicBezTo>
                  <a:cubicBezTo>
                    <a:pt x="284822" y="546320"/>
                    <a:pt x="377656" y="505181"/>
                    <a:pt x="381430" y="465642"/>
                  </a:cubicBezTo>
                  <a:cubicBezTo>
                    <a:pt x="385205" y="426103"/>
                    <a:pt x="301776" y="423160"/>
                    <a:pt x="290452" y="419961"/>
                  </a:cubicBezTo>
                  <a:cubicBezTo>
                    <a:pt x="279128" y="416762"/>
                    <a:pt x="284438" y="407102"/>
                    <a:pt x="290132" y="403071"/>
                  </a:cubicBezTo>
                  <a:cubicBezTo>
                    <a:pt x="295954" y="398912"/>
                    <a:pt x="360253" y="353295"/>
                    <a:pt x="390323" y="333590"/>
                  </a:cubicBezTo>
                  <a:cubicBezTo>
                    <a:pt x="420394" y="313884"/>
                    <a:pt x="434469" y="292771"/>
                    <a:pt x="425256" y="272106"/>
                  </a:cubicBezTo>
                  <a:cubicBezTo>
                    <a:pt x="416427" y="252144"/>
                    <a:pt x="379959" y="260525"/>
                    <a:pt x="363004" y="258606"/>
                  </a:cubicBezTo>
                  <a:cubicBezTo>
                    <a:pt x="346050" y="256687"/>
                    <a:pt x="352448" y="236277"/>
                    <a:pt x="352448" y="236277"/>
                  </a:cubicBezTo>
                  <a:cubicBezTo>
                    <a:pt x="352448" y="236277"/>
                    <a:pt x="379831" y="191812"/>
                    <a:pt x="417643" y="103201"/>
                  </a:cubicBezTo>
                  <a:cubicBezTo>
                    <a:pt x="455454" y="14590"/>
                    <a:pt x="413164" y="2178"/>
                    <a:pt x="413164" y="2178"/>
                  </a:cubicBezTo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23B9BD3-6A06-4DF3-A3FA-C75E95B2492D}"/>
                </a:ext>
              </a:extLst>
            </p:cNvPr>
            <p:cNvSpPr/>
            <p:nvPr/>
          </p:nvSpPr>
          <p:spPr>
            <a:xfrm>
              <a:off x="10996113" y="2238059"/>
              <a:ext cx="281827" cy="636464"/>
            </a:xfrm>
            <a:custGeom>
              <a:avLst/>
              <a:gdLst>
                <a:gd name="connsiteX0" fmla="*/ 0 w 281827"/>
                <a:gd name="connsiteY0" fmla="*/ 635889 h 636464"/>
                <a:gd name="connsiteX1" fmla="*/ 123799 w 281827"/>
                <a:gd name="connsiteY1" fmla="*/ 357643 h 636464"/>
                <a:gd name="connsiteX2" fmla="*/ 235827 w 281827"/>
                <a:gd name="connsiteY2" fmla="*/ 104862 h 636464"/>
                <a:gd name="connsiteX3" fmla="*/ 269352 w 281827"/>
                <a:gd name="connsiteY3" fmla="*/ 28087 h 636464"/>
                <a:gd name="connsiteX4" fmla="*/ 278501 w 281827"/>
                <a:gd name="connsiteY4" fmla="*/ 7230 h 636464"/>
                <a:gd name="connsiteX5" fmla="*/ 280932 w 281827"/>
                <a:gd name="connsiteY5" fmla="*/ 1791 h 636464"/>
                <a:gd name="connsiteX6" fmla="*/ 281828 w 281827"/>
                <a:gd name="connsiteY6" fmla="*/ 0 h 636464"/>
                <a:gd name="connsiteX7" fmla="*/ 281124 w 281827"/>
                <a:gd name="connsiteY7" fmla="*/ 1919 h 636464"/>
                <a:gd name="connsiteX8" fmla="*/ 278885 w 281827"/>
                <a:gd name="connsiteY8" fmla="*/ 7422 h 636464"/>
                <a:gd name="connsiteX9" fmla="*/ 270120 w 281827"/>
                <a:gd name="connsiteY9" fmla="*/ 28471 h 636464"/>
                <a:gd name="connsiteX10" fmla="*/ 237171 w 281827"/>
                <a:gd name="connsiteY10" fmla="*/ 105502 h 636464"/>
                <a:gd name="connsiteX11" fmla="*/ 125655 w 281827"/>
                <a:gd name="connsiteY11" fmla="*/ 358475 h 636464"/>
                <a:gd name="connsiteX12" fmla="*/ 1344 w 281827"/>
                <a:gd name="connsiteY12" fmla="*/ 636464 h 63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1827" h="636464">
                  <a:moveTo>
                    <a:pt x="0" y="635889"/>
                  </a:moveTo>
                  <a:cubicBezTo>
                    <a:pt x="28023" y="570950"/>
                    <a:pt x="79846" y="456299"/>
                    <a:pt x="123799" y="357643"/>
                  </a:cubicBezTo>
                  <a:cubicBezTo>
                    <a:pt x="167753" y="259052"/>
                    <a:pt x="207420" y="169737"/>
                    <a:pt x="235827" y="104862"/>
                  </a:cubicBezTo>
                  <a:cubicBezTo>
                    <a:pt x="249966" y="72488"/>
                    <a:pt x="261419" y="46257"/>
                    <a:pt x="269352" y="28087"/>
                  </a:cubicBezTo>
                  <a:cubicBezTo>
                    <a:pt x="273319" y="19066"/>
                    <a:pt x="276390" y="12092"/>
                    <a:pt x="278501" y="7230"/>
                  </a:cubicBezTo>
                  <a:cubicBezTo>
                    <a:pt x="279525" y="4927"/>
                    <a:pt x="280357" y="3135"/>
                    <a:pt x="280932" y="1791"/>
                  </a:cubicBezTo>
                  <a:cubicBezTo>
                    <a:pt x="281508" y="576"/>
                    <a:pt x="281828" y="0"/>
                    <a:pt x="281828" y="0"/>
                  </a:cubicBezTo>
                  <a:cubicBezTo>
                    <a:pt x="281828" y="0"/>
                    <a:pt x="281636" y="640"/>
                    <a:pt x="281124" y="1919"/>
                  </a:cubicBezTo>
                  <a:cubicBezTo>
                    <a:pt x="280612" y="3199"/>
                    <a:pt x="279845" y="5054"/>
                    <a:pt x="278885" y="7422"/>
                  </a:cubicBezTo>
                  <a:cubicBezTo>
                    <a:pt x="276838" y="12284"/>
                    <a:pt x="273895" y="19386"/>
                    <a:pt x="270120" y="28471"/>
                  </a:cubicBezTo>
                  <a:cubicBezTo>
                    <a:pt x="262442" y="46705"/>
                    <a:pt x="251182" y="73064"/>
                    <a:pt x="237171" y="105502"/>
                  </a:cubicBezTo>
                  <a:cubicBezTo>
                    <a:pt x="209148" y="170440"/>
                    <a:pt x="169609" y="259883"/>
                    <a:pt x="125655" y="358475"/>
                  </a:cubicBezTo>
                  <a:cubicBezTo>
                    <a:pt x="81701" y="457131"/>
                    <a:pt x="29686" y="571654"/>
                    <a:pt x="1344" y="636464"/>
                  </a:cubicBezTo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F297980-2C6D-433B-A507-8D2316C9FD04}"/>
                </a:ext>
              </a:extLst>
            </p:cNvPr>
            <p:cNvSpPr/>
            <p:nvPr/>
          </p:nvSpPr>
          <p:spPr>
            <a:xfrm>
              <a:off x="11131725" y="2380859"/>
              <a:ext cx="34466" cy="112415"/>
            </a:xfrm>
            <a:custGeom>
              <a:avLst/>
              <a:gdLst>
                <a:gd name="connsiteX0" fmla="*/ 24 w 34466"/>
                <a:gd name="connsiteY0" fmla="*/ 2 h 112415"/>
                <a:gd name="connsiteX1" fmla="*/ 1879 w 34466"/>
                <a:gd name="connsiteY1" fmla="*/ 4289 h 112415"/>
                <a:gd name="connsiteX2" fmla="*/ 6102 w 34466"/>
                <a:gd name="connsiteY2" fmla="*/ 16189 h 112415"/>
                <a:gd name="connsiteX3" fmla="*/ 18386 w 34466"/>
                <a:gd name="connsiteY3" fmla="*/ 55920 h 112415"/>
                <a:gd name="connsiteX4" fmla="*/ 29774 w 34466"/>
                <a:gd name="connsiteY4" fmla="*/ 95843 h 112415"/>
                <a:gd name="connsiteX5" fmla="*/ 33293 w 34466"/>
                <a:gd name="connsiteY5" fmla="*/ 107935 h 112415"/>
                <a:gd name="connsiteX6" fmla="*/ 34445 w 34466"/>
                <a:gd name="connsiteY6" fmla="*/ 112413 h 112415"/>
                <a:gd name="connsiteX7" fmla="*/ 32589 w 34466"/>
                <a:gd name="connsiteY7" fmla="*/ 108191 h 112415"/>
                <a:gd name="connsiteX8" fmla="*/ 28431 w 34466"/>
                <a:gd name="connsiteY8" fmla="*/ 96291 h 112415"/>
                <a:gd name="connsiteX9" fmla="*/ 16467 w 34466"/>
                <a:gd name="connsiteY9" fmla="*/ 56496 h 112415"/>
                <a:gd name="connsiteX10" fmla="*/ 4758 w 34466"/>
                <a:gd name="connsiteY10" fmla="*/ 16637 h 112415"/>
                <a:gd name="connsiteX11" fmla="*/ 1176 w 34466"/>
                <a:gd name="connsiteY11" fmla="*/ 4544 h 112415"/>
                <a:gd name="connsiteX12" fmla="*/ 24 w 34466"/>
                <a:gd name="connsiteY12" fmla="*/ 2 h 112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466" h="112415">
                  <a:moveTo>
                    <a:pt x="24" y="2"/>
                  </a:moveTo>
                  <a:cubicBezTo>
                    <a:pt x="152" y="-62"/>
                    <a:pt x="792" y="1474"/>
                    <a:pt x="1879" y="4289"/>
                  </a:cubicBezTo>
                  <a:cubicBezTo>
                    <a:pt x="2967" y="7040"/>
                    <a:pt x="4375" y="11134"/>
                    <a:pt x="6102" y="16189"/>
                  </a:cubicBezTo>
                  <a:cubicBezTo>
                    <a:pt x="9493" y="26297"/>
                    <a:pt x="13843" y="40309"/>
                    <a:pt x="18386" y="55920"/>
                  </a:cubicBezTo>
                  <a:cubicBezTo>
                    <a:pt x="22801" y="71275"/>
                    <a:pt x="26767" y="85222"/>
                    <a:pt x="29774" y="95843"/>
                  </a:cubicBezTo>
                  <a:cubicBezTo>
                    <a:pt x="31182" y="100641"/>
                    <a:pt x="32333" y="104672"/>
                    <a:pt x="33293" y="107935"/>
                  </a:cubicBezTo>
                  <a:cubicBezTo>
                    <a:pt x="34125" y="110814"/>
                    <a:pt x="34573" y="112349"/>
                    <a:pt x="34445" y="112413"/>
                  </a:cubicBezTo>
                  <a:cubicBezTo>
                    <a:pt x="34317" y="112477"/>
                    <a:pt x="33677" y="110942"/>
                    <a:pt x="32589" y="108191"/>
                  </a:cubicBezTo>
                  <a:cubicBezTo>
                    <a:pt x="31502" y="105376"/>
                    <a:pt x="30094" y="101345"/>
                    <a:pt x="28431" y="96291"/>
                  </a:cubicBezTo>
                  <a:cubicBezTo>
                    <a:pt x="25104" y="86182"/>
                    <a:pt x="20945" y="72107"/>
                    <a:pt x="16467" y="56496"/>
                  </a:cubicBezTo>
                  <a:cubicBezTo>
                    <a:pt x="11988" y="41140"/>
                    <a:pt x="7893" y="27257"/>
                    <a:pt x="4758" y="16637"/>
                  </a:cubicBezTo>
                  <a:cubicBezTo>
                    <a:pt x="3351" y="11838"/>
                    <a:pt x="2135" y="7807"/>
                    <a:pt x="1176" y="4544"/>
                  </a:cubicBezTo>
                  <a:cubicBezTo>
                    <a:pt x="280" y="1601"/>
                    <a:pt x="-104" y="2"/>
                    <a:pt x="24" y="2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9207832-9211-446C-8689-308042898CB9}"/>
                </a:ext>
              </a:extLst>
            </p:cNvPr>
            <p:cNvSpPr/>
            <p:nvPr/>
          </p:nvSpPr>
          <p:spPr>
            <a:xfrm>
              <a:off x="11171991" y="2450194"/>
              <a:ext cx="128216" cy="43865"/>
            </a:xfrm>
            <a:custGeom>
              <a:avLst/>
              <a:gdLst>
                <a:gd name="connsiteX0" fmla="*/ 1 w 128216"/>
                <a:gd name="connsiteY0" fmla="*/ 43846 h 43865"/>
                <a:gd name="connsiteX1" fmla="*/ 63788 w 128216"/>
                <a:gd name="connsiteY1" fmla="*/ 21005 h 43865"/>
                <a:gd name="connsiteX2" fmla="*/ 128215 w 128216"/>
                <a:gd name="connsiteY2" fmla="*/ 20 h 43865"/>
                <a:gd name="connsiteX3" fmla="*/ 64428 w 128216"/>
                <a:gd name="connsiteY3" fmla="*/ 22861 h 43865"/>
                <a:gd name="connsiteX4" fmla="*/ 1 w 128216"/>
                <a:gd name="connsiteY4" fmla="*/ 43846 h 4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216" h="43865">
                  <a:moveTo>
                    <a:pt x="1" y="43846"/>
                  </a:moveTo>
                  <a:cubicBezTo>
                    <a:pt x="-191" y="43334"/>
                    <a:pt x="28408" y="33097"/>
                    <a:pt x="63788" y="21005"/>
                  </a:cubicBezTo>
                  <a:cubicBezTo>
                    <a:pt x="99169" y="8913"/>
                    <a:pt x="128023" y="-492"/>
                    <a:pt x="128215" y="20"/>
                  </a:cubicBezTo>
                  <a:cubicBezTo>
                    <a:pt x="128407" y="532"/>
                    <a:pt x="99872" y="10769"/>
                    <a:pt x="64428" y="22861"/>
                  </a:cubicBezTo>
                  <a:cubicBezTo>
                    <a:pt x="29048" y="34953"/>
                    <a:pt x="193" y="44358"/>
                    <a:pt x="1" y="43846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8F851B1F-CC2A-4F38-ABDE-3A04CA4A1C09}"/>
                </a:ext>
              </a:extLst>
            </p:cNvPr>
            <p:cNvSpPr/>
            <p:nvPr/>
          </p:nvSpPr>
          <p:spPr>
            <a:xfrm>
              <a:off x="11097712" y="2631931"/>
              <a:ext cx="119448" cy="10902"/>
            </a:xfrm>
            <a:custGeom>
              <a:avLst/>
              <a:gdLst>
                <a:gd name="connsiteX0" fmla="*/ 0 w 119448"/>
                <a:gd name="connsiteY0" fmla="*/ 10477 h 10902"/>
                <a:gd name="connsiteX1" fmla="*/ 4734 w 119448"/>
                <a:gd name="connsiteY1" fmla="*/ 10029 h 10902"/>
                <a:gd name="connsiteX2" fmla="*/ 17594 w 119448"/>
                <a:gd name="connsiteY2" fmla="*/ 9453 h 10902"/>
                <a:gd name="connsiteX3" fmla="*/ 59884 w 119448"/>
                <a:gd name="connsiteY3" fmla="*/ 6702 h 10902"/>
                <a:gd name="connsiteX4" fmla="*/ 101983 w 119448"/>
                <a:gd name="connsiteY4" fmla="*/ 2095 h 10902"/>
                <a:gd name="connsiteX5" fmla="*/ 114715 w 119448"/>
                <a:gd name="connsiteY5" fmla="*/ 432 h 10902"/>
                <a:gd name="connsiteX6" fmla="*/ 119449 w 119448"/>
                <a:gd name="connsiteY6" fmla="*/ 48 h 10902"/>
                <a:gd name="connsiteX7" fmla="*/ 114843 w 119448"/>
                <a:gd name="connsiteY7" fmla="*/ 1200 h 10902"/>
                <a:gd name="connsiteX8" fmla="*/ 102174 w 119448"/>
                <a:gd name="connsiteY8" fmla="*/ 3439 h 10902"/>
                <a:gd name="connsiteX9" fmla="*/ 60012 w 119448"/>
                <a:gd name="connsiteY9" fmla="*/ 8685 h 10902"/>
                <a:gd name="connsiteX10" fmla="*/ 17594 w 119448"/>
                <a:gd name="connsiteY10" fmla="*/ 10860 h 10902"/>
                <a:gd name="connsiteX11" fmla="*/ 4734 w 119448"/>
                <a:gd name="connsiteY11" fmla="*/ 10796 h 10902"/>
                <a:gd name="connsiteX12" fmla="*/ 0 w 119448"/>
                <a:gd name="connsiteY12" fmla="*/ 10477 h 1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448" h="10902">
                  <a:moveTo>
                    <a:pt x="0" y="10477"/>
                  </a:moveTo>
                  <a:cubicBezTo>
                    <a:pt x="0" y="10349"/>
                    <a:pt x="1664" y="10157"/>
                    <a:pt x="4734" y="10029"/>
                  </a:cubicBezTo>
                  <a:cubicBezTo>
                    <a:pt x="8189" y="9901"/>
                    <a:pt x="12476" y="9645"/>
                    <a:pt x="17594" y="9453"/>
                  </a:cubicBezTo>
                  <a:cubicBezTo>
                    <a:pt x="28407" y="8941"/>
                    <a:pt x="43378" y="8173"/>
                    <a:pt x="59884" y="6702"/>
                  </a:cubicBezTo>
                  <a:cubicBezTo>
                    <a:pt x="76391" y="5294"/>
                    <a:pt x="91234" y="3503"/>
                    <a:pt x="101983" y="2095"/>
                  </a:cubicBezTo>
                  <a:cubicBezTo>
                    <a:pt x="107037" y="1456"/>
                    <a:pt x="111324" y="880"/>
                    <a:pt x="114715" y="432"/>
                  </a:cubicBezTo>
                  <a:cubicBezTo>
                    <a:pt x="117722" y="48"/>
                    <a:pt x="119385" y="-80"/>
                    <a:pt x="119449" y="48"/>
                  </a:cubicBezTo>
                  <a:cubicBezTo>
                    <a:pt x="119449" y="176"/>
                    <a:pt x="117849" y="560"/>
                    <a:pt x="114843" y="1200"/>
                  </a:cubicBezTo>
                  <a:cubicBezTo>
                    <a:pt x="111835" y="1776"/>
                    <a:pt x="107549" y="2607"/>
                    <a:pt x="102174" y="3439"/>
                  </a:cubicBezTo>
                  <a:cubicBezTo>
                    <a:pt x="91426" y="5166"/>
                    <a:pt x="76583" y="7214"/>
                    <a:pt x="60012" y="8685"/>
                  </a:cubicBezTo>
                  <a:cubicBezTo>
                    <a:pt x="43506" y="10157"/>
                    <a:pt x="28471" y="10733"/>
                    <a:pt x="17594" y="10860"/>
                  </a:cubicBezTo>
                  <a:cubicBezTo>
                    <a:pt x="12156" y="10924"/>
                    <a:pt x="7742" y="10924"/>
                    <a:pt x="4734" y="10796"/>
                  </a:cubicBezTo>
                  <a:cubicBezTo>
                    <a:pt x="1664" y="10733"/>
                    <a:pt x="0" y="10669"/>
                    <a:pt x="0" y="10477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3BFF266-67ED-48D6-83A6-C5393996E017}"/>
                </a:ext>
              </a:extLst>
            </p:cNvPr>
            <p:cNvSpPr/>
            <p:nvPr/>
          </p:nvSpPr>
          <p:spPr>
            <a:xfrm>
              <a:off x="11038709" y="2548100"/>
              <a:ext cx="59976" cy="93286"/>
            </a:xfrm>
            <a:custGeom>
              <a:avLst/>
              <a:gdLst>
                <a:gd name="connsiteX0" fmla="*/ 14 w 59976"/>
                <a:gd name="connsiteY0" fmla="*/ 2 h 93286"/>
                <a:gd name="connsiteX1" fmla="*/ 2701 w 59976"/>
                <a:gd name="connsiteY1" fmla="*/ 3457 h 93286"/>
                <a:gd name="connsiteX2" fmla="*/ 9419 w 59976"/>
                <a:gd name="connsiteY2" fmla="*/ 13246 h 93286"/>
                <a:gd name="connsiteX3" fmla="*/ 30852 w 59976"/>
                <a:gd name="connsiteY3" fmla="*/ 46067 h 93286"/>
                <a:gd name="connsiteX4" fmla="*/ 51773 w 59976"/>
                <a:gd name="connsiteY4" fmla="*/ 79209 h 93286"/>
                <a:gd name="connsiteX5" fmla="*/ 57915 w 59976"/>
                <a:gd name="connsiteY5" fmla="*/ 89381 h 93286"/>
                <a:gd name="connsiteX6" fmla="*/ 59963 w 59976"/>
                <a:gd name="connsiteY6" fmla="*/ 93284 h 93286"/>
                <a:gd name="connsiteX7" fmla="*/ 57275 w 59976"/>
                <a:gd name="connsiteY7" fmla="*/ 89829 h 93286"/>
                <a:gd name="connsiteX8" fmla="*/ 50557 w 59976"/>
                <a:gd name="connsiteY8" fmla="*/ 80040 h 93286"/>
                <a:gd name="connsiteX9" fmla="*/ 29125 w 59976"/>
                <a:gd name="connsiteY9" fmla="*/ 47219 h 93286"/>
                <a:gd name="connsiteX10" fmla="*/ 8203 w 59976"/>
                <a:gd name="connsiteY10" fmla="*/ 14078 h 93286"/>
                <a:gd name="connsiteX11" fmla="*/ 2061 w 59976"/>
                <a:gd name="connsiteY11" fmla="*/ 3905 h 93286"/>
                <a:gd name="connsiteX12" fmla="*/ 14 w 59976"/>
                <a:gd name="connsiteY12" fmla="*/ 2 h 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976" h="93286">
                  <a:moveTo>
                    <a:pt x="14" y="2"/>
                  </a:moveTo>
                  <a:cubicBezTo>
                    <a:pt x="142" y="-62"/>
                    <a:pt x="1102" y="1154"/>
                    <a:pt x="2701" y="3457"/>
                  </a:cubicBezTo>
                  <a:cubicBezTo>
                    <a:pt x="4492" y="6144"/>
                    <a:pt x="6732" y="9407"/>
                    <a:pt x="9419" y="13246"/>
                  </a:cubicBezTo>
                  <a:cubicBezTo>
                    <a:pt x="14985" y="21563"/>
                    <a:pt x="22599" y="33144"/>
                    <a:pt x="30852" y="46067"/>
                  </a:cubicBezTo>
                  <a:cubicBezTo>
                    <a:pt x="39105" y="58927"/>
                    <a:pt x="46527" y="70635"/>
                    <a:pt x="51773" y="79209"/>
                  </a:cubicBezTo>
                  <a:cubicBezTo>
                    <a:pt x="54204" y="83239"/>
                    <a:pt x="56252" y="86630"/>
                    <a:pt x="57915" y="89381"/>
                  </a:cubicBezTo>
                  <a:cubicBezTo>
                    <a:pt x="59323" y="91812"/>
                    <a:pt x="60090" y="93156"/>
                    <a:pt x="59963" y="93284"/>
                  </a:cubicBezTo>
                  <a:cubicBezTo>
                    <a:pt x="59834" y="93348"/>
                    <a:pt x="58875" y="92132"/>
                    <a:pt x="57275" y="89829"/>
                  </a:cubicBezTo>
                  <a:cubicBezTo>
                    <a:pt x="55484" y="87142"/>
                    <a:pt x="53244" y="83879"/>
                    <a:pt x="50557" y="80040"/>
                  </a:cubicBezTo>
                  <a:cubicBezTo>
                    <a:pt x="44991" y="71723"/>
                    <a:pt x="37378" y="60143"/>
                    <a:pt x="29125" y="47219"/>
                  </a:cubicBezTo>
                  <a:cubicBezTo>
                    <a:pt x="20871" y="34359"/>
                    <a:pt x="13450" y="22651"/>
                    <a:pt x="8203" y="14078"/>
                  </a:cubicBezTo>
                  <a:cubicBezTo>
                    <a:pt x="5772" y="10047"/>
                    <a:pt x="3725" y="6656"/>
                    <a:pt x="2061" y="3905"/>
                  </a:cubicBezTo>
                  <a:cubicBezTo>
                    <a:pt x="654" y="1410"/>
                    <a:pt x="-114" y="66"/>
                    <a:pt x="14" y="2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AC5099B-F178-4656-8CF4-9FAA8F227711}"/>
                </a:ext>
              </a:extLst>
            </p:cNvPr>
            <p:cNvSpPr/>
            <p:nvPr/>
          </p:nvSpPr>
          <p:spPr>
            <a:xfrm>
              <a:off x="10956435" y="2670812"/>
              <a:ext cx="78011" cy="118812"/>
            </a:xfrm>
            <a:custGeom>
              <a:avLst/>
              <a:gdLst>
                <a:gd name="connsiteX0" fmla="*/ 11 w 78011"/>
                <a:gd name="connsiteY0" fmla="*/ 2 h 118812"/>
                <a:gd name="connsiteX1" fmla="*/ 3402 w 78011"/>
                <a:gd name="connsiteY1" fmla="*/ 4480 h 118812"/>
                <a:gd name="connsiteX2" fmla="*/ 12039 w 78011"/>
                <a:gd name="connsiteY2" fmla="*/ 17020 h 118812"/>
                <a:gd name="connsiteX3" fmla="*/ 39870 w 78011"/>
                <a:gd name="connsiteY3" fmla="*/ 58863 h 118812"/>
                <a:gd name="connsiteX4" fmla="*/ 67189 w 78011"/>
                <a:gd name="connsiteY4" fmla="*/ 101025 h 118812"/>
                <a:gd name="connsiteX5" fmla="*/ 75250 w 78011"/>
                <a:gd name="connsiteY5" fmla="*/ 113949 h 118812"/>
                <a:gd name="connsiteX6" fmla="*/ 78001 w 78011"/>
                <a:gd name="connsiteY6" fmla="*/ 118811 h 118812"/>
                <a:gd name="connsiteX7" fmla="*/ 74611 w 78011"/>
                <a:gd name="connsiteY7" fmla="*/ 114333 h 118812"/>
                <a:gd name="connsiteX8" fmla="*/ 65973 w 78011"/>
                <a:gd name="connsiteY8" fmla="*/ 101793 h 118812"/>
                <a:gd name="connsiteX9" fmla="*/ 38142 w 78011"/>
                <a:gd name="connsiteY9" fmla="*/ 59950 h 118812"/>
                <a:gd name="connsiteX10" fmla="*/ 10823 w 78011"/>
                <a:gd name="connsiteY10" fmla="*/ 17788 h 118812"/>
                <a:gd name="connsiteX11" fmla="*/ 2762 w 78011"/>
                <a:gd name="connsiteY11" fmla="*/ 4864 h 118812"/>
                <a:gd name="connsiteX12" fmla="*/ 11 w 78011"/>
                <a:gd name="connsiteY12" fmla="*/ 2 h 11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011" h="118812">
                  <a:moveTo>
                    <a:pt x="11" y="2"/>
                  </a:moveTo>
                  <a:cubicBezTo>
                    <a:pt x="139" y="-62"/>
                    <a:pt x="1354" y="1537"/>
                    <a:pt x="3402" y="4480"/>
                  </a:cubicBezTo>
                  <a:cubicBezTo>
                    <a:pt x="5641" y="7743"/>
                    <a:pt x="8520" y="11966"/>
                    <a:pt x="12039" y="17020"/>
                  </a:cubicBezTo>
                  <a:cubicBezTo>
                    <a:pt x="19268" y="27641"/>
                    <a:pt x="29057" y="42420"/>
                    <a:pt x="39870" y="58863"/>
                  </a:cubicBezTo>
                  <a:cubicBezTo>
                    <a:pt x="50618" y="75241"/>
                    <a:pt x="60279" y="90148"/>
                    <a:pt x="67189" y="101025"/>
                  </a:cubicBezTo>
                  <a:cubicBezTo>
                    <a:pt x="70452" y="106207"/>
                    <a:pt x="73139" y="110558"/>
                    <a:pt x="75250" y="113949"/>
                  </a:cubicBezTo>
                  <a:cubicBezTo>
                    <a:pt x="77105" y="117020"/>
                    <a:pt x="78129" y="118747"/>
                    <a:pt x="78001" y="118811"/>
                  </a:cubicBezTo>
                  <a:cubicBezTo>
                    <a:pt x="77873" y="118875"/>
                    <a:pt x="76658" y="117275"/>
                    <a:pt x="74611" y="114333"/>
                  </a:cubicBezTo>
                  <a:cubicBezTo>
                    <a:pt x="72371" y="111070"/>
                    <a:pt x="69492" y="106847"/>
                    <a:pt x="65973" y="101793"/>
                  </a:cubicBezTo>
                  <a:cubicBezTo>
                    <a:pt x="58743" y="91172"/>
                    <a:pt x="48955" y="76393"/>
                    <a:pt x="38142" y="59950"/>
                  </a:cubicBezTo>
                  <a:cubicBezTo>
                    <a:pt x="27394" y="43572"/>
                    <a:pt x="17733" y="28665"/>
                    <a:pt x="10823" y="17788"/>
                  </a:cubicBezTo>
                  <a:cubicBezTo>
                    <a:pt x="7560" y="12606"/>
                    <a:pt x="4809" y="8255"/>
                    <a:pt x="2762" y="4864"/>
                  </a:cubicBezTo>
                  <a:cubicBezTo>
                    <a:pt x="906" y="1793"/>
                    <a:pt x="-117" y="66"/>
                    <a:pt x="11" y="2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64C2471-BD0B-40CC-9290-2DC6473823CF}"/>
                </a:ext>
              </a:extLst>
            </p:cNvPr>
            <p:cNvSpPr/>
            <p:nvPr/>
          </p:nvSpPr>
          <p:spPr>
            <a:xfrm>
              <a:off x="11033349" y="2768856"/>
              <a:ext cx="151054" cy="17440"/>
            </a:xfrm>
            <a:custGeom>
              <a:avLst/>
              <a:gdLst>
                <a:gd name="connsiteX0" fmla="*/ 0 w 151054"/>
                <a:gd name="connsiteY0" fmla="*/ 17312 h 17440"/>
                <a:gd name="connsiteX1" fmla="*/ 5950 w 151054"/>
                <a:gd name="connsiteY1" fmla="*/ 16608 h 17440"/>
                <a:gd name="connsiteX2" fmla="*/ 22201 w 151054"/>
                <a:gd name="connsiteY2" fmla="*/ 15265 h 17440"/>
                <a:gd name="connsiteX3" fmla="*/ 75687 w 151054"/>
                <a:gd name="connsiteY3" fmla="*/ 10083 h 17440"/>
                <a:gd name="connsiteX4" fmla="*/ 128982 w 151054"/>
                <a:gd name="connsiteY4" fmla="*/ 3045 h 17440"/>
                <a:gd name="connsiteX5" fmla="*/ 145105 w 151054"/>
                <a:gd name="connsiteY5" fmla="*/ 678 h 17440"/>
                <a:gd name="connsiteX6" fmla="*/ 151055 w 151054"/>
                <a:gd name="connsiteY6" fmla="*/ 38 h 17440"/>
                <a:gd name="connsiteX7" fmla="*/ 145233 w 151054"/>
                <a:gd name="connsiteY7" fmla="*/ 1445 h 17440"/>
                <a:gd name="connsiteX8" fmla="*/ 129174 w 151054"/>
                <a:gd name="connsiteY8" fmla="*/ 4452 h 17440"/>
                <a:gd name="connsiteX9" fmla="*/ 75879 w 151054"/>
                <a:gd name="connsiteY9" fmla="*/ 12066 h 17440"/>
                <a:gd name="connsiteX10" fmla="*/ 22265 w 151054"/>
                <a:gd name="connsiteY10" fmla="*/ 16737 h 17440"/>
                <a:gd name="connsiteX11" fmla="*/ 5950 w 151054"/>
                <a:gd name="connsiteY11" fmla="*/ 17440 h 17440"/>
                <a:gd name="connsiteX12" fmla="*/ 0 w 151054"/>
                <a:gd name="connsiteY12" fmla="*/ 17312 h 1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054" h="17440">
                  <a:moveTo>
                    <a:pt x="0" y="17312"/>
                  </a:moveTo>
                  <a:cubicBezTo>
                    <a:pt x="0" y="17184"/>
                    <a:pt x="2111" y="16928"/>
                    <a:pt x="5950" y="16608"/>
                  </a:cubicBezTo>
                  <a:cubicBezTo>
                    <a:pt x="10172" y="16289"/>
                    <a:pt x="15611" y="15841"/>
                    <a:pt x="22201" y="15265"/>
                  </a:cubicBezTo>
                  <a:cubicBezTo>
                    <a:pt x="35892" y="14113"/>
                    <a:pt x="54830" y="12450"/>
                    <a:pt x="75687" y="10083"/>
                  </a:cubicBezTo>
                  <a:cubicBezTo>
                    <a:pt x="96544" y="7715"/>
                    <a:pt x="115354" y="5028"/>
                    <a:pt x="128982" y="3045"/>
                  </a:cubicBezTo>
                  <a:cubicBezTo>
                    <a:pt x="135508" y="2085"/>
                    <a:pt x="140946" y="1253"/>
                    <a:pt x="145105" y="678"/>
                  </a:cubicBezTo>
                  <a:cubicBezTo>
                    <a:pt x="148943" y="102"/>
                    <a:pt x="151055" y="-90"/>
                    <a:pt x="151055" y="38"/>
                  </a:cubicBezTo>
                  <a:cubicBezTo>
                    <a:pt x="151055" y="166"/>
                    <a:pt x="149007" y="678"/>
                    <a:pt x="145233" y="1445"/>
                  </a:cubicBezTo>
                  <a:cubicBezTo>
                    <a:pt x="141458" y="2213"/>
                    <a:pt x="135956" y="3301"/>
                    <a:pt x="129174" y="4452"/>
                  </a:cubicBezTo>
                  <a:cubicBezTo>
                    <a:pt x="115610" y="6820"/>
                    <a:pt x="96800" y="9699"/>
                    <a:pt x="75879" y="12066"/>
                  </a:cubicBezTo>
                  <a:cubicBezTo>
                    <a:pt x="55022" y="14497"/>
                    <a:pt x="36020" y="15905"/>
                    <a:pt x="22265" y="16737"/>
                  </a:cubicBezTo>
                  <a:cubicBezTo>
                    <a:pt x="15355" y="17120"/>
                    <a:pt x="9789" y="17376"/>
                    <a:pt x="5950" y="17440"/>
                  </a:cubicBezTo>
                  <a:cubicBezTo>
                    <a:pt x="2175" y="17440"/>
                    <a:pt x="0" y="17440"/>
                    <a:pt x="0" y="17312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93ED7FB-1065-45EE-8387-FD7DA9C5EF6B}"/>
                </a:ext>
              </a:extLst>
            </p:cNvPr>
            <p:cNvSpPr/>
            <p:nvPr/>
          </p:nvSpPr>
          <p:spPr>
            <a:xfrm>
              <a:off x="7568626" y="1057008"/>
              <a:ext cx="467619" cy="678879"/>
            </a:xfrm>
            <a:custGeom>
              <a:avLst/>
              <a:gdLst>
                <a:gd name="connsiteX0" fmla="*/ 16505 w 467619"/>
                <a:gd name="connsiteY0" fmla="*/ 3132 h 678879"/>
                <a:gd name="connsiteX1" fmla="*/ 21239 w 467619"/>
                <a:gd name="connsiteY1" fmla="*/ 104027 h 678879"/>
                <a:gd name="connsiteX2" fmla="*/ 96862 w 467619"/>
                <a:gd name="connsiteY2" fmla="*/ 231474 h 678879"/>
                <a:gd name="connsiteX3" fmla="*/ 88161 w 467619"/>
                <a:gd name="connsiteY3" fmla="*/ 254570 h 678879"/>
                <a:gd name="connsiteX4" fmla="*/ 27189 w 467619"/>
                <a:gd name="connsiteY4" fmla="*/ 273060 h 678879"/>
                <a:gd name="connsiteX5" fmla="*/ 66984 w 467619"/>
                <a:gd name="connsiteY5" fmla="*/ 331601 h 678879"/>
                <a:gd name="connsiteX6" fmla="*/ 172422 w 467619"/>
                <a:gd name="connsiteY6" fmla="*/ 392829 h 678879"/>
                <a:gd name="connsiteX7" fmla="*/ 173445 w 467619"/>
                <a:gd name="connsiteY7" fmla="*/ 409720 h 678879"/>
                <a:gd name="connsiteX8" fmla="*/ 86370 w 467619"/>
                <a:gd name="connsiteY8" fmla="*/ 462566 h 678879"/>
                <a:gd name="connsiteX9" fmla="*/ 199549 w 467619"/>
                <a:gd name="connsiteY9" fmla="*/ 539086 h 678879"/>
                <a:gd name="connsiteX10" fmla="*/ 211705 w 467619"/>
                <a:gd name="connsiteY10" fmla="*/ 553033 h 678879"/>
                <a:gd name="connsiteX11" fmla="*/ 159242 w 467619"/>
                <a:gd name="connsiteY11" fmla="*/ 563078 h 678879"/>
                <a:gd name="connsiteX12" fmla="*/ 115097 w 467619"/>
                <a:gd name="connsiteY12" fmla="*/ 597435 h 678879"/>
                <a:gd name="connsiteX13" fmla="*/ 315415 w 467619"/>
                <a:gd name="connsiteY13" fmla="*/ 677600 h 678879"/>
                <a:gd name="connsiteX14" fmla="*/ 379394 w 467619"/>
                <a:gd name="connsiteY14" fmla="*/ 678880 h 678879"/>
                <a:gd name="connsiteX15" fmla="*/ 413559 w 467619"/>
                <a:gd name="connsiteY15" fmla="*/ 624434 h 678879"/>
                <a:gd name="connsiteX16" fmla="*/ 457385 w 467619"/>
                <a:gd name="connsiteY16" fmla="*/ 413175 h 678879"/>
                <a:gd name="connsiteX17" fmla="*/ 404346 w 467619"/>
                <a:gd name="connsiteY17" fmla="*/ 431025 h 678879"/>
                <a:gd name="connsiteX18" fmla="*/ 367046 w 467619"/>
                <a:gd name="connsiteY18" fmla="*/ 469220 h 678879"/>
                <a:gd name="connsiteX19" fmla="*/ 362184 w 467619"/>
                <a:gd name="connsiteY19" fmla="*/ 451370 h 678879"/>
                <a:gd name="connsiteX20" fmla="*/ 360904 w 467619"/>
                <a:gd name="connsiteY20" fmla="*/ 314775 h 678879"/>
                <a:gd name="connsiteX21" fmla="*/ 268774 w 467619"/>
                <a:gd name="connsiteY21" fmla="*/ 358153 h 678879"/>
                <a:gd name="connsiteX22" fmla="*/ 255275 w 467619"/>
                <a:gd name="connsiteY22" fmla="*/ 347980 h 678879"/>
                <a:gd name="connsiteX23" fmla="*/ 262504 w 467619"/>
                <a:gd name="connsiteY23" fmla="*/ 226292 h 678879"/>
                <a:gd name="connsiteX24" fmla="*/ 235697 w 467619"/>
                <a:gd name="connsiteY24" fmla="*/ 160841 h 678879"/>
                <a:gd name="connsiteX25" fmla="*/ 186625 w 467619"/>
                <a:gd name="connsiteY25" fmla="*/ 201468 h 678879"/>
                <a:gd name="connsiteX26" fmla="*/ 162505 w 467619"/>
                <a:gd name="connsiteY26" fmla="*/ 195966 h 678879"/>
                <a:gd name="connsiteX27" fmla="*/ 98078 w 467619"/>
                <a:gd name="connsiteY27" fmla="*/ 62505 h 678879"/>
                <a:gd name="connsiteX28" fmla="*/ 15801 w 467619"/>
                <a:gd name="connsiteY28" fmla="*/ 3644 h 67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67619" h="678879">
                  <a:moveTo>
                    <a:pt x="16505" y="3132"/>
                  </a:moveTo>
                  <a:cubicBezTo>
                    <a:pt x="16505" y="3132"/>
                    <a:pt x="-23610" y="18743"/>
                    <a:pt x="21239" y="104027"/>
                  </a:cubicBezTo>
                  <a:cubicBezTo>
                    <a:pt x="66025" y="189312"/>
                    <a:pt x="96862" y="231474"/>
                    <a:pt x="96862" y="231474"/>
                  </a:cubicBezTo>
                  <a:cubicBezTo>
                    <a:pt x="96862" y="231474"/>
                    <a:pt x="104860" y="251307"/>
                    <a:pt x="88161" y="254570"/>
                  </a:cubicBezTo>
                  <a:cubicBezTo>
                    <a:pt x="71399" y="257897"/>
                    <a:pt x="34419" y="252395"/>
                    <a:pt x="27189" y="273060"/>
                  </a:cubicBezTo>
                  <a:cubicBezTo>
                    <a:pt x="19704" y="294429"/>
                    <a:pt x="35379" y="314327"/>
                    <a:pt x="66984" y="331601"/>
                  </a:cubicBezTo>
                  <a:cubicBezTo>
                    <a:pt x="98526" y="348812"/>
                    <a:pt x="166280" y="389118"/>
                    <a:pt x="172422" y="392829"/>
                  </a:cubicBezTo>
                  <a:cubicBezTo>
                    <a:pt x="178436" y="396412"/>
                    <a:pt x="184514" y="405625"/>
                    <a:pt x="173445" y="409720"/>
                  </a:cubicBezTo>
                  <a:cubicBezTo>
                    <a:pt x="162377" y="413814"/>
                    <a:pt x="79460" y="423475"/>
                    <a:pt x="86370" y="462566"/>
                  </a:cubicBezTo>
                  <a:cubicBezTo>
                    <a:pt x="93280" y="501658"/>
                    <a:pt x="189120" y="535247"/>
                    <a:pt x="199549" y="539086"/>
                  </a:cubicBezTo>
                  <a:cubicBezTo>
                    <a:pt x="209978" y="542988"/>
                    <a:pt x="212473" y="547339"/>
                    <a:pt x="211705" y="553033"/>
                  </a:cubicBezTo>
                  <a:cubicBezTo>
                    <a:pt x="210937" y="558727"/>
                    <a:pt x="182722" y="559367"/>
                    <a:pt x="159242" y="563078"/>
                  </a:cubicBezTo>
                  <a:cubicBezTo>
                    <a:pt x="135762" y="566788"/>
                    <a:pt x="109210" y="575234"/>
                    <a:pt x="115097" y="597435"/>
                  </a:cubicBezTo>
                  <a:cubicBezTo>
                    <a:pt x="120983" y="619635"/>
                    <a:pt x="178052" y="665828"/>
                    <a:pt x="315415" y="677600"/>
                  </a:cubicBezTo>
                  <a:lnTo>
                    <a:pt x="379394" y="678880"/>
                  </a:lnTo>
                  <a:lnTo>
                    <a:pt x="413559" y="624434"/>
                  </a:lnTo>
                  <a:cubicBezTo>
                    <a:pt x="479586" y="503385"/>
                    <a:pt x="472612" y="430321"/>
                    <a:pt x="457385" y="413175"/>
                  </a:cubicBezTo>
                  <a:cubicBezTo>
                    <a:pt x="442094" y="395964"/>
                    <a:pt x="420405" y="413495"/>
                    <a:pt x="404346" y="431025"/>
                  </a:cubicBezTo>
                  <a:cubicBezTo>
                    <a:pt x="388287" y="448555"/>
                    <a:pt x="372165" y="471715"/>
                    <a:pt x="367046" y="469220"/>
                  </a:cubicBezTo>
                  <a:cubicBezTo>
                    <a:pt x="361864" y="466725"/>
                    <a:pt x="359625" y="462183"/>
                    <a:pt x="362184" y="451370"/>
                  </a:cubicBezTo>
                  <a:cubicBezTo>
                    <a:pt x="364679" y="440558"/>
                    <a:pt x="389631" y="342158"/>
                    <a:pt x="360904" y="314775"/>
                  </a:cubicBezTo>
                  <a:cubicBezTo>
                    <a:pt x="332178" y="287392"/>
                    <a:pt x="278243" y="351243"/>
                    <a:pt x="268774" y="358153"/>
                  </a:cubicBezTo>
                  <a:cubicBezTo>
                    <a:pt x="259305" y="365126"/>
                    <a:pt x="254955" y="354954"/>
                    <a:pt x="255275" y="347980"/>
                  </a:cubicBezTo>
                  <a:cubicBezTo>
                    <a:pt x="255595" y="340878"/>
                    <a:pt x="259433" y="262120"/>
                    <a:pt x="262504" y="226292"/>
                  </a:cubicBezTo>
                  <a:cubicBezTo>
                    <a:pt x="265575" y="190463"/>
                    <a:pt x="257642" y="166407"/>
                    <a:pt x="235697" y="160841"/>
                  </a:cubicBezTo>
                  <a:cubicBezTo>
                    <a:pt x="214520" y="155467"/>
                    <a:pt x="198653" y="189312"/>
                    <a:pt x="186625" y="201468"/>
                  </a:cubicBezTo>
                  <a:cubicBezTo>
                    <a:pt x="174661" y="213624"/>
                    <a:pt x="162505" y="195966"/>
                    <a:pt x="162505" y="195966"/>
                  </a:cubicBezTo>
                  <a:cubicBezTo>
                    <a:pt x="162505" y="195966"/>
                    <a:pt x="144399" y="146957"/>
                    <a:pt x="98078" y="62505"/>
                  </a:cubicBezTo>
                  <a:cubicBezTo>
                    <a:pt x="51693" y="-21947"/>
                    <a:pt x="15801" y="3644"/>
                    <a:pt x="15801" y="3644"/>
                  </a:cubicBezTo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F54721-A195-472B-8B68-E5BC8E51942B}"/>
                </a:ext>
              </a:extLst>
            </p:cNvPr>
            <p:cNvSpPr/>
            <p:nvPr/>
          </p:nvSpPr>
          <p:spPr>
            <a:xfrm>
              <a:off x="7625182" y="1136595"/>
              <a:ext cx="327637" cy="614199"/>
            </a:xfrm>
            <a:custGeom>
              <a:avLst/>
              <a:gdLst>
                <a:gd name="connsiteX0" fmla="*/ 326358 w 327637"/>
                <a:gd name="connsiteY0" fmla="*/ 614200 h 614199"/>
                <a:gd name="connsiteX1" fmla="*/ 183876 w 327637"/>
                <a:gd name="connsiteY1" fmla="*/ 345039 h 614199"/>
                <a:gd name="connsiteX2" fmla="*/ 54190 w 327637"/>
                <a:gd name="connsiteY2" fmla="*/ 100895 h 614199"/>
                <a:gd name="connsiteX3" fmla="*/ 14459 w 327637"/>
                <a:gd name="connsiteY3" fmla="*/ 27127 h 614199"/>
                <a:gd name="connsiteX4" fmla="*/ 3647 w 327637"/>
                <a:gd name="connsiteY4" fmla="*/ 7038 h 614199"/>
                <a:gd name="connsiteX5" fmla="*/ 896 w 327637"/>
                <a:gd name="connsiteY5" fmla="*/ 1791 h 614199"/>
                <a:gd name="connsiteX6" fmla="*/ 0 w 327637"/>
                <a:gd name="connsiteY6" fmla="*/ 0 h 614199"/>
                <a:gd name="connsiteX7" fmla="*/ 1088 w 327637"/>
                <a:gd name="connsiteY7" fmla="*/ 1727 h 614199"/>
                <a:gd name="connsiteX8" fmla="*/ 4031 w 327637"/>
                <a:gd name="connsiteY8" fmla="*/ 6846 h 614199"/>
                <a:gd name="connsiteX9" fmla="*/ 15163 w 327637"/>
                <a:gd name="connsiteY9" fmla="*/ 26743 h 614199"/>
                <a:gd name="connsiteX10" fmla="*/ 55470 w 327637"/>
                <a:gd name="connsiteY10" fmla="*/ 100255 h 614199"/>
                <a:gd name="connsiteX11" fmla="*/ 185667 w 327637"/>
                <a:gd name="connsiteY11" fmla="*/ 344144 h 614199"/>
                <a:gd name="connsiteX12" fmla="*/ 327637 w 327637"/>
                <a:gd name="connsiteY12" fmla="*/ 613560 h 61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7637" h="614199">
                  <a:moveTo>
                    <a:pt x="326358" y="614200"/>
                  </a:moveTo>
                  <a:cubicBezTo>
                    <a:pt x="292577" y="552012"/>
                    <a:pt x="234356" y="440496"/>
                    <a:pt x="183876" y="345039"/>
                  </a:cubicBezTo>
                  <a:cubicBezTo>
                    <a:pt x="133396" y="249583"/>
                    <a:pt x="87651" y="163211"/>
                    <a:pt x="54190" y="100895"/>
                  </a:cubicBezTo>
                  <a:cubicBezTo>
                    <a:pt x="37428" y="69801"/>
                    <a:pt x="23864" y="44593"/>
                    <a:pt x="14459" y="27127"/>
                  </a:cubicBezTo>
                  <a:cubicBezTo>
                    <a:pt x="9789" y="18490"/>
                    <a:pt x="6206" y="11708"/>
                    <a:pt x="3647" y="7038"/>
                  </a:cubicBezTo>
                  <a:cubicBezTo>
                    <a:pt x="2431" y="4798"/>
                    <a:pt x="1536" y="3071"/>
                    <a:pt x="896" y="1791"/>
                  </a:cubicBezTo>
                  <a:cubicBezTo>
                    <a:pt x="256" y="576"/>
                    <a:pt x="0" y="0"/>
                    <a:pt x="0" y="0"/>
                  </a:cubicBezTo>
                  <a:cubicBezTo>
                    <a:pt x="0" y="0"/>
                    <a:pt x="384" y="576"/>
                    <a:pt x="1088" y="1727"/>
                  </a:cubicBezTo>
                  <a:cubicBezTo>
                    <a:pt x="1791" y="2943"/>
                    <a:pt x="2751" y="4670"/>
                    <a:pt x="4031" y="6846"/>
                  </a:cubicBezTo>
                  <a:cubicBezTo>
                    <a:pt x="6590" y="11452"/>
                    <a:pt x="10365" y="18170"/>
                    <a:pt x="15163" y="26743"/>
                  </a:cubicBezTo>
                  <a:cubicBezTo>
                    <a:pt x="24824" y="44018"/>
                    <a:pt x="38579" y="69161"/>
                    <a:pt x="55470" y="100255"/>
                  </a:cubicBezTo>
                  <a:cubicBezTo>
                    <a:pt x="89251" y="162443"/>
                    <a:pt x="135252" y="248687"/>
                    <a:pt x="185667" y="344144"/>
                  </a:cubicBezTo>
                  <a:cubicBezTo>
                    <a:pt x="236147" y="439601"/>
                    <a:pt x="294176" y="551244"/>
                    <a:pt x="327637" y="613560"/>
                  </a:cubicBezTo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1ED7C568-873B-4D44-B6D6-8F816E8C5120}"/>
                </a:ext>
              </a:extLst>
            </p:cNvPr>
            <p:cNvSpPr/>
            <p:nvPr/>
          </p:nvSpPr>
          <p:spPr>
            <a:xfrm>
              <a:off x="7647255" y="1339707"/>
              <a:ext cx="109662" cy="42335"/>
            </a:xfrm>
            <a:custGeom>
              <a:avLst/>
              <a:gdLst>
                <a:gd name="connsiteX0" fmla="*/ 0 w 109662"/>
                <a:gd name="connsiteY0" fmla="*/ 22 h 42335"/>
                <a:gd name="connsiteX1" fmla="*/ 4479 w 109662"/>
                <a:gd name="connsiteY1" fmla="*/ 1237 h 42335"/>
                <a:gd name="connsiteX2" fmla="*/ 16443 w 109662"/>
                <a:gd name="connsiteY2" fmla="*/ 5268 h 42335"/>
                <a:gd name="connsiteX3" fmla="*/ 55278 w 109662"/>
                <a:gd name="connsiteY3" fmla="*/ 20111 h 42335"/>
                <a:gd name="connsiteX4" fmla="*/ 93729 w 109662"/>
                <a:gd name="connsiteY4" fmla="*/ 35786 h 42335"/>
                <a:gd name="connsiteX5" fmla="*/ 105438 w 109662"/>
                <a:gd name="connsiteY5" fmla="*/ 40456 h 42335"/>
                <a:gd name="connsiteX6" fmla="*/ 109660 w 109662"/>
                <a:gd name="connsiteY6" fmla="*/ 42312 h 42335"/>
                <a:gd name="connsiteX7" fmla="*/ 105182 w 109662"/>
                <a:gd name="connsiteY7" fmla="*/ 41160 h 42335"/>
                <a:gd name="connsiteX8" fmla="*/ 93281 w 109662"/>
                <a:gd name="connsiteY8" fmla="*/ 37065 h 42335"/>
                <a:gd name="connsiteX9" fmla="*/ 54574 w 109662"/>
                <a:gd name="connsiteY9" fmla="*/ 21902 h 42335"/>
                <a:gd name="connsiteX10" fmla="*/ 15995 w 109662"/>
                <a:gd name="connsiteY10" fmla="*/ 6547 h 42335"/>
                <a:gd name="connsiteX11" fmla="*/ 4287 w 109662"/>
                <a:gd name="connsiteY11" fmla="*/ 1941 h 42335"/>
                <a:gd name="connsiteX12" fmla="*/ 0 w 109662"/>
                <a:gd name="connsiteY12" fmla="*/ 22 h 42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9662" h="42335">
                  <a:moveTo>
                    <a:pt x="0" y="22"/>
                  </a:moveTo>
                  <a:cubicBezTo>
                    <a:pt x="64" y="-106"/>
                    <a:pt x="1663" y="341"/>
                    <a:pt x="4479" y="1237"/>
                  </a:cubicBezTo>
                  <a:cubicBezTo>
                    <a:pt x="7294" y="2133"/>
                    <a:pt x="11388" y="3476"/>
                    <a:pt x="16443" y="5268"/>
                  </a:cubicBezTo>
                  <a:cubicBezTo>
                    <a:pt x="26487" y="8787"/>
                    <a:pt x="40179" y="14033"/>
                    <a:pt x="55278" y="20111"/>
                  </a:cubicBezTo>
                  <a:cubicBezTo>
                    <a:pt x="70121" y="26125"/>
                    <a:pt x="83493" y="31627"/>
                    <a:pt x="93729" y="35786"/>
                  </a:cubicBezTo>
                  <a:cubicBezTo>
                    <a:pt x="98336" y="37641"/>
                    <a:pt x="102239" y="39177"/>
                    <a:pt x="105438" y="40456"/>
                  </a:cubicBezTo>
                  <a:cubicBezTo>
                    <a:pt x="108189" y="41544"/>
                    <a:pt x="109724" y="42184"/>
                    <a:pt x="109660" y="42312"/>
                  </a:cubicBezTo>
                  <a:cubicBezTo>
                    <a:pt x="109596" y="42440"/>
                    <a:pt x="107997" y="42056"/>
                    <a:pt x="105182" y="41160"/>
                  </a:cubicBezTo>
                  <a:cubicBezTo>
                    <a:pt x="102367" y="40264"/>
                    <a:pt x="98272" y="38857"/>
                    <a:pt x="93281" y="37065"/>
                  </a:cubicBezTo>
                  <a:cubicBezTo>
                    <a:pt x="83301" y="33419"/>
                    <a:pt x="69609" y="27980"/>
                    <a:pt x="54574" y="21902"/>
                  </a:cubicBezTo>
                  <a:cubicBezTo>
                    <a:pt x="39731" y="15952"/>
                    <a:pt x="26295" y="10642"/>
                    <a:pt x="15995" y="6547"/>
                  </a:cubicBezTo>
                  <a:cubicBezTo>
                    <a:pt x="11324" y="4692"/>
                    <a:pt x="7422" y="3157"/>
                    <a:pt x="4287" y="1941"/>
                  </a:cubicBezTo>
                  <a:cubicBezTo>
                    <a:pt x="1471" y="853"/>
                    <a:pt x="0" y="149"/>
                    <a:pt x="0" y="22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040915-4E51-41A2-8326-1294162EF508}"/>
                </a:ext>
              </a:extLst>
            </p:cNvPr>
            <p:cNvSpPr/>
            <p:nvPr/>
          </p:nvSpPr>
          <p:spPr>
            <a:xfrm>
              <a:off x="7761182" y="1249966"/>
              <a:ext cx="44696" cy="127959"/>
            </a:xfrm>
            <a:custGeom>
              <a:avLst/>
              <a:gdLst>
                <a:gd name="connsiteX0" fmla="*/ 20 w 44696"/>
                <a:gd name="connsiteY0" fmla="*/ 127959 h 127959"/>
                <a:gd name="connsiteX1" fmla="*/ 21389 w 44696"/>
                <a:gd name="connsiteY1" fmla="*/ 63660 h 127959"/>
                <a:gd name="connsiteX2" fmla="*/ 44677 w 44696"/>
                <a:gd name="connsiteY2" fmla="*/ 0 h 127959"/>
                <a:gd name="connsiteX3" fmla="*/ 23308 w 44696"/>
                <a:gd name="connsiteY3" fmla="*/ 64299 h 127959"/>
                <a:gd name="connsiteX4" fmla="*/ 20 w 44696"/>
                <a:gd name="connsiteY4" fmla="*/ 127959 h 12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96" h="127959">
                  <a:moveTo>
                    <a:pt x="20" y="127959"/>
                  </a:moveTo>
                  <a:cubicBezTo>
                    <a:pt x="-492" y="127767"/>
                    <a:pt x="9105" y="98976"/>
                    <a:pt x="21389" y="63660"/>
                  </a:cubicBezTo>
                  <a:cubicBezTo>
                    <a:pt x="33736" y="28343"/>
                    <a:pt x="44101" y="-128"/>
                    <a:pt x="44677" y="0"/>
                  </a:cubicBezTo>
                  <a:cubicBezTo>
                    <a:pt x="45189" y="192"/>
                    <a:pt x="35592" y="28983"/>
                    <a:pt x="23308" y="64299"/>
                  </a:cubicBezTo>
                  <a:cubicBezTo>
                    <a:pt x="10960" y="99616"/>
                    <a:pt x="531" y="128087"/>
                    <a:pt x="20" y="127959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47D8CDE2-495B-42B1-9549-070AA4709847}"/>
                </a:ext>
              </a:extLst>
            </p:cNvPr>
            <p:cNvSpPr/>
            <p:nvPr/>
          </p:nvSpPr>
          <p:spPr>
            <a:xfrm>
              <a:off x="7832079" y="1427634"/>
              <a:ext cx="65540" cy="100387"/>
            </a:xfrm>
            <a:custGeom>
              <a:avLst/>
              <a:gdLst>
                <a:gd name="connsiteX0" fmla="*/ 11 w 65540"/>
                <a:gd name="connsiteY0" fmla="*/ 100385 h 100387"/>
                <a:gd name="connsiteX1" fmla="*/ 2570 w 65540"/>
                <a:gd name="connsiteY1" fmla="*/ 96419 h 100387"/>
                <a:gd name="connsiteX2" fmla="*/ 10056 w 65540"/>
                <a:gd name="connsiteY2" fmla="*/ 85926 h 100387"/>
                <a:gd name="connsiteX3" fmla="*/ 33984 w 65540"/>
                <a:gd name="connsiteY3" fmla="*/ 50993 h 100387"/>
                <a:gd name="connsiteX4" fmla="*/ 56313 w 65540"/>
                <a:gd name="connsiteY4" fmla="*/ 15037 h 100387"/>
                <a:gd name="connsiteX5" fmla="*/ 62903 w 65540"/>
                <a:gd name="connsiteY5" fmla="*/ 3969 h 100387"/>
                <a:gd name="connsiteX6" fmla="*/ 65526 w 65540"/>
                <a:gd name="connsiteY6" fmla="*/ 2 h 100387"/>
                <a:gd name="connsiteX7" fmla="*/ 63607 w 65540"/>
                <a:gd name="connsiteY7" fmla="*/ 4289 h 100387"/>
                <a:gd name="connsiteX8" fmla="*/ 57593 w 65540"/>
                <a:gd name="connsiteY8" fmla="*/ 15677 h 100387"/>
                <a:gd name="connsiteX9" fmla="*/ 35712 w 65540"/>
                <a:gd name="connsiteY9" fmla="*/ 52017 h 100387"/>
                <a:gd name="connsiteX10" fmla="*/ 11272 w 65540"/>
                <a:gd name="connsiteY10" fmla="*/ 86694 h 100387"/>
                <a:gd name="connsiteX11" fmla="*/ 3274 w 65540"/>
                <a:gd name="connsiteY11" fmla="*/ 96802 h 100387"/>
                <a:gd name="connsiteX12" fmla="*/ 11 w 65540"/>
                <a:gd name="connsiteY12" fmla="*/ 100385 h 10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540" h="100387">
                  <a:moveTo>
                    <a:pt x="11" y="100385"/>
                  </a:moveTo>
                  <a:cubicBezTo>
                    <a:pt x="-117" y="100321"/>
                    <a:pt x="843" y="98914"/>
                    <a:pt x="2570" y="96419"/>
                  </a:cubicBezTo>
                  <a:cubicBezTo>
                    <a:pt x="4554" y="93603"/>
                    <a:pt x="7049" y="90085"/>
                    <a:pt x="10056" y="85926"/>
                  </a:cubicBezTo>
                  <a:cubicBezTo>
                    <a:pt x="16326" y="77097"/>
                    <a:pt x="24963" y="64813"/>
                    <a:pt x="33984" y="50993"/>
                  </a:cubicBezTo>
                  <a:cubicBezTo>
                    <a:pt x="43069" y="37174"/>
                    <a:pt x="50811" y="24314"/>
                    <a:pt x="56313" y="15037"/>
                  </a:cubicBezTo>
                  <a:cubicBezTo>
                    <a:pt x="58936" y="10623"/>
                    <a:pt x="61111" y="6976"/>
                    <a:pt x="62903" y="3969"/>
                  </a:cubicBezTo>
                  <a:cubicBezTo>
                    <a:pt x="64438" y="1346"/>
                    <a:pt x="65398" y="-62"/>
                    <a:pt x="65526" y="2"/>
                  </a:cubicBezTo>
                  <a:cubicBezTo>
                    <a:pt x="65654" y="66"/>
                    <a:pt x="64950" y="1602"/>
                    <a:pt x="63607" y="4289"/>
                  </a:cubicBezTo>
                  <a:cubicBezTo>
                    <a:pt x="62263" y="6976"/>
                    <a:pt x="60216" y="10879"/>
                    <a:pt x="57593" y="15677"/>
                  </a:cubicBezTo>
                  <a:cubicBezTo>
                    <a:pt x="52346" y="25210"/>
                    <a:pt x="44797" y="38134"/>
                    <a:pt x="35712" y="52017"/>
                  </a:cubicBezTo>
                  <a:cubicBezTo>
                    <a:pt x="26691" y="65901"/>
                    <a:pt x="17861" y="78057"/>
                    <a:pt x="11272" y="86694"/>
                  </a:cubicBezTo>
                  <a:cubicBezTo>
                    <a:pt x="7945" y="90980"/>
                    <a:pt x="5258" y="94435"/>
                    <a:pt x="3274" y="96802"/>
                  </a:cubicBezTo>
                  <a:cubicBezTo>
                    <a:pt x="1227" y="99170"/>
                    <a:pt x="139" y="100449"/>
                    <a:pt x="11" y="100385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26AB1A4-04C8-4D41-9923-98E2872AF3EC}"/>
                </a:ext>
              </a:extLst>
            </p:cNvPr>
            <p:cNvSpPr/>
            <p:nvPr/>
          </p:nvSpPr>
          <p:spPr>
            <a:xfrm>
              <a:off x="7721470" y="1516087"/>
              <a:ext cx="110235" cy="10492"/>
            </a:xfrm>
            <a:custGeom>
              <a:avLst/>
              <a:gdLst>
                <a:gd name="connsiteX0" fmla="*/ 0 w 110235"/>
                <a:gd name="connsiteY0" fmla="*/ 96 h 10492"/>
                <a:gd name="connsiteX1" fmla="*/ 4351 w 110235"/>
                <a:gd name="connsiteY1" fmla="*/ 96 h 10492"/>
                <a:gd name="connsiteX2" fmla="*/ 16187 w 110235"/>
                <a:gd name="connsiteY2" fmla="*/ 864 h 10492"/>
                <a:gd name="connsiteX3" fmla="*/ 55214 w 110235"/>
                <a:gd name="connsiteY3" fmla="*/ 4255 h 10492"/>
                <a:gd name="connsiteX4" fmla="*/ 94177 w 110235"/>
                <a:gd name="connsiteY4" fmla="*/ 8221 h 10492"/>
                <a:gd name="connsiteX5" fmla="*/ 105949 w 110235"/>
                <a:gd name="connsiteY5" fmla="*/ 9629 h 10492"/>
                <a:gd name="connsiteX6" fmla="*/ 110236 w 110235"/>
                <a:gd name="connsiteY6" fmla="*/ 10397 h 10492"/>
                <a:gd name="connsiteX7" fmla="*/ 105885 w 110235"/>
                <a:gd name="connsiteY7" fmla="*/ 10397 h 10492"/>
                <a:gd name="connsiteX8" fmla="*/ 94049 w 110235"/>
                <a:gd name="connsiteY8" fmla="*/ 9629 h 10492"/>
                <a:gd name="connsiteX9" fmla="*/ 55022 w 110235"/>
                <a:gd name="connsiteY9" fmla="*/ 6238 h 10492"/>
                <a:gd name="connsiteX10" fmla="*/ 16059 w 110235"/>
                <a:gd name="connsiteY10" fmla="*/ 2271 h 10492"/>
                <a:gd name="connsiteX11" fmla="*/ 4287 w 110235"/>
                <a:gd name="connsiteY11" fmla="*/ 864 h 10492"/>
                <a:gd name="connsiteX12" fmla="*/ 0 w 110235"/>
                <a:gd name="connsiteY12" fmla="*/ 96 h 1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235" h="10492">
                  <a:moveTo>
                    <a:pt x="0" y="96"/>
                  </a:moveTo>
                  <a:cubicBezTo>
                    <a:pt x="0" y="-32"/>
                    <a:pt x="1599" y="-32"/>
                    <a:pt x="4351" y="96"/>
                  </a:cubicBezTo>
                  <a:cubicBezTo>
                    <a:pt x="7550" y="288"/>
                    <a:pt x="11516" y="608"/>
                    <a:pt x="16187" y="864"/>
                  </a:cubicBezTo>
                  <a:cubicBezTo>
                    <a:pt x="26167" y="1632"/>
                    <a:pt x="39987" y="2783"/>
                    <a:pt x="55214" y="4255"/>
                  </a:cubicBezTo>
                  <a:cubicBezTo>
                    <a:pt x="70441" y="5662"/>
                    <a:pt x="84260" y="7070"/>
                    <a:pt x="94177" y="8221"/>
                  </a:cubicBezTo>
                  <a:cubicBezTo>
                    <a:pt x="98848" y="8797"/>
                    <a:pt x="102750" y="9245"/>
                    <a:pt x="105949" y="9629"/>
                  </a:cubicBezTo>
                  <a:cubicBezTo>
                    <a:pt x="108701" y="10013"/>
                    <a:pt x="110236" y="10269"/>
                    <a:pt x="110236" y="10397"/>
                  </a:cubicBezTo>
                  <a:cubicBezTo>
                    <a:pt x="110236" y="10525"/>
                    <a:pt x="108637" y="10525"/>
                    <a:pt x="105885" y="10397"/>
                  </a:cubicBezTo>
                  <a:cubicBezTo>
                    <a:pt x="102686" y="10205"/>
                    <a:pt x="98720" y="9885"/>
                    <a:pt x="94049" y="9629"/>
                  </a:cubicBezTo>
                  <a:cubicBezTo>
                    <a:pt x="84069" y="8861"/>
                    <a:pt x="70249" y="7710"/>
                    <a:pt x="55022" y="6238"/>
                  </a:cubicBezTo>
                  <a:cubicBezTo>
                    <a:pt x="39795" y="4830"/>
                    <a:pt x="26040" y="3423"/>
                    <a:pt x="16059" y="2271"/>
                  </a:cubicBezTo>
                  <a:cubicBezTo>
                    <a:pt x="11388" y="1695"/>
                    <a:pt x="7486" y="1248"/>
                    <a:pt x="4287" y="864"/>
                  </a:cubicBezTo>
                  <a:cubicBezTo>
                    <a:pt x="1536" y="480"/>
                    <a:pt x="0" y="224"/>
                    <a:pt x="0" y="96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6CA93CF6-3219-4183-9DDD-B5BCFE51AF5D}"/>
                </a:ext>
              </a:extLst>
            </p:cNvPr>
            <p:cNvSpPr/>
            <p:nvPr/>
          </p:nvSpPr>
          <p:spPr>
            <a:xfrm>
              <a:off x="7767215" y="1656528"/>
              <a:ext cx="141523" cy="12142"/>
            </a:xfrm>
            <a:custGeom>
              <a:avLst/>
              <a:gdLst>
                <a:gd name="connsiteX0" fmla="*/ 0 w 141523"/>
                <a:gd name="connsiteY0" fmla="*/ 89 h 12142"/>
                <a:gd name="connsiteX1" fmla="*/ 5566 w 141523"/>
                <a:gd name="connsiteY1" fmla="*/ 153 h 12142"/>
                <a:gd name="connsiteX2" fmla="*/ 20729 w 141523"/>
                <a:gd name="connsiteY2" fmla="*/ 1113 h 12142"/>
                <a:gd name="connsiteX3" fmla="*/ 70825 w 141523"/>
                <a:gd name="connsiteY3" fmla="*/ 5080 h 12142"/>
                <a:gd name="connsiteX4" fmla="*/ 120857 w 141523"/>
                <a:gd name="connsiteY4" fmla="*/ 9622 h 12142"/>
                <a:gd name="connsiteX5" fmla="*/ 136020 w 141523"/>
                <a:gd name="connsiteY5" fmla="*/ 11222 h 12142"/>
                <a:gd name="connsiteX6" fmla="*/ 141522 w 141523"/>
                <a:gd name="connsiteY6" fmla="*/ 12053 h 12142"/>
                <a:gd name="connsiteX7" fmla="*/ 135956 w 141523"/>
                <a:gd name="connsiteY7" fmla="*/ 11989 h 12142"/>
                <a:gd name="connsiteX8" fmla="*/ 120793 w 141523"/>
                <a:gd name="connsiteY8" fmla="*/ 11030 h 12142"/>
                <a:gd name="connsiteX9" fmla="*/ 70697 w 141523"/>
                <a:gd name="connsiteY9" fmla="*/ 7063 h 12142"/>
                <a:gd name="connsiteX10" fmla="*/ 20665 w 141523"/>
                <a:gd name="connsiteY10" fmla="*/ 2520 h 12142"/>
                <a:gd name="connsiteX11" fmla="*/ 5502 w 141523"/>
                <a:gd name="connsiteY11" fmla="*/ 921 h 12142"/>
                <a:gd name="connsiteX12" fmla="*/ 0 w 141523"/>
                <a:gd name="connsiteY12" fmla="*/ 89 h 1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1523" h="12142">
                  <a:moveTo>
                    <a:pt x="0" y="89"/>
                  </a:moveTo>
                  <a:cubicBezTo>
                    <a:pt x="0" y="-39"/>
                    <a:pt x="1983" y="-39"/>
                    <a:pt x="5566" y="153"/>
                  </a:cubicBezTo>
                  <a:cubicBezTo>
                    <a:pt x="9533" y="409"/>
                    <a:pt x="14651" y="729"/>
                    <a:pt x="20729" y="1113"/>
                  </a:cubicBezTo>
                  <a:cubicBezTo>
                    <a:pt x="33525" y="2009"/>
                    <a:pt x="51247" y="3416"/>
                    <a:pt x="70825" y="5080"/>
                  </a:cubicBezTo>
                  <a:cubicBezTo>
                    <a:pt x="90402" y="6743"/>
                    <a:pt x="108061" y="8343"/>
                    <a:pt x="120857" y="9622"/>
                  </a:cubicBezTo>
                  <a:cubicBezTo>
                    <a:pt x="126935" y="10262"/>
                    <a:pt x="132053" y="10774"/>
                    <a:pt x="136020" y="11222"/>
                  </a:cubicBezTo>
                  <a:cubicBezTo>
                    <a:pt x="139602" y="11669"/>
                    <a:pt x="141586" y="11925"/>
                    <a:pt x="141522" y="12053"/>
                  </a:cubicBezTo>
                  <a:cubicBezTo>
                    <a:pt x="141522" y="12181"/>
                    <a:pt x="139538" y="12181"/>
                    <a:pt x="135956" y="11989"/>
                  </a:cubicBezTo>
                  <a:cubicBezTo>
                    <a:pt x="131989" y="11733"/>
                    <a:pt x="126870" y="11414"/>
                    <a:pt x="120793" y="11030"/>
                  </a:cubicBezTo>
                  <a:cubicBezTo>
                    <a:pt x="107997" y="10134"/>
                    <a:pt x="90274" y="8726"/>
                    <a:pt x="70697" y="7063"/>
                  </a:cubicBezTo>
                  <a:cubicBezTo>
                    <a:pt x="51183" y="5399"/>
                    <a:pt x="33461" y="3800"/>
                    <a:pt x="20665" y="2520"/>
                  </a:cubicBezTo>
                  <a:cubicBezTo>
                    <a:pt x="14587" y="1881"/>
                    <a:pt x="9469" y="1369"/>
                    <a:pt x="5502" y="921"/>
                  </a:cubicBezTo>
                  <a:cubicBezTo>
                    <a:pt x="1983" y="537"/>
                    <a:pt x="0" y="217"/>
                    <a:pt x="0" y="89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BE2CC67-BBD1-42A3-8113-077A22AE4E43}"/>
                </a:ext>
              </a:extLst>
            </p:cNvPr>
            <p:cNvSpPr/>
            <p:nvPr/>
          </p:nvSpPr>
          <p:spPr>
            <a:xfrm>
              <a:off x="7905465" y="1537802"/>
              <a:ext cx="79547" cy="129506"/>
            </a:xfrm>
            <a:custGeom>
              <a:avLst/>
              <a:gdLst>
                <a:gd name="connsiteX0" fmla="*/ 10 w 79547"/>
                <a:gd name="connsiteY0" fmla="*/ 129500 h 129506"/>
                <a:gd name="connsiteX1" fmla="*/ 3145 w 79547"/>
                <a:gd name="connsiteY1" fmla="*/ 124382 h 129506"/>
                <a:gd name="connsiteX2" fmla="*/ 12102 w 79547"/>
                <a:gd name="connsiteY2" fmla="*/ 110754 h 129506"/>
                <a:gd name="connsiteX3" fmla="*/ 41020 w 79547"/>
                <a:gd name="connsiteY3" fmla="*/ 65457 h 129506"/>
                <a:gd name="connsiteX4" fmla="*/ 68339 w 79547"/>
                <a:gd name="connsiteY4" fmla="*/ 19200 h 129506"/>
                <a:gd name="connsiteX5" fmla="*/ 76401 w 79547"/>
                <a:gd name="connsiteY5" fmla="*/ 5061 h 129506"/>
                <a:gd name="connsiteX6" fmla="*/ 79536 w 79547"/>
                <a:gd name="connsiteY6" fmla="*/ 6 h 129506"/>
                <a:gd name="connsiteX7" fmla="*/ 77041 w 79547"/>
                <a:gd name="connsiteY7" fmla="*/ 5444 h 129506"/>
                <a:gd name="connsiteX8" fmla="*/ 69491 w 79547"/>
                <a:gd name="connsiteY8" fmla="*/ 19904 h 129506"/>
                <a:gd name="connsiteX9" fmla="*/ 42620 w 79547"/>
                <a:gd name="connsiteY9" fmla="*/ 66544 h 129506"/>
                <a:gd name="connsiteX10" fmla="*/ 13189 w 79547"/>
                <a:gd name="connsiteY10" fmla="*/ 111586 h 129506"/>
                <a:gd name="connsiteX11" fmla="*/ 3656 w 79547"/>
                <a:gd name="connsiteY11" fmla="*/ 124829 h 129506"/>
                <a:gd name="connsiteX12" fmla="*/ 10 w 79547"/>
                <a:gd name="connsiteY12" fmla="*/ 129500 h 12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547" h="129506">
                  <a:moveTo>
                    <a:pt x="10" y="129500"/>
                  </a:moveTo>
                  <a:cubicBezTo>
                    <a:pt x="-118" y="129436"/>
                    <a:pt x="1033" y="127580"/>
                    <a:pt x="3145" y="124382"/>
                  </a:cubicBezTo>
                  <a:cubicBezTo>
                    <a:pt x="5448" y="120863"/>
                    <a:pt x="8455" y="116320"/>
                    <a:pt x="12102" y="110754"/>
                  </a:cubicBezTo>
                  <a:cubicBezTo>
                    <a:pt x="19651" y="99238"/>
                    <a:pt x="30080" y="83371"/>
                    <a:pt x="41020" y="65457"/>
                  </a:cubicBezTo>
                  <a:cubicBezTo>
                    <a:pt x="52025" y="47543"/>
                    <a:pt x="61558" y="31100"/>
                    <a:pt x="68339" y="19200"/>
                  </a:cubicBezTo>
                  <a:cubicBezTo>
                    <a:pt x="71602" y="13442"/>
                    <a:pt x="74353" y="8707"/>
                    <a:pt x="76401" y="5061"/>
                  </a:cubicBezTo>
                  <a:cubicBezTo>
                    <a:pt x="78320" y="1734"/>
                    <a:pt x="79472" y="-122"/>
                    <a:pt x="79536" y="6"/>
                  </a:cubicBezTo>
                  <a:cubicBezTo>
                    <a:pt x="79664" y="70"/>
                    <a:pt x="78768" y="1990"/>
                    <a:pt x="77041" y="5444"/>
                  </a:cubicBezTo>
                  <a:cubicBezTo>
                    <a:pt x="75313" y="8899"/>
                    <a:pt x="72754" y="13826"/>
                    <a:pt x="69491" y="19904"/>
                  </a:cubicBezTo>
                  <a:cubicBezTo>
                    <a:pt x="62965" y="32060"/>
                    <a:pt x="53624" y="48630"/>
                    <a:pt x="42620" y="66544"/>
                  </a:cubicBezTo>
                  <a:cubicBezTo>
                    <a:pt x="31615" y="84459"/>
                    <a:pt x="21059" y="100261"/>
                    <a:pt x="13189" y="111586"/>
                  </a:cubicBezTo>
                  <a:cubicBezTo>
                    <a:pt x="9223" y="117216"/>
                    <a:pt x="6024" y="121758"/>
                    <a:pt x="3656" y="124829"/>
                  </a:cubicBezTo>
                  <a:cubicBezTo>
                    <a:pt x="1417" y="127900"/>
                    <a:pt x="74" y="129628"/>
                    <a:pt x="10" y="129500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01FA73D-65D1-4FD5-B9A3-5E5E516B7D2F}"/>
                </a:ext>
              </a:extLst>
            </p:cNvPr>
            <p:cNvSpPr/>
            <p:nvPr/>
          </p:nvSpPr>
          <p:spPr>
            <a:xfrm>
              <a:off x="7058199" y="1434930"/>
              <a:ext cx="575044" cy="574980"/>
            </a:xfrm>
            <a:custGeom>
              <a:avLst/>
              <a:gdLst>
                <a:gd name="connsiteX0" fmla="*/ 145425 w 575044"/>
                <a:gd name="connsiteY0" fmla="*/ 99807 h 574980"/>
                <a:gd name="connsiteX1" fmla="*/ 199615 w 575044"/>
                <a:gd name="connsiteY1" fmla="*/ 69161 h 574980"/>
                <a:gd name="connsiteX2" fmla="*/ 205373 w 575044"/>
                <a:gd name="connsiteY2" fmla="*/ 11708 h 574980"/>
                <a:gd name="connsiteX3" fmla="*/ 300190 w 575044"/>
                <a:gd name="connsiteY3" fmla="*/ 0 h 574980"/>
                <a:gd name="connsiteX4" fmla="*/ 319768 w 575044"/>
                <a:gd name="connsiteY4" fmla="*/ 54318 h 574980"/>
                <a:gd name="connsiteX5" fmla="*/ 379780 w 575044"/>
                <a:gd name="connsiteY5" fmla="*/ 70889 h 574980"/>
                <a:gd name="connsiteX6" fmla="*/ 424501 w 575044"/>
                <a:gd name="connsiteY6" fmla="*/ 34357 h 574980"/>
                <a:gd name="connsiteX7" fmla="*/ 499805 w 575044"/>
                <a:gd name="connsiteY7" fmla="*/ 93154 h 574980"/>
                <a:gd name="connsiteX8" fmla="*/ 475237 w 575044"/>
                <a:gd name="connsiteY8" fmla="*/ 145361 h 574980"/>
                <a:gd name="connsiteX9" fmla="*/ 505883 w 575044"/>
                <a:gd name="connsiteY9" fmla="*/ 199551 h 574980"/>
                <a:gd name="connsiteX10" fmla="*/ 563336 w 575044"/>
                <a:gd name="connsiteY10" fmla="*/ 205309 h 574980"/>
                <a:gd name="connsiteX11" fmla="*/ 575044 w 575044"/>
                <a:gd name="connsiteY11" fmla="*/ 300126 h 574980"/>
                <a:gd name="connsiteX12" fmla="*/ 520726 w 575044"/>
                <a:gd name="connsiteY12" fmla="*/ 319704 h 574980"/>
                <a:gd name="connsiteX13" fmla="*/ 504155 w 575044"/>
                <a:gd name="connsiteY13" fmla="*/ 379716 h 574980"/>
                <a:gd name="connsiteX14" fmla="*/ 540688 w 575044"/>
                <a:gd name="connsiteY14" fmla="*/ 424437 h 574980"/>
                <a:gd name="connsiteX15" fmla="*/ 481891 w 575044"/>
                <a:gd name="connsiteY15" fmla="*/ 499741 h 574980"/>
                <a:gd name="connsiteX16" fmla="*/ 429684 w 575044"/>
                <a:gd name="connsiteY16" fmla="*/ 475173 h 574980"/>
                <a:gd name="connsiteX17" fmla="*/ 375493 w 575044"/>
                <a:gd name="connsiteY17" fmla="*/ 505819 h 574980"/>
                <a:gd name="connsiteX18" fmla="*/ 369735 w 575044"/>
                <a:gd name="connsiteY18" fmla="*/ 563272 h 574980"/>
                <a:gd name="connsiteX19" fmla="*/ 274918 w 575044"/>
                <a:gd name="connsiteY19" fmla="*/ 574980 h 574980"/>
                <a:gd name="connsiteX20" fmla="*/ 255341 w 575044"/>
                <a:gd name="connsiteY20" fmla="*/ 520662 h 574980"/>
                <a:gd name="connsiteX21" fmla="*/ 195328 w 575044"/>
                <a:gd name="connsiteY21" fmla="*/ 504091 h 574980"/>
                <a:gd name="connsiteX22" fmla="*/ 150607 w 575044"/>
                <a:gd name="connsiteY22" fmla="*/ 540624 h 574980"/>
                <a:gd name="connsiteX23" fmla="*/ 75303 w 575044"/>
                <a:gd name="connsiteY23" fmla="*/ 481827 h 574980"/>
                <a:gd name="connsiteX24" fmla="*/ 99871 w 575044"/>
                <a:gd name="connsiteY24" fmla="*/ 429620 h 574980"/>
                <a:gd name="connsiteX25" fmla="*/ 69161 w 575044"/>
                <a:gd name="connsiteY25" fmla="*/ 375429 h 574980"/>
                <a:gd name="connsiteX26" fmla="*/ 11708 w 575044"/>
                <a:gd name="connsiteY26" fmla="*/ 369671 h 574980"/>
                <a:gd name="connsiteX27" fmla="*/ 0 w 575044"/>
                <a:gd name="connsiteY27" fmla="*/ 274854 h 574980"/>
                <a:gd name="connsiteX28" fmla="*/ 54318 w 575044"/>
                <a:gd name="connsiteY28" fmla="*/ 255277 h 574980"/>
                <a:gd name="connsiteX29" fmla="*/ 70889 w 575044"/>
                <a:gd name="connsiteY29" fmla="*/ 195264 h 574980"/>
                <a:gd name="connsiteX30" fmla="*/ 34357 w 575044"/>
                <a:gd name="connsiteY30" fmla="*/ 150543 h 574980"/>
                <a:gd name="connsiteX31" fmla="*/ 93154 w 575044"/>
                <a:gd name="connsiteY31" fmla="*/ 75239 h 574980"/>
                <a:gd name="connsiteX32" fmla="*/ 145425 w 575044"/>
                <a:gd name="connsiteY32" fmla="*/ 99807 h 574980"/>
                <a:gd name="connsiteX33" fmla="*/ 145425 w 575044"/>
                <a:gd name="connsiteY33" fmla="*/ 99807 h 574980"/>
                <a:gd name="connsiteX34" fmla="*/ 209404 w 575044"/>
                <a:gd name="connsiteY34" fmla="*/ 220984 h 574980"/>
                <a:gd name="connsiteX35" fmla="*/ 227126 w 575044"/>
                <a:gd name="connsiteY35" fmla="*/ 364809 h 574980"/>
                <a:gd name="connsiteX36" fmla="*/ 370951 w 575044"/>
                <a:gd name="connsiteY36" fmla="*/ 347087 h 574980"/>
                <a:gd name="connsiteX37" fmla="*/ 353229 w 575044"/>
                <a:gd name="connsiteY37" fmla="*/ 203262 h 574980"/>
                <a:gd name="connsiteX38" fmla="*/ 209404 w 575044"/>
                <a:gd name="connsiteY38" fmla="*/ 220984 h 57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5044" h="574980">
                  <a:moveTo>
                    <a:pt x="145425" y="99807"/>
                  </a:moveTo>
                  <a:cubicBezTo>
                    <a:pt x="162251" y="87076"/>
                    <a:pt x="180485" y="76839"/>
                    <a:pt x="199615" y="69161"/>
                  </a:cubicBezTo>
                  <a:lnTo>
                    <a:pt x="205373" y="11708"/>
                  </a:lnTo>
                  <a:lnTo>
                    <a:pt x="300190" y="0"/>
                  </a:lnTo>
                  <a:lnTo>
                    <a:pt x="319768" y="54318"/>
                  </a:lnTo>
                  <a:cubicBezTo>
                    <a:pt x="340177" y="57133"/>
                    <a:pt x="360394" y="62636"/>
                    <a:pt x="379780" y="70889"/>
                  </a:cubicBezTo>
                  <a:lnTo>
                    <a:pt x="424501" y="34357"/>
                  </a:lnTo>
                  <a:lnTo>
                    <a:pt x="499805" y="93154"/>
                  </a:lnTo>
                  <a:lnTo>
                    <a:pt x="475237" y="145361"/>
                  </a:lnTo>
                  <a:cubicBezTo>
                    <a:pt x="487969" y="162187"/>
                    <a:pt x="498205" y="180421"/>
                    <a:pt x="505883" y="199551"/>
                  </a:cubicBezTo>
                  <a:lnTo>
                    <a:pt x="563336" y="205309"/>
                  </a:lnTo>
                  <a:lnTo>
                    <a:pt x="575044" y="300126"/>
                  </a:lnTo>
                  <a:lnTo>
                    <a:pt x="520726" y="319704"/>
                  </a:lnTo>
                  <a:cubicBezTo>
                    <a:pt x="517911" y="340113"/>
                    <a:pt x="512409" y="360330"/>
                    <a:pt x="504155" y="379716"/>
                  </a:cubicBezTo>
                  <a:lnTo>
                    <a:pt x="540688" y="424437"/>
                  </a:lnTo>
                  <a:lnTo>
                    <a:pt x="481891" y="499741"/>
                  </a:lnTo>
                  <a:lnTo>
                    <a:pt x="429684" y="475173"/>
                  </a:lnTo>
                  <a:cubicBezTo>
                    <a:pt x="412857" y="487905"/>
                    <a:pt x="394623" y="498141"/>
                    <a:pt x="375493" y="505819"/>
                  </a:cubicBezTo>
                  <a:lnTo>
                    <a:pt x="369735" y="563272"/>
                  </a:lnTo>
                  <a:lnTo>
                    <a:pt x="274918" y="574980"/>
                  </a:lnTo>
                  <a:lnTo>
                    <a:pt x="255341" y="520662"/>
                  </a:lnTo>
                  <a:cubicBezTo>
                    <a:pt x="234931" y="517847"/>
                    <a:pt x="214714" y="512345"/>
                    <a:pt x="195328" y="504091"/>
                  </a:cubicBezTo>
                  <a:lnTo>
                    <a:pt x="150607" y="540624"/>
                  </a:lnTo>
                  <a:lnTo>
                    <a:pt x="75303" y="481827"/>
                  </a:lnTo>
                  <a:lnTo>
                    <a:pt x="99871" y="429620"/>
                  </a:lnTo>
                  <a:cubicBezTo>
                    <a:pt x="87140" y="412793"/>
                    <a:pt x="76903" y="394559"/>
                    <a:pt x="69161" y="375429"/>
                  </a:cubicBezTo>
                  <a:lnTo>
                    <a:pt x="11708" y="369671"/>
                  </a:lnTo>
                  <a:lnTo>
                    <a:pt x="0" y="274854"/>
                  </a:lnTo>
                  <a:lnTo>
                    <a:pt x="54318" y="255277"/>
                  </a:lnTo>
                  <a:cubicBezTo>
                    <a:pt x="57133" y="234867"/>
                    <a:pt x="62636" y="214650"/>
                    <a:pt x="70889" y="195264"/>
                  </a:cubicBezTo>
                  <a:lnTo>
                    <a:pt x="34357" y="150543"/>
                  </a:lnTo>
                  <a:lnTo>
                    <a:pt x="93154" y="75239"/>
                  </a:lnTo>
                  <a:lnTo>
                    <a:pt x="145425" y="99807"/>
                  </a:lnTo>
                  <a:lnTo>
                    <a:pt x="145425" y="99807"/>
                  </a:lnTo>
                  <a:close/>
                  <a:moveTo>
                    <a:pt x="209404" y="220984"/>
                  </a:moveTo>
                  <a:cubicBezTo>
                    <a:pt x="174599" y="265577"/>
                    <a:pt x="182532" y="330004"/>
                    <a:pt x="227126" y="364809"/>
                  </a:cubicBezTo>
                  <a:cubicBezTo>
                    <a:pt x="271719" y="399614"/>
                    <a:pt x="336146" y="391680"/>
                    <a:pt x="370951" y="347087"/>
                  </a:cubicBezTo>
                  <a:cubicBezTo>
                    <a:pt x="405756" y="302493"/>
                    <a:pt x="397822" y="238066"/>
                    <a:pt x="353229" y="203262"/>
                  </a:cubicBezTo>
                  <a:cubicBezTo>
                    <a:pt x="308635" y="168457"/>
                    <a:pt x="244208" y="176390"/>
                    <a:pt x="209404" y="220984"/>
                  </a:cubicBezTo>
                  <a:close/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CC00F8B-C6CF-45E7-8913-0186928486D0}"/>
                </a:ext>
              </a:extLst>
            </p:cNvPr>
            <p:cNvSpPr/>
            <p:nvPr/>
          </p:nvSpPr>
          <p:spPr>
            <a:xfrm>
              <a:off x="9818386" y="396741"/>
              <a:ext cx="412153" cy="412025"/>
            </a:xfrm>
            <a:custGeom>
              <a:avLst/>
              <a:gdLst>
                <a:gd name="connsiteX0" fmla="*/ 118041 w 412153"/>
                <a:gd name="connsiteY0" fmla="*/ 60076 h 412025"/>
                <a:gd name="connsiteX1" fmla="*/ 159372 w 412153"/>
                <a:gd name="connsiteY1" fmla="*/ 42098 h 412025"/>
                <a:gd name="connsiteX2" fmla="*/ 167881 w 412153"/>
                <a:gd name="connsiteY2" fmla="*/ 1152 h 412025"/>
                <a:gd name="connsiteX3" fmla="*/ 237043 w 412153"/>
                <a:gd name="connsiteY3" fmla="*/ 0 h 412025"/>
                <a:gd name="connsiteX4" fmla="*/ 247023 w 412153"/>
                <a:gd name="connsiteY4" fmla="*/ 40563 h 412025"/>
                <a:gd name="connsiteX5" fmla="*/ 288994 w 412153"/>
                <a:gd name="connsiteY5" fmla="*/ 57069 h 412025"/>
                <a:gd name="connsiteX6" fmla="*/ 323926 w 412153"/>
                <a:gd name="connsiteY6" fmla="*/ 34165 h 412025"/>
                <a:gd name="connsiteX7" fmla="*/ 373702 w 412153"/>
                <a:gd name="connsiteY7" fmla="*/ 82213 h 412025"/>
                <a:gd name="connsiteX8" fmla="*/ 352013 w 412153"/>
                <a:gd name="connsiteY8" fmla="*/ 117914 h 412025"/>
                <a:gd name="connsiteX9" fmla="*/ 369991 w 412153"/>
                <a:gd name="connsiteY9" fmla="*/ 159244 h 412025"/>
                <a:gd name="connsiteX10" fmla="*/ 410938 w 412153"/>
                <a:gd name="connsiteY10" fmla="*/ 167753 h 412025"/>
                <a:gd name="connsiteX11" fmla="*/ 412154 w 412153"/>
                <a:gd name="connsiteY11" fmla="*/ 236915 h 412025"/>
                <a:gd name="connsiteX12" fmla="*/ 371527 w 412153"/>
                <a:gd name="connsiteY12" fmla="*/ 246895 h 412025"/>
                <a:gd name="connsiteX13" fmla="*/ 355020 w 412153"/>
                <a:gd name="connsiteY13" fmla="*/ 288866 h 412025"/>
                <a:gd name="connsiteX14" fmla="*/ 377924 w 412153"/>
                <a:gd name="connsiteY14" fmla="*/ 323798 h 412025"/>
                <a:gd name="connsiteX15" fmla="*/ 329876 w 412153"/>
                <a:gd name="connsiteY15" fmla="*/ 373574 h 412025"/>
                <a:gd name="connsiteX16" fmla="*/ 294112 w 412153"/>
                <a:gd name="connsiteY16" fmla="*/ 351885 h 412025"/>
                <a:gd name="connsiteX17" fmla="*/ 252781 w 412153"/>
                <a:gd name="connsiteY17" fmla="*/ 369863 h 412025"/>
                <a:gd name="connsiteX18" fmla="*/ 244272 w 412153"/>
                <a:gd name="connsiteY18" fmla="*/ 410810 h 412025"/>
                <a:gd name="connsiteX19" fmla="*/ 175111 w 412153"/>
                <a:gd name="connsiteY19" fmla="*/ 412026 h 412025"/>
                <a:gd name="connsiteX20" fmla="*/ 165130 w 412153"/>
                <a:gd name="connsiteY20" fmla="*/ 371399 h 412025"/>
                <a:gd name="connsiteX21" fmla="*/ 123160 w 412153"/>
                <a:gd name="connsiteY21" fmla="*/ 354892 h 412025"/>
                <a:gd name="connsiteX22" fmla="*/ 88227 w 412153"/>
                <a:gd name="connsiteY22" fmla="*/ 377797 h 412025"/>
                <a:gd name="connsiteX23" fmla="*/ 38451 w 412153"/>
                <a:gd name="connsiteY23" fmla="*/ 329748 h 412025"/>
                <a:gd name="connsiteX24" fmla="*/ 60140 w 412153"/>
                <a:gd name="connsiteY24" fmla="*/ 294048 h 412025"/>
                <a:gd name="connsiteX25" fmla="*/ 42162 w 412153"/>
                <a:gd name="connsiteY25" fmla="*/ 252718 h 412025"/>
                <a:gd name="connsiteX26" fmla="*/ 1215 w 412153"/>
                <a:gd name="connsiteY26" fmla="*/ 244208 h 412025"/>
                <a:gd name="connsiteX27" fmla="*/ 0 w 412153"/>
                <a:gd name="connsiteY27" fmla="*/ 175047 h 412025"/>
                <a:gd name="connsiteX28" fmla="*/ 40627 w 412153"/>
                <a:gd name="connsiteY28" fmla="*/ 165066 h 412025"/>
                <a:gd name="connsiteX29" fmla="*/ 57133 w 412153"/>
                <a:gd name="connsiteY29" fmla="*/ 123096 h 412025"/>
                <a:gd name="connsiteX30" fmla="*/ 34229 w 412153"/>
                <a:gd name="connsiteY30" fmla="*/ 88163 h 412025"/>
                <a:gd name="connsiteX31" fmla="*/ 82277 w 412153"/>
                <a:gd name="connsiteY31" fmla="*/ 38387 h 412025"/>
                <a:gd name="connsiteX32" fmla="*/ 118041 w 412153"/>
                <a:gd name="connsiteY32" fmla="*/ 60076 h 412025"/>
                <a:gd name="connsiteX33" fmla="*/ 118041 w 412153"/>
                <a:gd name="connsiteY33" fmla="*/ 60076 h 412025"/>
                <a:gd name="connsiteX34" fmla="*/ 154893 w 412153"/>
                <a:gd name="connsiteY34" fmla="*/ 152206 h 412025"/>
                <a:gd name="connsiteX35" fmla="*/ 156749 w 412153"/>
                <a:gd name="connsiteY35" fmla="*/ 257132 h 412025"/>
                <a:gd name="connsiteX36" fmla="*/ 261610 w 412153"/>
                <a:gd name="connsiteY36" fmla="*/ 255277 h 412025"/>
                <a:gd name="connsiteX37" fmla="*/ 259755 w 412153"/>
                <a:gd name="connsiteY37" fmla="*/ 150415 h 412025"/>
                <a:gd name="connsiteX38" fmla="*/ 154893 w 412153"/>
                <a:gd name="connsiteY38" fmla="*/ 152206 h 41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12153" h="412025">
                  <a:moveTo>
                    <a:pt x="118041" y="60076"/>
                  </a:moveTo>
                  <a:cubicBezTo>
                    <a:pt x="131093" y="52207"/>
                    <a:pt x="145041" y="46193"/>
                    <a:pt x="159372" y="42098"/>
                  </a:cubicBezTo>
                  <a:lnTo>
                    <a:pt x="167881" y="1152"/>
                  </a:lnTo>
                  <a:lnTo>
                    <a:pt x="237043" y="0"/>
                  </a:lnTo>
                  <a:lnTo>
                    <a:pt x="247023" y="40563"/>
                  </a:lnTo>
                  <a:cubicBezTo>
                    <a:pt x="261482" y="44146"/>
                    <a:pt x="275622" y="49648"/>
                    <a:pt x="288994" y="57069"/>
                  </a:cubicBezTo>
                  <a:lnTo>
                    <a:pt x="323926" y="34165"/>
                  </a:lnTo>
                  <a:lnTo>
                    <a:pt x="373702" y="82213"/>
                  </a:lnTo>
                  <a:lnTo>
                    <a:pt x="352013" y="117914"/>
                  </a:lnTo>
                  <a:cubicBezTo>
                    <a:pt x="359946" y="130965"/>
                    <a:pt x="365896" y="144913"/>
                    <a:pt x="369991" y="159244"/>
                  </a:cubicBezTo>
                  <a:lnTo>
                    <a:pt x="410938" y="167753"/>
                  </a:lnTo>
                  <a:lnTo>
                    <a:pt x="412154" y="236915"/>
                  </a:lnTo>
                  <a:lnTo>
                    <a:pt x="371527" y="246895"/>
                  </a:lnTo>
                  <a:cubicBezTo>
                    <a:pt x="367944" y="261355"/>
                    <a:pt x="362442" y="275494"/>
                    <a:pt x="355020" y="288866"/>
                  </a:cubicBezTo>
                  <a:lnTo>
                    <a:pt x="377924" y="323798"/>
                  </a:lnTo>
                  <a:lnTo>
                    <a:pt x="329876" y="373574"/>
                  </a:lnTo>
                  <a:lnTo>
                    <a:pt x="294112" y="351885"/>
                  </a:lnTo>
                  <a:cubicBezTo>
                    <a:pt x="281060" y="359819"/>
                    <a:pt x="267113" y="365769"/>
                    <a:pt x="252781" y="369863"/>
                  </a:cubicBezTo>
                  <a:lnTo>
                    <a:pt x="244272" y="410810"/>
                  </a:lnTo>
                  <a:lnTo>
                    <a:pt x="175111" y="412026"/>
                  </a:lnTo>
                  <a:lnTo>
                    <a:pt x="165130" y="371399"/>
                  </a:lnTo>
                  <a:cubicBezTo>
                    <a:pt x="150671" y="367816"/>
                    <a:pt x="136531" y="362314"/>
                    <a:pt x="123160" y="354892"/>
                  </a:cubicBezTo>
                  <a:lnTo>
                    <a:pt x="88227" y="377797"/>
                  </a:lnTo>
                  <a:lnTo>
                    <a:pt x="38451" y="329748"/>
                  </a:lnTo>
                  <a:lnTo>
                    <a:pt x="60140" y="294048"/>
                  </a:lnTo>
                  <a:cubicBezTo>
                    <a:pt x="52271" y="280996"/>
                    <a:pt x="46257" y="267049"/>
                    <a:pt x="42162" y="252718"/>
                  </a:cubicBezTo>
                  <a:lnTo>
                    <a:pt x="1215" y="244208"/>
                  </a:lnTo>
                  <a:lnTo>
                    <a:pt x="0" y="175047"/>
                  </a:lnTo>
                  <a:lnTo>
                    <a:pt x="40627" y="165066"/>
                  </a:lnTo>
                  <a:cubicBezTo>
                    <a:pt x="44209" y="150607"/>
                    <a:pt x="49712" y="136467"/>
                    <a:pt x="57133" y="123096"/>
                  </a:cubicBezTo>
                  <a:lnTo>
                    <a:pt x="34229" y="88163"/>
                  </a:lnTo>
                  <a:lnTo>
                    <a:pt x="82277" y="38387"/>
                  </a:lnTo>
                  <a:lnTo>
                    <a:pt x="118041" y="60076"/>
                  </a:lnTo>
                  <a:lnTo>
                    <a:pt x="118041" y="60076"/>
                  </a:lnTo>
                  <a:close/>
                  <a:moveTo>
                    <a:pt x="154893" y="152206"/>
                  </a:moveTo>
                  <a:cubicBezTo>
                    <a:pt x="126423" y="181701"/>
                    <a:pt x="127254" y="228661"/>
                    <a:pt x="156749" y="257132"/>
                  </a:cubicBezTo>
                  <a:cubicBezTo>
                    <a:pt x="186243" y="285603"/>
                    <a:pt x="233204" y="284771"/>
                    <a:pt x="261610" y="255277"/>
                  </a:cubicBezTo>
                  <a:cubicBezTo>
                    <a:pt x="290081" y="225782"/>
                    <a:pt x="289250" y="178822"/>
                    <a:pt x="259755" y="150415"/>
                  </a:cubicBezTo>
                  <a:cubicBezTo>
                    <a:pt x="230325" y="121880"/>
                    <a:pt x="183364" y="122712"/>
                    <a:pt x="154893" y="152206"/>
                  </a:cubicBezTo>
                  <a:close/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45ECE41-67A3-4EB5-A237-BA8D230D46FC}"/>
                </a:ext>
              </a:extLst>
            </p:cNvPr>
            <p:cNvSpPr/>
            <p:nvPr/>
          </p:nvSpPr>
          <p:spPr>
            <a:xfrm>
              <a:off x="10716077" y="1033269"/>
              <a:ext cx="259691" cy="259691"/>
            </a:xfrm>
            <a:custGeom>
              <a:avLst/>
              <a:gdLst>
                <a:gd name="connsiteX0" fmla="*/ 74408 w 259691"/>
                <a:gd name="connsiteY0" fmla="*/ 37876 h 259691"/>
                <a:gd name="connsiteX1" fmla="*/ 100447 w 259691"/>
                <a:gd name="connsiteY1" fmla="*/ 26551 h 259691"/>
                <a:gd name="connsiteX2" fmla="*/ 105822 w 259691"/>
                <a:gd name="connsiteY2" fmla="*/ 768 h 259691"/>
                <a:gd name="connsiteX3" fmla="*/ 149391 w 259691"/>
                <a:gd name="connsiteY3" fmla="*/ 0 h 259691"/>
                <a:gd name="connsiteX4" fmla="*/ 155661 w 259691"/>
                <a:gd name="connsiteY4" fmla="*/ 25592 h 259691"/>
                <a:gd name="connsiteX5" fmla="*/ 182085 w 259691"/>
                <a:gd name="connsiteY5" fmla="*/ 36020 h 259691"/>
                <a:gd name="connsiteX6" fmla="*/ 204094 w 259691"/>
                <a:gd name="connsiteY6" fmla="*/ 21561 h 259691"/>
                <a:gd name="connsiteX7" fmla="*/ 235443 w 259691"/>
                <a:gd name="connsiteY7" fmla="*/ 51823 h 259691"/>
                <a:gd name="connsiteX8" fmla="*/ 221816 w 259691"/>
                <a:gd name="connsiteY8" fmla="*/ 74344 h 259691"/>
                <a:gd name="connsiteX9" fmla="*/ 233140 w 259691"/>
                <a:gd name="connsiteY9" fmla="*/ 100447 h 259691"/>
                <a:gd name="connsiteX10" fmla="*/ 258924 w 259691"/>
                <a:gd name="connsiteY10" fmla="*/ 105821 h 259691"/>
                <a:gd name="connsiteX11" fmla="*/ 259691 w 259691"/>
                <a:gd name="connsiteY11" fmla="*/ 149391 h 259691"/>
                <a:gd name="connsiteX12" fmla="*/ 234100 w 259691"/>
                <a:gd name="connsiteY12" fmla="*/ 155661 h 259691"/>
                <a:gd name="connsiteX13" fmla="*/ 223671 w 259691"/>
                <a:gd name="connsiteY13" fmla="*/ 182085 h 259691"/>
                <a:gd name="connsiteX14" fmla="*/ 238130 w 259691"/>
                <a:gd name="connsiteY14" fmla="*/ 204093 h 259691"/>
                <a:gd name="connsiteX15" fmla="*/ 207868 w 259691"/>
                <a:gd name="connsiteY15" fmla="*/ 235443 h 259691"/>
                <a:gd name="connsiteX16" fmla="*/ 185348 w 259691"/>
                <a:gd name="connsiteY16" fmla="*/ 221816 h 259691"/>
                <a:gd name="connsiteX17" fmla="*/ 159244 w 259691"/>
                <a:gd name="connsiteY17" fmla="*/ 233140 h 259691"/>
                <a:gd name="connsiteX18" fmla="*/ 153870 w 259691"/>
                <a:gd name="connsiteY18" fmla="*/ 258924 h 259691"/>
                <a:gd name="connsiteX19" fmla="*/ 110300 w 259691"/>
                <a:gd name="connsiteY19" fmla="*/ 259691 h 259691"/>
                <a:gd name="connsiteX20" fmla="*/ 104030 w 259691"/>
                <a:gd name="connsiteY20" fmla="*/ 234100 h 259691"/>
                <a:gd name="connsiteX21" fmla="*/ 77607 w 259691"/>
                <a:gd name="connsiteY21" fmla="*/ 223671 h 259691"/>
                <a:gd name="connsiteX22" fmla="*/ 55598 w 259691"/>
                <a:gd name="connsiteY22" fmla="*/ 238130 h 259691"/>
                <a:gd name="connsiteX23" fmla="*/ 24248 w 259691"/>
                <a:gd name="connsiteY23" fmla="*/ 207868 h 259691"/>
                <a:gd name="connsiteX24" fmla="*/ 37876 w 259691"/>
                <a:gd name="connsiteY24" fmla="*/ 185348 h 259691"/>
                <a:gd name="connsiteX25" fmla="*/ 26551 w 259691"/>
                <a:gd name="connsiteY25" fmla="*/ 159244 h 259691"/>
                <a:gd name="connsiteX26" fmla="*/ 768 w 259691"/>
                <a:gd name="connsiteY26" fmla="*/ 153870 h 259691"/>
                <a:gd name="connsiteX27" fmla="*/ 0 w 259691"/>
                <a:gd name="connsiteY27" fmla="*/ 110300 h 259691"/>
                <a:gd name="connsiteX28" fmla="*/ 25592 w 259691"/>
                <a:gd name="connsiteY28" fmla="*/ 104030 h 259691"/>
                <a:gd name="connsiteX29" fmla="*/ 36020 w 259691"/>
                <a:gd name="connsiteY29" fmla="*/ 77607 h 259691"/>
                <a:gd name="connsiteX30" fmla="*/ 21561 w 259691"/>
                <a:gd name="connsiteY30" fmla="*/ 55598 h 259691"/>
                <a:gd name="connsiteX31" fmla="*/ 51823 w 259691"/>
                <a:gd name="connsiteY31" fmla="*/ 24248 h 259691"/>
                <a:gd name="connsiteX32" fmla="*/ 74408 w 259691"/>
                <a:gd name="connsiteY32" fmla="*/ 37876 h 259691"/>
                <a:gd name="connsiteX33" fmla="*/ 74408 w 259691"/>
                <a:gd name="connsiteY33" fmla="*/ 37876 h 259691"/>
                <a:gd name="connsiteX34" fmla="*/ 97696 w 259691"/>
                <a:gd name="connsiteY34" fmla="*/ 95969 h 259691"/>
                <a:gd name="connsiteX35" fmla="*/ 98848 w 259691"/>
                <a:gd name="connsiteY35" fmla="*/ 162123 h 259691"/>
                <a:gd name="connsiteX36" fmla="*/ 165002 w 259691"/>
                <a:gd name="connsiteY36" fmla="*/ 160971 h 259691"/>
                <a:gd name="connsiteX37" fmla="*/ 163851 w 259691"/>
                <a:gd name="connsiteY37" fmla="*/ 94817 h 259691"/>
                <a:gd name="connsiteX38" fmla="*/ 97696 w 259691"/>
                <a:gd name="connsiteY38" fmla="*/ 95969 h 259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9691" h="259691">
                  <a:moveTo>
                    <a:pt x="74408" y="37876"/>
                  </a:moveTo>
                  <a:cubicBezTo>
                    <a:pt x="82661" y="32885"/>
                    <a:pt x="91426" y="29111"/>
                    <a:pt x="100447" y="26551"/>
                  </a:cubicBezTo>
                  <a:lnTo>
                    <a:pt x="105822" y="768"/>
                  </a:lnTo>
                  <a:lnTo>
                    <a:pt x="149391" y="0"/>
                  </a:lnTo>
                  <a:lnTo>
                    <a:pt x="155661" y="25592"/>
                  </a:lnTo>
                  <a:cubicBezTo>
                    <a:pt x="164810" y="27831"/>
                    <a:pt x="173703" y="31286"/>
                    <a:pt x="182085" y="36020"/>
                  </a:cubicBezTo>
                  <a:lnTo>
                    <a:pt x="204094" y="21561"/>
                  </a:lnTo>
                  <a:lnTo>
                    <a:pt x="235443" y="51823"/>
                  </a:lnTo>
                  <a:lnTo>
                    <a:pt x="221816" y="74344"/>
                  </a:lnTo>
                  <a:cubicBezTo>
                    <a:pt x="226806" y="82597"/>
                    <a:pt x="230581" y="91362"/>
                    <a:pt x="233140" y="100447"/>
                  </a:cubicBezTo>
                  <a:lnTo>
                    <a:pt x="258924" y="105821"/>
                  </a:lnTo>
                  <a:lnTo>
                    <a:pt x="259691" y="149391"/>
                  </a:lnTo>
                  <a:lnTo>
                    <a:pt x="234100" y="155661"/>
                  </a:lnTo>
                  <a:cubicBezTo>
                    <a:pt x="231860" y="164810"/>
                    <a:pt x="228406" y="173703"/>
                    <a:pt x="223671" y="182085"/>
                  </a:cubicBezTo>
                  <a:lnTo>
                    <a:pt x="238130" y="204093"/>
                  </a:lnTo>
                  <a:lnTo>
                    <a:pt x="207868" y="235443"/>
                  </a:lnTo>
                  <a:lnTo>
                    <a:pt x="185348" y="221816"/>
                  </a:lnTo>
                  <a:cubicBezTo>
                    <a:pt x="177094" y="226806"/>
                    <a:pt x="168329" y="230581"/>
                    <a:pt x="159244" y="233140"/>
                  </a:cubicBezTo>
                  <a:lnTo>
                    <a:pt x="153870" y="258924"/>
                  </a:lnTo>
                  <a:lnTo>
                    <a:pt x="110300" y="259691"/>
                  </a:lnTo>
                  <a:lnTo>
                    <a:pt x="104030" y="234100"/>
                  </a:lnTo>
                  <a:cubicBezTo>
                    <a:pt x="94881" y="231860"/>
                    <a:pt x="85988" y="228405"/>
                    <a:pt x="77607" y="223671"/>
                  </a:cubicBezTo>
                  <a:lnTo>
                    <a:pt x="55598" y="238130"/>
                  </a:lnTo>
                  <a:lnTo>
                    <a:pt x="24248" y="207868"/>
                  </a:lnTo>
                  <a:lnTo>
                    <a:pt x="37876" y="185348"/>
                  </a:lnTo>
                  <a:cubicBezTo>
                    <a:pt x="32885" y="177094"/>
                    <a:pt x="29111" y="168329"/>
                    <a:pt x="26551" y="159244"/>
                  </a:cubicBezTo>
                  <a:lnTo>
                    <a:pt x="768" y="153870"/>
                  </a:lnTo>
                  <a:lnTo>
                    <a:pt x="0" y="110300"/>
                  </a:lnTo>
                  <a:lnTo>
                    <a:pt x="25592" y="104030"/>
                  </a:lnTo>
                  <a:cubicBezTo>
                    <a:pt x="27831" y="94881"/>
                    <a:pt x="31286" y="85988"/>
                    <a:pt x="36020" y="77607"/>
                  </a:cubicBezTo>
                  <a:lnTo>
                    <a:pt x="21561" y="55598"/>
                  </a:lnTo>
                  <a:lnTo>
                    <a:pt x="51823" y="24248"/>
                  </a:lnTo>
                  <a:lnTo>
                    <a:pt x="74408" y="37876"/>
                  </a:lnTo>
                  <a:lnTo>
                    <a:pt x="74408" y="37876"/>
                  </a:lnTo>
                  <a:close/>
                  <a:moveTo>
                    <a:pt x="97696" y="95969"/>
                  </a:moveTo>
                  <a:cubicBezTo>
                    <a:pt x="79782" y="114587"/>
                    <a:pt x="80294" y="144145"/>
                    <a:pt x="98848" y="162123"/>
                  </a:cubicBezTo>
                  <a:cubicBezTo>
                    <a:pt x="117402" y="180037"/>
                    <a:pt x="147024" y="179525"/>
                    <a:pt x="165002" y="160971"/>
                  </a:cubicBezTo>
                  <a:cubicBezTo>
                    <a:pt x="182916" y="142418"/>
                    <a:pt x="182405" y="112795"/>
                    <a:pt x="163851" y="94817"/>
                  </a:cubicBezTo>
                  <a:cubicBezTo>
                    <a:pt x="145233" y="76839"/>
                    <a:pt x="115610" y="77415"/>
                    <a:pt x="97696" y="95969"/>
                  </a:cubicBezTo>
                  <a:close/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DB26E05-4B15-4EA4-AC13-948E2BA023A3}"/>
                </a:ext>
              </a:extLst>
            </p:cNvPr>
            <p:cNvSpPr/>
            <p:nvPr/>
          </p:nvSpPr>
          <p:spPr>
            <a:xfrm>
              <a:off x="6993196" y="800449"/>
              <a:ext cx="505243" cy="505179"/>
            </a:xfrm>
            <a:custGeom>
              <a:avLst/>
              <a:gdLst>
                <a:gd name="connsiteX0" fmla="*/ 144721 w 505243"/>
                <a:gd name="connsiteY0" fmla="*/ 73640 h 505179"/>
                <a:gd name="connsiteX1" fmla="*/ 195392 w 505243"/>
                <a:gd name="connsiteY1" fmla="*/ 51631 h 505179"/>
                <a:gd name="connsiteX2" fmla="*/ 205821 w 505243"/>
                <a:gd name="connsiteY2" fmla="*/ 1472 h 505179"/>
                <a:gd name="connsiteX3" fmla="*/ 290593 w 505243"/>
                <a:gd name="connsiteY3" fmla="*/ 0 h 505179"/>
                <a:gd name="connsiteX4" fmla="*/ 302813 w 505243"/>
                <a:gd name="connsiteY4" fmla="*/ 49776 h 505179"/>
                <a:gd name="connsiteX5" fmla="*/ 354252 w 505243"/>
                <a:gd name="connsiteY5" fmla="*/ 69993 h 505179"/>
                <a:gd name="connsiteX6" fmla="*/ 397118 w 505243"/>
                <a:gd name="connsiteY6" fmla="*/ 41906 h 505179"/>
                <a:gd name="connsiteX7" fmla="*/ 458154 w 505243"/>
                <a:gd name="connsiteY7" fmla="*/ 100831 h 505179"/>
                <a:gd name="connsiteX8" fmla="*/ 431603 w 505243"/>
                <a:gd name="connsiteY8" fmla="*/ 144593 h 505179"/>
                <a:gd name="connsiteX9" fmla="*/ 453612 w 505243"/>
                <a:gd name="connsiteY9" fmla="*/ 195328 h 505179"/>
                <a:gd name="connsiteX10" fmla="*/ 503772 w 505243"/>
                <a:gd name="connsiteY10" fmla="*/ 205757 h 505179"/>
                <a:gd name="connsiteX11" fmla="*/ 505243 w 505243"/>
                <a:gd name="connsiteY11" fmla="*/ 290529 h 505179"/>
                <a:gd name="connsiteX12" fmla="*/ 455467 w 505243"/>
                <a:gd name="connsiteY12" fmla="*/ 302749 h 505179"/>
                <a:gd name="connsiteX13" fmla="*/ 435250 w 505243"/>
                <a:gd name="connsiteY13" fmla="*/ 354188 h 505179"/>
                <a:gd name="connsiteX14" fmla="*/ 463337 w 505243"/>
                <a:gd name="connsiteY14" fmla="*/ 397054 h 505179"/>
                <a:gd name="connsiteX15" fmla="*/ 404412 w 505243"/>
                <a:gd name="connsiteY15" fmla="*/ 458091 h 505179"/>
                <a:gd name="connsiteX16" fmla="*/ 360586 w 505243"/>
                <a:gd name="connsiteY16" fmla="*/ 431539 h 505179"/>
                <a:gd name="connsiteX17" fmla="*/ 309851 w 505243"/>
                <a:gd name="connsiteY17" fmla="*/ 453548 h 505179"/>
                <a:gd name="connsiteX18" fmla="*/ 299422 w 505243"/>
                <a:gd name="connsiteY18" fmla="*/ 503708 h 505179"/>
                <a:gd name="connsiteX19" fmla="*/ 214650 w 505243"/>
                <a:gd name="connsiteY19" fmla="*/ 505179 h 505179"/>
                <a:gd name="connsiteX20" fmla="*/ 202430 w 505243"/>
                <a:gd name="connsiteY20" fmla="*/ 455403 h 505179"/>
                <a:gd name="connsiteX21" fmla="*/ 150991 w 505243"/>
                <a:gd name="connsiteY21" fmla="*/ 435186 h 505179"/>
                <a:gd name="connsiteX22" fmla="*/ 108125 w 505243"/>
                <a:gd name="connsiteY22" fmla="*/ 463273 h 505179"/>
                <a:gd name="connsiteX23" fmla="*/ 47089 w 505243"/>
                <a:gd name="connsiteY23" fmla="*/ 404348 h 505179"/>
                <a:gd name="connsiteX24" fmla="*/ 73640 w 505243"/>
                <a:gd name="connsiteY24" fmla="*/ 360522 h 505179"/>
                <a:gd name="connsiteX25" fmla="*/ 51631 w 505243"/>
                <a:gd name="connsiteY25" fmla="*/ 309787 h 505179"/>
                <a:gd name="connsiteX26" fmla="*/ 1472 w 505243"/>
                <a:gd name="connsiteY26" fmla="*/ 299358 h 505179"/>
                <a:gd name="connsiteX27" fmla="*/ 0 w 505243"/>
                <a:gd name="connsiteY27" fmla="*/ 214586 h 505179"/>
                <a:gd name="connsiteX28" fmla="*/ 49776 w 505243"/>
                <a:gd name="connsiteY28" fmla="*/ 202366 h 505179"/>
                <a:gd name="connsiteX29" fmla="*/ 69993 w 505243"/>
                <a:gd name="connsiteY29" fmla="*/ 150927 h 505179"/>
                <a:gd name="connsiteX30" fmla="*/ 42034 w 505243"/>
                <a:gd name="connsiteY30" fmla="*/ 108125 h 505179"/>
                <a:gd name="connsiteX31" fmla="*/ 100959 w 505243"/>
                <a:gd name="connsiteY31" fmla="*/ 47089 h 505179"/>
                <a:gd name="connsiteX32" fmla="*/ 144721 w 505243"/>
                <a:gd name="connsiteY32" fmla="*/ 73640 h 505179"/>
                <a:gd name="connsiteX33" fmla="*/ 144721 w 505243"/>
                <a:gd name="connsiteY33" fmla="*/ 73640 h 505179"/>
                <a:gd name="connsiteX34" fmla="*/ 189954 w 505243"/>
                <a:gd name="connsiteY34" fmla="*/ 186627 h 505179"/>
                <a:gd name="connsiteX35" fmla="*/ 192193 w 505243"/>
                <a:gd name="connsiteY35" fmla="*/ 315225 h 505179"/>
                <a:gd name="connsiteX36" fmla="*/ 320791 w 505243"/>
                <a:gd name="connsiteY36" fmla="*/ 312986 h 505179"/>
                <a:gd name="connsiteX37" fmla="*/ 318552 w 505243"/>
                <a:gd name="connsiteY37" fmla="*/ 184388 h 505179"/>
                <a:gd name="connsiteX38" fmla="*/ 189954 w 505243"/>
                <a:gd name="connsiteY38" fmla="*/ 186627 h 50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05243" h="505179">
                  <a:moveTo>
                    <a:pt x="144721" y="73640"/>
                  </a:moveTo>
                  <a:cubicBezTo>
                    <a:pt x="160780" y="63979"/>
                    <a:pt x="177798" y="56622"/>
                    <a:pt x="195392" y="51631"/>
                  </a:cubicBezTo>
                  <a:lnTo>
                    <a:pt x="205821" y="1472"/>
                  </a:lnTo>
                  <a:lnTo>
                    <a:pt x="290593" y="0"/>
                  </a:lnTo>
                  <a:lnTo>
                    <a:pt x="302813" y="49776"/>
                  </a:lnTo>
                  <a:cubicBezTo>
                    <a:pt x="320599" y="54126"/>
                    <a:pt x="337874" y="60908"/>
                    <a:pt x="354252" y="69993"/>
                  </a:cubicBezTo>
                  <a:lnTo>
                    <a:pt x="397118" y="41906"/>
                  </a:lnTo>
                  <a:lnTo>
                    <a:pt x="458154" y="100831"/>
                  </a:lnTo>
                  <a:lnTo>
                    <a:pt x="431603" y="144593"/>
                  </a:lnTo>
                  <a:cubicBezTo>
                    <a:pt x="441264" y="160652"/>
                    <a:pt x="448622" y="177670"/>
                    <a:pt x="453612" y="195328"/>
                  </a:cubicBezTo>
                  <a:lnTo>
                    <a:pt x="503772" y="205757"/>
                  </a:lnTo>
                  <a:lnTo>
                    <a:pt x="505243" y="290529"/>
                  </a:lnTo>
                  <a:lnTo>
                    <a:pt x="455467" y="302749"/>
                  </a:lnTo>
                  <a:cubicBezTo>
                    <a:pt x="451117" y="320535"/>
                    <a:pt x="444335" y="337810"/>
                    <a:pt x="435250" y="354188"/>
                  </a:cubicBezTo>
                  <a:lnTo>
                    <a:pt x="463337" y="397054"/>
                  </a:lnTo>
                  <a:lnTo>
                    <a:pt x="404412" y="458091"/>
                  </a:lnTo>
                  <a:lnTo>
                    <a:pt x="360586" y="431539"/>
                  </a:lnTo>
                  <a:cubicBezTo>
                    <a:pt x="344528" y="441200"/>
                    <a:pt x="327509" y="448558"/>
                    <a:pt x="309851" y="453548"/>
                  </a:cubicBezTo>
                  <a:lnTo>
                    <a:pt x="299422" y="503708"/>
                  </a:lnTo>
                  <a:lnTo>
                    <a:pt x="214650" y="505179"/>
                  </a:lnTo>
                  <a:lnTo>
                    <a:pt x="202430" y="455403"/>
                  </a:lnTo>
                  <a:cubicBezTo>
                    <a:pt x="184644" y="451053"/>
                    <a:pt x="167369" y="444271"/>
                    <a:pt x="150991" y="435186"/>
                  </a:cubicBezTo>
                  <a:lnTo>
                    <a:pt x="108125" y="463273"/>
                  </a:lnTo>
                  <a:lnTo>
                    <a:pt x="47089" y="404348"/>
                  </a:lnTo>
                  <a:lnTo>
                    <a:pt x="73640" y="360522"/>
                  </a:lnTo>
                  <a:cubicBezTo>
                    <a:pt x="63979" y="344464"/>
                    <a:pt x="56622" y="327445"/>
                    <a:pt x="51631" y="309787"/>
                  </a:cubicBezTo>
                  <a:lnTo>
                    <a:pt x="1472" y="299358"/>
                  </a:lnTo>
                  <a:lnTo>
                    <a:pt x="0" y="214586"/>
                  </a:lnTo>
                  <a:lnTo>
                    <a:pt x="49776" y="202366"/>
                  </a:lnTo>
                  <a:cubicBezTo>
                    <a:pt x="54126" y="184580"/>
                    <a:pt x="60908" y="167305"/>
                    <a:pt x="69993" y="150927"/>
                  </a:cubicBezTo>
                  <a:lnTo>
                    <a:pt x="42034" y="108125"/>
                  </a:lnTo>
                  <a:lnTo>
                    <a:pt x="100959" y="47089"/>
                  </a:lnTo>
                  <a:lnTo>
                    <a:pt x="144721" y="73640"/>
                  </a:lnTo>
                  <a:lnTo>
                    <a:pt x="144721" y="73640"/>
                  </a:lnTo>
                  <a:close/>
                  <a:moveTo>
                    <a:pt x="189954" y="186627"/>
                  </a:moveTo>
                  <a:cubicBezTo>
                    <a:pt x="155085" y="222775"/>
                    <a:pt x="156045" y="280357"/>
                    <a:pt x="192193" y="315225"/>
                  </a:cubicBezTo>
                  <a:cubicBezTo>
                    <a:pt x="228341" y="350094"/>
                    <a:pt x="285923" y="349134"/>
                    <a:pt x="320791" y="312986"/>
                  </a:cubicBezTo>
                  <a:cubicBezTo>
                    <a:pt x="355660" y="276838"/>
                    <a:pt x="354700" y="219256"/>
                    <a:pt x="318552" y="184388"/>
                  </a:cubicBezTo>
                  <a:cubicBezTo>
                    <a:pt x="282404" y="149455"/>
                    <a:pt x="224823" y="150479"/>
                    <a:pt x="189954" y="186627"/>
                  </a:cubicBezTo>
                  <a:close/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2A5209F-B1F5-4A6B-B678-BEC944B7BC9C}"/>
                </a:ext>
              </a:extLst>
            </p:cNvPr>
            <p:cNvSpPr/>
            <p:nvPr/>
          </p:nvSpPr>
          <p:spPr>
            <a:xfrm>
              <a:off x="10704112" y="1398909"/>
              <a:ext cx="412025" cy="412025"/>
            </a:xfrm>
            <a:custGeom>
              <a:avLst/>
              <a:gdLst>
                <a:gd name="connsiteX0" fmla="*/ 117913 w 412025"/>
                <a:gd name="connsiteY0" fmla="*/ 60140 h 412025"/>
                <a:gd name="connsiteX1" fmla="*/ 159244 w 412025"/>
                <a:gd name="connsiteY1" fmla="*/ 42162 h 412025"/>
                <a:gd name="connsiteX2" fmla="*/ 167753 w 412025"/>
                <a:gd name="connsiteY2" fmla="*/ 1216 h 412025"/>
                <a:gd name="connsiteX3" fmla="*/ 236915 w 412025"/>
                <a:gd name="connsiteY3" fmla="*/ 0 h 412025"/>
                <a:gd name="connsiteX4" fmla="*/ 246896 w 412025"/>
                <a:gd name="connsiteY4" fmla="*/ 40563 h 412025"/>
                <a:gd name="connsiteX5" fmla="*/ 288866 w 412025"/>
                <a:gd name="connsiteY5" fmla="*/ 57069 h 412025"/>
                <a:gd name="connsiteX6" fmla="*/ 323798 w 412025"/>
                <a:gd name="connsiteY6" fmla="*/ 34165 h 412025"/>
                <a:gd name="connsiteX7" fmla="*/ 373574 w 412025"/>
                <a:gd name="connsiteY7" fmla="*/ 82213 h 412025"/>
                <a:gd name="connsiteX8" fmla="*/ 351885 w 412025"/>
                <a:gd name="connsiteY8" fmla="*/ 117914 h 412025"/>
                <a:gd name="connsiteX9" fmla="*/ 369863 w 412025"/>
                <a:gd name="connsiteY9" fmla="*/ 159244 h 412025"/>
                <a:gd name="connsiteX10" fmla="*/ 410810 w 412025"/>
                <a:gd name="connsiteY10" fmla="*/ 167753 h 412025"/>
                <a:gd name="connsiteX11" fmla="*/ 412026 w 412025"/>
                <a:gd name="connsiteY11" fmla="*/ 236915 h 412025"/>
                <a:gd name="connsiteX12" fmla="*/ 371399 w 412025"/>
                <a:gd name="connsiteY12" fmla="*/ 246895 h 412025"/>
                <a:gd name="connsiteX13" fmla="*/ 354892 w 412025"/>
                <a:gd name="connsiteY13" fmla="*/ 288866 h 412025"/>
                <a:gd name="connsiteX14" fmla="*/ 377797 w 412025"/>
                <a:gd name="connsiteY14" fmla="*/ 323798 h 412025"/>
                <a:gd name="connsiteX15" fmla="*/ 329749 w 412025"/>
                <a:gd name="connsiteY15" fmla="*/ 373574 h 412025"/>
                <a:gd name="connsiteX16" fmla="*/ 294048 w 412025"/>
                <a:gd name="connsiteY16" fmla="*/ 351885 h 412025"/>
                <a:gd name="connsiteX17" fmla="*/ 252718 w 412025"/>
                <a:gd name="connsiteY17" fmla="*/ 369863 h 412025"/>
                <a:gd name="connsiteX18" fmla="*/ 244209 w 412025"/>
                <a:gd name="connsiteY18" fmla="*/ 410810 h 412025"/>
                <a:gd name="connsiteX19" fmla="*/ 175047 w 412025"/>
                <a:gd name="connsiteY19" fmla="*/ 412026 h 412025"/>
                <a:gd name="connsiteX20" fmla="*/ 165066 w 412025"/>
                <a:gd name="connsiteY20" fmla="*/ 371399 h 412025"/>
                <a:gd name="connsiteX21" fmla="*/ 123096 w 412025"/>
                <a:gd name="connsiteY21" fmla="*/ 354892 h 412025"/>
                <a:gd name="connsiteX22" fmla="*/ 88163 w 412025"/>
                <a:gd name="connsiteY22" fmla="*/ 377797 h 412025"/>
                <a:gd name="connsiteX23" fmla="*/ 38387 w 412025"/>
                <a:gd name="connsiteY23" fmla="*/ 329748 h 412025"/>
                <a:gd name="connsiteX24" fmla="*/ 60076 w 412025"/>
                <a:gd name="connsiteY24" fmla="*/ 294048 h 412025"/>
                <a:gd name="connsiteX25" fmla="*/ 42098 w 412025"/>
                <a:gd name="connsiteY25" fmla="*/ 252718 h 412025"/>
                <a:gd name="connsiteX26" fmla="*/ 1152 w 412025"/>
                <a:gd name="connsiteY26" fmla="*/ 244208 h 412025"/>
                <a:gd name="connsiteX27" fmla="*/ 0 w 412025"/>
                <a:gd name="connsiteY27" fmla="*/ 175047 h 412025"/>
                <a:gd name="connsiteX28" fmla="*/ 40627 w 412025"/>
                <a:gd name="connsiteY28" fmla="*/ 165066 h 412025"/>
                <a:gd name="connsiteX29" fmla="*/ 57133 w 412025"/>
                <a:gd name="connsiteY29" fmla="*/ 123096 h 412025"/>
                <a:gd name="connsiteX30" fmla="*/ 34229 w 412025"/>
                <a:gd name="connsiteY30" fmla="*/ 88163 h 412025"/>
                <a:gd name="connsiteX31" fmla="*/ 82277 w 412025"/>
                <a:gd name="connsiteY31" fmla="*/ 38387 h 412025"/>
                <a:gd name="connsiteX32" fmla="*/ 117913 w 412025"/>
                <a:gd name="connsiteY32" fmla="*/ 60140 h 412025"/>
                <a:gd name="connsiteX33" fmla="*/ 117913 w 412025"/>
                <a:gd name="connsiteY33" fmla="*/ 60140 h 412025"/>
                <a:gd name="connsiteX34" fmla="*/ 154830 w 412025"/>
                <a:gd name="connsiteY34" fmla="*/ 152206 h 412025"/>
                <a:gd name="connsiteX35" fmla="*/ 156685 w 412025"/>
                <a:gd name="connsiteY35" fmla="*/ 257132 h 412025"/>
                <a:gd name="connsiteX36" fmla="*/ 261547 w 412025"/>
                <a:gd name="connsiteY36" fmla="*/ 255277 h 412025"/>
                <a:gd name="connsiteX37" fmla="*/ 259691 w 412025"/>
                <a:gd name="connsiteY37" fmla="*/ 150351 h 412025"/>
                <a:gd name="connsiteX38" fmla="*/ 154830 w 412025"/>
                <a:gd name="connsiteY38" fmla="*/ 152206 h 41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12025" h="412025">
                  <a:moveTo>
                    <a:pt x="117913" y="60140"/>
                  </a:moveTo>
                  <a:cubicBezTo>
                    <a:pt x="130965" y="52271"/>
                    <a:pt x="144913" y="46257"/>
                    <a:pt x="159244" y="42162"/>
                  </a:cubicBezTo>
                  <a:lnTo>
                    <a:pt x="167753" y="1216"/>
                  </a:lnTo>
                  <a:lnTo>
                    <a:pt x="236915" y="0"/>
                  </a:lnTo>
                  <a:lnTo>
                    <a:pt x="246896" y="40563"/>
                  </a:lnTo>
                  <a:cubicBezTo>
                    <a:pt x="261355" y="44146"/>
                    <a:pt x="275494" y="49648"/>
                    <a:pt x="288866" y="57069"/>
                  </a:cubicBezTo>
                  <a:lnTo>
                    <a:pt x="323798" y="34165"/>
                  </a:lnTo>
                  <a:lnTo>
                    <a:pt x="373574" y="82213"/>
                  </a:lnTo>
                  <a:lnTo>
                    <a:pt x="351885" y="117914"/>
                  </a:lnTo>
                  <a:cubicBezTo>
                    <a:pt x="359818" y="130965"/>
                    <a:pt x="365769" y="144913"/>
                    <a:pt x="369863" y="159244"/>
                  </a:cubicBezTo>
                  <a:lnTo>
                    <a:pt x="410810" y="167753"/>
                  </a:lnTo>
                  <a:lnTo>
                    <a:pt x="412026" y="236915"/>
                  </a:lnTo>
                  <a:lnTo>
                    <a:pt x="371399" y="246895"/>
                  </a:lnTo>
                  <a:cubicBezTo>
                    <a:pt x="367816" y="261355"/>
                    <a:pt x="362314" y="275494"/>
                    <a:pt x="354892" y="288866"/>
                  </a:cubicBezTo>
                  <a:lnTo>
                    <a:pt x="377797" y="323798"/>
                  </a:lnTo>
                  <a:lnTo>
                    <a:pt x="329749" y="373574"/>
                  </a:lnTo>
                  <a:lnTo>
                    <a:pt x="294048" y="351885"/>
                  </a:lnTo>
                  <a:cubicBezTo>
                    <a:pt x="280997" y="359755"/>
                    <a:pt x="267049" y="365769"/>
                    <a:pt x="252718" y="369863"/>
                  </a:cubicBezTo>
                  <a:lnTo>
                    <a:pt x="244209" y="410810"/>
                  </a:lnTo>
                  <a:lnTo>
                    <a:pt x="175047" y="412026"/>
                  </a:lnTo>
                  <a:lnTo>
                    <a:pt x="165066" y="371399"/>
                  </a:lnTo>
                  <a:cubicBezTo>
                    <a:pt x="150607" y="367816"/>
                    <a:pt x="136468" y="362314"/>
                    <a:pt x="123096" y="354892"/>
                  </a:cubicBezTo>
                  <a:lnTo>
                    <a:pt x="88163" y="377797"/>
                  </a:lnTo>
                  <a:lnTo>
                    <a:pt x="38387" y="329748"/>
                  </a:lnTo>
                  <a:lnTo>
                    <a:pt x="60076" y="294048"/>
                  </a:lnTo>
                  <a:cubicBezTo>
                    <a:pt x="52207" y="280996"/>
                    <a:pt x="46193" y="267049"/>
                    <a:pt x="42098" y="252718"/>
                  </a:cubicBezTo>
                  <a:lnTo>
                    <a:pt x="1152" y="244208"/>
                  </a:lnTo>
                  <a:lnTo>
                    <a:pt x="0" y="175047"/>
                  </a:lnTo>
                  <a:lnTo>
                    <a:pt x="40627" y="165066"/>
                  </a:lnTo>
                  <a:cubicBezTo>
                    <a:pt x="44210" y="150607"/>
                    <a:pt x="49712" y="136467"/>
                    <a:pt x="57133" y="123096"/>
                  </a:cubicBezTo>
                  <a:lnTo>
                    <a:pt x="34229" y="88163"/>
                  </a:lnTo>
                  <a:lnTo>
                    <a:pt x="82277" y="38387"/>
                  </a:lnTo>
                  <a:lnTo>
                    <a:pt x="117913" y="60140"/>
                  </a:lnTo>
                  <a:lnTo>
                    <a:pt x="117913" y="60140"/>
                  </a:lnTo>
                  <a:close/>
                  <a:moveTo>
                    <a:pt x="154830" y="152206"/>
                  </a:moveTo>
                  <a:cubicBezTo>
                    <a:pt x="126359" y="181701"/>
                    <a:pt x="127191" y="228661"/>
                    <a:pt x="156685" y="257132"/>
                  </a:cubicBezTo>
                  <a:cubicBezTo>
                    <a:pt x="186179" y="285603"/>
                    <a:pt x="233140" y="284771"/>
                    <a:pt x="261547" y="255277"/>
                  </a:cubicBezTo>
                  <a:cubicBezTo>
                    <a:pt x="290017" y="225782"/>
                    <a:pt x="289186" y="178822"/>
                    <a:pt x="259691" y="150351"/>
                  </a:cubicBezTo>
                  <a:cubicBezTo>
                    <a:pt x="230197" y="121944"/>
                    <a:pt x="183236" y="122776"/>
                    <a:pt x="154830" y="152206"/>
                  </a:cubicBezTo>
                  <a:close/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3ED0AB7-C7D4-43F1-B11A-074C8086B4D7}"/>
                </a:ext>
              </a:extLst>
            </p:cNvPr>
            <p:cNvSpPr/>
            <p:nvPr/>
          </p:nvSpPr>
          <p:spPr>
            <a:xfrm>
              <a:off x="9136176" y="548947"/>
              <a:ext cx="634672" cy="634736"/>
            </a:xfrm>
            <a:custGeom>
              <a:avLst/>
              <a:gdLst>
                <a:gd name="connsiteX0" fmla="*/ 181701 w 634672"/>
                <a:gd name="connsiteY0" fmla="*/ 92578 h 634736"/>
                <a:gd name="connsiteX1" fmla="*/ 245360 w 634672"/>
                <a:gd name="connsiteY1" fmla="*/ 64875 h 634736"/>
                <a:gd name="connsiteX2" fmla="*/ 258476 w 634672"/>
                <a:gd name="connsiteY2" fmla="*/ 1855 h 634736"/>
                <a:gd name="connsiteX3" fmla="*/ 365001 w 634672"/>
                <a:gd name="connsiteY3" fmla="*/ 0 h 634736"/>
                <a:gd name="connsiteX4" fmla="*/ 380356 w 634672"/>
                <a:gd name="connsiteY4" fmla="*/ 62508 h 634736"/>
                <a:gd name="connsiteX5" fmla="*/ 444975 w 634672"/>
                <a:gd name="connsiteY5" fmla="*/ 87907 h 634736"/>
                <a:gd name="connsiteX6" fmla="*/ 498781 w 634672"/>
                <a:gd name="connsiteY6" fmla="*/ 52655 h 634736"/>
                <a:gd name="connsiteX7" fmla="*/ 575428 w 634672"/>
                <a:gd name="connsiteY7" fmla="*/ 126679 h 634736"/>
                <a:gd name="connsiteX8" fmla="*/ 542095 w 634672"/>
                <a:gd name="connsiteY8" fmla="*/ 181701 h 634736"/>
                <a:gd name="connsiteX9" fmla="*/ 569798 w 634672"/>
                <a:gd name="connsiteY9" fmla="*/ 245424 h 634736"/>
                <a:gd name="connsiteX10" fmla="*/ 632817 w 634672"/>
                <a:gd name="connsiteY10" fmla="*/ 258540 h 634736"/>
                <a:gd name="connsiteX11" fmla="*/ 634673 w 634672"/>
                <a:gd name="connsiteY11" fmla="*/ 365065 h 634736"/>
                <a:gd name="connsiteX12" fmla="*/ 572165 w 634672"/>
                <a:gd name="connsiteY12" fmla="*/ 380420 h 634736"/>
                <a:gd name="connsiteX13" fmla="*/ 546765 w 634672"/>
                <a:gd name="connsiteY13" fmla="*/ 445039 h 634736"/>
                <a:gd name="connsiteX14" fmla="*/ 582018 w 634672"/>
                <a:gd name="connsiteY14" fmla="*/ 498845 h 634736"/>
                <a:gd name="connsiteX15" fmla="*/ 508058 w 634672"/>
                <a:gd name="connsiteY15" fmla="*/ 575492 h 634736"/>
                <a:gd name="connsiteX16" fmla="*/ 453036 w 634672"/>
                <a:gd name="connsiteY16" fmla="*/ 542159 h 634736"/>
                <a:gd name="connsiteX17" fmla="*/ 389313 w 634672"/>
                <a:gd name="connsiteY17" fmla="*/ 569862 h 634736"/>
                <a:gd name="connsiteX18" fmla="*/ 376197 w 634672"/>
                <a:gd name="connsiteY18" fmla="*/ 632881 h 634736"/>
                <a:gd name="connsiteX19" fmla="*/ 269672 w 634672"/>
                <a:gd name="connsiteY19" fmla="*/ 634737 h 634736"/>
                <a:gd name="connsiteX20" fmla="*/ 254317 w 634672"/>
                <a:gd name="connsiteY20" fmla="*/ 572229 h 634736"/>
                <a:gd name="connsiteX21" fmla="*/ 189698 w 634672"/>
                <a:gd name="connsiteY21" fmla="*/ 546830 h 634736"/>
                <a:gd name="connsiteX22" fmla="*/ 135892 w 634672"/>
                <a:gd name="connsiteY22" fmla="*/ 582082 h 634736"/>
                <a:gd name="connsiteX23" fmla="*/ 59245 w 634672"/>
                <a:gd name="connsiteY23" fmla="*/ 508122 h 634736"/>
                <a:gd name="connsiteX24" fmla="*/ 92578 w 634672"/>
                <a:gd name="connsiteY24" fmla="*/ 453100 h 634736"/>
                <a:gd name="connsiteX25" fmla="*/ 64875 w 634672"/>
                <a:gd name="connsiteY25" fmla="*/ 389377 h 634736"/>
                <a:gd name="connsiteX26" fmla="*/ 1855 w 634672"/>
                <a:gd name="connsiteY26" fmla="*/ 376261 h 634736"/>
                <a:gd name="connsiteX27" fmla="*/ 0 w 634672"/>
                <a:gd name="connsiteY27" fmla="*/ 269736 h 634736"/>
                <a:gd name="connsiteX28" fmla="*/ 62508 w 634672"/>
                <a:gd name="connsiteY28" fmla="*/ 254381 h 634736"/>
                <a:gd name="connsiteX29" fmla="*/ 87907 w 634672"/>
                <a:gd name="connsiteY29" fmla="*/ 189762 h 634736"/>
                <a:gd name="connsiteX30" fmla="*/ 52655 w 634672"/>
                <a:gd name="connsiteY30" fmla="*/ 135956 h 634736"/>
                <a:gd name="connsiteX31" fmla="*/ 126615 w 634672"/>
                <a:gd name="connsiteY31" fmla="*/ 59309 h 634736"/>
                <a:gd name="connsiteX32" fmla="*/ 181701 w 634672"/>
                <a:gd name="connsiteY32" fmla="*/ 92578 h 634736"/>
                <a:gd name="connsiteX33" fmla="*/ 181701 w 634672"/>
                <a:gd name="connsiteY33" fmla="*/ 92578 h 634736"/>
                <a:gd name="connsiteX34" fmla="*/ 238514 w 634672"/>
                <a:gd name="connsiteY34" fmla="*/ 234483 h 634736"/>
                <a:gd name="connsiteX35" fmla="*/ 241329 w 634672"/>
                <a:gd name="connsiteY35" fmla="*/ 396031 h 634736"/>
                <a:gd name="connsiteX36" fmla="*/ 402876 w 634672"/>
                <a:gd name="connsiteY36" fmla="*/ 393216 h 634736"/>
                <a:gd name="connsiteX37" fmla="*/ 400061 w 634672"/>
                <a:gd name="connsiteY37" fmla="*/ 231668 h 634736"/>
                <a:gd name="connsiteX38" fmla="*/ 238514 w 634672"/>
                <a:gd name="connsiteY38" fmla="*/ 234483 h 63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34672" h="634736">
                  <a:moveTo>
                    <a:pt x="181701" y="92578"/>
                  </a:moveTo>
                  <a:cubicBezTo>
                    <a:pt x="201854" y="80422"/>
                    <a:pt x="223287" y="71209"/>
                    <a:pt x="245360" y="64875"/>
                  </a:cubicBezTo>
                  <a:lnTo>
                    <a:pt x="258476" y="1855"/>
                  </a:lnTo>
                  <a:lnTo>
                    <a:pt x="365001" y="0"/>
                  </a:lnTo>
                  <a:lnTo>
                    <a:pt x="380356" y="62508"/>
                  </a:lnTo>
                  <a:cubicBezTo>
                    <a:pt x="402685" y="68010"/>
                    <a:pt x="424437" y="76455"/>
                    <a:pt x="444975" y="87907"/>
                  </a:cubicBezTo>
                  <a:lnTo>
                    <a:pt x="498781" y="52655"/>
                  </a:lnTo>
                  <a:lnTo>
                    <a:pt x="575428" y="126679"/>
                  </a:lnTo>
                  <a:lnTo>
                    <a:pt x="542095" y="181701"/>
                  </a:lnTo>
                  <a:cubicBezTo>
                    <a:pt x="554251" y="201854"/>
                    <a:pt x="563464" y="223287"/>
                    <a:pt x="569798" y="245424"/>
                  </a:cubicBezTo>
                  <a:lnTo>
                    <a:pt x="632817" y="258540"/>
                  </a:lnTo>
                  <a:lnTo>
                    <a:pt x="634673" y="365065"/>
                  </a:lnTo>
                  <a:lnTo>
                    <a:pt x="572165" y="380420"/>
                  </a:lnTo>
                  <a:cubicBezTo>
                    <a:pt x="566663" y="402749"/>
                    <a:pt x="558218" y="424501"/>
                    <a:pt x="546765" y="445039"/>
                  </a:cubicBezTo>
                  <a:lnTo>
                    <a:pt x="582018" y="498845"/>
                  </a:lnTo>
                  <a:lnTo>
                    <a:pt x="508058" y="575492"/>
                  </a:lnTo>
                  <a:lnTo>
                    <a:pt x="453036" y="542159"/>
                  </a:lnTo>
                  <a:cubicBezTo>
                    <a:pt x="432883" y="554315"/>
                    <a:pt x="411450" y="563528"/>
                    <a:pt x="389313" y="569862"/>
                  </a:cubicBezTo>
                  <a:lnTo>
                    <a:pt x="376197" y="632881"/>
                  </a:lnTo>
                  <a:lnTo>
                    <a:pt x="269672" y="634737"/>
                  </a:lnTo>
                  <a:lnTo>
                    <a:pt x="254317" y="572229"/>
                  </a:lnTo>
                  <a:cubicBezTo>
                    <a:pt x="231988" y="566727"/>
                    <a:pt x="210235" y="558282"/>
                    <a:pt x="189698" y="546830"/>
                  </a:cubicBezTo>
                  <a:lnTo>
                    <a:pt x="135892" y="582082"/>
                  </a:lnTo>
                  <a:lnTo>
                    <a:pt x="59245" y="508122"/>
                  </a:lnTo>
                  <a:lnTo>
                    <a:pt x="92578" y="453100"/>
                  </a:lnTo>
                  <a:cubicBezTo>
                    <a:pt x="80422" y="432947"/>
                    <a:pt x="71209" y="411514"/>
                    <a:pt x="64875" y="389377"/>
                  </a:cubicBezTo>
                  <a:lnTo>
                    <a:pt x="1855" y="376261"/>
                  </a:lnTo>
                  <a:lnTo>
                    <a:pt x="0" y="269736"/>
                  </a:lnTo>
                  <a:lnTo>
                    <a:pt x="62508" y="254381"/>
                  </a:lnTo>
                  <a:cubicBezTo>
                    <a:pt x="68010" y="232052"/>
                    <a:pt x="76455" y="210299"/>
                    <a:pt x="87907" y="189762"/>
                  </a:cubicBezTo>
                  <a:lnTo>
                    <a:pt x="52655" y="135956"/>
                  </a:lnTo>
                  <a:lnTo>
                    <a:pt x="126615" y="59309"/>
                  </a:lnTo>
                  <a:lnTo>
                    <a:pt x="181701" y="92578"/>
                  </a:lnTo>
                  <a:lnTo>
                    <a:pt x="181701" y="92578"/>
                  </a:lnTo>
                  <a:close/>
                  <a:moveTo>
                    <a:pt x="238514" y="234483"/>
                  </a:moveTo>
                  <a:cubicBezTo>
                    <a:pt x="194688" y="279909"/>
                    <a:pt x="195968" y="352205"/>
                    <a:pt x="241329" y="396031"/>
                  </a:cubicBezTo>
                  <a:cubicBezTo>
                    <a:pt x="286754" y="439856"/>
                    <a:pt x="359051" y="438577"/>
                    <a:pt x="402876" y="393216"/>
                  </a:cubicBezTo>
                  <a:cubicBezTo>
                    <a:pt x="446702" y="347791"/>
                    <a:pt x="445423" y="275494"/>
                    <a:pt x="400061" y="231668"/>
                  </a:cubicBezTo>
                  <a:cubicBezTo>
                    <a:pt x="354700" y="187779"/>
                    <a:pt x="282340" y="189058"/>
                    <a:pt x="238514" y="234483"/>
                  </a:cubicBezTo>
                  <a:close/>
                </a:path>
              </a:pathLst>
            </a:custGeom>
            <a:solidFill>
              <a:srgbClr val="45726D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CE1D7C4E-4A2B-4E18-95C1-48032E94E14E}"/>
                </a:ext>
              </a:extLst>
            </p:cNvPr>
            <p:cNvSpPr/>
            <p:nvPr/>
          </p:nvSpPr>
          <p:spPr>
            <a:xfrm>
              <a:off x="7990311" y="905375"/>
              <a:ext cx="2366715" cy="1967613"/>
            </a:xfrm>
            <a:custGeom>
              <a:avLst/>
              <a:gdLst>
                <a:gd name="connsiteX0" fmla="*/ 2297106 w 2366715"/>
                <a:gd name="connsiteY0" fmla="*/ 0 h 1967613"/>
                <a:gd name="connsiteX1" fmla="*/ 69545 w 2366715"/>
                <a:gd name="connsiteY1" fmla="*/ 0 h 1967613"/>
                <a:gd name="connsiteX2" fmla="*/ 0 w 2366715"/>
                <a:gd name="connsiteY2" fmla="*/ 69545 h 1967613"/>
                <a:gd name="connsiteX3" fmla="*/ 0 w 2366715"/>
                <a:gd name="connsiteY3" fmla="*/ 1642920 h 1967613"/>
                <a:gd name="connsiteX4" fmla="*/ 69545 w 2366715"/>
                <a:gd name="connsiteY4" fmla="*/ 1712465 h 1967613"/>
                <a:gd name="connsiteX5" fmla="*/ 924498 w 2366715"/>
                <a:gd name="connsiteY5" fmla="*/ 1712465 h 1967613"/>
                <a:gd name="connsiteX6" fmla="*/ 810295 w 2366715"/>
                <a:gd name="connsiteY6" fmla="*/ 1967614 h 1967613"/>
                <a:gd name="connsiteX7" fmla="*/ 1609715 w 2366715"/>
                <a:gd name="connsiteY7" fmla="*/ 1967614 h 1967613"/>
                <a:gd name="connsiteX8" fmla="*/ 1468321 w 2366715"/>
                <a:gd name="connsiteY8" fmla="*/ 1712465 h 1967613"/>
                <a:gd name="connsiteX9" fmla="*/ 2297170 w 2366715"/>
                <a:gd name="connsiteY9" fmla="*/ 1712465 h 1967613"/>
                <a:gd name="connsiteX10" fmla="*/ 2366715 w 2366715"/>
                <a:gd name="connsiteY10" fmla="*/ 1642920 h 1967613"/>
                <a:gd name="connsiteX11" fmla="*/ 2366715 w 2366715"/>
                <a:gd name="connsiteY11" fmla="*/ 69545 h 1967613"/>
                <a:gd name="connsiteX12" fmla="*/ 2297106 w 2366715"/>
                <a:gd name="connsiteY12" fmla="*/ 0 h 196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6715" h="1967613">
                  <a:moveTo>
                    <a:pt x="2297106" y="0"/>
                  </a:moveTo>
                  <a:lnTo>
                    <a:pt x="69545" y="0"/>
                  </a:lnTo>
                  <a:cubicBezTo>
                    <a:pt x="31158" y="0"/>
                    <a:pt x="0" y="31158"/>
                    <a:pt x="0" y="69545"/>
                  </a:cubicBezTo>
                  <a:lnTo>
                    <a:pt x="0" y="1642920"/>
                  </a:lnTo>
                  <a:cubicBezTo>
                    <a:pt x="0" y="1681307"/>
                    <a:pt x="31158" y="1712465"/>
                    <a:pt x="69545" y="1712465"/>
                  </a:cubicBezTo>
                  <a:lnTo>
                    <a:pt x="924498" y="1712465"/>
                  </a:lnTo>
                  <a:cubicBezTo>
                    <a:pt x="924498" y="1712465"/>
                    <a:pt x="978880" y="1880602"/>
                    <a:pt x="810295" y="1967614"/>
                  </a:cubicBezTo>
                  <a:lnTo>
                    <a:pt x="1609715" y="1967614"/>
                  </a:lnTo>
                  <a:cubicBezTo>
                    <a:pt x="1609715" y="1967614"/>
                    <a:pt x="1419377" y="1902355"/>
                    <a:pt x="1468321" y="1712465"/>
                  </a:cubicBezTo>
                  <a:lnTo>
                    <a:pt x="2297170" y="1712465"/>
                  </a:lnTo>
                  <a:cubicBezTo>
                    <a:pt x="2335558" y="1712465"/>
                    <a:pt x="2366715" y="1681307"/>
                    <a:pt x="2366715" y="1642920"/>
                  </a:cubicBezTo>
                  <a:lnTo>
                    <a:pt x="2366715" y="69545"/>
                  </a:lnTo>
                  <a:cubicBezTo>
                    <a:pt x="2366651" y="31158"/>
                    <a:pt x="2335494" y="0"/>
                    <a:pt x="2297106" y="0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BD6E4794-D936-45D8-B641-25DEB1B78B0F}"/>
                </a:ext>
              </a:extLst>
            </p:cNvPr>
            <p:cNvSpPr/>
            <p:nvPr/>
          </p:nvSpPr>
          <p:spPr>
            <a:xfrm>
              <a:off x="9129643" y="2439075"/>
              <a:ext cx="83302" cy="83277"/>
            </a:xfrm>
            <a:custGeom>
              <a:avLst/>
              <a:gdLst>
                <a:gd name="connsiteX0" fmla="*/ 73711 w 83302"/>
                <a:gd name="connsiteY0" fmla="*/ 13251 h 83277"/>
                <a:gd name="connsiteX1" fmla="*/ 13251 w 83302"/>
                <a:gd name="connsiteY1" fmla="*/ 73711 h 83277"/>
                <a:gd name="connsiteX2" fmla="*/ 9540 w 83302"/>
                <a:gd name="connsiteY2" fmla="*/ 70001 h 83277"/>
                <a:gd name="connsiteX3" fmla="*/ 70000 w 83302"/>
                <a:gd name="connsiteY3" fmla="*/ 9540 h 83277"/>
                <a:gd name="connsiteX4" fmla="*/ 73711 w 83302"/>
                <a:gd name="connsiteY4" fmla="*/ 13251 h 83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02" h="83277">
                  <a:moveTo>
                    <a:pt x="73711" y="13251"/>
                  </a:moveTo>
                  <a:cubicBezTo>
                    <a:pt x="104037" y="56565"/>
                    <a:pt x="56565" y="103973"/>
                    <a:pt x="13251" y="73711"/>
                  </a:cubicBezTo>
                  <a:cubicBezTo>
                    <a:pt x="11843" y="72688"/>
                    <a:pt x="10500" y="71408"/>
                    <a:pt x="9540" y="70001"/>
                  </a:cubicBezTo>
                  <a:cubicBezTo>
                    <a:pt x="-20658" y="26687"/>
                    <a:pt x="26687" y="-20658"/>
                    <a:pt x="70000" y="9540"/>
                  </a:cubicBezTo>
                  <a:cubicBezTo>
                    <a:pt x="71408" y="10564"/>
                    <a:pt x="72752" y="11844"/>
                    <a:pt x="73711" y="13251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6A53CB43-FF38-40C9-8946-953C3D1489AF}"/>
                </a:ext>
              </a:extLst>
            </p:cNvPr>
            <p:cNvSpPr/>
            <p:nvPr/>
          </p:nvSpPr>
          <p:spPr>
            <a:xfrm>
              <a:off x="8028698" y="934229"/>
              <a:ext cx="2289876" cy="1395768"/>
            </a:xfrm>
            <a:custGeom>
              <a:avLst/>
              <a:gdLst>
                <a:gd name="connsiteX0" fmla="*/ 2289876 w 2289876"/>
                <a:gd name="connsiteY0" fmla="*/ 1395769 h 1395768"/>
                <a:gd name="connsiteX1" fmla="*/ 0 w 2289876"/>
                <a:gd name="connsiteY1" fmla="*/ 1395769 h 1395768"/>
                <a:gd name="connsiteX2" fmla="*/ 0 w 2289876"/>
                <a:gd name="connsiteY2" fmla="*/ 62060 h 1395768"/>
                <a:gd name="connsiteX3" fmla="*/ 62060 w 2289876"/>
                <a:gd name="connsiteY3" fmla="*/ 0 h 1395768"/>
                <a:gd name="connsiteX4" fmla="*/ 2227817 w 2289876"/>
                <a:gd name="connsiteY4" fmla="*/ 0 h 1395768"/>
                <a:gd name="connsiteX5" fmla="*/ 2289876 w 2289876"/>
                <a:gd name="connsiteY5" fmla="*/ 62060 h 1395768"/>
                <a:gd name="connsiteX6" fmla="*/ 2289876 w 2289876"/>
                <a:gd name="connsiteY6" fmla="*/ 1395769 h 139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9876" h="1395768">
                  <a:moveTo>
                    <a:pt x="2289876" y="1395769"/>
                  </a:moveTo>
                  <a:lnTo>
                    <a:pt x="0" y="1395769"/>
                  </a:lnTo>
                  <a:lnTo>
                    <a:pt x="0" y="62060"/>
                  </a:lnTo>
                  <a:cubicBezTo>
                    <a:pt x="0" y="27767"/>
                    <a:pt x="27767" y="0"/>
                    <a:pt x="62060" y="0"/>
                  </a:cubicBezTo>
                  <a:lnTo>
                    <a:pt x="2227817" y="0"/>
                  </a:lnTo>
                  <a:cubicBezTo>
                    <a:pt x="2262110" y="0"/>
                    <a:pt x="2289876" y="27767"/>
                    <a:pt x="2289876" y="62060"/>
                  </a:cubicBezTo>
                  <a:lnTo>
                    <a:pt x="2289876" y="1395769"/>
                  </a:lnTo>
                  <a:close/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F8B2F68-2B45-4C39-90AF-8D62881AE825}"/>
                </a:ext>
              </a:extLst>
            </p:cNvPr>
            <p:cNvSpPr/>
            <p:nvPr/>
          </p:nvSpPr>
          <p:spPr>
            <a:xfrm>
              <a:off x="8028698" y="934293"/>
              <a:ext cx="2289876" cy="115930"/>
            </a:xfrm>
            <a:custGeom>
              <a:avLst/>
              <a:gdLst>
                <a:gd name="connsiteX0" fmla="*/ 2289876 w 2289876"/>
                <a:gd name="connsiteY0" fmla="*/ 115930 h 115930"/>
                <a:gd name="connsiteX1" fmla="*/ 0 w 2289876"/>
                <a:gd name="connsiteY1" fmla="*/ 115930 h 115930"/>
                <a:gd name="connsiteX2" fmla="*/ 0 w 2289876"/>
                <a:gd name="connsiteY2" fmla="*/ 58541 h 115930"/>
                <a:gd name="connsiteX3" fmla="*/ 58541 w 2289876"/>
                <a:gd name="connsiteY3" fmla="*/ 0 h 115930"/>
                <a:gd name="connsiteX4" fmla="*/ 2241764 w 2289876"/>
                <a:gd name="connsiteY4" fmla="*/ 0 h 115930"/>
                <a:gd name="connsiteX5" fmla="*/ 2289876 w 2289876"/>
                <a:gd name="connsiteY5" fmla="*/ 48112 h 115930"/>
                <a:gd name="connsiteX6" fmla="*/ 2289876 w 2289876"/>
                <a:gd name="connsiteY6" fmla="*/ 115930 h 115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9876" h="115930">
                  <a:moveTo>
                    <a:pt x="2289876" y="115930"/>
                  </a:moveTo>
                  <a:lnTo>
                    <a:pt x="0" y="115930"/>
                  </a:lnTo>
                  <a:lnTo>
                    <a:pt x="0" y="58541"/>
                  </a:lnTo>
                  <a:cubicBezTo>
                    <a:pt x="0" y="26167"/>
                    <a:pt x="26231" y="0"/>
                    <a:pt x="58541" y="0"/>
                  </a:cubicBezTo>
                  <a:lnTo>
                    <a:pt x="2241764" y="0"/>
                  </a:lnTo>
                  <a:cubicBezTo>
                    <a:pt x="2268315" y="0"/>
                    <a:pt x="2289876" y="21497"/>
                    <a:pt x="2289876" y="48112"/>
                  </a:cubicBezTo>
                  <a:lnTo>
                    <a:pt x="2289876" y="115930"/>
                  </a:lnTo>
                  <a:close/>
                </a:path>
              </a:pathLst>
            </a:custGeom>
            <a:solidFill>
              <a:srgbClr val="EBEBE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25D16E6-23A5-40B1-BFFF-A2FAA9F48822}"/>
                </a:ext>
              </a:extLst>
            </p:cNvPr>
            <p:cNvSpPr/>
            <p:nvPr/>
          </p:nvSpPr>
          <p:spPr>
            <a:xfrm>
              <a:off x="8085511" y="978567"/>
              <a:ext cx="32117" cy="32117"/>
            </a:xfrm>
            <a:custGeom>
              <a:avLst/>
              <a:gdLst>
                <a:gd name="connsiteX0" fmla="*/ 32117 w 32117"/>
                <a:gd name="connsiteY0" fmla="*/ 16059 h 32117"/>
                <a:gd name="connsiteX1" fmla="*/ 16059 w 32117"/>
                <a:gd name="connsiteY1" fmla="*/ 32118 h 32117"/>
                <a:gd name="connsiteX2" fmla="*/ 0 w 32117"/>
                <a:gd name="connsiteY2" fmla="*/ 16059 h 32117"/>
                <a:gd name="connsiteX3" fmla="*/ 16059 w 32117"/>
                <a:gd name="connsiteY3" fmla="*/ 0 h 32117"/>
                <a:gd name="connsiteX4" fmla="*/ 32117 w 32117"/>
                <a:gd name="connsiteY4" fmla="*/ 16059 h 32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17" h="32117">
                  <a:moveTo>
                    <a:pt x="32117" y="16059"/>
                  </a:moveTo>
                  <a:cubicBezTo>
                    <a:pt x="32117" y="24928"/>
                    <a:pt x="24928" y="32118"/>
                    <a:pt x="16059" y="32118"/>
                  </a:cubicBezTo>
                  <a:cubicBezTo>
                    <a:pt x="7190" y="32118"/>
                    <a:pt x="0" y="24928"/>
                    <a:pt x="0" y="16059"/>
                  </a:cubicBezTo>
                  <a:cubicBezTo>
                    <a:pt x="0" y="7190"/>
                    <a:pt x="7190" y="0"/>
                    <a:pt x="16059" y="0"/>
                  </a:cubicBezTo>
                  <a:cubicBezTo>
                    <a:pt x="24928" y="0"/>
                    <a:pt x="32117" y="7190"/>
                    <a:pt x="32117" y="16059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5CBD7120-F185-4635-85C2-7E52683936CF}"/>
                </a:ext>
              </a:extLst>
            </p:cNvPr>
            <p:cNvSpPr/>
            <p:nvPr/>
          </p:nvSpPr>
          <p:spPr>
            <a:xfrm>
              <a:off x="8133496" y="978567"/>
              <a:ext cx="32117" cy="32117"/>
            </a:xfrm>
            <a:custGeom>
              <a:avLst/>
              <a:gdLst>
                <a:gd name="connsiteX0" fmla="*/ 32117 w 32117"/>
                <a:gd name="connsiteY0" fmla="*/ 16059 h 32117"/>
                <a:gd name="connsiteX1" fmla="*/ 16059 w 32117"/>
                <a:gd name="connsiteY1" fmla="*/ 32118 h 32117"/>
                <a:gd name="connsiteX2" fmla="*/ 0 w 32117"/>
                <a:gd name="connsiteY2" fmla="*/ 16059 h 32117"/>
                <a:gd name="connsiteX3" fmla="*/ 16059 w 32117"/>
                <a:gd name="connsiteY3" fmla="*/ 0 h 32117"/>
                <a:gd name="connsiteX4" fmla="*/ 32117 w 32117"/>
                <a:gd name="connsiteY4" fmla="*/ 16059 h 32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17" h="32117">
                  <a:moveTo>
                    <a:pt x="32117" y="16059"/>
                  </a:moveTo>
                  <a:cubicBezTo>
                    <a:pt x="32117" y="24928"/>
                    <a:pt x="24928" y="32118"/>
                    <a:pt x="16059" y="32118"/>
                  </a:cubicBezTo>
                  <a:cubicBezTo>
                    <a:pt x="7190" y="32118"/>
                    <a:pt x="0" y="24928"/>
                    <a:pt x="0" y="16059"/>
                  </a:cubicBezTo>
                  <a:cubicBezTo>
                    <a:pt x="0" y="7190"/>
                    <a:pt x="7190" y="0"/>
                    <a:pt x="16059" y="0"/>
                  </a:cubicBezTo>
                  <a:cubicBezTo>
                    <a:pt x="24928" y="0"/>
                    <a:pt x="32117" y="7190"/>
                    <a:pt x="32117" y="16059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9F932141-88C7-40CB-8472-12CEA4860D8C}"/>
                </a:ext>
              </a:extLst>
            </p:cNvPr>
            <p:cNvSpPr/>
            <p:nvPr/>
          </p:nvSpPr>
          <p:spPr>
            <a:xfrm>
              <a:off x="8179113" y="978567"/>
              <a:ext cx="32117" cy="32117"/>
            </a:xfrm>
            <a:custGeom>
              <a:avLst/>
              <a:gdLst>
                <a:gd name="connsiteX0" fmla="*/ 32118 w 32117"/>
                <a:gd name="connsiteY0" fmla="*/ 16059 h 32117"/>
                <a:gd name="connsiteX1" fmla="*/ 16059 w 32117"/>
                <a:gd name="connsiteY1" fmla="*/ 32118 h 32117"/>
                <a:gd name="connsiteX2" fmla="*/ 0 w 32117"/>
                <a:gd name="connsiteY2" fmla="*/ 16059 h 32117"/>
                <a:gd name="connsiteX3" fmla="*/ 16059 w 32117"/>
                <a:gd name="connsiteY3" fmla="*/ 0 h 32117"/>
                <a:gd name="connsiteX4" fmla="*/ 32118 w 32117"/>
                <a:gd name="connsiteY4" fmla="*/ 16059 h 32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17" h="32117">
                  <a:moveTo>
                    <a:pt x="32118" y="16059"/>
                  </a:moveTo>
                  <a:cubicBezTo>
                    <a:pt x="32118" y="24928"/>
                    <a:pt x="24928" y="32118"/>
                    <a:pt x="16059" y="32118"/>
                  </a:cubicBezTo>
                  <a:cubicBezTo>
                    <a:pt x="7190" y="32118"/>
                    <a:pt x="0" y="24928"/>
                    <a:pt x="0" y="16059"/>
                  </a:cubicBezTo>
                  <a:cubicBezTo>
                    <a:pt x="0" y="7190"/>
                    <a:pt x="7190" y="0"/>
                    <a:pt x="16059" y="0"/>
                  </a:cubicBezTo>
                  <a:cubicBezTo>
                    <a:pt x="24928" y="0"/>
                    <a:pt x="32118" y="7190"/>
                    <a:pt x="32118" y="16059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87E48BD-C471-4C94-9353-4F294A926EAB}"/>
                </a:ext>
              </a:extLst>
            </p:cNvPr>
            <p:cNvSpPr/>
            <p:nvPr/>
          </p:nvSpPr>
          <p:spPr>
            <a:xfrm>
              <a:off x="8473225" y="2616688"/>
              <a:ext cx="1415921" cy="2687"/>
            </a:xfrm>
            <a:custGeom>
              <a:avLst/>
              <a:gdLst>
                <a:gd name="connsiteX0" fmla="*/ 1415922 w 1415921"/>
                <a:gd name="connsiteY0" fmla="*/ 1344 h 2687"/>
                <a:gd name="connsiteX1" fmla="*/ 707993 w 1415921"/>
                <a:gd name="connsiteY1" fmla="*/ 2687 h 2687"/>
                <a:gd name="connsiteX2" fmla="*/ 0 w 1415921"/>
                <a:gd name="connsiteY2" fmla="*/ 1344 h 2687"/>
                <a:gd name="connsiteX3" fmla="*/ 707993 w 1415921"/>
                <a:gd name="connsiteY3" fmla="*/ 0 h 2687"/>
                <a:gd name="connsiteX4" fmla="*/ 1415922 w 1415921"/>
                <a:gd name="connsiteY4" fmla="*/ 1344 h 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5921" h="2687">
                  <a:moveTo>
                    <a:pt x="1415922" y="1344"/>
                  </a:moveTo>
                  <a:cubicBezTo>
                    <a:pt x="1415922" y="2111"/>
                    <a:pt x="1098969" y="2687"/>
                    <a:pt x="707993" y="2687"/>
                  </a:cubicBezTo>
                  <a:cubicBezTo>
                    <a:pt x="316952" y="2687"/>
                    <a:pt x="0" y="2111"/>
                    <a:pt x="0" y="1344"/>
                  </a:cubicBezTo>
                  <a:cubicBezTo>
                    <a:pt x="0" y="576"/>
                    <a:pt x="316889" y="0"/>
                    <a:pt x="707993" y="0"/>
                  </a:cubicBezTo>
                  <a:cubicBezTo>
                    <a:pt x="1098969" y="0"/>
                    <a:pt x="1415922" y="640"/>
                    <a:pt x="1415922" y="1344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339F1AB6-4B76-4F4E-84CA-C77DADE34868}"/>
                </a:ext>
              </a:extLst>
            </p:cNvPr>
            <p:cNvSpPr/>
            <p:nvPr/>
          </p:nvSpPr>
          <p:spPr>
            <a:xfrm>
              <a:off x="8029466" y="1237874"/>
              <a:ext cx="2283926" cy="509849"/>
            </a:xfrm>
            <a:custGeom>
              <a:avLst/>
              <a:gdLst>
                <a:gd name="connsiteX0" fmla="*/ 0 w 2283926"/>
                <a:gd name="connsiteY0" fmla="*/ 0 h 509849"/>
                <a:gd name="connsiteX1" fmla="*/ 2283926 w 2283926"/>
                <a:gd name="connsiteY1" fmla="*/ 0 h 509849"/>
                <a:gd name="connsiteX2" fmla="*/ 2283926 w 2283926"/>
                <a:gd name="connsiteY2" fmla="*/ 509850 h 509849"/>
                <a:gd name="connsiteX3" fmla="*/ 0 w 2283926"/>
                <a:gd name="connsiteY3" fmla="*/ 509850 h 50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926" h="509849">
                  <a:moveTo>
                    <a:pt x="0" y="0"/>
                  </a:moveTo>
                  <a:lnTo>
                    <a:pt x="2283926" y="0"/>
                  </a:lnTo>
                  <a:lnTo>
                    <a:pt x="2283926" y="509850"/>
                  </a:lnTo>
                  <a:lnTo>
                    <a:pt x="0" y="509850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A9005BD-C1C8-4AE7-8DA1-489E7F896C70}"/>
                </a:ext>
              </a:extLst>
            </p:cNvPr>
            <p:cNvSpPr/>
            <p:nvPr/>
          </p:nvSpPr>
          <p:spPr>
            <a:xfrm>
              <a:off x="8085511" y="1103646"/>
              <a:ext cx="329620" cy="86243"/>
            </a:xfrm>
            <a:custGeom>
              <a:avLst/>
              <a:gdLst>
                <a:gd name="connsiteX0" fmla="*/ 0 w 329620"/>
                <a:gd name="connsiteY0" fmla="*/ 0 h 86243"/>
                <a:gd name="connsiteX1" fmla="*/ 329620 w 329620"/>
                <a:gd name="connsiteY1" fmla="*/ 0 h 86243"/>
                <a:gd name="connsiteX2" fmla="*/ 329620 w 329620"/>
                <a:gd name="connsiteY2" fmla="*/ 86244 h 86243"/>
                <a:gd name="connsiteX3" fmla="*/ 0 w 329620"/>
                <a:gd name="connsiteY3" fmla="*/ 86244 h 8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620" h="86243">
                  <a:moveTo>
                    <a:pt x="0" y="0"/>
                  </a:moveTo>
                  <a:lnTo>
                    <a:pt x="329620" y="0"/>
                  </a:lnTo>
                  <a:lnTo>
                    <a:pt x="329620" y="86244"/>
                  </a:lnTo>
                  <a:lnTo>
                    <a:pt x="0" y="86244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37A8876-5DA6-4639-9F66-3341971AAA45}"/>
                </a:ext>
              </a:extLst>
            </p:cNvPr>
            <p:cNvSpPr/>
            <p:nvPr/>
          </p:nvSpPr>
          <p:spPr>
            <a:xfrm>
              <a:off x="10078653" y="1103646"/>
              <a:ext cx="180485" cy="86243"/>
            </a:xfrm>
            <a:custGeom>
              <a:avLst/>
              <a:gdLst>
                <a:gd name="connsiteX0" fmla="*/ 0 w 180485"/>
                <a:gd name="connsiteY0" fmla="*/ 0 h 86243"/>
                <a:gd name="connsiteX1" fmla="*/ 180485 w 180485"/>
                <a:gd name="connsiteY1" fmla="*/ 0 h 86243"/>
                <a:gd name="connsiteX2" fmla="*/ 180485 w 180485"/>
                <a:gd name="connsiteY2" fmla="*/ 86244 h 86243"/>
                <a:gd name="connsiteX3" fmla="*/ 0 w 180485"/>
                <a:gd name="connsiteY3" fmla="*/ 86244 h 8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485" h="86243">
                  <a:moveTo>
                    <a:pt x="0" y="0"/>
                  </a:moveTo>
                  <a:lnTo>
                    <a:pt x="180485" y="0"/>
                  </a:lnTo>
                  <a:lnTo>
                    <a:pt x="180485" y="86244"/>
                  </a:lnTo>
                  <a:lnTo>
                    <a:pt x="0" y="86244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120D40B4-76C1-4A7C-B5E0-E374AE56D4F8}"/>
                </a:ext>
              </a:extLst>
            </p:cNvPr>
            <p:cNvSpPr/>
            <p:nvPr/>
          </p:nvSpPr>
          <p:spPr>
            <a:xfrm>
              <a:off x="9729135" y="1103646"/>
              <a:ext cx="295327" cy="86243"/>
            </a:xfrm>
            <a:custGeom>
              <a:avLst/>
              <a:gdLst>
                <a:gd name="connsiteX0" fmla="*/ 0 w 295327"/>
                <a:gd name="connsiteY0" fmla="*/ 0 h 86243"/>
                <a:gd name="connsiteX1" fmla="*/ 295328 w 295327"/>
                <a:gd name="connsiteY1" fmla="*/ 0 h 86243"/>
                <a:gd name="connsiteX2" fmla="*/ 295328 w 295327"/>
                <a:gd name="connsiteY2" fmla="*/ 86244 h 86243"/>
                <a:gd name="connsiteX3" fmla="*/ 0 w 295327"/>
                <a:gd name="connsiteY3" fmla="*/ 86244 h 8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327" h="86243">
                  <a:moveTo>
                    <a:pt x="0" y="0"/>
                  </a:moveTo>
                  <a:lnTo>
                    <a:pt x="295328" y="0"/>
                  </a:lnTo>
                  <a:lnTo>
                    <a:pt x="295328" y="86244"/>
                  </a:lnTo>
                  <a:lnTo>
                    <a:pt x="0" y="86244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0928A4B-75EE-4010-AAF4-98B80698D415}"/>
                </a:ext>
              </a:extLst>
            </p:cNvPr>
            <p:cNvSpPr/>
            <p:nvPr/>
          </p:nvSpPr>
          <p:spPr>
            <a:xfrm>
              <a:off x="9372387" y="1103646"/>
              <a:ext cx="295327" cy="86243"/>
            </a:xfrm>
            <a:custGeom>
              <a:avLst/>
              <a:gdLst>
                <a:gd name="connsiteX0" fmla="*/ 0 w 295327"/>
                <a:gd name="connsiteY0" fmla="*/ 0 h 86243"/>
                <a:gd name="connsiteX1" fmla="*/ 295328 w 295327"/>
                <a:gd name="connsiteY1" fmla="*/ 0 h 86243"/>
                <a:gd name="connsiteX2" fmla="*/ 295328 w 295327"/>
                <a:gd name="connsiteY2" fmla="*/ 86244 h 86243"/>
                <a:gd name="connsiteX3" fmla="*/ 0 w 295327"/>
                <a:gd name="connsiteY3" fmla="*/ 86244 h 8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327" h="86243">
                  <a:moveTo>
                    <a:pt x="0" y="0"/>
                  </a:moveTo>
                  <a:lnTo>
                    <a:pt x="295328" y="0"/>
                  </a:lnTo>
                  <a:lnTo>
                    <a:pt x="295328" y="86244"/>
                  </a:lnTo>
                  <a:lnTo>
                    <a:pt x="0" y="86244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4974C2D-3313-416D-A795-B1872D97AF39}"/>
                </a:ext>
              </a:extLst>
            </p:cNvPr>
            <p:cNvSpPr/>
            <p:nvPr/>
          </p:nvSpPr>
          <p:spPr>
            <a:xfrm>
              <a:off x="8140661" y="1891357"/>
              <a:ext cx="2012910" cy="90338"/>
            </a:xfrm>
            <a:custGeom>
              <a:avLst/>
              <a:gdLst>
                <a:gd name="connsiteX0" fmla="*/ 0 w 2012910"/>
                <a:gd name="connsiteY0" fmla="*/ 0 h 90338"/>
                <a:gd name="connsiteX1" fmla="*/ 2012911 w 2012910"/>
                <a:gd name="connsiteY1" fmla="*/ 0 h 90338"/>
                <a:gd name="connsiteX2" fmla="*/ 2012911 w 2012910"/>
                <a:gd name="connsiteY2" fmla="*/ 90338 h 90338"/>
                <a:gd name="connsiteX3" fmla="*/ 0 w 2012910"/>
                <a:gd name="connsiteY3" fmla="*/ 90338 h 9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2910" h="90338">
                  <a:moveTo>
                    <a:pt x="0" y="0"/>
                  </a:moveTo>
                  <a:lnTo>
                    <a:pt x="2012911" y="0"/>
                  </a:lnTo>
                  <a:lnTo>
                    <a:pt x="2012911" y="90338"/>
                  </a:lnTo>
                  <a:lnTo>
                    <a:pt x="0" y="90338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854426A-01A7-4667-AD09-68C698BA0DB9}"/>
                </a:ext>
              </a:extLst>
            </p:cNvPr>
            <p:cNvSpPr/>
            <p:nvPr/>
          </p:nvSpPr>
          <p:spPr>
            <a:xfrm>
              <a:off x="8140661" y="2059558"/>
              <a:ext cx="2012910" cy="90338"/>
            </a:xfrm>
            <a:custGeom>
              <a:avLst/>
              <a:gdLst>
                <a:gd name="connsiteX0" fmla="*/ 0 w 2012910"/>
                <a:gd name="connsiteY0" fmla="*/ 0 h 90338"/>
                <a:gd name="connsiteX1" fmla="*/ 2012911 w 2012910"/>
                <a:gd name="connsiteY1" fmla="*/ 0 h 90338"/>
                <a:gd name="connsiteX2" fmla="*/ 2012911 w 2012910"/>
                <a:gd name="connsiteY2" fmla="*/ 90338 h 90338"/>
                <a:gd name="connsiteX3" fmla="*/ 0 w 2012910"/>
                <a:gd name="connsiteY3" fmla="*/ 90338 h 9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12910" h="90338">
                  <a:moveTo>
                    <a:pt x="0" y="0"/>
                  </a:moveTo>
                  <a:lnTo>
                    <a:pt x="2012911" y="0"/>
                  </a:lnTo>
                  <a:lnTo>
                    <a:pt x="2012911" y="90338"/>
                  </a:lnTo>
                  <a:lnTo>
                    <a:pt x="0" y="90338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948293B-A994-49AE-B5F0-581474F760E4}"/>
                </a:ext>
              </a:extLst>
            </p:cNvPr>
            <p:cNvSpPr/>
            <p:nvPr/>
          </p:nvSpPr>
          <p:spPr>
            <a:xfrm>
              <a:off x="8933235" y="1406843"/>
              <a:ext cx="374277" cy="277349"/>
            </a:xfrm>
            <a:custGeom>
              <a:avLst/>
              <a:gdLst>
                <a:gd name="connsiteX0" fmla="*/ 0 w 374277"/>
                <a:gd name="connsiteY0" fmla="*/ 137619 h 277349"/>
                <a:gd name="connsiteX1" fmla="*/ 55470 w 374277"/>
                <a:gd name="connsiteY1" fmla="*/ 82149 h 277349"/>
                <a:gd name="connsiteX2" fmla="*/ 152270 w 374277"/>
                <a:gd name="connsiteY2" fmla="*/ 170376 h 277349"/>
                <a:gd name="connsiteX3" fmla="*/ 322775 w 374277"/>
                <a:gd name="connsiteY3" fmla="*/ 0 h 277349"/>
                <a:gd name="connsiteX4" fmla="*/ 374278 w 374277"/>
                <a:gd name="connsiteY4" fmla="*/ 55470 h 277349"/>
                <a:gd name="connsiteX5" fmla="*/ 144337 w 374277"/>
                <a:gd name="connsiteY5" fmla="*/ 277349 h 27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4277" h="277349">
                  <a:moveTo>
                    <a:pt x="0" y="137619"/>
                  </a:moveTo>
                  <a:lnTo>
                    <a:pt x="55470" y="82149"/>
                  </a:lnTo>
                  <a:lnTo>
                    <a:pt x="152270" y="170376"/>
                  </a:lnTo>
                  <a:lnTo>
                    <a:pt x="322775" y="0"/>
                  </a:lnTo>
                  <a:lnTo>
                    <a:pt x="374278" y="55470"/>
                  </a:lnTo>
                  <a:lnTo>
                    <a:pt x="144337" y="277349"/>
                  </a:ln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A816F47-050D-4B13-A000-6CF83F003BCB}"/>
                </a:ext>
              </a:extLst>
            </p:cNvPr>
            <p:cNvSpPr/>
            <p:nvPr/>
          </p:nvSpPr>
          <p:spPr>
            <a:xfrm>
              <a:off x="8976120" y="1370797"/>
              <a:ext cx="36941" cy="43620"/>
            </a:xfrm>
            <a:custGeom>
              <a:avLst/>
              <a:gdLst>
                <a:gd name="connsiteX0" fmla="*/ 36897 w 36941"/>
                <a:gd name="connsiteY0" fmla="*/ 43595 h 43620"/>
                <a:gd name="connsiteX1" fmla="*/ 17191 w 36941"/>
                <a:gd name="connsiteY1" fmla="*/ 22866 h 43620"/>
                <a:gd name="connsiteX2" fmla="*/ 45 w 36941"/>
                <a:gd name="connsiteY2" fmla="*/ 25 h 43620"/>
                <a:gd name="connsiteX3" fmla="*/ 19750 w 36941"/>
                <a:gd name="connsiteY3" fmla="*/ 20755 h 43620"/>
                <a:gd name="connsiteX4" fmla="*/ 36897 w 36941"/>
                <a:gd name="connsiteY4" fmla="*/ 43595 h 4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41" h="43620">
                  <a:moveTo>
                    <a:pt x="36897" y="43595"/>
                  </a:moveTo>
                  <a:cubicBezTo>
                    <a:pt x="36193" y="44171"/>
                    <a:pt x="27364" y="34894"/>
                    <a:pt x="17191" y="22866"/>
                  </a:cubicBezTo>
                  <a:cubicBezTo>
                    <a:pt x="7018" y="10838"/>
                    <a:pt x="-659" y="601"/>
                    <a:pt x="45" y="25"/>
                  </a:cubicBezTo>
                  <a:cubicBezTo>
                    <a:pt x="749" y="-550"/>
                    <a:pt x="9578" y="8727"/>
                    <a:pt x="19750" y="20755"/>
                  </a:cubicBezTo>
                  <a:cubicBezTo>
                    <a:pt x="29923" y="32783"/>
                    <a:pt x="37600" y="43019"/>
                    <a:pt x="36897" y="43595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D92D0D9B-C95C-4B86-8EE7-5E8D6E56E8C4}"/>
                </a:ext>
              </a:extLst>
            </p:cNvPr>
            <p:cNvSpPr/>
            <p:nvPr/>
          </p:nvSpPr>
          <p:spPr>
            <a:xfrm>
              <a:off x="9081311" y="1282147"/>
              <a:ext cx="6582" cy="124119"/>
            </a:xfrm>
            <a:custGeom>
              <a:avLst/>
              <a:gdLst>
                <a:gd name="connsiteX0" fmla="*/ 6114 w 6582"/>
                <a:gd name="connsiteY0" fmla="*/ 124120 h 124119"/>
                <a:gd name="connsiteX1" fmla="*/ 1635 w 6582"/>
                <a:gd name="connsiteY1" fmla="*/ 62124 h 124119"/>
                <a:gd name="connsiteX2" fmla="*/ 484 w 6582"/>
                <a:gd name="connsiteY2" fmla="*/ 0 h 124119"/>
                <a:gd name="connsiteX3" fmla="*/ 4962 w 6582"/>
                <a:gd name="connsiteY3" fmla="*/ 61996 h 124119"/>
                <a:gd name="connsiteX4" fmla="*/ 6114 w 6582"/>
                <a:gd name="connsiteY4" fmla="*/ 124120 h 12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82" h="124119">
                  <a:moveTo>
                    <a:pt x="6114" y="124120"/>
                  </a:moveTo>
                  <a:cubicBezTo>
                    <a:pt x="5218" y="124184"/>
                    <a:pt x="3171" y="96417"/>
                    <a:pt x="1635" y="62124"/>
                  </a:cubicBezTo>
                  <a:cubicBezTo>
                    <a:pt x="36" y="27831"/>
                    <a:pt x="-476" y="0"/>
                    <a:pt x="484" y="0"/>
                  </a:cubicBezTo>
                  <a:cubicBezTo>
                    <a:pt x="1379" y="-64"/>
                    <a:pt x="3427" y="27703"/>
                    <a:pt x="4962" y="61996"/>
                  </a:cubicBezTo>
                  <a:cubicBezTo>
                    <a:pt x="6498" y="96289"/>
                    <a:pt x="7073" y="124056"/>
                    <a:pt x="6114" y="124120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421D5CF7-2FE5-45C3-A168-2915E1581D06}"/>
                </a:ext>
              </a:extLst>
            </p:cNvPr>
            <p:cNvSpPr/>
            <p:nvPr/>
          </p:nvSpPr>
          <p:spPr>
            <a:xfrm>
              <a:off x="9163772" y="1368241"/>
              <a:ext cx="38665" cy="48669"/>
            </a:xfrm>
            <a:custGeom>
              <a:avLst/>
              <a:gdLst>
                <a:gd name="connsiteX0" fmla="*/ 38623 w 38665"/>
                <a:gd name="connsiteY0" fmla="*/ 23 h 48669"/>
                <a:gd name="connsiteX1" fmla="*/ 20644 w 38665"/>
                <a:gd name="connsiteY1" fmla="*/ 25358 h 48669"/>
                <a:gd name="connsiteX2" fmla="*/ 43 w 38665"/>
                <a:gd name="connsiteY2" fmla="*/ 48647 h 48669"/>
                <a:gd name="connsiteX3" fmla="*/ 18021 w 38665"/>
                <a:gd name="connsiteY3" fmla="*/ 23311 h 48669"/>
                <a:gd name="connsiteX4" fmla="*/ 38623 w 38665"/>
                <a:gd name="connsiteY4" fmla="*/ 23 h 48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65" h="48669">
                  <a:moveTo>
                    <a:pt x="38623" y="23"/>
                  </a:moveTo>
                  <a:cubicBezTo>
                    <a:pt x="39326" y="599"/>
                    <a:pt x="31329" y="11923"/>
                    <a:pt x="20644" y="25358"/>
                  </a:cubicBezTo>
                  <a:cubicBezTo>
                    <a:pt x="10024" y="38794"/>
                    <a:pt x="811" y="49223"/>
                    <a:pt x="43" y="48647"/>
                  </a:cubicBezTo>
                  <a:cubicBezTo>
                    <a:pt x="-661" y="48071"/>
                    <a:pt x="7337" y="36747"/>
                    <a:pt x="18021" y="23311"/>
                  </a:cubicBezTo>
                  <a:cubicBezTo>
                    <a:pt x="28706" y="9875"/>
                    <a:pt x="37919" y="-553"/>
                    <a:pt x="38623" y="23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5" name="Graphic 2">
              <a:extLst>
                <a:ext uri="{FF2B5EF4-FFF2-40B4-BE49-F238E27FC236}">
                  <a16:creationId xmlns:a16="http://schemas.microsoft.com/office/drawing/2014/main" id="{ACD1F581-B19A-4E74-8AA6-D89CC8886521}"/>
                </a:ext>
              </a:extLst>
            </p:cNvPr>
            <p:cNvGrpSpPr/>
            <p:nvPr/>
          </p:nvGrpSpPr>
          <p:grpSpPr>
            <a:xfrm>
              <a:off x="9736864" y="1377540"/>
              <a:ext cx="1044791" cy="1497881"/>
              <a:chOff x="9736864" y="1377540"/>
              <a:chExt cx="1044791" cy="1497881"/>
            </a:xfrm>
          </p:grpSpPr>
          <p:grpSp>
            <p:nvGrpSpPr>
              <p:cNvPr id="116" name="Graphic 2">
                <a:extLst>
                  <a:ext uri="{FF2B5EF4-FFF2-40B4-BE49-F238E27FC236}">
                    <a16:creationId xmlns:a16="http://schemas.microsoft.com/office/drawing/2014/main" id="{BE3AF89F-23FA-458C-ABE8-A3E4C45252F5}"/>
                  </a:ext>
                </a:extLst>
              </p:cNvPr>
              <p:cNvGrpSpPr/>
              <p:nvPr/>
            </p:nvGrpSpPr>
            <p:grpSpPr>
              <a:xfrm>
                <a:off x="9736864" y="1377540"/>
                <a:ext cx="1044791" cy="1497881"/>
                <a:chOff x="9736864" y="1377540"/>
                <a:chExt cx="1044791" cy="1497881"/>
              </a:xfrm>
            </p:grpSpPr>
            <p:grpSp>
              <p:nvGrpSpPr>
                <p:cNvPr id="117" name="Graphic 2">
                  <a:extLst>
                    <a:ext uri="{FF2B5EF4-FFF2-40B4-BE49-F238E27FC236}">
                      <a16:creationId xmlns:a16="http://schemas.microsoft.com/office/drawing/2014/main" id="{642F3D90-7103-4DF0-80D4-72BE73A3F195}"/>
                    </a:ext>
                  </a:extLst>
                </p:cNvPr>
                <p:cNvGrpSpPr/>
                <p:nvPr/>
              </p:nvGrpSpPr>
              <p:grpSpPr>
                <a:xfrm>
                  <a:off x="9736864" y="1377540"/>
                  <a:ext cx="1044791" cy="1497881"/>
                  <a:chOff x="9736864" y="1377540"/>
                  <a:chExt cx="1044791" cy="1497881"/>
                </a:xfrm>
              </p:grpSpPr>
              <p:sp>
                <p:nvSpPr>
                  <p:cNvPr id="118" name="Freeform: Shape 117">
                    <a:extLst>
                      <a:ext uri="{FF2B5EF4-FFF2-40B4-BE49-F238E27FC236}">
                        <a16:creationId xmlns:a16="http://schemas.microsoft.com/office/drawing/2014/main" id="{0345FFA8-723E-4925-B19A-B5A6F3468AAC}"/>
                      </a:ext>
                    </a:extLst>
                  </p:cNvPr>
                  <p:cNvSpPr/>
                  <p:nvPr/>
                </p:nvSpPr>
                <p:spPr>
                  <a:xfrm>
                    <a:off x="9738348" y="1379204"/>
                    <a:ext cx="1041643" cy="1494872"/>
                  </a:xfrm>
                  <a:custGeom>
                    <a:avLst/>
                    <a:gdLst>
                      <a:gd name="connsiteX0" fmla="*/ 995131 w 1041643"/>
                      <a:gd name="connsiteY0" fmla="*/ 1494872 h 1494872"/>
                      <a:gd name="connsiteX1" fmla="*/ 46513 w 1041643"/>
                      <a:gd name="connsiteY1" fmla="*/ 1494872 h 1494872"/>
                      <a:gd name="connsiteX2" fmla="*/ 0 w 1041643"/>
                      <a:gd name="connsiteY2" fmla="*/ 1448359 h 1494872"/>
                      <a:gd name="connsiteX3" fmla="*/ 0 w 1041643"/>
                      <a:gd name="connsiteY3" fmla="*/ 46513 h 1494872"/>
                      <a:gd name="connsiteX4" fmla="*/ 46513 w 1041643"/>
                      <a:gd name="connsiteY4" fmla="*/ 0 h 1494872"/>
                      <a:gd name="connsiteX5" fmla="*/ 995131 w 1041643"/>
                      <a:gd name="connsiteY5" fmla="*/ 0 h 1494872"/>
                      <a:gd name="connsiteX6" fmla="*/ 1041644 w 1041643"/>
                      <a:gd name="connsiteY6" fmla="*/ 46513 h 1494872"/>
                      <a:gd name="connsiteX7" fmla="*/ 1041644 w 1041643"/>
                      <a:gd name="connsiteY7" fmla="*/ 1448359 h 1494872"/>
                      <a:gd name="connsiteX8" fmla="*/ 995131 w 1041643"/>
                      <a:gd name="connsiteY8" fmla="*/ 1494872 h 14948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41643" h="1494872">
                        <a:moveTo>
                          <a:pt x="995131" y="1494872"/>
                        </a:moveTo>
                        <a:lnTo>
                          <a:pt x="46513" y="1494872"/>
                        </a:lnTo>
                        <a:cubicBezTo>
                          <a:pt x="20857" y="1494872"/>
                          <a:pt x="0" y="1474079"/>
                          <a:pt x="0" y="1448359"/>
                        </a:cubicBezTo>
                        <a:lnTo>
                          <a:pt x="0" y="46513"/>
                        </a:lnTo>
                        <a:cubicBezTo>
                          <a:pt x="0" y="20857"/>
                          <a:pt x="20793" y="0"/>
                          <a:pt x="46513" y="0"/>
                        </a:cubicBezTo>
                        <a:lnTo>
                          <a:pt x="995131" y="0"/>
                        </a:lnTo>
                        <a:cubicBezTo>
                          <a:pt x="1020787" y="0"/>
                          <a:pt x="1041644" y="20793"/>
                          <a:pt x="1041644" y="46513"/>
                        </a:cubicBezTo>
                        <a:lnTo>
                          <a:pt x="1041644" y="1448359"/>
                        </a:lnTo>
                        <a:cubicBezTo>
                          <a:pt x="1041644" y="1474079"/>
                          <a:pt x="1020851" y="1494872"/>
                          <a:pt x="995131" y="1494872"/>
                        </a:cubicBezTo>
                        <a:close/>
                      </a:path>
                    </a:pathLst>
                  </a:custGeom>
                  <a:solidFill>
                    <a:srgbClr val="E0E0E0"/>
                  </a:solidFill>
                  <a:ln w="63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70B75E78-794F-4EF9-BB4A-AB7EAC7A1D23}"/>
                      </a:ext>
                    </a:extLst>
                  </p:cNvPr>
                  <p:cNvSpPr/>
                  <p:nvPr/>
                </p:nvSpPr>
                <p:spPr>
                  <a:xfrm>
                    <a:off x="9736864" y="1377540"/>
                    <a:ext cx="1044791" cy="1497881"/>
                  </a:xfrm>
                  <a:custGeom>
                    <a:avLst/>
                    <a:gdLst>
                      <a:gd name="connsiteX0" fmla="*/ 996615 w 1044791"/>
                      <a:gd name="connsiteY0" fmla="*/ 1496536 h 1497881"/>
                      <a:gd name="connsiteX1" fmla="*/ 999878 w 1044791"/>
                      <a:gd name="connsiteY1" fmla="*/ 1496280 h 1497881"/>
                      <a:gd name="connsiteX2" fmla="*/ 1009283 w 1044791"/>
                      <a:gd name="connsiteY2" fmla="*/ 1494552 h 1497881"/>
                      <a:gd name="connsiteX3" fmla="*/ 1037562 w 1044791"/>
                      <a:gd name="connsiteY3" fmla="*/ 1471328 h 1497881"/>
                      <a:gd name="connsiteX4" fmla="*/ 1041849 w 1044791"/>
                      <a:gd name="connsiteY4" fmla="*/ 1458980 h 1497881"/>
                      <a:gd name="connsiteX5" fmla="*/ 1042680 w 1044791"/>
                      <a:gd name="connsiteY5" fmla="*/ 1444457 h 1497881"/>
                      <a:gd name="connsiteX6" fmla="*/ 1042616 w 1044791"/>
                      <a:gd name="connsiteY6" fmla="*/ 1410804 h 1497881"/>
                      <a:gd name="connsiteX7" fmla="*/ 1042488 w 1044791"/>
                      <a:gd name="connsiteY7" fmla="*/ 1326863 h 1497881"/>
                      <a:gd name="connsiteX8" fmla="*/ 1041976 w 1044791"/>
                      <a:gd name="connsiteY8" fmla="*/ 791870 h 1497881"/>
                      <a:gd name="connsiteX9" fmla="*/ 1041784 w 1044791"/>
                      <a:gd name="connsiteY9" fmla="*/ 422390 h 1497881"/>
                      <a:gd name="connsiteX10" fmla="*/ 1041720 w 1044791"/>
                      <a:gd name="connsiteY10" fmla="*/ 216569 h 1497881"/>
                      <a:gd name="connsiteX11" fmla="*/ 1041656 w 1044791"/>
                      <a:gd name="connsiteY11" fmla="*/ 108956 h 1497881"/>
                      <a:gd name="connsiteX12" fmla="*/ 1041656 w 1044791"/>
                      <a:gd name="connsiteY12" fmla="*/ 53998 h 1497881"/>
                      <a:gd name="connsiteX13" fmla="*/ 1040953 w 1044791"/>
                      <a:gd name="connsiteY13" fmla="*/ 40435 h 1497881"/>
                      <a:gd name="connsiteX14" fmla="*/ 1036730 w 1044791"/>
                      <a:gd name="connsiteY14" fmla="*/ 27767 h 1497881"/>
                      <a:gd name="connsiteX15" fmla="*/ 1018176 w 1044791"/>
                      <a:gd name="connsiteY15" fmla="*/ 8701 h 1497881"/>
                      <a:gd name="connsiteX16" fmla="*/ 1005444 w 1044791"/>
                      <a:gd name="connsiteY16" fmla="*/ 4159 h 1497881"/>
                      <a:gd name="connsiteX17" fmla="*/ 991753 w 1044791"/>
                      <a:gd name="connsiteY17" fmla="*/ 3327 h 1497881"/>
                      <a:gd name="connsiteX18" fmla="*/ 963474 w 1044791"/>
                      <a:gd name="connsiteY18" fmla="*/ 3327 h 1497881"/>
                      <a:gd name="connsiteX19" fmla="*/ 906469 w 1044791"/>
                      <a:gd name="connsiteY19" fmla="*/ 3327 h 1497881"/>
                      <a:gd name="connsiteX20" fmla="*/ 790474 w 1044791"/>
                      <a:gd name="connsiteY20" fmla="*/ 3327 h 1497881"/>
                      <a:gd name="connsiteX21" fmla="*/ 551257 w 1044791"/>
                      <a:gd name="connsiteY21" fmla="*/ 3391 h 1497881"/>
                      <a:gd name="connsiteX22" fmla="*/ 48189 w 1044791"/>
                      <a:gd name="connsiteY22" fmla="*/ 3455 h 1497881"/>
                      <a:gd name="connsiteX23" fmla="*/ 19462 w 1044791"/>
                      <a:gd name="connsiteY23" fmla="*/ 13755 h 1497881"/>
                      <a:gd name="connsiteX24" fmla="*/ 4043 w 1044791"/>
                      <a:gd name="connsiteY24" fmla="*/ 39923 h 1497881"/>
                      <a:gd name="connsiteX25" fmla="*/ 3211 w 1044791"/>
                      <a:gd name="connsiteY25" fmla="*/ 55598 h 1497881"/>
                      <a:gd name="connsiteX26" fmla="*/ 3211 w 1044791"/>
                      <a:gd name="connsiteY26" fmla="*/ 71593 h 1497881"/>
                      <a:gd name="connsiteX27" fmla="*/ 3211 w 1044791"/>
                      <a:gd name="connsiteY27" fmla="*/ 103582 h 1497881"/>
                      <a:gd name="connsiteX28" fmla="*/ 3211 w 1044791"/>
                      <a:gd name="connsiteY28" fmla="*/ 230389 h 1497881"/>
                      <a:gd name="connsiteX29" fmla="*/ 3211 w 1044791"/>
                      <a:gd name="connsiteY29" fmla="*/ 478308 h 1497881"/>
                      <a:gd name="connsiteX30" fmla="*/ 3084 w 1044791"/>
                      <a:gd name="connsiteY30" fmla="*/ 946955 h 1497881"/>
                      <a:gd name="connsiteX31" fmla="*/ 2956 w 1044791"/>
                      <a:gd name="connsiteY31" fmla="*/ 1371073 h 1497881"/>
                      <a:gd name="connsiteX32" fmla="*/ 2956 w 1044791"/>
                      <a:gd name="connsiteY32" fmla="*/ 1420465 h 1497881"/>
                      <a:gd name="connsiteX33" fmla="*/ 2956 w 1044791"/>
                      <a:gd name="connsiteY33" fmla="*/ 1444841 h 1497881"/>
                      <a:gd name="connsiteX34" fmla="*/ 6602 w 1044791"/>
                      <a:gd name="connsiteY34" fmla="*/ 1467937 h 1497881"/>
                      <a:gd name="connsiteX35" fmla="*/ 41791 w 1044791"/>
                      <a:gd name="connsiteY35" fmla="*/ 1494808 h 1497881"/>
                      <a:gd name="connsiteX36" fmla="*/ 53371 w 1044791"/>
                      <a:gd name="connsiteY36" fmla="*/ 1495320 h 1497881"/>
                      <a:gd name="connsiteX37" fmla="*/ 65079 w 1044791"/>
                      <a:gd name="connsiteY37" fmla="*/ 1495320 h 1497881"/>
                      <a:gd name="connsiteX38" fmla="*/ 88304 w 1044791"/>
                      <a:gd name="connsiteY38" fmla="*/ 1495320 h 1497881"/>
                      <a:gd name="connsiteX39" fmla="*/ 265590 w 1044791"/>
                      <a:gd name="connsiteY39" fmla="*/ 1495448 h 1497881"/>
                      <a:gd name="connsiteX40" fmla="*/ 800583 w 1044791"/>
                      <a:gd name="connsiteY40" fmla="*/ 1495960 h 1497881"/>
                      <a:gd name="connsiteX41" fmla="*/ 946008 w 1044791"/>
                      <a:gd name="connsiteY41" fmla="*/ 1496280 h 1497881"/>
                      <a:gd name="connsiteX42" fmla="*/ 983819 w 1044791"/>
                      <a:gd name="connsiteY42" fmla="*/ 1496472 h 1497881"/>
                      <a:gd name="connsiteX43" fmla="*/ 996615 w 1044791"/>
                      <a:gd name="connsiteY43" fmla="*/ 1496536 h 1497881"/>
                      <a:gd name="connsiteX44" fmla="*/ 983755 w 1044791"/>
                      <a:gd name="connsiteY44" fmla="*/ 1496728 h 1497881"/>
                      <a:gd name="connsiteX45" fmla="*/ 945944 w 1044791"/>
                      <a:gd name="connsiteY45" fmla="*/ 1496919 h 1497881"/>
                      <a:gd name="connsiteX46" fmla="*/ 800519 w 1044791"/>
                      <a:gd name="connsiteY46" fmla="*/ 1497239 h 1497881"/>
                      <a:gd name="connsiteX47" fmla="*/ 265526 w 1044791"/>
                      <a:gd name="connsiteY47" fmla="*/ 1497751 h 1497881"/>
                      <a:gd name="connsiteX48" fmla="*/ 88240 w 1044791"/>
                      <a:gd name="connsiteY48" fmla="*/ 1497879 h 1497881"/>
                      <a:gd name="connsiteX49" fmla="*/ 65015 w 1044791"/>
                      <a:gd name="connsiteY49" fmla="*/ 1497879 h 1497881"/>
                      <a:gd name="connsiteX50" fmla="*/ 53307 w 1044791"/>
                      <a:gd name="connsiteY50" fmla="*/ 1497879 h 1497881"/>
                      <a:gd name="connsiteX51" fmla="*/ 41407 w 1044791"/>
                      <a:gd name="connsiteY51" fmla="*/ 1497367 h 1497881"/>
                      <a:gd name="connsiteX52" fmla="*/ 4171 w 1044791"/>
                      <a:gd name="connsiteY52" fmla="*/ 1468961 h 1497881"/>
                      <a:gd name="connsiteX53" fmla="*/ 268 w 1044791"/>
                      <a:gd name="connsiteY53" fmla="*/ 1444776 h 1497881"/>
                      <a:gd name="connsiteX54" fmla="*/ 268 w 1044791"/>
                      <a:gd name="connsiteY54" fmla="*/ 1420400 h 1497881"/>
                      <a:gd name="connsiteX55" fmla="*/ 268 w 1044791"/>
                      <a:gd name="connsiteY55" fmla="*/ 1371009 h 1497881"/>
                      <a:gd name="connsiteX56" fmla="*/ 141 w 1044791"/>
                      <a:gd name="connsiteY56" fmla="*/ 946891 h 1497881"/>
                      <a:gd name="connsiteX57" fmla="*/ 12 w 1044791"/>
                      <a:gd name="connsiteY57" fmla="*/ 478244 h 1497881"/>
                      <a:gd name="connsiteX58" fmla="*/ 12 w 1044791"/>
                      <a:gd name="connsiteY58" fmla="*/ 230325 h 1497881"/>
                      <a:gd name="connsiteX59" fmla="*/ 12 w 1044791"/>
                      <a:gd name="connsiteY59" fmla="*/ 103518 h 1497881"/>
                      <a:gd name="connsiteX60" fmla="*/ 12 w 1044791"/>
                      <a:gd name="connsiteY60" fmla="*/ 71529 h 1497881"/>
                      <a:gd name="connsiteX61" fmla="*/ 12 w 1044791"/>
                      <a:gd name="connsiteY61" fmla="*/ 55534 h 1497881"/>
                      <a:gd name="connsiteX62" fmla="*/ 844 w 1044791"/>
                      <a:gd name="connsiteY62" fmla="*/ 39219 h 1497881"/>
                      <a:gd name="connsiteX63" fmla="*/ 17415 w 1044791"/>
                      <a:gd name="connsiteY63" fmla="*/ 11068 h 1497881"/>
                      <a:gd name="connsiteX64" fmla="*/ 48253 w 1044791"/>
                      <a:gd name="connsiteY64" fmla="*/ 0 h 1497881"/>
                      <a:gd name="connsiteX65" fmla="*/ 551320 w 1044791"/>
                      <a:gd name="connsiteY65" fmla="*/ 64 h 1497881"/>
                      <a:gd name="connsiteX66" fmla="*/ 790538 w 1044791"/>
                      <a:gd name="connsiteY66" fmla="*/ 128 h 1497881"/>
                      <a:gd name="connsiteX67" fmla="*/ 906533 w 1044791"/>
                      <a:gd name="connsiteY67" fmla="*/ 128 h 1497881"/>
                      <a:gd name="connsiteX68" fmla="*/ 963538 w 1044791"/>
                      <a:gd name="connsiteY68" fmla="*/ 128 h 1497881"/>
                      <a:gd name="connsiteX69" fmla="*/ 991817 w 1044791"/>
                      <a:gd name="connsiteY69" fmla="*/ 128 h 1497881"/>
                      <a:gd name="connsiteX70" fmla="*/ 1006148 w 1044791"/>
                      <a:gd name="connsiteY70" fmla="*/ 1088 h 1497881"/>
                      <a:gd name="connsiteX71" fmla="*/ 1019712 w 1044791"/>
                      <a:gd name="connsiteY71" fmla="*/ 5950 h 1497881"/>
                      <a:gd name="connsiteX72" fmla="*/ 1039481 w 1044791"/>
                      <a:gd name="connsiteY72" fmla="*/ 26295 h 1497881"/>
                      <a:gd name="connsiteX73" fmla="*/ 1044024 w 1044791"/>
                      <a:gd name="connsiteY73" fmla="*/ 39859 h 1497881"/>
                      <a:gd name="connsiteX74" fmla="*/ 1044791 w 1044791"/>
                      <a:gd name="connsiteY74" fmla="*/ 53934 h 1497881"/>
                      <a:gd name="connsiteX75" fmla="*/ 1044791 w 1044791"/>
                      <a:gd name="connsiteY75" fmla="*/ 108892 h 1497881"/>
                      <a:gd name="connsiteX76" fmla="*/ 1044727 w 1044791"/>
                      <a:gd name="connsiteY76" fmla="*/ 216505 h 1497881"/>
                      <a:gd name="connsiteX77" fmla="*/ 1044664 w 1044791"/>
                      <a:gd name="connsiteY77" fmla="*/ 422326 h 1497881"/>
                      <a:gd name="connsiteX78" fmla="*/ 1044471 w 1044791"/>
                      <a:gd name="connsiteY78" fmla="*/ 791806 h 1497881"/>
                      <a:gd name="connsiteX79" fmla="*/ 1043960 w 1044791"/>
                      <a:gd name="connsiteY79" fmla="*/ 1326799 h 1497881"/>
                      <a:gd name="connsiteX80" fmla="*/ 1043832 w 1044791"/>
                      <a:gd name="connsiteY80" fmla="*/ 1410740 h 1497881"/>
                      <a:gd name="connsiteX81" fmla="*/ 1043768 w 1044791"/>
                      <a:gd name="connsiteY81" fmla="*/ 1444393 h 1497881"/>
                      <a:gd name="connsiteX82" fmla="*/ 1042808 w 1044791"/>
                      <a:gd name="connsiteY82" fmla="*/ 1459108 h 1497881"/>
                      <a:gd name="connsiteX83" fmla="*/ 1038393 w 1044791"/>
                      <a:gd name="connsiteY83" fmla="*/ 1471584 h 1497881"/>
                      <a:gd name="connsiteX84" fmla="*/ 1009667 w 1044791"/>
                      <a:gd name="connsiteY84" fmla="*/ 1494872 h 1497881"/>
                      <a:gd name="connsiteX85" fmla="*/ 1000134 w 1044791"/>
                      <a:gd name="connsiteY85" fmla="*/ 1496408 h 1497881"/>
                      <a:gd name="connsiteX86" fmla="*/ 996615 w 1044791"/>
                      <a:gd name="connsiteY86" fmla="*/ 1496536 h 14978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</a:cxnLst>
                    <a:rect l="l" t="t" r="r" b="b"/>
                    <a:pathLst>
                      <a:path w="1044791" h="1497881">
                        <a:moveTo>
                          <a:pt x="996615" y="1496536"/>
                        </a:moveTo>
                        <a:cubicBezTo>
                          <a:pt x="996615" y="1496536"/>
                          <a:pt x="997703" y="1496408"/>
                          <a:pt x="999878" y="1496280"/>
                        </a:cubicBezTo>
                        <a:cubicBezTo>
                          <a:pt x="1001989" y="1496152"/>
                          <a:pt x="1005252" y="1495768"/>
                          <a:pt x="1009283" y="1494552"/>
                        </a:cubicBezTo>
                        <a:cubicBezTo>
                          <a:pt x="1017216" y="1492313"/>
                          <a:pt x="1029692" y="1486171"/>
                          <a:pt x="1037562" y="1471328"/>
                        </a:cubicBezTo>
                        <a:cubicBezTo>
                          <a:pt x="1039481" y="1467681"/>
                          <a:pt x="1040889" y="1463522"/>
                          <a:pt x="1041849" y="1458980"/>
                        </a:cubicBezTo>
                        <a:cubicBezTo>
                          <a:pt x="1042744" y="1454437"/>
                          <a:pt x="1042744" y="1449575"/>
                          <a:pt x="1042680" y="1444457"/>
                        </a:cubicBezTo>
                        <a:cubicBezTo>
                          <a:pt x="1042680" y="1434220"/>
                          <a:pt x="1042616" y="1422960"/>
                          <a:pt x="1042616" y="1410804"/>
                        </a:cubicBezTo>
                        <a:cubicBezTo>
                          <a:pt x="1042552" y="1386492"/>
                          <a:pt x="1042488" y="1358405"/>
                          <a:pt x="1042488" y="1326863"/>
                        </a:cubicBezTo>
                        <a:cubicBezTo>
                          <a:pt x="1042360" y="1200504"/>
                          <a:pt x="1042168" y="1017716"/>
                          <a:pt x="1041976" y="791870"/>
                        </a:cubicBezTo>
                        <a:cubicBezTo>
                          <a:pt x="1041913" y="678947"/>
                          <a:pt x="1041849" y="555211"/>
                          <a:pt x="1041784" y="422390"/>
                        </a:cubicBezTo>
                        <a:cubicBezTo>
                          <a:pt x="1041784" y="355980"/>
                          <a:pt x="1041720" y="287330"/>
                          <a:pt x="1041720" y="216569"/>
                        </a:cubicBezTo>
                        <a:cubicBezTo>
                          <a:pt x="1041720" y="181189"/>
                          <a:pt x="1041720" y="145297"/>
                          <a:pt x="1041656" y="108956"/>
                        </a:cubicBezTo>
                        <a:cubicBezTo>
                          <a:pt x="1041656" y="90786"/>
                          <a:pt x="1041656" y="72424"/>
                          <a:pt x="1041656" y="53998"/>
                        </a:cubicBezTo>
                        <a:cubicBezTo>
                          <a:pt x="1041592" y="49328"/>
                          <a:pt x="1041849" y="44849"/>
                          <a:pt x="1040953" y="40435"/>
                        </a:cubicBezTo>
                        <a:cubicBezTo>
                          <a:pt x="1040121" y="36084"/>
                          <a:pt x="1038841" y="31734"/>
                          <a:pt x="1036730" y="27767"/>
                        </a:cubicBezTo>
                        <a:cubicBezTo>
                          <a:pt x="1032700" y="19770"/>
                          <a:pt x="1026045" y="13116"/>
                          <a:pt x="1018176" y="8701"/>
                        </a:cubicBezTo>
                        <a:cubicBezTo>
                          <a:pt x="1014210" y="6590"/>
                          <a:pt x="1009923" y="5054"/>
                          <a:pt x="1005444" y="4159"/>
                        </a:cubicBezTo>
                        <a:cubicBezTo>
                          <a:pt x="1000966" y="3263"/>
                          <a:pt x="996487" y="3263"/>
                          <a:pt x="991753" y="3327"/>
                        </a:cubicBezTo>
                        <a:cubicBezTo>
                          <a:pt x="982348" y="3327"/>
                          <a:pt x="972943" y="3327"/>
                          <a:pt x="963474" y="3327"/>
                        </a:cubicBezTo>
                        <a:cubicBezTo>
                          <a:pt x="944600" y="3327"/>
                          <a:pt x="925598" y="3327"/>
                          <a:pt x="906469" y="3327"/>
                        </a:cubicBezTo>
                        <a:cubicBezTo>
                          <a:pt x="868209" y="3327"/>
                          <a:pt x="829566" y="3327"/>
                          <a:pt x="790474" y="3327"/>
                        </a:cubicBezTo>
                        <a:cubicBezTo>
                          <a:pt x="712292" y="3327"/>
                          <a:pt x="632510" y="3327"/>
                          <a:pt x="551257" y="3391"/>
                        </a:cubicBezTo>
                        <a:cubicBezTo>
                          <a:pt x="388750" y="3391"/>
                          <a:pt x="220485" y="3391"/>
                          <a:pt x="48189" y="3455"/>
                        </a:cubicBezTo>
                        <a:cubicBezTo>
                          <a:pt x="37760" y="3519"/>
                          <a:pt x="27460" y="7166"/>
                          <a:pt x="19462" y="13755"/>
                        </a:cubicBezTo>
                        <a:cubicBezTo>
                          <a:pt x="11465" y="20409"/>
                          <a:pt x="5962" y="29814"/>
                          <a:pt x="4043" y="39923"/>
                        </a:cubicBezTo>
                        <a:cubicBezTo>
                          <a:pt x="2956" y="44977"/>
                          <a:pt x="3339" y="50224"/>
                          <a:pt x="3211" y="55598"/>
                        </a:cubicBezTo>
                        <a:lnTo>
                          <a:pt x="3211" y="71593"/>
                        </a:lnTo>
                        <a:cubicBezTo>
                          <a:pt x="3211" y="82277"/>
                          <a:pt x="3211" y="92898"/>
                          <a:pt x="3211" y="103582"/>
                        </a:cubicBezTo>
                        <a:cubicBezTo>
                          <a:pt x="3211" y="146128"/>
                          <a:pt x="3211" y="188418"/>
                          <a:pt x="3211" y="230389"/>
                        </a:cubicBezTo>
                        <a:cubicBezTo>
                          <a:pt x="3211" y="314329"/>
                          <a:pt x="3211" y="397054"/>
                          <a:pt x="3211" y="478308"/>
                        </a:cubicBezTo>
                        <a:cubicBezTo>
                          <a:pt x="3148" y="640815"/>
                          <a:pt x="3148" y="797628"/>
                          <a:pt x="3084" y="946955"/>
                        </a:cubicBezTo>
                        <a:cubicBezTo>
                          <a:pt x="3019" y="1096282"/>
                          <a:pt x="2956" y="1238252"/>
                          <a:pt x="2956" y="1371073"/>
                        </a:cubicBezTo>
                        <a:cubicBezTo>
                          <a:pt x="2956" y="1387707"/>
                          <a:pt x="2956" y="1404150"/>
                          <a:pt x="2956" y="1420465"/>
                        </a:cubicBezTo>
                        <a:cubicBezTo>
                          <a:pt x="2956" y="1428590"/>
                          <a:pt x="2956" y="1436715"/>
                          <a:pt x="2956" y="1444841"/>
                        </a:cubicBezTo>
                        <a:cubicBezTo>
                          <a:pt x="2700" y="1452966"/>
                          <a:pt x="3467" y="1460707"/>
                          <a:pt x="6602" y="1467937"/>
                        </a:cubicBezTo>
                        <a:cubicBezTo>
                          <a:pt x="12744" y="1482268"/>
                          <a:pt x="26564" y="1492889"/>
                          <a:pt x="41791" y="1494808"/>
                        </a:cubicBezTo>
                        <a:cubicBezTo>
                          <a:pt x="45566" y="1495384"/>
                          <a:pt x="49404" y="1495320"/>
                          <a:pt x="53371" y="1495320"/>
                        </a:cubicBezTo>
                        <a:lnTo>
                          <a:pt x="65079" y="1495320"/>
                        </a:lnTo>
                        <a:cubicBezTo>
                          <a:pt x="72885" y="1495320"/>
                          <a:pt x="80626" y="1495320"/>
                          <a:pt x="88304" y="1495320"/>
                        </a:cubicBezTo>
                        <a:cubicBezTo>
                          <a:pt x="149980" y="1495384"/>
                          <a:pt x="209096" y="1495384"/>
                          <a:pt x="265590" y="1495448"/>
                        </a:cubicBezTo>
                        <a:cubicBezTo>
                          <a:pt x="491436" y="1495640"/>
                          <a:pt x="674224" y="1495832"/>
                          <a:pt x="800583" y="1495960"/>
                        </a:cubicBezTo>
                        <a:cubicBezTo>
                          <a:pt x="863731" y="1496088"/>
                          <a:pt x="912739" y="1496216"/>
                          <a:pt x="946008" y="1496280"/>
                        </a:cubicBezTo>
                        <a:cubicBezTo>
                          <a:pt x="962578" y="1496344"/>
                          <a:pt x="975246" y="1496408"/>
                          <a:pt x="983819" y="1496472"/>
                        </a:cubicBezTo>
                        <a:cubicBezTo>
                          <a:pt x="992265" y="1496472"/>
                          <a:pt x="996615" y="1496536"/>
                          <a:pt x="996615" y="1496536"/>
                        </a:cubicBezTo>
                        <a:cubicBezTo>
                          <a:pt x="996615" y="1496536"/>
                          <a:pt x="992265" y="1496664"/>
                          <a:pt x="983755" y="1496728"/>
                        </a:cubicBezTo>
                        <a:cubicBezTo>
                          <a:pt x="975182" y="1496792"/>
                          <a:pt x="962514" y="1496792"/>
                          <a:pt x="945944" y="1496919"/>
                        </a:cubicBezTo>
                        <a:cubicBezTo>
                          <a:pt x="912675" y="1496983"/>
                          <a:pt x="863602" y="1497111"/>
                          <a:pt x="800519" y="1497239"/>
                        </a:cubicBezTo>
                        <a:cubicBezTo>
                          <a:pt x="674160" y="1497367"/>
                          <a:pt x="491372" y="1497559"/>
                          <a:pt x="265526" y="1497751"/>
                        </a:cubicBezTo>
                        <a:cubicBezTo>
                          <a:pt x="209032" y="1497815"/>
                          <a:pt x="149915" y="1497815"/>
                          <a:pt x="88240" y="1497879"/>
                        </a:cubicBezTo>
                        <a:cubicBezTo>
                          <a:pt x="80562" y="1497879"/>
                          <a:pt x="72757" y="1497879"/>
                          <a:pt x="65015" y="1497879"/>
                        </a:cubicBezTo>
                        <a:lnTo>
                          <a:pt x="53307" y="1497879"/>
                        </a:lnTo>
                        <a:cubicBezTo>
                          <a:pt x="49468" y="1497879"/>
                          <a:pt x="45438" y="1497943"/>
                          <a:pt x="41407" y="1497367"/>
                        </a:cubicBezTo>
                        <a:cubicBezTo>
                          <a:pt x="25284" y="1495384"/>
                          <a:pt x="10633" y="1484188"/>
                          <a:pt x="4171" y="1468961"/>
                        </a:cubicBezTo>
                        <a:cubicBezTo>
                          <a:pt x="844" y="1461411"/>
                          <a:pt x="12" y="1452774"/>
                          <a:pt x="268" y="1444776"/>
                        </a:cubicBezTo>
                        <a:cubicBezTo>
                          <a:pt x="268" y="1436715"/>
                          <a:pt x="268" y="1428590"/>
                          <a:pt x="268" y="1420400"/>
                        </a:cubicBezTo>
                        <a:cubicBezTo>
                          <a:pt x="268" y="1404086"/>
                          <a:pt x="268" y="1387643"/>
                          <a:pt x="268" y="1371009"/>
                        </a:cubicBezTo>
                        <a:cubicBezTo>
                          <a:pt x="204" y="1238188"/>
                          <a:pt x="141" y="1096282"/>
                          <a:pt x="141" y="946891"/>
                        </a:cubicBezTo>
                        <a:cubicBezTo>
                          <a:pt x="141" y="797564"/>
                          <a:pt x="76" y="640751"/>
                          <a:pt x="12" y="478244"/>
                        </a:cubicBezTo>
                        <a:cubicBezTo>
                          <a:pt x="12" y="396990"/>
                          <a:pt x="12" y="314265"/>
                          <a:pt x="12" y="230325"/>
                        </a:cubicBezTo>
                        <a:cubicBezTo>
                          <a:pt x="12" y="188355"/>
                          <a:pt x="12" y="146064"/>
                          <a:pt x="12" y="103518"/>
                        </a:cubicBezTo>
                        <a:cubicBezTo>
                          <a:pt x="12" y="92898"/>
                          <a:pt x="12" y="82213"/>
                          <a:pt x="12" y="71529"/>
                        </a:cubicBezTo>
                        <a:lnTo>
                          <a:pt x="12" y="55534"/>
                        </a:lnTo>
                        <a:cubicBezTo>
                          <a:pt x="76" y="50288"/>
                          <a:pt x="-307" y="44721"/>
                          <a:pt x="844" y="39219"/>
                        </a:cubicBezTo>
                        <a:cubicBezTo>
                          <a:pt x="2892" y="28343"/>
                          <a:pt x="8842" y="18170"/>
                          <a:pt x="17415" y="11068"/>
                        </a:cubicBezTo>
                        <a:cubicBezTo>
                          <a:pt x="25988" y="3967"/>
                          <a:pt x="37120" y="0"/>
                          <a:pt x="48253" y="0"/>
                        </a:cubicBezTo>
                        <a:cubicBezTo>
                          <a:pt x="220548" y="0"/>
                          <a:pt x="388814" y="0"/>
                          <a:pt x="551320" y="64"/>
                        </a:cubicBezTo>
                        <a:cubicBezTo>
                          <a:pt x="632574" y="64"/>
                          <a:pt x="712356" y="64"/>
                          <a:pt x="790538" y="128"/>
                        </a:cubicBezTo>
                        <a:cubicBezTo>
                          <a:pt x="829630" y="128"/>
                          <a:pt x="868273" y="128"/>
                          <a:pt x="906533" y="128"/>
                        </a:cubicBezTo>
                        <a:cubicBezTo>
                          <a:pt x="925662" y="128"/>
                          <a:pt x="944664" y="128"/>
                          <a:pt x="963538" y="128"/>
                        </a:cubicBezTo>
                        <a:cubicBezTo>
                          <a:pt x="973007" y="128"/>
                          <a:pt x="982412" y="128"/>
                          <a:pt x="991817" y="128"/>
                        </a:cubicBezTo>
                        <a:cubicBezTo>
                          <a:pt x="996423" y="128"/>
                          <a:pt x="1001350" y="128"/>
                          <a:pt x="1006148" y="1088"/>
                        </a:cubicBezTo>
                        <a:cubicBezTo>
                          <a:pt x="1010882" y="2111"/>
                          <a:pt x="1015489" y="3711"/>
                          <a:pt x="1019712" y="5950"/>
                        </a:cubicBezTo>
                        <a:cubicBezTo>
                          <a:pt x="1028157" y="10621"/>
                          <a:pt x="1035194" y="17722"/>
                          <a:pt x="1039481" y="26295"/>
                        </a:cubicBezTo>
                        <a:cubicBezTo>
                          <a:pt x="1041784" y="30518"/>
                          <a:pt x="1043128" y="35189"/>
                          <a:pt x="1044024" y="39859"/>
                        </a:cubicBezTo>
                        <a:cubicBezTo>
                          <a:pt x="1044983" y="44593"/>
                          <a:pt x="1044727" y="49392"/>
                          <a:pt x="1044791" y="53934"/>
                        </a:cubicBezTo>
                        <a:cubicBezTo>
                          <a:pt x="1044791" y="72360"/>
                          <a:pt x="1044791" y="90658"/>
                          <a:pt x="1044791" y="108892"/>
                        </a:cubicBezTo>
                        <a:cubicBezTo>
                          <a:pt x="1044791" y="145297"/>
                          <a:pt x="1044791" y="181189"/>
                          <a:pt x="1044727" y="216505"/>
                        </a:cubicBezTo>
                        <a:cubicBezTo>
                          <a:pt x="1044727" y="287266"/>
                          <a:pt x="1044664" y="355916"/>
                          <a:pt x="1044664" y="422326"/>
                        </a:cubicBezTo>
                        <a:cubicBezTo>
                          <a:pt x="1044600" y="555147"/>
                          <a:pt x="1044536" y="678818"/>
                          <a:pt x="1044471" y="791806"/>
                        </a:cubicBezTo>
                        <a:cubicBezTo>
                          <a:pt x="1044280" y="1017652"/>
                          <a:pt x="1044088" y="1200440"/>
                          <a:pt x="1043960" y="1326799"/>
                        </a:cubicBezTo>
                        <a:cubicBezTo>
                          <a:pt x="1043896" y="1358405"/>
                          <a:pt x="1043832" y="1386428"/>
                          <a:pt x="1043832" y="1410740"/>
                        </a:cubicBezTo>
                        <a:cubicBezTo>
                          <a:pt x="1043832" y="1422896"/>
                          <a:pt x="1043768" y="1434092"/>
                          <a:pt x="1043768" y="1444393"/>
                        </a:cubicBezTo>
                        <a:cubicBezTo>
                          <a:pt x="1043768" y="1449511"/>
                          <a:pt x="1043768" y="1454501"/>
                          <a:pt x="1042808" y="1459108"/>
                        </a:cubicBezTo>
                        <a:cubicBezTo>
                          <a:pt x="1041784" y="1463650"/>
                          <a:pt x="1040377" y="1467937"/>
                          <a:pt x="1038393" y="1471584"/>
                        </a:cubicBezTo>
                        <a:cubicBezTo>
                          <a:pt x="1030332" y="1486555"/>
                          <a:pt x="1017664" y="1492633"/>
                          <a:pt x="1009667" y="1494872"/>
                        </a:cubicBezTo>
                        <a:cubicBezTo>
                          <a:pt x="1005572" y="1496024"/>
                          <a:pt x="1002309" y="1496344"/>
                          <a:pt x="1000134" y="1496408"/>
                        </a:cubicBezTo>
                        <a:cubicBezTo>
                          <a:pt x="997767" y="1496536"/>
                          <a:pt x="996615" y="1496536"/>
                          <a:pt x="996615" y="1496536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63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F8B7290C-E4ED-4C28-93B7-72AEA2F68B1A}"/>
                    </a:ext>
                  </a:extLst>
                </p:cNvPr>
                <p:cNvSpPr/>
                <p:nvPr/>
              </p:nvSpPr>
              <p:spPr>
                <a:xfrm>
                  <a:off x="9737376" y="1378180"/>
                  <a:ext cx="1043703" cy="1496729"/>
                </a:xfrm>
                <a:custGeom>
                  <a:avLst/>
                  <a:gdLst>
                    <a:gd name="connsiteX0" fmla="*/ 996103 w 1043703"/>
                    <a:gd name="connsiteY0" fmla="*/ 1495896 h 1496729"/>
                    <a:gd name="connsiteX1" fmla="*/ 999366 w 1043703"/>
                    <a:gd name="connsiteY1" fmla="*/ 1495704 h 1496729"/>
                    <a:gd name="connsiteX2" fmla="*/ 1003333 w 1043703"/>
                    <a:gd name="connsiteY2" fmla="*/ 1495192 h 1496729"/>
                    <a:gd name="connsiteX3" fmla="*/ 1008771 w 1043703"/>
                    <a:gd name="connsiteY3" fmla="*/ 1493977 h 1496729"/>
                    <a:gd name="connsiteX4" fmla="*/ 1022911 w 1043703"/>
                    <a:gd name="connsiteY4" fmla="*/ 1487131 h 1496729"/>
                    <a:gd name="connsiteX5" fmla="*/ 1037114 w 1043703"/>
                    <a:gd name="connsiteY5" fmla="*/ 1470752 h 1496729"/>
                    <a:gd name="connsiteX6" fmla="*/ 1041464 w 1043703"/>
                    <a:gd name="connsiteY6" fmla="*/ 1458404 h 1496729"/>
                    <a:gd name="connsiteX7" fmla="*/ 1042296 w 1043703"/>
                    <a:gd name="connsiteY7" fmla="*/ 1443817 h 1496729"/>
                    <a:gd name="connsiteX8" fmla="*/ 1042232 w 1043703"/>
                    <a:gd name="connsiteY8" fmla="*/ 1410164 h 1496729"/>
                    <a:gd name="connsiteX9" fmla="*/ 1042104 w 1043703"/>
                    <a:gd name="connsiteY9" fmla="*/ 1326223 h 1496729"/>
                    <a:gd name="connsiteX10" fmla="*/ 1041785 w 1043703"/>
                    <a:gd name="connsiteY10" fmla="*/ 791230 h 1496729"/>
                    <a:gd name="connsiteX11" fmla="*/ 1041657 w 1043703"/>
                    <a:gd name="connsiteY11" fmla="*/ 421750 h 1496729"/>
                    <a:gd name="connsiteX12" fmla="*/ 1041592 w 1043703"/>
                    <a:gd name="connsiteY12" fmla="*/ 215930 h 1496729"/>
                    <a:gd name="connsiteX13" fmla="*/ 1041592 w 1043703"/>
                    <a:gd name="connsiteY13" fmla="*/ 108317 h 1496729"/>
                    <a:gd name="connsiteX14" fmla="*/ 1041592 w 1043703"/>
                    <a:gd name="connsiteY14" fmla="*/ 53359 h 1496729"/>
                    <a:gd name="connsiteX15" fmla="*/ 1040889 w 1043703"/>
                    <a:gd name="connsiteY15" fmla="*/ 39731 h 1496729"/>
                    <a:gd name="connsiteX16" fmla="*/ 1036602 w 1043703"/>
                    <a:gd name="connsiteY16" fmla="*/ 26871 h 1496729"/>
                    <a:gd name="connsiteX17" fmla="*/ 1017792 w 1043703"/>
                    <a:gd name="connsiteY17" fmla="*/ 7550 h 1496729"/>
                    <a:gd name="connsiteX18" fmla="*/ 1004933 w 1043703"/>
                    <a:gd name="connsiteY18" fmla="*/ 2943 h 1496729"/>
                    <a:gd name="connsiteX19" fmla="*/ 991113 w 1043703"/>
                    <a:gd name="connsiteY19" fmla="*/ 2047 h 1496729"/>
                    <a:gd name="connsiteX20" fmla="*/ 962834 w 1043703"/>
                    <a:gd name="connsiteY20" fmla="*/ 2047 h 1496729"/>
                    <a:gd name="connsiteX21" fmla="*/ 905829 w 1043703"/>
                    <a:gd name="connsiteY21" fmla="*/ 2047 h 1496729"/>
                    <a:gd name="connsiteX22" fmla="*/ 789835 w 1043703"/>
                    <a:gd name="connsiteY22" fmla="*/ 2047 h 1496729"/>
                    <a:gd name="connsiteX23" fmla="*/ 550617 w 1043703"/>
                    <a:gd name="connsiteY23" fmla="*/ 2047 h 1496729"/>
                    <a:gd name="connsiteX24" fmla="*/ 47549 w 1043703"/>
                    <a:gd name="connsiteY24" fmla="*/ 2047 h 1496729"/>
                    <a:gd name="connsiteX25" fmla="*/ 18439 w 1043703"/>
                    <a:gd name="connsiteY25" fmla="*/ 12476 h 1496729"/>
                    <a:gd name="connsiteX26" fmla="*/ 2828 w 1043703"/>
                    <a:gd name="connsiteY26" fmla="*/ 39027 h 1496729"/>
                    <a:gd name="connsiteX27" fmla="*/ 1996 w 1043703"/>
                    <a:gd name="connsiteY27" fmla="*/ 54830 h 1496729"/>
                    <a:gd name="connsiteX28" fmla="*/ 1996 w 1043703"/>
                    <a:gd name="connsiteY28" fmla="*/ 70825 h 1496729"/>
                    <a:gd name="connsiteX29" fmla="*/ 1996 w 1043703"/>
                    <a:gd name="connsiteY29" fmla="*/ 102814 h 1496729"/>
                    <a:gd name="connsiteX30" fmla="*/ 1996 w 1043703"/>
                    <a:gd name="connsiteY30" fmla="*/ 229621 h 1496729"/>
                    <a:gd name="connsiteX31" fmla="*/ 1996 w 1043703"/>
                    <a:gd name="connsiteY31" fmla="*/ 477540 h 1496729"/>
                    <a:gd name="connsiteX32" fmla="*/ 1932 w 1043703"/>
                    <a:gd name="connsiteY32" fmla="*/ 946187 h 1496729"/>
                    <a:gd name="connsiteX33" fmla="*/ 1804 w 1043703"/>
                    <a:gd name="connsiteY33" fmla="*/ 1370305 h 1496729"/>
                    <a:gd name="connsiteX34" fmla="*/ 1804 w 1043703"/>
                    <a:gd name="connsiteY34" fmla="*/ 1419697 h 1496729"/>
                    <a:gd name="connsiteX35" fmla="*/ 1804 w 1043703"/>
                    <a:gd name="connsiteY35" fmla="*/ 1444073 h 1496729"/>
                    <a:gd name="connsiteX36" fmla="*/ 2316 w 1043703"/>
                    <a:gd name="connsiteY36" fmla="*/ 1456037 h 1496729"/>
                    <a:gd name="connsiteX37" fmla="*/ 5515 w 1043703"/>
                    <a:gd name="connsiteY37" fmla="*/ 1467361 h 1496729"/>
                    <a:gd name="connsiteX38" fmla="*/ 41087 w 1043703"/>
                    <a:gd name="connsiteY38" fmla="*/ 1494488 h 1496729"/>
                    <a:gd name="connsiteX39" fmla="*/ 52731 w 1043703"/>
                    <a:gd name="connsiteY39" fmla="*/ 1495000 h 1496729"/>
                    <a:gd name="connsiteX40" fmla="*/ 64439 w 1043703"/>
                    <a:gd name="connsiteY40" fmla="*/ 1495000 h 1496729"/>
                    <a:gd name="connsiteX41" fmla="*/ 87664 w 1043703"/>
                    <a:gd name="connsiteY41" fmla="*/ 1495000 h 1496729"/>
                    <a:gd name="connsiteX42" fmla="*/ 264950 w 1043703"/>
                    <a:gd name="connsiteY42" fmla="*/ 1495064 h 1496729"/>
                    <a:gd name="connsiteX43" fmla="*/ 799943 w 1043703"/>
                    <a:gd name="connsiteY43" fmla="*/ 1495384 h 1496729"/>
                    <a:gd name="connsiteX44" fmla="*/ 945368 w 1043703"/>
                    <a:gd name="connsiteY44" fmla="*/ 1495576 h 1496729"/>
                    <a:gd name="connsiteX45" fmla="*/ 983180 w 1043703"/>
                    <a:gd name="connsiteY45" fmla="*/ 1495704 h 1496729"/>
                    <a:gd name="connsiteX46" fmla="*/ 996103 w 1043703"/>
                    <a:gd name="connsiteY46" fmla="*/ 1495896 h 1496729"/>
                    <a:gd name="connsiteX47" fmla="*/ 983244 w 1043703"/>
                    <a:gd name="connsiteY47" fmla="*/ 1496024 h 1496729"/>
                    <a:gd name="connsiteX48" fmla="*/ 945432 w 1043703"/>
                    <a:gd name="connsiteY48" fmla="*/ 1496152 h 1496729"/>
                    <a:gd name="connsiteX49" fmla="*/ 800007 w 1043703"/>
                    <a:gd name="connsiteY49" fmla="*/ 1496344 h 1496729"/>
                    <a:gd name="connsiteX50" fmla="*/ 265014 w 1043703"/>
                    <a:gd name="connsiteY50" fmla="*/ 1496664 h 1496729"/>
                    <a:gd name="connsiteX51" fmla="*/ 87728 w 1043703"/>
                    <a:gd name="connsiteY51" fmla="*/ 1496728 h 1496729"/>
                    <a:gd name="connsiteX52" fmla="*/ 64503 w 1043703"/>
                    <a:gd name="connsiteY52" fmla="*/ 1496728 h 1496729"/>
                    <a:gd name="connsiteX53" fmla="*/ 52795 w 1043703"/>
                    <a:gd name="connsiteY53" fmla="*/ 1496728 h 1496729"/>
                    <a:gd name="connsiteX54" fmla="*/ 40959 w 1043703"/>
                    <a:gd name="connsiteY54" fmla="*/ 1496216 h 1496729"/>
                    <a:gd name="connsiteX55" fmla="*/ 4107 w 1043703"/>
                    <a:gd name="connsiteY55" fmla="*/ 1468129 h 1496729"/>
                    <a:gd name="connsiteX56" fmla="*/ 780 w 1043703"/>
                    <a:gd name="connsiteY56" fmla="*/ 1456357 h 1496729"/>
                    <a:gd name="connsiteX57" fmla="*/ 205 w 1043703"/>
                    <a:gd name="connsiteY57" fmla="*/ 1444137 h 1496729"/>
                    <a:gd name="connsiteX58" fmla="*/ 205 w 1043703"/>
                    <a:gd name="connsiteY58" fmla="*/ 1419761 h 1496729"/>
                    <a:gd name="connsiteX59" fmla="*/ 205 w 1043703"/>
                    <a:gd name="connsiteY59" fmla="*/ 1370369 h 1496729"/>
                    <a:gd name="connsiteX60" fmla="*/ 76 w 1043703"/>
                    <a:gd name="connsiteY60" fmla="*/ 946251 h 1496729"/>
                    <a:gd name="connsiteX61" fmla="*/ 13 w 1043703"/>
                    <a:gd name="connsiteY61" fmla="*/ 477604 h 1496729"/>
                    <a:gd name="connsiteX62" fmla="*/ 13 w 1043703"/>
                    <a:gd name="connsiteY62" fmla="*/ 229685 h 1496729"/>
                    <a:gd name="connsiteX63" fmla="*/ 13 w 1043703"/>
                    <a:gd name="connsiteY63" fmla="*/ 102878 h 1496729"/>
                    <a:gd name="connsiteX64" fmla="*/ 13 w 1043703"/>
                    <a:gd name="connsiteY64" fmla="*/ 70889 h 1496729"/>
                    <a:gd name="connsiteX65" fmla="*/ 13 w 1043703"/>
                    <a:gd name="connsiteY65" fmla="*/ 54894 h 1496729"/>
                    <a:gd name="connsiteX66" fmla="*/ 844 w 1043703"/>
                    <a:gd name="connsiteY66" fmla="*/ 38707 h 1496729"/>
                    <a:gd name="connsiteX67" fmla="*/ 17223 w 1043703"/>
                    <a:gd name="connsiteY67" fmla="*/ 10940 h 1496729"/>
                    <a:gd name="connsiteX68" fmla="*/ 47677 w 1043703"/>
                    <a:gd name="connsiteY68" fmla="*/ 0 h 1496729"/>
                    <a:gd name="connsiteX69" fmla="*/ 550745 w 1043703"/>
                    <a:gd name="connsiteY69" fmla="*/ 0 h 1496729"/>
                    <a:gd name="connsiteX70" fmla="*/ 789963 w 1043703"/>
                    <a:gd name="connsiteY70" fmla="*/ 0 h 1496729"/>
                    <a:gd name="connsiteX71" fmla="*/ 905957 w 1043703"/>
                    <a:gd name="connsiteY71" fmla="*/ 0 h 1496729"/>
                    <a:gd name="connsiteX72" fmla="*/ 962962 w 1043703"/>
                    <a:gd name="connsiteY72" fmla="*/ 0 h 1496729"/>
                    <a:gd name="connsiteX73" fmla="*/ 991241 w 1043703"/>
                    <a:gd name="connsiteY73" fmla="*/ 0 h 1496729"/>
                    <a:gd name="connsiteX74" fmla="*/ 1005444 w 1043703"/>
                    <a:gd name="connsiteY74" fmla="*/ 896 h 1496729"/>
                    <a:gd name="connsiteX75" fmla="*/ 1018880 w 1043703"/>
                    <a:gd name="connsiteY75" fmla="*/ 5758 h 1496729"/>
                    <a:gd name="connsiteX76" fmla="*/ 1038458 w 1043703"/>
                    <a:gd name="connsiteY76" fmla="*/ 25848 h 1496729"/>
                    <a:gd name="connsiteX77" fmla="*/ 1042936 w 1043703"/>
                    <a:gd name="connsiteY77" fmla="*/ 39219 h 1496729"/>
                    <a:gd name="connsiteX78" fmla="*/ 1043704 w 1043703"/>
                    <a:gd name="connsiteY78" fmla="*/ 53167 h 1496729"/>
                    <a:gd name="connsiteX79" fmla="*/ 1043704 w 1043703"/>
                    <a:gd name="connsiteY79" fmla="*/ 108125 h 1496729"/>
                    <a:gd name="connsiteX80" fmla="*/ 1043704 w 1043703"/>
                    <a:gd name="connsiteY80" fmla="*/ 215738 h 1496729"/>
                    <a:gd name="connsiteX81" fmla="*/ 1043640 w 1043703"/>
                    <a:gd name="connsiteY81" fmla="*/ 421558 h 1496729"/>
                    <a:gd name="connsiteX82" fmla="*/ 1043512 w 1043703"/>
                    <a:gd name="connsiteY82" fmla="*/ 791038 h 1496729"/>
                    <a:gd name="connsiteX83" fmla="*/ 1043192 w 1043703"/>
                    <a:gd name="connsiteY83" fmla="*/ 1326031 h 1496729"/>
                    <a:gd name="connsiteX84" fmla="*/ 1043064 w 1043703"/>
                    <a:gd name="connsiteY84" fmla="*/ 1409972 h 1496729"/>
                    <a:gd name="connsiteX85" fmla="*/ 1043000 w 1043703"/>
                    <a:gd name="connsiteY85" fmla="*/ 1443625 h 1496729"/>
                    <a:gd name="connsiteX86" fmla="*/ 1042104 w 1043703"/>
                    <a:gd name="connsiteY86" fmla="*/ 1458276 h 1496729"/>
                    <a:gd name="connsiteX87" fmla="*/ 1037690 w 1043703"/>
                    <a:gd name="connsiteY87" fmla="*/ 1470752 h 1496729"/>
                    <a:gd name="connsiteX88" fmla="*/ 1023295 w 1043703"/>
                    <a:gd name="connsiteY88" fmla="*/ 1487195 h 1496729"/>
                    <a:gd name="connsiteX89" fmla="*/ 1009027 w 1043703"/>
                    <a:gd name="connsiteY89" fmla="*/ 1494041 h 1496729"/>
                    <a:gd name="connsiteX90" fmla="*/ 1003525 w 1043703"/>
                    <a:gd name="connsiteY90" fmla="*/ 1495192 h 1496729"/>
                    <a:gd name="connsiteX91" fmla="*/ 999494 w 1043703"/>
                    <a:gd name="connsiteY91" fmla="*/ 1495640 h 1496729"/>
                    <a:gd name="connsiteX92" fmla="*/ 996103 w 1043703"/>
                    <a:gd name="connsiteY92" fmla="*/ 1495896 h 1496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1043703" h="1496729">
                      <a:moveTo>
                        <a:pt x="996103" y="1495896"/>
                      </a:moveTo>
                      <a:cubicBezTo>
                        <a:pt x="996103" y="1495896"/>
                        <a:pt x="997191" y="1495832"/>
                        <a:pt x="999366" y="1495704"/>
                      </a:cubicBezTo>
                      <a:cubicBezTo>
                        <a:pt x="1000454" y="1495704"/>
                        <a:pt x="1001798" y="1495512"/>
                        <a:pt x="1003333" y="1495192"/>
                      </a:cubicBezTo>
                      <a:cubicBezTo>
                        <a:pt x="1004933" y="1495000"/>
                        <a:pt x="1006724" y="1494552"/>
                        <a:pt x="1008771" y="1493977"/>
                      </a:cubicBezTo>
                      <a:cubicBezTo>
                        <a:pt x="1012802" y="1492761"/>
                        <a:pt x="1017792" y="1490778"/>
                        <a:pt x="1022911" y="1487131"/>
                      </a:cubicBezTo>
                      <a:cubicBezTo>
                        <a:pt x="1027965" y="1483484"/>
                        <a:pt x="1033275" y="1478110"/>
                        <a:pt x="1037114" y="1470752"/>
                      </a:cubicBezTo>
                      <a:cubicBezTo>
                        <a:pt x="1039033" y="1467105"/>
                        <a:pt x="1040441" y="1462883"/>
                        <a:pt x="1041464" y="1458404"/>
                      </a:cubicBezTo>
                      <a:cubicBezTo>
                        <a:pt x="1042360" y="1453862"/>
                        <a:pt x="1042360" y="1448999"/>
                        <a:pt x="1042296" y="1443817"/>
                      </a:cubicBezTo>
                      <a:cubicBezTo>
                        <a:pt x="1042296" y="1433580"/>
                        <a:pt x="1042296" y="1422320"/>
                        <a:pt x="1042232" y="1410164"/>
                      </a:cubicBezTo>
                      <a:cubicBezTo>
                        <a:pt x="1042232" y="1385852"/>
                        <a:pt x="1042168" y="1357765"/>
                        <a:pt x="1042104" y="1326223"/>
                      </a:cubicBezTo>
                      <a:cubicBezTo>
                        <a:pt x="1042040" y="1199865"/>
                        <a:pt x="1041912" y="1017076"/>
                        <a:pt x="1041785" y="791230"/>
                      </a:cubicBezTo>
                      <a:cubicBezTo>
                        <a:pt x="1041721" y="678307"/>
                        <a:pt x="1041721" y="554571"/>
                        <a:pt x="1041657" y="421750"/>
                      </a:cubicBezTo>
                      <a:cubicBezTo>
                        <a:pt x="1041657" y="355340"/>
                        <a:pt x="1041592" y="286691"/>
                        <a:pt x="1041592" y="215930"/>
                      </a:cubicBezTo>
                      <a:cubicBezTo>
                        <a:pt x="1041592" y="180549"/>
                        <a:pt x="1041592" y="144657"/>
                        <a:pt x="1041592" y="108317"/>
                      </a:cubicBezTo>
                      <a:cubicBezTo>
                        <a:pt x="1041592" y="90147"/>
                        <a:pt x="1041592" y="71785"/>
                        <a:pt x="1041592" y="53359"/>
                      </a:cubicBezTo>
                      <a:cubicBezTo>
                        <a:pt x="1041528" y="48752"/>
                        <a:pt x="1041785" y="44146"/>
                        <a:pt x="1040889" y="39731"/>
                      </a:cubicBezTo>
                      <a:cubicBezTo>
                        <a:pt x="1040057" y="35317"/>
                        <a:pt x="1038777" y="30902"/>
                        <a:pt x="1036602" y="26871"/>
                      </a:cubicBezTo>
                      <a:cubicBezTo>
                        <a:pt x="1032508" y="18746"/>
                        <a:pt x="1025790" y="12028"/>
                        <a:pt x="1017792" y="7550"/>
                      </a:cubicBezTo>
                      <a:cubicBezTo>
                        <a:pt x="1013762" y="5438"/>
                        <a:pt x="1009411" y="3839"/>
                        <a:pt x="1004933" y="2943"/>
                      </a:cubicBezTo>
                      <a:cubicBezTo>
                        <a:pt x="1000390" y="2047"/>
                        <a:pt x="995847" y="2047"/>
                        <a:pt x="991113" y="2047"/>
                      </a:cubicBezTo>
                      <a:cubicBezTo>
                        <a:pt x="981708" y="2047"/>
                        <a:pt x="972303" y="2047"/>
                        <a:pt x="962834" y="2047"/>
                      </a:cubicBezTo>
                      <a:cubicBezTo>
                        <a:pt x="943960" y="2047"/>
                        <a:pt x="924959" y="2047"/>
                        <a:pt x="905829" y="2047"/>
                      </a:cubicBezTo>
                      <a:cubicBezTo>
                        <a:pt x="867569" y="2047"/>
                        <a:pt x="828926" y="2047"/>
                        <a:pt x="789835" y="2047"/>
                      </a:cubicBezTo>
                      <a:cubicBezTo>
                        <a:pt x="711652" y="2047"/>
                        <a:pt x="631870" y="2047"/>
                        <a:pt x="550617" y="2047"/>
                      </a:cubicBezTo>
                      <a:cubicBezTo>
                        <a:pt x="388110" y="2047"/>
                        <a:pt x="219845" y="2047"/>
                        <a:pt x="47549" y="2047"/>
                      </a:cubicBezTo>
                      <a:cubicBezTo>
                        <a:pt x="36993" y="2111"/>
                        <a:pt x="26564" y="5758"/>
                        <a:pt x="18439" y="12476"/>
                      </a:cubicBezTo>
                      <a:cubicBezTo>
                        <a:pt x="10377" y="19194"/>
                        <a:pt x="4747" y="28727"/>
                        <a:pt x="2828" y="39027"/>
                      </a:cubicBezTo>
                      <a:cubicBezTo>
                        <a:pt x="1740" y="44146"/>
                        <a:pt x="2060" y="49456"/>
                        <a:pt x="1996" y="54830"/>
                      </a:cubicBezTo>
                      <a:lnTo>
                        <a:pt x="1996" y="70825"/>
                      </a:lnTo>
                      <a:cubicBezTo>
                        <a:pt x="1996" y="81509"/>
                        <a:pt x="1996" y="92130"/>
                        <a:pt x="1996" y="102814"/>
                      </a:cubicBezTo>
                      <a:cubicBezTo>
                        <a:pt x="1996" y="145361"/>
                        <a:pt x="1996" y="187651"/>
                        <a:pt x="1996" y="229621"/>
                      </a:cubicBezTo>
                      <a:cubicBezTo>
                        <a:pt x="1996" y="313562"/>
                        <a:pt x="1996" y="396287"/>
                        <a:pt x="1996" y="477540"/>
                      </a:cubicBezTo>
                      <a:cubicBezTo>
                        <a:pt x="1996" y="640047"/>
                        <a:pt x="1932" y="796860"/>
                        <a:pt x="1932" y="946187"/>
                      </a:cubicBezTo>
                      <a:cubicBezTo>
                        <a:pt x="1868" y="1095515"/>
                        <a:pt x="1868" y="1237484"/>
                        <a:pt x="1804" y="1370305"/>
                      </a:cubicBezTo>
                      <a:cubicBezTo>
                        <a:pt x="1804" y="1386939"/>
                        <a:pt x="1804" y="1403382"/>
                        <a:pt x="1804" y="1419697"/>
                      </a:cubicBezTo>
                      <a:cubicBezTo>
                        <a:pt x="1804" y="1427822"/>
                        <a:pt x="1804" y="1435947"/>
                        <a:pt x="1804" y="1444073"/>
                      </a:cubicBezTo>
                      <a:cubicBezTo>
                        <a:pt x="1804" y="1448103"/>
                        <a:pt x="1676" y="1452134"/>
                        <a:pt x="2316" y="1456037"/>
                      </a:cubicBezTo>
                      <a:cubicBezTo>
                        <a:pt x="2764" y="1459940"/>
                        <a:pt x="4043" y="1463714"/>
                        <a:pt x="5515" y="1467361"/>
                      </a:cubicBezTo>
                      <a:cubicBezTo>
                        <a:pt x="11721" y="1481821"/>
                        <a:pt x="25668" y="1492569"/>
                        <a:pt x="41087" y="1494488"/>
                      </a:cubicBezTo>
                      <a:cubicBezTo>
                        <a:pt x="44862" y="1495064"/>
                        <a:pt x="48765" y="1495000"/>
                        <a:pt x="52731" y="1495000"/>
                      </a:cubicBezTo>
                      <a:cubicBezTo>
                        <a:pt x="56634" y="1495000"/>
                        <a:pt x="60537" y="1495000"/>
                        <a:pt x="64439" y="1495000"/>
                      </a:cubicBezTo>
                      <a:cubicBezTo>
                        <a:pt x="72245" y="1495000"/>
                        <a:pt x="79986" y="1495000"/>
                        <a:pt x="87664" y="1495000"/>
                      </a:cubicBezTo>
                      <a:cubicBezTo>
                        <a:pt x="149340" y="1495000"/>
                        <a:pt x="208456" y="1495064"/>
                        <a:pt x="264950" y="1495064"/>
                      </a:cubicBezTo>
                      <a:cubicBezTo>
                        <a:pt x="490796" y="1495192"/>
                        <a:pt x="673585" y="1495320"/>
                        <a:pt x="799943" y="1495384"/>
                      </a:cubicBezTo>
                      <a:cubicBezTo>
                        <a:pt x="863091" y="1495448"/>
                        <a:pt x="912099" y="1495512"/>
                        <a:pt x="945368" y="1495576"/>
                      </a:cubicBezTo>
                      <a:cubicBezTo>
                        <a:pt x="962002" y="1495640"/>
                        <a:pt x="974670" y="1495640"/>
                        <a:pt x="983180" y="1495704"/>
                      </a:cubicBezTo>
                      <a:cubicBezTo>
                        <a:pt x="991753" y="1495832"/>
                        <a:pt x="996103" y="1495896"/>
                        <a:pt x="996103" y="1495896"/>
                      </a:cubicBezTo>
                      <a:cubicBezTo>
                        <a:pt x="996103" y="1495896"/>
                        <a:pt x="991753" y="1495960"/>
                        <a:pt x="983244" y="1496024"/>
                      </a:cubicBezTo>
                      <a:cubicBezTo>
                        <a:pt x="974734" y="1496024"/>
                        <a:pt x="962002" y="1496088"/>
                        <a:pt x="945432" y="1496152"/>
                      </a:cubicBezTo>
                      <a:cubicBezTo>
                        <a:pt x="912163" y="1496216"/>
                        <a:pt x="863155" y="1496280"/>
                        <a:pt x="800007" y="1496344"/>
                      </a:cubicBezTo>
                      <a:cubicBezTo>
                        <a:pt x="673649" y="1496408"/>
                        <a:pt x="490860" y="1496536"/>
                        <a:pt x="265014" y="1496664"/>
                      </a:cubicBezTo>
                      <a:cubicBezTo>
                        <a:pt x="208520" y="1496664"/>
                        <a:pt x="149404" y="1496728"/>
                        <a:pt x="87728" y="1496728"/>
                      </a:cubicBezTo>
                      <a:cubicBezTo>
                        <a:pt x="80050" y="1496728"/>
                        <a:pt x="72245" y="1496728"/>
                        <a:pt x="64503" y="1496728"/>
                      </a:cubicBezTo>
                      <a:cubicBezTo>
                        <a:pt x="60601" y="1496728"/>
                        <a:pt x="56698" y="1496728"/>
                        <a:pt x="52795" y="1496728"/>
                      </a:cubicBezTo>
                      <a:cubicBezTo>
                        <a:pt x="48893" y="1496728"/>
                        <a:pt x="44926" y="1496792"/>
                        <a:pt x="40959" y="1496216"/>
                      </a:cubicBezTo>
                      <a:cubicBezTo>
                        <a:pt x="25028" y="1494233"/>
                        <a:pt x="10505" y="1483164"/>
                        <a:pt x="4107" y="1468129"/>
                      </a:cubicBezTo>
                      <a:cubicBezTo>
                        <a:pt x="2636" y="1464354"/>
                        <a:pt x="1292" y="1460452"/>
                        <a:pt x="780" y="1456357"/>
                      </a:cubicBezTo>
                      <a:cubicBezTo>
                        <a:pt x="140" y="1452326"/>
                        <a:pt x="205" y="1448167"/>
                        <a:pt x="205" y="1444137"/>
                      </a:cubicBezTo>
                      <a:cubicBezTo>
                        <a:pt x="205" y="1436075"/>
                        <a:pt x="205" y="1427950"/>
                        <a:pt x="205" y="1419761"/>
                      </a:cubicBezTo>
                      <a:cubicBezTo>
                        <a:pt x="205" y="1403446"/>
                        <a:pt x="205" y="1387003"/>
                        <a:pt x="205" y="1370369"/>
                      </a:cubicBezTo>
                      <a:cubicBezTo>
                        <a:pt x="205" y="1237548"/>
                        <a:pt x="140" y="1095642"/>
                        <a:pt x="76" y="946251"/>
                      </a:cubicBezTo>
                      <a:cubicBezTo>
                        <a:pt x="76" y="796924"/>
                        <a:pt x="13" y="640111"/>
                        <a:pt x="13" y="477604"/>
                      </a:cubicBezTo>
                      <a:cubicBezTo>
                        <a:pt x="13" y="396351"/>
                        <a:pt x="13" y="313626"/>
                        <a:pt x="13" y="229685"/>
                      </a:cubicBezTo>
                      <a:cubicBezTo>
                        <a:pt x="13" y="187715"/>
                        <a:pt x="13" y="145425"/>
                        <a:pt x="13" y="102878"/>
                      </a:cubicBezTo>
                      <a:cubicBezTo>
                        <a:pt x="13" y="92258"/>
                        <a:pt x="13" y="81573"/>
                        <a:pt x="13" y="70889"/>
                      </a:cubicBezTo>
                      <a:lnTo>
                        <a:pt x="13" y="54894"/>
                      </a:lnTo>
                      <a:cubicBezTo>
                        <a:pt x="76" y="49584"/>
                        <a:pt x="-307" y="44146"/>
                        <a:pt x="844" y="38707"/>
                      </a:cubicBezTo>
                      <a:cubicBezTo>
                        <a:pt x="2892" y="27959"/>
                        <a:pt x="8778" y="17978"/>
                        <a:pt x="17223" y="10940"/>
                      </a:cubicBezTo>
                      <a:cubicBezTo>
                        <a:pt x="25668" y="3903"/>
                        <a:pt x="36672" y="64"/>
                        <a:pt x="47677" y="0"/>
                      </a:cubicBezTo>
                      <a:cubicBezTo>
                        <a:pt x="219973" y="0"/>
                        <a:pt x="388238" y="0"/>
                        <a:pt x="550745" y="0"/>
                      </a:cubicBezTo>
                      <a:cubicBezTo>
                        <a:pt x="631998" y="0"/>
                        <a:pt x="711780" y="0"/>
                        <a:pt x="789963" y="0"/>
                      </a:cubicBezTo>
                      <a:cubicBezTo>
                        <a:pt x="829054" y="0"/>
                        <a:pt x="867697" y="0"/>
                        <a:pt x="905957" y="0"/>
                      </a:cubicBezTo>
                      <a:cubicBezTo>
                        <a:pt x="925086" y="0"/>
                        <a:pt x="944088" y="0"/>
                        <a:pt x="962962" y="0"/>
                      </a:cubicBezTo>
                      <a:cubicBezTo>
                        <a:pt x="972431" y="0"/>
                        <a:pt x="981836" y="0"/>
                        <a:pt x="991241" y="0"/>
                      </a:cubicBezTo>
                      <a:cubicBezTo>
                        <a:pt x="995911" y="0"/>
                        <a:pt x="1000710" y="0"/>
                        <a:pt x="1005444" y="896"/>
                      </a:cubicBezTo>
                      <a:cubicBezTo>
                        <a:pt x="1010115" y="1855"/>
                        <a:pt x="1014657" y="3519"/>
                        <a:pt x="1018880" y="5758"/>
                      </a:cubicBezTo>
                      <a:cubicBezTo>
                        <a:pt x="1027197" y="10365"/>
                        <a:pt x="1034171" y="17402"/>
                        <a:pt x="1038458" y="25848"/>
                      </a:cubicBezTo>
                      <a:cubicBezTo>
                        <a:pt x="1040697" y="30006"/>
                        <a:pt x="1042040" y="34613"/>
                        <a:pt x="1042936" y="39219"/>
                      </a:cubicBezTo>
                      <a:cubicBezTo>
                        <a:pt x="1043896" y="43890"/>
                        <a:pt x="1043640" y="48624"/>
                        <a:pt x="1043704" y="53167"/>
                      </a:cubicBezTo>
                      <a:cubicBezTo>
                        <a:pt x="1043704" y="71593"/>
                        <a:pt x="1043704" y="89891"/>
                        <a:pt x="1043704" y="108125"/>
                      </a:cubicBezTo>
                      <a:cubicBezTo>
                        <a:pt x="1043704" y="144529"/>
                        <a:pt x="1043704" y="180421"/>
                        <a:pt x="1043704" y="215738"/>
                      </a:cubicBezTo>
                      <a:cubicBezTo>
                        <a:pt x="1043704" y="286499"/>
                        <a:pt x="1043640" y="355148"/>
                        <a:pt x="1043640" y="421558"/>
                      </a:cubicBezTo>
                      <a:cubicBezTo>
                        <a:pt x="1043576" y="554379"/>
                        <a:pt x="1043576" y="678051"/>
                        <a:pt x="1043512" y="791038"/>
                      </a:cubicBezTo>
                      <a:cubicBezTo>
                        <a:pt x="1043384" y="1016884"/>
                        <a:pt x="1043256" y="1199737"/>
                        <a:pt x="1043192" y="1326031"/>
                      </a:cubicBezTo>
                      <a:cubicBezTo>
                        <a:pt x="1043128" y="1357637"/>
                        <a:pt x="1043128" y="1385660"/>
                        <a:pt x="1043064" y="1409972"/>
                      </a:cubicBezTo>
                      <a:cubicBezTo>
                        <a:pt x="1043064" y="1422128"/>
                        <a:pt x="1043000" y="1433324"/>
                        <a:pt x="1043000" y="1443625"/>
                      </a:cubicBezTo>
                      <a:cubicBezTo>
                        <a:pt x="1043000" y="1448743"/>
                        <a:pt x="1043000" y="1453670"/>
                        <a:pt x="1042104" y="1458276"/>
                      </a:cubicBezTo>
                      <a:cubicBezTo>
                        <a:pt x="1041081" y="1462819"/>
                        <a:pt x="1039673" y="1467041"/>
                        <a:pt x="1037690" y="1470752"/>
                      </a:cubicBezTo>
                      <a:cubicBezTo>
                        <a:pt x="1033787" y="1478174"/>
                        <a:pt x="1028413" y="1483484"/>
                        <a:pt x="1023295" y="1487195"/>
                      </a:cubicBezTo>
                      <a:cubicBezTo>
                        <a:pt x="1018112" y="1490905"/>
                        <a:pt x="1013058" y="1492825"/>
                        <a:pt x="1009027" y="1494041"/>
                      </a:cubicBezTo>
                      <a:cubicBezTo>
                        <a:pt x="1006980" y="1494616"/>
                        <a:pt x="1005124" y="1495064"/>
                        <a:pt x="1003525" y="1495192"/>
                      </a:cubicBezTo>
                      <a:cubicBezTo>
                        <a:pt x="1001925" y="1495448"/>
                        <a:pt x="1000582" y="1495640"/>
                        <a:pt x="999494" y="1495640"/>
                      </a:cubicBezTo>
                      <a:cubicBezTo>
                        <a:pt x="997191" y="1495896"/>
                        <a:pt x="996103" y="1495896"/>
                        <a:pt x="996103" y="149589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63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EA4A13BA-758D-4A7A-9A63-4AAB385F2FDA}"/>
                  </a:ext>
                </a:extLst>
              </p:cNvPr>
              <p:cNvSpPr/>
              <p:nvPr/>
            </p:nvSpPr>
            <p:spPr>
              <a:xfrm>
                <a:off x="10219215" y="2758978"/>
                <a:ext cx="79973" cy="79973"/>
              </a:xfrm>
              <a:custGeom>
                <a:avLst/>
                <a:gdLst>
                  <a:gd name="connsiteX0" fmla="*/ 79974 w 79973"/>
                  <a:gd name="connsiteY0" fmla="*/ 39987 h 79973"/>
                  <a:gd name="connsiteX1" fmla="*/ 39987 w 79973"/>
                  <a:gd name="connsiteY1" fmla="*/ 79974 h 79973"/>
                  <a:gd name="connsiteX2" fmla="*/ 0 w 79973"/>
                  <a:gd name="connsiteY2" fmla="*/ 39987 h 79973"/>
                  <a:gd name="connsiteX3" fmla="*/ 39987 w 79973"/>
                  <a:gd name="connsiteY3" fmla="*/ 0 h 79973"/>
                  <a:gd name="connsiteX4" fmla="*/ 79974 w 79973"/>
                  <a:gd name="connsiteY4" fmla="*/ 39987 h 79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973" h="79973">
                    <a:moveTo>
                      <a:pt x="79974" y="39987"/>
                    </a:moveTo>
                    <a:cubicBezTo>
                      <a:pt x="79974" y="62060"/>
                      <a:pt x="62060" y="79974"/>
                      <a:pt x="39987" y="79974"/>
                    </a:cubicBezTo>
                    <a:cubicBezTo>
                      <a:pt x="17914" y="79974"/>
                      <a:pt x="0" y="62060"/>
                      <a:pt x="0" y="39987"/>
                    </a:cubicBezTo>
                    <a:cubicBezTo>
                      <a:pt x="0" y="17914"/>
                      <a:pt x="17914" y="0"/>
                      <a:pt x="39987" y="0"/>
                    </a:cubicBezTo>
                    <a:cubicBezTo>
                      <a:pt x="62060" y="64"/>
                      <a:pt x="79974" y="17914"/>
                      <a:pt x="79974" y="399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84B68CFD-D37B-43B0-816D-DD28EFEBFBC2}"/>
                </a:ext>
              </a:extLst>
            </p:cNvPr>
            <p:cNvSpPr/>
            <p:nvPr/>
          </p:nvSpPr>
          <p:spPr>
            <a:xfrm>
              <a:off x="10161762" y="1421494"/>
              <a:ext cx="242416" cy="29686"/>
            </a:xfrm>
            <a:custGeom>
              <a:avLst/>
              <a:gdLst>
                <a:gd name="connsiteX0" fmla="*/ 227573 w 242416"/>
                <a:gd name="connsiteY0" fmla="*/ 29686 h 29686"/>
                <a:gd name="connsiteX1" fmla="*/ 14843 w 242416"/>
                <a:gd name="connsiteY1" fmla="*/ 29686 h 29686"/>
                <a:gd name="connsiteX2" fmla="*/ 0 w 242416"/>
                <a:gd name="connsiteY2" fmla="*/ 14843 h 29686"/>
                <a:gd name="connsiteX3" fmla="*/ 0 w 242416"/>
                <a:gd name="connsiteY3" fmla="*/ 14843 h 29686"/>
                <a:gd name="connsiteX4" fmla="*/ 14843 w 242416"/>
                <a:gd name="connsiteY4" fmla="*/ 0 h 29686"/>
                <a:gd name="connsiteX5" fmla="*/ 227573 w 242416"/>
                <a:gd name="connsiteY5" fmla="*/ 0 h 29686"/>
                <a:gd name="connsiteX6" fmla="*/ 242417 w 242416"/>
                <a:gd name="connsiteY6" fmla="*/ 14843 h 29686"/>
                <a:gd name="connsiteX7" fmla="*/ 242417 w 242416"/>
                <a:gd name="connsiteY7" fmla="*/ 14843 h 29686"/>
                <a:gd name="connsiteX8" fmla="*/ 227573 w 242416"/>
                <a:gd name="connsiteY8" fmla="*/ 29686 h 2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416" h="29686">
                  <a:moveTo>
                    <a:pt x="227573" y="29686"/>
                  </a:moveTo>
                  <a:lnTo>
                    <a:pt x="14843" y="29686"/>
                  </a:lnTo>
                  <a:cubicBezTo>
                    <a:pt x="6654" y="29686"/>
                    <a:pt x="0" y="23033"/>
                    <a:pt x="0" y="14843"/>
                  </a:cubicBezTo>
                  <a:lnTo>
                    <a:pt x="0" y="14843"/>
                  </a:lnTo>
                  <a:cubicBezTo>
                    <a:pt x="0" y="6654"/>
                    <a:pt x="6654" y="0"/>
                    <a:pt x="14843" y="0"/>
                  </a:cubicBezTo>
                  <a:lnTo>
                    <a:pt x="227573" y="0"/>
                  </a:lnTo>
                  <a:cubicBezTo>
                    <a:pt x="235763" y="0"/>
                    <a:pt x="242417" y="6654"/>
                    <a:pt x="242417" y="14843"/>
                  </a:cubicBezTo>
                  <a:lnTo>
                    <a:pt x="242417" y="14843"/>
                  </a:lnTo>
                  <a:cubicBezTo>
                    <a:pt x="242417" y="23033"/>
                    <a:pt x="235763" y="29686"/>
                    <a:pt x="227573" y="29686"/>
                  </a:cubicBezTo>
                  <a:close/>
                </a:path>
              </a:pathLst>
            </a:custGeom>
            <a:solidFill>
              <a:srgbClr val="EBEBE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23" name="Graphic 2">
              <a:extLst>
                <a:ext uri="{FF2B5EF4-FFF2-40B4-BE49-F238E27FC236}">
                  <a16:creationId xmlns:a16="http://schemas.microsoft.com/office/drawing/2014/main" id="{545EBCE9-094E-4B91-843A-E2F49F7F90CA}"/>
                </a:ext>
              </a:extLst>
            </p:cNvPr>
            <p:cNvGrpSpPr/>
            <p:nvPr/>
          </p:nvGrpSpPr>
          <p:grpSpPr>
            <a:xfrm>
              <a:off x="9768729" y="1484322"/>
              <a:ext cx="978985" cy="1251394"/>
              <a:chOff x="9768729" y="1484322"/>
              <a:chExt cx="978985" cy="1251394"/>
            </a:xfrm>
          </p:grpSpPr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D9EB04C-5712-4ED4-8FAC-AD7063A75708}"/>
                  </a:ext>
                </a:extLst>
              </p:cNvPr>
              <p:cNvSpPr/>
              <p:nvPr/>
            </p:nvSpPr>
            <p:spPr>
              <a:xfrm>
                <a:off x="9770337" y="1485985"/>
                <a:ext cx="975873" cy="1248296"/>
              </a:xfrm>
              <a:custGeom>
                <a:avLst/>
                <a:gdLst>
                  <a:gd name="connsiteX0" fmla="*/ 960327 w 975873"/>
                  <a:gd name="connsiteY0" fmla="*/ 1248297 h 1248296"/>
                  <a:gd name="connsiteX1" fmla="*/ 15547 w 975873"/>
                  <a:gd name="connsiteY1" fmla="*/ 1248297 h 1248296"/>
                  <a:gd name="connsiteX2" fmla="*/ 0 w 975873"/>
                  <a:gd name="connsiteY2" fmla="*/ 1232750 h 1248296"/>
                  <a:gd name="connsiteX3" fmla="*/ 0 w 975873"/>
                  <a:gd name="connsiteY3" fmla="*/ 15547 h 1248296"/>
                  <a:gd name="connsiteX4" fmla="*/ 15547 w 975873"/>
                  <a:gd name="connsiteY4" fmla="*/ 0 h 1248296"/>
                  <a:gd name="connsiteX5" fmla="*/ 960327 w 975873"/>
                  <a:gd name="connsiteY5" fmla="*/ 0 h 1248296"/>
                  <a:gd name="connsiteX6" fmla="*/ 975873 w 975873"/>
                  <a:gd name="connsiteY6" fmla="*/ 15547 h 1248296"/>
                  <a:gd name="connsiteX7" fmla="*/ 975873 w 975873"/>
                  <a:gd name="connsiteY7" fmla="*/ 1232750 h 1248296"/>
                  <a:gd name="connsiteX8" fmla="*/ 960327 w 975873"/>
                  <a:gd name="connsiteY8" fmla="*/ 1248297 h 124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5873" h="1248296">
                    <a:moveTo>
                      <a:pt x="960327" y="1248297"/>
                    </a:moveTo>
                    <a:lnTo>
                      <a:pt x="15547" y="1248297"/>
                    </a:lnTo>
                    <a:cubicBezTo>
                      <a:pt x="6974" y="1248297"/>
                      <a:pt x="0" y="1241323"/>
                      <a:pt x="0" y="1232750"/>
                    </a:cubicBezTo>
                    <a:lnTo>
                      <a:pt x="0" y="15547"/>
                    </a:lnTo>
                    <a:cubicBezTo>
                      <a:pt x="0" y="6974"/>
                      <a:pt x="6974" y="0"/>
                      <a:pt x="15547" y="0"/>
                    </a:cubicBezTo>
                    <a:lnTo>
                      <a:pt x="960327" y="0"/>
                    </a:lnTo>
                    <a:cubicBezTo>
                      <a:pt x="968900" y="0"/>
                      <a:pt x="975873" y="6974"/>
                      <a:pt x="975873" y="15547"/>
                    </a:cubicBezTo>
                    <a:lnTo>
                      <a:pt x="975873" y="1232750"/>
                    </a:lnTo>
                    <a:cubicBezTo>
                      <a:pt x="975937" y="1241323"/>
                      <a:pt x="968964" y="1248297"/>
                      <a:pt x="960327" y="1248297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6CACD0F-7FB6-4538-828C-9A2E40727FDE}"/>
                  </a:ext>
                </a:extLst>
              </p:cNvPr>
              <p:cNvSpPr/>
              <p:nvPr/>
            </p:nvSpPr>
            <p:spPr>
              <a:xfrm>
                <a:off x="9768729" y="1484322"/>
                <a:ext cx="978985" cy="1251394"/>
              </a:xfrm>
              <a:custGeom>
                <a:avLst/>
                <a:gdLst>
                  <a:gd name="connsiteX0" fmla="*/ 961935 w 978985"/>
                  <a:gd name="connsiteY0" fmla="*/ 1249960 h 1251394"/>
                  <a:gd name="connsiteX1" fmla="*/ 964750 w 978985"/>
                  <a:gd name="connsiteY1" fmla="*/ 1249576 h 1251394"/>
                  <a:gd name="connsiteX2" fmla="*/ 972171 w 978985"/>
                  <a:gd name="connsiteY2" fmla="*/ 1245801 h 1251394"/>
                  <a:gd name="connsiteX3" fmla="*/ 977162 w 978985"/>
                  <a:gd name="connsiteY3" fmla="*/ 1233326 h 1251394"/>
                  <a:gd name="connsiteX4" fmla="*/ 977098 w 978985"/>
                  <a:gd name="connsiteY4" fmla="*/ 1213876 h 1251394"/>
                  <a:gd name="connsiteX5" fmla="*/ 976778 w 978985"/>
                  <a:gd name="connsiteY5" fmla="*/ 1085022 h 1251394"/>
                  <a:gd name="connsiteX6" fmla="*/ 976266 w 978985"/>
                  <a:gd name="connsiteY6" fmla="*/ 611192 h 1251394"/>
                  <a:gd name="connsiteX7" fmla="*/ 976074 w 978985"/>
                  <a:gd name="connsiteY7" fmla="*/ 284003 h 1251394"/>
                  <a:gd name="connsiteX8" fmla="*/ 976010 w 978985"/>
                  <a:gd name="connsiteY8" fmla="*/ 101727 h 1251394"/>
                  <a:gd name="connsiteX9" fmla="*/ 976010 w 978985"/>
                  <a:gd name="connsiteY9" fmla="*/ 54382 h 1251394"/>
                  <a:gd name="connsiteX10" fmla="*/ 976010 w 978985"/>
                  <a:gd name="connsiteY10" fmla="*/ 30454 h 1251394"/>
                  <a:gd name="connsiteX11" fmla="*/ 976010 w 978985"/>
                  <a:gd name="connsiteY11" fmla="*/ 18426 h 1251394"/>
                  <a:gd name="connsiteX12" fmla="*/ 972811 w 978985"/>
                  <a:gd name="connsiteY12" fmla="*/ 8125 h 1251394"/>
                  <a:gd name="connsiteX13" fmla="*/ 963406 w 978985"/>
                  <a:gd name="connsiteY13" fmla="*/ 3071 h 1251394"/>
                  <a:gd name="connsiteX14" fmla="*/ 951442 w 978985"/>
                  <a:gd name="connsiteY14" fmla="*/ 3007 h 1251394"/>
                  <a:gd name="connsiteX15" fmla="*/ 927066 w 978985"/>
                  <a:gd name="connsiteY15" fmla="*/ 3007 h 1251394"/>
                  <a:gd name="connsiteX16" fmla="*/ 877802 w 978985"/>
                  <a:gd name="connsiteY16" fmla="*/ 3007 h 1251394"/>
                  <a:gd name="connsiteX17" fmla="*/ 17347 w 978985"/>
                  <a:gd name="connsiteY17" fmla="*/ 3135 h 1251394"/>
                  <a:gd name="connsiteX18" fmla="*/ 6279 w 978985"/>
                  <a:gd name="connsiteY18" fmla="*/ 8509 h 1251394"/>
                  <a:gd name="connsiteX19" fmla="*/ 3656 w 978985"/>
                  <a:gd name="connsiteY19" fmla="*/ 14267 h 1251394"/>
                  <a:gd name="connsiteX20" fmla="*/ 3400 w 978985"/>
                  <a:gd name="connsiteY20" fmla="*/ 21049 h 1251394"/>
                  <a:gd name="connsiteX21" fmla="*/ 3400 w 978985"/>
                  <a:gd name="connsiteY21" fmla="*/ 49520 h 1251394"/>
                  <a:gd name="connsiteX22" fmla="*/ 3400 w 978985"/>
                  <a:gd name="connsiteY22" fmla="*/ 106269 h 1251394"/>
                  <a:gd name="connsiteX23" fmla="*/ 3400 w 978985"/>
                  <a:gd name="connsiteY23" fmla="*/ 218553 h 1251394"/>
                  <a:gd name="connsiteX24" fmla="*/ 3400 w 978985"/>
                  <a:gd name="connsiteY24" fmla="*/ 438129 h 1251394"/>
                  <a:gd name="connsiteX25" fmla="*/ 3272 w 978985"/>
                  <a:gd name="connsiteY25" fmla="*/ 853162 h 1251394"/>
                  <a:gd name="connsiteX26" fmla="*/ 3144 w 978985"/>
                  <a:gd name="connsiteY26" fmla="*/ 1228719 h 1251394"/>
                  <a:gd name="connsiteX27" fmla="*/ 3144 w 978985"/>
                  <a:gd name="connsiteY27" fmla="*/ 1234221 h 1251394"/>
                  <a:gd name="connsiteX28" fmla="*/ 4040 w 978985"/>
                  <a:gd name="connsiteY28" fmla="*/ 1239148 h 1251394"/>
                  <a:gd name="connsiteX29" fmla="*/ 10373 w 978985"/>
                  <a:gd name="connsiteY29" fmla="*/ 1246569 h 1251394"/>
                  <a:gd name="connsiteX30" fmla="*/ 20290 w 978985"/>
                  <a:gd name="connsiteY30" fmla="*/ 1248425 h 1251394"/>
                  <a:gd name="connsiteX31" fmla="*/ 31167 w 978985"/>
                  <a:gd name="connsiteY31" fmla="*/ 1248425 h 1251394"/>
                  <a:gd name="connsiteX32" fmla="*/ 74097 w 978985"/>
                  <a:gd name="connsiteY32" fmla="*/ 1248425 h 1251394"/>
                  <a:gd name="connsiteX33" fmla="*/ 157589 w 978985"/>
                  <a:gd name="connsiteY33" fmla="*/ 1248489 h 1251394"/>
                  <a:gd name="connsiteX34" fmla="*/ 314594 w 978985"/>
                  <a:gd name="connsiteY34" fmla="*/ 1248616 h 1251394"/>
                  <a:gd name="connsiteX35" fmla="*/ 788360 w 978985"/>
                  <a:gd name="connsiteY35" fmla="*/ 1249128 h 1251394"/>
                  <a:gd name="connsiteX36" fmla="*/ 917150 w 978985"/>
                  <a:gd name="connsiteY36" fmla="*/ 1249448 h 1251394"/>
                  <a:gd name="connsiteX37" fmla="*/ 950675 w 978985"/>
                  <a:gd name="connsiteY37" fmla="*/ 1249640 h 1251394"/>
                  <a:gd name="connsiteX38" fmla="*/ 961935 w 978985"/>
                  <a:gd name="connsiteY38" fmla="*/ 1249960 h 1251394"/>
                  <a:gd name="connsiteX39" fmla="*/ 950546 w 978985"/>
                  <a:gd name="connsiteY39" fmla="*/ 1250152 h 1251394"/>
                  <a:gd name="connsiteX40" fmla="*/ 917021 w 978985"/>
                  <a:gd name="connsiteY40" fmla="*/ 1250344 h 1251394"/>
                  <a:gd name="connsiteX41" fmla="*/ 788231 w 978985"/>
                  <a:gd name="connsiteY41" fmla="*/ 1250664 h 1251394"/>
                  <a:gd name="connsiteX42" fmla="*/ 314466 w 978985"/>
                  <a:gd name="connsiteY42" fmla="*/ 1251176 h 1251394"/>
                  <a:gd name="connsiteX43" fmla="*/ 157461 w 978985"/>
                  <a:gd name="connsiteY43" fmla="*/ 1251304 h 1251394"/>
                  <a:gd name="connsiteX44" fmla="*/ 73969 w 978985"/>
                  <a:gd name="connsiteY44" fmla="*/ 1251368 h 1251394"/>
                  <a:gd name="connsiteX45" fmla="*/ 31039 w 978985"/>
                  <a:gd name="connsiteY45" fmla="*/ 1251368 h 1251394"/>
                  <a:gd name="connsiteX46" fmla="*/ 20162 w 978985"/>
                  <a:gd name="connsiteY46" fmla="*/ 1251368 h 1251394"/>
                  <a:gd name="connsiteX47" fmla="*/ 8902 w 978985"/>
                  <a:gd name="connsiteY47" fmla="*/ 1249192 h 1251394"/>
                  <a:gd name="connsiteX48" fmla="*/ 1352 w 978985"/>
                  <a:gd name="connsiteY48" fmla="*/ 1240299 h 1251394"/>
                  <a:gd name="connsiteX49" fmla="*/ 265 w 978985"/>
                  <a:gd name="connsiteY49" fmla="*/ 1234413 h 1251394"/>
                  <a:gd name="connsiteX50" fmla="*/ 265 w 978985"/>
                  <a:gd name="connsiteY50" fmla="*/ 1228911 h 1251394"/>
                  <a:gd name="connsiteX51" fmla="*/ 137 w 978985"/>
                  <a:gd name="connsiteY51" fmla="*/ 853353 h 1251394"/>
                  <a:gd name="connsiteX52" fmla="*/ 9 w 978985"/>
                  <a:gd name="connsiteY52" fmla="*/ 438321 h 1251394"/>
                  <a:gd name="connsiteX53" fmla="*/ 9 w 978985"/>
                  <a:gd name="connsiteY53" fmla="*/ 218745 h 1251394"/>
                  <a:gd name="connsiteX54" fmla="*/ 9 w 978985"/>
                  <a:gd name="connsiteY54" fmla="*/ 106461 h 1251394"/>
                  <a:gd name="connsiteX55" fmla="*/ 9 w 978985"/>
                  <a:gd name="connsiteY55" fmla="*/ 49712 h 1251394"/>
                  <a:gd name="connsiteX56" fmla="*/ 9 w 978985"/>
                  <a:gd name="connsiteY56" fmla="*/ 21241 h 1251394"/>
                  <a:gd name="connsiteX57" fmla="*/ 329 w 978985"/>
                  <a:gd name="connsiteY57" fmla="*/ 13819 h 1251394"/>
                  <a:gd name="connsiteX58" fmla="*/ 3592 w 978985"/>
                  <a:gd name="connsiteY58" fmla="*/ 6718 h 1251394"/>
                  <a:gd name="connsiteX59" fmla="*/ 17283 w 978985"/>
                  <a:gd name="connsiteY59" fmla="*/ 0 h 1251394"/>
                  <a:gd name="connsiteX60" fmla="*/ 877738 w 978985"/>
                  <a:gd name="connsiteY60" fmla="*/ 128 h 1251394"/>
                  <a:gd name="connsiteX61" fmla="*/ 927002 w 978985"/>
                  <a:gd name="connsiteY61" fmla="*/ 128 h 1251394"/>
                  <a:gd name="connsiteX62" fmla="*/ 951378 w 978985"/>
                  <a:gd name="connsiteY62" fmla="*/ 128 h 1251394"/>
                  <a:gd name="connsiteX63" fmla="*/ 963662 w 978985"/>
                  <a:gd name="connsiteY63" fmla="*/ 192 h 1251394"/>
                  <a:gd name="connsiteX64" fmla="*/ 975051 w 978985"/>
                  <a:gd name="connsiteY64" fmla="*/ 6334 h 1251394"/>
                  <a:gd name="connsiteX65" fmla="*/ 978953 w 978985"/>
                  <a:gd name="connsiteY65" fmla="*/ 18554 h 1251394"/>
                  <a:gd name="connsiteX66" fmla="*/ 978953 w 978985"/>
                  <a:gd name="connsiteY66" fmla="*/ 30582 h 1251394"/>
                  <a:gd name="connsiteX67" fmla="*/ 978953 w 978985"/>
                  <a:gd name="connsiteY67" fmla="*/ 54510 h 1251394"/>
                  <a:gd name="connsiteX68" fmla="*/ 978953 w 978985"/>
                  <a:gd name="connsiteY68" fmla="*/ 101855 h 1251394"/>
                  <a:gd name="connsiteX69" fmla="*/ 978889 w 978985"/>
                  <a:gd name="connsiteY69" fmla="*/ 284131 h 1251394"/>
                  <a:gd name="connsiteX70" fmla="*/ 978697 w 978985"/>
                  <a:gd name="connsiteY70" fmla="*/ 611321 h 1251394"/>
                  <a:gd name="connsiteX71" fmla="*/ 978185 w 978985"/>
                  <a:gd name="connsiteY71" fmla="*/ 1085150 h 1251394"/>
                  <a:gd name="connsiteX72" fmla="*/ 977866 w 978985"/>
                  <a:gd name="connsiteY72" fmla="*/ 1214004 h 1251394"/>
                  <a:gd name="connsiteX73" fmla="*/ 977802 w 978985"/>
                  <a:gd name="connsiteY73" fmla="*/ 1233453 h 1251394"/>
                  <a:gd name="connsiteX74" fmla="*/ 972491 w 978985"/>
                  <a:gd name="connsiteY74" fmla="*/ 1246185 h 1251394"/>
                  <a:gd name="connsiteX75" fmla="*/ 964814 w 978985"/>
                  <a:gd name="connsiteY75" fmla="*/ 1249896 h 1251394"/>
                  <a:gd name="connsiteX76" fmla="*/ 961935 w 978985"/>
                  <a:gd name="connsiteY76" fmla="*/ 1249960 h 1251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978985" h="1251394">
                    <a:moveTo>
                      <a:pt x="961935" y="1249960"/>
                    </a:moveTo>
                    <a:cubicBezTo>
                      <a:pt x="961935" y="1249896"/>
                      <a:pt x="962894" y="1249960"/>
                      <a:pt x="964750" y="1249576"/>
                    </a:cubicBezTo>
                    <a:cubicBezTo>
                      <a:pt x="966605" y="1249192"/>
                      <a:pt x="969420" y="1248297"/>
                      <a:pt x="972171" y="1245801"/>
                    </a:cubicBezTo>
                    <a:cubicBezTo>
                      <a:pt x="974922" y="1243370"/>
                      <a:pt x="977482" y="1238956"/>
                      <a:pt x="977162" y="1233326"/>
                    </a:cubicBezTo>
                    <a:cubicBezTo>
                      <a:pt x="977162" y="1227695"/>
                      <a:pt x="977098" y="1221233"/>
                      <a:pt x="977098" y="1213876"/>
                    </a:cubicBezTo>
                    <a:cubicBezTo>
                      <a:pt x="977034" y="1184381"/>
                      <a:pt x="976906" y="1140940"/>
                      <a:pt x="976778" y="1085022"/>
                    </a:cubicBezTo>
                    <a:cubicBezTo>
                      <a:pt x="976650" y="973122"/>
                      <a:pt x="976458" y="811191"/>
                      <a:pt x="976266" y="611192"/>
                    </a:cubicBezTo>
                    <a:cubicBezTo>
                      <a:pt x="976202" y="511193"/>
                      <a:pt x="976138" y="401597"/>
                      <a:pt x="976074" y="284003"/>
                    </a:cubicBezTo>
                    <a:cubicBezTo>
                      <a:pt x="976074" y="225206"/>
                      <a:pt x="976010" y="164362"/>
                      <a:pt x="976010" y="101727"/>
                    </a:cubicBezTo>
                    <a:cubicBezTo>
                      <a:pt x="976010" y="86052"/>
                      <a:pt x="976010" y="70313"/>
                      <a:pt x="976010" y="54382"/>
                    </a:cubicBezTo>
                    <a:cubicBezTo>
                      <a:pt x="976010" y="46449"/>
                      <a:pt x="976010" y="38451"/>
                      <a:pt x="976010" y="30454"/>
                    </a:cubicBezTo>
                    <a:lnTo>
                      <a:pt x="976010" y="18426"/>
                    </a:lnTo>
                    <a:cubicBezTo>
                      <a:pt x="976202" y="14523"/>
                      <a:pt x="975179" y="11004"/>
                      <a:pt x="972811" y="8125"/>
                    </a:cubicBezTo>
                    <a:cubicBezTo>
                      <a:pt x="970508" y="5310"/>
                      <a:pt x="967053" y="3455"/>
                      <a:pt x="963406" y="3071"/>
                    </a:cubicBezTo>
                    <a:cubicBezTo>
                      <a:pt x="959695" y="2943"/>
                      <a:pt x="955409" y="3007"/>
                      <a:pt x="951442" y="3007"/>
                    </a:cubicBezTo>
                    <a:cubicBezTo>
                      <a:pt x="943317" y="3007"/>
                      <a:pt x="935192" y="3007"/>
                      <a:pt x="927066" y="3007"/>
                    </a:cubicBezTo>
                    <a:cubicBezTo>
                      <a:pt x="910752" y="3007"/>
                      <a:pt x="894309" y="3007"/>
                      <a:pt x="877802" y="3007"/>
                    </a:cubicBezTo>
                    <a:cubicBezTo>
                      <a:pt x="613313" y="3071"/>
                      <a:pt x="322528" y="3071"/>
                      <a:pt x="17347" y="3135"/>
                    </a:cubicBezTo>
                    <a:cubicBezTo>
                      <a:pt x="13061" y="3135"/>
                      <a:pt x="8838" y="5118"/>
                      <a:pt x="6279" y="8509"/>
                    </a:cubicBezTo>
                    <a:cubicBezTo>
                      <a:pt x="4999" y="10173"/>
                      <a:pt x="4040" y="12156"/>
                      <a:pt x="3656" y="14267"/>
                    </a:cubicBezTo>
                    <a:cubicBezTo>
                      <a:pt x="3272" y="16251"/>
                      <a:pt x="3400" y="18618"/>
                      <a:pt x="3400" y="21049"/>
                    </a:cubicBezTo>
                    <a:cubicBezTo>
                      <a:pt x="3400" y="30582"/>
                      <a:pt x="3400" y="40051"/>
                      <a:pt x="3400" y="49520"/>
                    </a:cubicBezTo>
                    <a:cubicBezTo>
                      <a:pt x="3400" y="68458"/>
                      <a:pt x="3400" y="87395"/>
                      <a:pt x="3400" y="106269"/>
                    </a:cubicBezTo>
                    <a:cubicBezTo>
                      <a:pt x="3400" y="143953"/>
                      <a:pt x="3400" y="181381"/>
                      <a:pt x="3400" y="218553"/>
                    </a:cubicBezTo>
                    <a:cubicBezTo>
                      <a:pt x="3400" y="292896"/>
                      <a:pt x="3400" y="366152"/>
                      <a:pt x="3400" y="438129"/>
                    </a:cubicBezTo>
                    <a:cubicBezTo>
                      <a:pt x="3336" y="582082"/>
                      <a:pt x="3336" y="720917"/>
                      <a:pt x="3272" y="853162"/>
                    </a:cubicBezTo>
                    <a:cubicBezTo>
                      <a:pt x="3208" y="985406"/>
                      <a:pt x="3144" y="1111125"/>
                      <a:pt x="3144" y="1228719"/>
                    </a:cubicBezTo>
                    <a:lnTo>
                      <a:pt x="3144" y="1234221"/>
                    </a:lnTo>
                    <a:cubicBezTo>
                      <a:pt x="3144" y="1235885"/>
                      <a:pt x="3464" y="1237548"/>
                      <a:pt x="4040" y="1239148"/>
                    </a:cubicBezTo>
                    <a:cubicBezTo>
                      <a:pt x="5191" y="1242283"/>
                      <a:pt x="7494" y="1244970"/>
                      <a:pt x="10373" y="1246569"/>
                    </a:cubicBezTo>
                    <a:cubicBezTo>
                      <a:pt x="13381" y="1248297"/>
                      <a:pt x="16515" y="1248553"/>
                      <a:pt x="20290" y="1248425"/>
                    </a:cubicBezTo>
                    <a:lnTo>
                      <a:pt x="31167" y="1248425"/>
                    </a:lnTo>
                    <a:cubicBezTo>
                      <a:pt x="45626" y="1248425"/>
                      <a:pt x="59957" y="1248425"/>
                      <a:pt x="74097" y="1248425"/>
                    </a:cubicBezTo>
                    <a:cubicBezTo>
                      <a:pt x="102503" y="1248425"/>
                      <a:pt x="130334" y="1248489"/>
                      <a:pt x="157589" y="1248489"/>
                    </a:cubicBezTo>
                    <a:cubicBezTo>
                      <a:pt x="212164" y="1248553"/>
                      <a:pt x="264563" y="1248553"/>
                      <a:pt x="314594" y="1248616"/>
                    </a:cubicBezTo>
                    <a:cubicBezTo>
                      <a:pt x="514593" y="1248808"/>
                      <a:pt x="676460" y="1249000"/>
                      <a:pt x="788360" y="1249128"/>
                    </a:cubicBezTo>
                    <a:cubicBezTo>
                      <a:pt x="844277" y="1249256"/>
                      <a:pt x="887655" y="1249384"/>
                      <a:pt x="917150" y="1249448"/>
                    </a:cubicBezTo>
                    <a:cubicBezTo>
                      <a:pt x="931865" y="1249512"/>
                      <a:pt x="943061" y="1249576"/>
                      <a:pt x="950675" y="1249640"/>
                    </a:cubicBezTo>
                    <a:cubicBezTo>
                      <a:pt x="958096" y="1249832"/>
                      <a:pt x="961935" y="1249960"/>
                      <a:pt x="961935" y="1249960"/>
                    </a:cubicBezTo>
                    <a:cubicBezTo>
                      <a:pt x="961935" y="1249960"/>
                      <a:pt x="958096" y="1250088"/>
                      <a:pt x="950546" y="1250152"/>
                    </a:cubicBezTo>
                    <a:cubicBezTo>
                      <a:pt x="942933" y="1250216"/>
                      <a:pt x="931737" y="1250216"/>
                      <a:pt x="917021" y="1250344"/>
                    </a:cubicBezTo>
                    <a:cubicBezTo>
                      <a:pt x="887527" y="1250408"/>
                      <a:pt x="844086" y="1250536"/>
                      <a:pt x="788231" y="1250664"/>
                    </a:cubicBezTo>
                    <a:cubicBezTo>
                      <a:pt x="676332" y="1250792"/>
                      <a:pt x="514465" y="1250984"/>
                      <a:pt x="314466" y="1251176"/>
                    </a:cubicBezTo>
                    <a:cubicBezTo>
                      <a:pt x="264434" y="1251240"/>
                      <a:pt x="212036" y="1251240"/>
                      <a:pt x="157461" y="1251304"/>
                    </a:cubicBezTo>
                    <a:cubicBezTo>
                      <a:pt x="130142" y="1251304"/>
                      <a:pt x="102311" y="1251368"/>
                      <a:pt x="73969" y="1251368"/>
                    </a:cubicBezTo>
                    <a:cubicBezTo>
                      <a:pt x="59765" y="1251368"/>
                      <a:pt x="45434" y="1251368"/>
                      <a:pt x="31039" y="1251368"/>
                    </a:cubicBezTo>
                    <a:lnTo>
                      <a:pt x="20162" y="1251368"/>
                    </a:lnTo>
                    <a:cubicBezTo>
                      <a:pt x="16707" y="1251496"/>
                      <a:pt x="12293" y="1251240"/>
                      <a:pt x="8902" y="1249192"/>
                    </a:cubicBezTo>
                    <a:cubicBezTo>
                      <a:pt x="5447" y="1247273"/>
                      <a:pt x="2696" y="1244074"/>
                      <a:pt x="1352" y="1240299"/>
                    </a:cubicBezTo>
                    <a:cubicBezTo>
                      <a:pt x="649" y="1238444"/>
                      <a:pt x="329" y="1236460"/>
                      <a:pt x="265" y="1234413"/>
                    </a:cubicBezTo>
                    <a:lnTo>
                      <a:pt x="265" y="1228911"/>
                    </a:lnTo>
                    <a:cubicBezTo>
                      <a:pt x="201" y="1111253"/>
                      <a:pt x="137" y="985598"/>
                      <a:pt x="137" y="853353"/>
                    </a:cubicBezTo>
                    <a:cubicBezTo>
                      <a:pt x="137" y="721109"/>
                      <a:pt x="73" y="582274"/>
                      <a:pt x="9" y="438321"/>
                    </a:cubicBezTo>
                    <a:cubicBezTo>
                      <a:pt x="9" y="366344"/>
                      <a:pt x="9" y="293088"/>
                      <a:pt x="9" y="218745"/>
                    </a:cubicBezTo>
                    <a:cubicBezTo>
                      <a:pt x="9" y="181573"/>
                      <a:pt x="9" y="144145"/>
                      <a:pt x="9" y="106461"/>
                    </a:cubicBezTo>
                    <a:cubicBezTo>
                      <a:pt x="9" y="87587"/>
                      <a:pt x="9" y="68714"/>
                      <a:pt x="9" y="49712"/>
                    </a:cubicBezTo>
                    <a:cubicBezTo>
                      <a:pt x="9" y="40243"/>
                      <a:pt x="9" y="30710"/>
                      <a:pt x="9" y="21241"/>
                    </a:cubicBezTo>
                    <a:cubicBezTo>
                      <a:pt x="73" y="18938"/>
                      <a:pt x="-183" y="16507"/>
                      <a:pt x="329" y="13819"/>
                    </a:cubicBezTo>
                    <a:cubicBezTo>
                      <a:pt x="841" y="11260"/>
                      <a:pt x="1992" y="8765"/>
                      <a:pt x="3592" y="6718"/>
                    </a:cubicBezTo>
                    <a:cubicBezTo>
                      <a:pt x="6791" y="2495"/>
                      <a:pt x="12037" y="0"/>
                      <a:pt x="17283" y="0"/>
                    </a:cubicBezTo>
                    <a:cubicBezTo>
                      <a:pt x="322464" y="64"/>
                      <a:pt x="613249" y="64"/>
                      <a:pt x="877738" y="128"/>
                    </a:cubicBezTo>
                    <a:cubicBezTo>
                      <a:pt x="894245" y="128"/>
                      <a:pt x="910688" y="128"/>
                      <a:pt x="927002" y="128"/>
                    </a:cubicBezTo>
                    <a:cubicBezTo>
                      <a:pt x="935192" y="128"/>
                      <a:pt x="943317" y="128"/>
                      <a:pt x="951378" y="128"/>
                    </a:cubicBezTo>
                    <a:cubicBezTo>
                      <a:pt x="955473" y="192"/>
                      <a:pt x="959312" y="64"/>
                      <a:pt x="963662" y="192"/>
                    </a:cubicBezTo>
                    <a:cubicBezTo>
                      <a:pt x="968077" y="640"/>
                      <a:pt x="972300" y="2879"/>
                      <a:pt x="975051" y="6334"/>
                    </a:cubicBezTo>
                    <a:cubicBezTo>
                      <a:pt x="977930" y="9661"/>
                      <a:pt x="979209" y="14395"/>
                      <a:pt x="978953" y="18554"/>
                    </a:cubicBezTo>
                    <a:lnTo>
                      <a:pt x="978953" y="30582"/>
                    </a:lnTo>
                    <a:cubicBezTo>
                      <a:pt x="978953" y="38579"/>
                      <a:pt x="978953" y="46577"/>
                      <a:pt x="978953" y="54510"/>
                    </a:cubicBezTo>
                    <a:cubicBezTo>
                      <a:pt x="978953" y="70377"/>
                      <a:pt x="978953" y="86180"/>
                      <a:pt x="978953" y="101855"/>
                    </a:cubicBezTo>
                    <a:cubicBezTo>
                      <a:pt x="978953" y="164490"/>
                      <a:pt x="978889" y="225334"/>
                      <a:pt x="978889" y="284131"/>
                    </a:cubicBezTo>
                    <a:cubicBezTo>
                      <a:pt x="978826" y="401725"/>
                      <a:pt x="978761" y="511321"/>
                      <a:pt x="978697" y="611321"/>
                    </a:cubicBezTo>
                    <a:cubicBezTo>
                      <a:pt x="978505" y="811319"/>
                      <a:pt x="978314" y="973186"/>
                      <a:pt x="978185" y="1085150"/>
                    </a:cubicBezTo>
                    <a:cubicBezTo>
                      <a:pt x="978058" y="1141068"/>
                      <a:pt x="977930" y="1184509"/>
                      <a:pt x="977866" y="1214004"/>
                    </a:cubicBezTo>
                    <a:cubicBezTo>
                      <a:pt x="977866" y="1221362"/>
                      <a:pt x="977802" y="1227823"/>
                      <a:pt x="977802" y="1233453"/>
                    </a:cubicBezTo>
                    <a:cubicBezTo>
                      <a:pt x="978058" y="1239212"/>
                      <a:pt x="975370" y="1243690"/>
                      <a:pt x="972491" y="1246185"/>
                    </a:cubicBezTo>
                    <a:cubicBezTo>
                      <a:pt x="969612" y="1248745"/>
                      <a:pt x="966733" y="1249576"/>
                      <a:pt x="964814" y="1249896"/>
                    </a:cubicBezTo>
                    <a:cubicBezTo>
                      <a:pt x="962958" y="1250088"/>
                      <a:pt x="961935" y="1249960"/>
                      <a:pt x="961935" y="1249960"/>
                    </a:cubicBezTo>
                    <a:close/>
                  </a:path>
                </a:pathLst>
              </a:custGeom>
              <a:solidFill>
                <a:srgbClr val="263238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577245C9-B595-47EE-A9C9-F8729AC070DA}"/>
                </a:ext>
              </a:extLst>
            </p:cNvPr>
            <p:cNvSpPr/>
            <p:nvPr/>
          </p:nvSpPr>
          <p:spPr>
            <a:xfrm>
              <a:off x="9776159" y="1663719"/>
              <a:ext cx="966084" cy="353676"/>
            </a:xfrm>
            <a:custGeom>
              <a:avLst/>
              <a:gdLst>
                <a:gd name="connsiteX0" fmla="*/ 0 w 966084"/>
                <a:gd name="connsiteY0" fmla="*/ 0 h 353676"/>
                <a:gd name="connsiteX1" fmla="*/ 966085 w 966084"/>
                <a:gd name="connsiteY1" fmla="*/ 0 h 353676"/>
                <a:gd name="connsiteX2" fmla="*/ 966085 w 966084"/>
                <a:gd name="connsiteY2" fmla="*/ 353677 h 353676"/>
                <a:gd name="connsiteX3" fmla="*/ 0 w 966084"/>
                <a:gd name="connsiteY3" fmla="*/ 353677 h 35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084" h="353676">
                  <a:moveTo>
                    <a:pt x="0" y="0"/>
                  </a:moveTo>
                  <a:lnTo>
                    <a:pt x="966085" y="0"/>
                  </a:lnTo>
                  <a:lnTo>
                    <a:pt x="966085" y="353677"/>
                  </a:lnTo>
                  <a:lnTo>
                    <a:pt x="0" y="353677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CFD5B823-85E7-41F4-89B1-ED90EC972101}"/>
                </a:ext>
              </a:extLst>
            </p:cNvPr>
            <p:cNvSpPr/>
            <p:nvPr/>
          </p:nvSpPr>
          <p:spPr>
            <a:xfrm>
              <a:off x="9797656" y="1544014"/>
              <a:ext cx="228661" cy="59820"/>
            </a:xfrm>
            <a:custGeom>
              <a:avLst/>
              <a:gdLst>
                <a:gd name="connsiteX0" fmla="*/ 0 w 228661"/>
                <a:gd name="connsiteY0" fmla="*/ 0 h 59820"/>
                <a:gd name="connsiteX1" fmla="*/ 228661 w 228661"/>
                <a:gd name="connsiteY1" fmla="*/ 0 h 59820"/>
                <a:gd name="connsiteX2" fmla="*/ 228661 w 228661"/>
                <a:gd name="connsiteY2" fmla="*/ 59821 h 59820"/>
                <a:gd name="connsiteX3" fmla="*/ 0 w 228661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661" h="59820">
                  <a:moveTo>
                    <a:pt x="0" y="0"/>
                  </a:moveTo>
                  <a:lnTo>
                    <a:pt x="228661" y="0"/>
                  </a:lnTo>
                  <a:lnTo>
                    <a:pt x="228661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9BE63401-B979-47CB-AB8C-B6291D42054B}"/>
                </a:ext>
              </a:extLst>
            </p:cNvPr>
            <p:cNvSpPr/>
            <p:nvPr/>
          </p:nvSpPr>
          <p:spPr>
            <a:xfrm>
              <a:off x="10518317" y="1544014"/>
              <a:ext cx="204861" cy="59820"/>
            </a:xfrm>
            <a:custGeom>
              <a:avLst/>
              <a:gdLst>
                <a:gd name="connsiteX0" fmla="*/ 0 w 204861"/>
                <a:gd name="connsiteY0" fmla="*/ 0 h 59820"/>
                <a:gd name="connsiteX1" fmla="*/ 204861 w 204861"/>
                <a:gd name="connsiteY1" fmla="*/ 0 h 59820"/>
                <a:gd name="connsiteX2" fmla="*/ 204861 w 204861"/>
                <a:gd name="connsiteY2" fmla="*/ 59821 h 59820"/>
                <a:gd name="connsiteX3" fmla="*/ 0 w 204861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61" h="59820">
                  <a:moveTo>
                    <a:pt x="0" y="0"/>
                  </a:moveTo>
                  <a:lnTo>
                    <a:pt x="204861" y="0"/>
                  </a:lnTo>
                  <a:lnTo>
                    <a:pt x="204861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B71F336-0767-4D89-9A21-8D4B0C20CEF3}"/>
                </a:ext>
              </a:extLst>
            </p:cNvPr>
            <p:cNvSpPr/>
            <p:nvPr/>
          </p:nvSpPr>
          <p:spPr>
            <a:xfrm>
              <a:off x="10274493" y="1544014"/>
              <a:ext cx="204861" cy="59820"/>
            </a:xfrm>
            <a:custGeom>
              <a:avLst/>
              <a:gdLst>
                <a:gd name="connsiteX0" fmla="*/ 0 w 204861"/>
                <a:gd name="connsiteY0" fmla="*/ 0 h 59820"/>
                <a:gd name="connsiteX1" fmla="*/ 204861 w 204861"/>
                <a:gd name="connsiteY1" fmla="*/ 0 h 59820"/>
                <a:gd name="connsiteX2" fmla="*/ 204861 w 204861"/>
                <a:gd name="connsiteY2" fmla="*/ 59821 h 59820"/>
                <a:gd name="connsiteX3" fmla="*/ 0 w 204861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61" h="59820">
                  <a:moveTo>
                    <a:pt x="0" y="0"/>
                  </a:moveTo>
                  <a:lnTo>
                    <a:pt x="204861" y="0"/>
                  </a:lnTo>
                  <a:lnTo>
                    <a:pt x="204861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1057E12E-8D97-43BB-92BA-6C1DB5507CDD}"/>
                </a:ext>
              </a:extLst>
            </p:cNvPr>
            <p:cNvSpPr/>
            <p:nvPr/>
          </p:nvSpPr>
          <p:spPr>
            <a:xfrm>
              <a:off x="9836172" y="2199608"/>
              <a:ext cx="824818" cy="62699"/>
            </a:xfrm>
            <a:custGeom>
              <a:avLst/>
              <a:gdLst>
                <a:gd name="connsiteX0" fmla="*/ 0 w 824818"/>
                <a:gd name="connsiteY0" fmla="*/ 0 h 62699"/>
                <a:gd name="connsiteX1" fmla="*/ 824819 w 824818"/>
                <a:gd name="connsiteY1" fmla="*/ 0 h 62699"/>
                <a:gd name="connsiteX2" fmla="*/ 824819 w 824818"/>
                <a:gd name="connsiteY2" fmla="*/ 62700 h 62699"/>
                <a:gd name="connsiteX3" fmla="*/ 0 w 824818"/>
                <a:gd name="connsiteY3" fmla="*/ 62700 h 6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818" h="62699">
                  <a:moveTo>
                    <a:pt x="0" y="0"/>
                  </a:moveTo>
                  <a:lnTo>
                    <a:pt x="824819" y="0"/>
                  </a:lnTo>
                  <a:lnTo>
                    <a:pt x="824819" y="62700"/>
                  </a:lnTo>
                  <a:lnTo>
                    <a:pt x="0" y="62700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39CE2B17-8B14-495B-92D5-39A062FA2016}"/>
                </a:ext>
              </a:extLst>
            </p:cNvPr>
            <p:cNvSpPr/>
            <p:nvPr/>
          </p:nvSpPr>
          <p:spPr>
            <a:xfrm>
              <a:off x="9836172" y="2080991"/>
              <a:ext cx="824818" cy="62699"/>
            </a:xfrm>
            <a:custGeom>
              <a:avLst/>
              <a:gdLst>
                <a:gd name="connsiteX0" fmla="*/ 0 w 824818"/>
                <a:gd name="connsiteY0" fmla="*/ 0 h 62699"/>
                <a:gd name="connsiteX1" fmla="*/ 824819 w 824818"/>
                <a:gd name="connsiteY1" fmla="*/ 0 h 62699"/>
                <a:gd name="connsiteX2" fmla="*/ 824819 w 824818"/>
                <a:gd name="connsiteY2" fmla="*/ 62699 h 62699"/>
                <a:gd name="connsiteX3" fmla="*/ 0 w 824818"/>
                <a:gd name="connsiteY3" fmla="*/ 62699 h 6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818" h="62699">
                  <a:moveTo>
                    <a:pt x="0" y="0"/>
                  </a:moveTo>
                  <a:lnTo>
                    <a:pt x="824819" y="0"/>
                  </a:lnTo>
                  <a:lnTo>
                    <a:pt x="824819" y="62699"/>
                  </a:lnTo>
                  <a:lnTo>
                    <a:pt x="0" y="62699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29E479DB-5194-49F4-AE46-F3798BE98AA8}"/>
                </a:ext>
              </a:extLst>
            </p:cNvPr>
            <p:cNvSpPr/>
            <p:nvPr/>
          </p:nvSpPr>
          <p:spPr>
            <a:xfrm>
              <a:off x="9836172" y="2442409"/>
              <a:ext cx="824818" cy="62699"/>
            </a:xfrm>
            <a:custGeom>
              <a:avLst/>
              <a:gdLst>
                <a:gd name="connsiteX0" fmla="*/ 0 w 824818"/>
                <a:gd name="connsiteY0" fmla="*/ 0 h 62699"/>
                <a:gd name="connsiteX1" fmla="*/ 824819 w 824818"/>
                <a:gd name="connsiteY1" fmla="*/ 0 h 62699"/>
                <a:gd name="connsiteX2" fmla="*/ 824819 w 824818"/>
                <a:gd name="connsiteY2" fmla="*/ 62699 h 62699"/>
                <a:gd name="connsiteX3" fmla="*/ 0 w 824818"/>
                <a:gd name="connsiteY3" fmla="*/ 62699 h 6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818" h="62699">
                  <a:moveTo>
                    <a:pt x="0" y="0"/>
                  </a:moveTo>
                  <a:lnTo>
                    <a:pt x="824819" y="0"/>
                  </a:lnTo>
                  <a:lnTo>
                    <a:pt x="824819" y="62699"/>
                  </a:lnTo>
                  <a:lnTo>
                    <a:pt x="0" y="62699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19E2DC8B-59AC-4493-BE72-0491AF427516}"/>
                </a:ext>
              </a:extLst>
            </p:cNvPr>
            <p:cNvSpPr/>
            <p:nvPr/>
          </p:nvSpPr>
          <p:spPr>
            <a:xfrm>
              <a:off x="9836172" y="2323792"/>
              <a:ext cx="824818" cy="62699"/>
            </a:xfrm>
            <a:custGeom>
              <a:avLst/>
              <a:gdLst>
                <a:gd name="connsiteX0" fmla="*/ 0 w 824818"/>
                <a:gd name="connsiteY0" fmla="*/ 0 h 62699"/>
                <a:gd name="connsiteX1" fmla="*/ 824819 w 824818"/>
                <a:gd name="connsiteY1" fmla="*/ 0 h 62699"/>
                <a:gd name="connsiteX2" fmla="*/ 824819 w 824818"/>
                <a:gd name="connsiteY2" fmla="*/ 62700 h 62699"/>
                <a:gd name="connsiteX3" fmla="*/ 0 w 824818"/>
                <a:gd name="connsiteY3" fmla="*/ 62700 h 6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818" h="62699">
                  <a:moveTo>
                    <a:pt x="0" y="0"/>
                  </a:moveTo>
                  <a:lnTo>
                    <a:pt x="824819" y="0"/>
                  </a:lnTo>
                  <a:lnTo>
                    <a:pt x="824819" y="62700"/>
                  </a:lnTo>
                  <a:lnTo>
                    <a:pt x="0" y="62700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107B2B1B-910D-400A-BA25-95C7C5634319}"/>
                </a:ext>
              </a:extLst>
            </p:cNvPr>
            <p:cNvSpPr/>
            <p:nvPr/>
          </p:nvSpPr>
          <p:spPr>
            <a:xfrm>
              <a:off x="10072063" y="1837422"/>
              <a:ext cx="374277" cy="277349"/>
            </a:xfrm>
            <a:custGeom>
              <a:avLst/>
              <a:gdLst>
                <a:gd name="connsiteX0" fmla="*/ 0 w 374277"/>
                <a:gd name="connsiteY0" fmla="*/ 137619 h 277349"/>
                <a:gd name="connsiteX1" fmla="*/ 55470 w 374277"/>
                <a:gd name="connsiteY1" fmla="*/ 82149 h 277349"/>
                <a:gd name="connsiteX2" fmla="*/ 152206 w 374277"/>
                <a:gd name="connsiteY2" fmla="*/ 170312 h 277349"/>
                <a:gd name="connsiteX3" fmla="*/ 322775 w 374277"/>
                <a:gd name="connsiteY3" fmla="*/ 0 h 277349"/>
                <a:gd name="connsiteX4" fmla="*/ 374278 w 374277"/>
                <a:gd name="connsiteY4" fmla="*/ 55470 h 277349"/>
                <a:gd name="connsiteX5" fmla="*/ 144273 w 374277"/>
                <a:gd name="connsiteY5" fmla="*/ 277350 h 27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4277" h="277349">
                  <a:moveTo>
                    <a:pt x="0" y="137619"/>
                  </a:moveTo>
                  <a:lnTo>
                    <a:pt x="55470" y="82149"/>
                  </a:lnTo>
                  <a:lnTo>
                    <a:pt x="152206" y="170312"/>
                  </a:lnTo>
                  <a:lnTo>
                    <a:pt x="322775" y="0"/>
                  </a:lnTo>
                  <a:lnTo>
                    <a:pt x="374278" y="55470"/>
                  </a:lnTo>
                  <a:lnTo>
                    <a:pt x="144273" y="277350"/>
                  </a:ln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109BF5E9-9580-42AC-B166-BECC13E94850}"/>
                </a:ext>
              </a:extLst>
            </p:cNvPr>
            <p:cNvSpPr/>
            <p:nvPr/>
          </p:nvSpPr>
          <p:spPr>
            <a:xfrm>
              <a:off x="10556257" y="1691550"/>
              <a:ext cx="579522" cy="1184317"/>
            </a:xfrm>
            <a:custGeom>
              <a:avLst/>
              <a:gdLst>
                <a:gd name="connsiteX0" fmla="*/ 491360 w 579522"/>
                <a:gd name="connsiteY0" fmla="*/ 1184317 h 1184317"/>
                <a:gd name="connsiteX1" fmla="*/ 87843 w 579522"/>
                <a:gd name="connsiteY1" fmla="*/ 1184062 h 1184317"/>
                <a:gd name="connsiteX2" fmla="*/ 0 w 579522"/>
                <a:gd name="connsiteY2" fmla="*/ 1096410 h 1184317"/>
                <a:gd name="connsiteX3" fmla="*/ 192 w 579522"/>
                <a:gd name="connsiteY3" fmla="*/ 87651 h 1184317"/>
                <a:gd name="connsiteX4" fmla="*/ 88163 w 579522"/>
                <a:gd name="connsiteY4" fmla="*/ 0 h 1184317"/>
                <a:gd name="connsiteX5" fmla="*/ 491679 w 579522"/>
                <a:gd name="connsiteY5" fmla="*/ 256 h 1184317"/>
                <a:gd name="connsiteX6" fmla="*/ 579523 w 579522"/>
                <a:gd name="connsiteY6" fmla="*/ 87907 h 1184317"/>
                <a:gd name="connsiteX7" fmla="*/ 579331 w 579522"/>
                <a:gd name="connsiteY7" fmla="*/ 1096730 h 1184317"/>
                <a:gd name="connsiteX8" fmla="*/ 491360 w 579522"/>
                <a:gd name="connsiteY8" fmla="*/ 1184317 h 118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9522" h="1184317">
                  <a:moveTo>
                    <a:pt x="491360" y="1184317"/>
                  </a:moveTo>
                  <a:lnTo>
                    <a:pt x="87843" y="1184062"/>
                  </a:lnTo>
                  <a:cubicBezTo>
                    <a:pt x="39283" y="1184062"/>
                    <a:pt x="0" y="1144778"/>
                    <a:pt x="0" y="1096410"/>
                  </a:cubicBezTo>
                  <a:lnTo>
                    <a:pt x="192" y="87651"/>
                  </a:lnTo>
                  <a:cubicBezTo>
                    <a:pt x="192" y="39219"/>
                    <a:pt x="39603" y="0"/>
                    <a:pt x="88163" y="0"/>
                  </a:cubicBezTo>
                  <a:lnTo>
                    <a:pt x="491679" y="256"/>
                  </a:lnTo>
                  <a:cubicBezTo>
                    <a:pt x="540240" y="256"/>
                    <a:pt x="579523" y="39539"/>
                    <a:pt x="579523" y="87907"/>
                  </a:cubicBezTo>
                  <a:lnTo>
                    <a:pt x="579331" y="1096730"/>
                  </a:lnTo>
                  <a:cubicBezTo>
                    <a:pt x="579331" y="1145162"/>
                    <a:pt x="539920" y="1184381"/>
                    <a:pt x="491360" y="118431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BC9EBD39-EA70-4210-953D-BE5E5B464572}"/>
                </a:ext>
              </a:extLst>
            </p:cNvPr>
            <p:cNvSpPr/>
            <p:nvPr/>
          </p:nvSpPr>
          <p:spPr>
            <a:xfrm>
              <a:off x="10580056" y="1719956"/>
              <a:ext cx="531859" cy="1116308"/>
            </a:xfrm>
            <a:custGeom>
              <a:avLst/>
              <a:gdLst>
                <a:gd name="connsiteX0" fmla="*/ 470375 w 531859"/>
                <a:gd name="connsiteY0" fmla="*/ 1920 h 1116308"/>
                <a:gd name="connsiteX1" fmla="*/ 391873 w 531859"/>
                <a:gd name="connsiteY1" fmla="*/ 1536 h 1116308"/>
                <a:gd name="connsiteX2" fmla="*/ 372743 w 531859"/>
                <a:gd name="connsiteY2" fmla="*/ 21369 h 1116308"/>
                <a:gd name="connsiteX3" fmla="*/ 372679 w 531859"/>
                <a:gd name="connsiteY3" fmla="*/ 35637 h 1116308"/>
                <a:gd name="connsiteX4" fmla="*/ 353549 w 531859"/>
                <a:gd name="connsiteY4" fmla="*/ 55470 h 1116308"/>
                <a:gd name="connsiteX5" fmla="*/ 200511 w 531859"/>
                <a:gd name="connsiteY5" fmla="*/ 54767 h 1116308"/>
                <a:gd name="connsiteX6" fmla="*/ 181510 w 531859"/>
                <a:gd name="connsiteY6" fmla="*/ 34741 h 1116308"/>
                <a:gd name="connsiteX7" fmla="*/ 181573 w 531859"/>
                <a:gd name="connsiteY7" fmla="*/ 20474 h 1116308"/>
                <a:gd name="connsiteX8" fmla="*/ 162572 w 531859"/>
                <a:gd name="connsiteY8" fmla="*/ 448 h 1116308"/>
                <a:gd name="connsiteX9" fmla="*/ 134933 w 531859"/>
                <a:gd name="connsiteY9" fmla="*/ 320 h 1116308"/>
                <a:gd name="connsiteX10" fmla="*/ 66219 w 531859"/>
                <a:gd name="connsiteY10" fmla="*/ 0 h 1116308"/>
                <a:gd name="connsiteX11" fmla="*/ 4159 w 531859"/>
                <a:gd name="connsiteY11" fmla="*/ 61484 h 1116308"/>
                <a:gd name="connsiteX12" fmla="*/ 0 w 531859"/>
                <a:gd name="connsiteY12" fmla="*/ 1052393 h 1116308"/>
                <a:gd name="connsiteX13" fmla="*/ 61485 w 531859"/>
                <a:gd name="connsiteY13" fmla="*/ 1114453 h 1116308"/>
                <a:gd name="connsiteX14" fmla="*/ 465641 w 531859"/>
                <a:gd name="connsiteY14" fmla="*/ 1116308 h 1116308"/>
                <a:gd name="connsiteX15" fmla="*/ 527700 w 531859"/>
                <a:gd name="connsiteY15" fmla="*/ 1054824 h 1116308"/>
                <a:gd name="connsiteX16" fmla="*/ 531859 w 531859"/>
                <a:gd name="connsiteY16" fmla="*/ 63916 h 1116308"/>
                <a:gd name="connsiteX17" fmla="*/ 470375 w 531859"/>
                <a:gd name="connsiteY17" fmla="*/ 1920 h 111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31859" h="1116308">
                  <a:moveTo>
                    <a:pt x="470375" y="1920"/>
                  </a:moveTo>
                  <a:lnTo>
                    <a:pt x="391873" y="1536"/>
                  </a:lnTo>
                  <a:cubicBezTo>
                    <a:pt x="381316" y="1472"/>
                    <a:pt x="372743" y="10365"/>
                    <a:pt x="372743" y="21369"/>
                  </a:cubicBezTo>
                  <a:lnTo>
                    <a:pt x="372679" y="35637"/>
                  </a:lnTo>
                  <a:cubicBezTo>
                    <a:pt x="372615" y="46641"/>
                    <a:pt x="364042" y="55534"/>
                    <a:pt x="353549" y="55470"/>
                  </a:cubicBezTo>
                  <a:lnTo>
                    <a:pt x="200511" y="54767"/>
                  </a:lnTo>
                  <a:cubicBezTo>
                    <a:pt x="189954" y="54703"/>
                    <a:pt x="181510" y="45745"/>
                    <a:pt x="181510" y="34741"/>
                  </a:cubicBezTo>
                  <a:lnTo>
                    <a:pt x="181573" y="20474"/>
                  </a:lnTo>
                  <a:cubicBezTo>
                    <a:pt x="181637" y="9469"/>
                    <a:pt x="173128" y="512"/>
                    <a:pt x="162572" y="448"/>
                  </a:cubicBezTo>
                  <a:lnTo>
                    <a:pt x="134933" y="320"/>
                  </a:lnTo>
                  <a:lnTo>
                    <a:pt x="66219" y="0"/>
                  </a:lnTo>
                  <a:cubicBezTo>
                    <a:pt x="32118" y="-128"/>
                    <a:pt x="4287" y="27384"/>
                    <a:pt x="4159" y="61484"/>
                  </a:cubicBezTo>
                  <a:lnTo>
                    <a:pt x="0" y="1052393"/>
                  </a:lnTo>
                  <a:cubicBezTo>
                    <a:pt x="-127" y="1086494"/>
                    <a:pt x="27384" y="1114261"/>
                    <a:pt x="61485" y="1114453"/>
                  </a:cubicBezTo>
                  <a:lnTo>
                    <a:pt x="465641" y="1116308"/>
                  </a:lnTo>
                  <a:cubicBezTo>
                    <a:pt x="499742" y="1116436"/>
                    <a:pt x="527572" y="1088925"/>
                    <a:pt x="527700" y="1054824"/>
                  </a:cubicBezTo>
                  <a:lnTo>
                    <a:pt x="531859" y="63916"/>
                  </a:lnTo>
                  <a:cubicBezTo>
                    <a:pt x="532051" y="29879"/>
                    <a:pt x="504540" y="2112"/>
                    <a:pt x="470375" y="1920"/>
                  </a:cubicBezTo>
                  <a:close/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DB9D3BBD-F05F-4C7E-9B16-D846B3A667A9}"/>
                </a:ext>
              </a:extLst>
            </p:cNvPr>
            <p:cNvSpPr/>
            <p:nvPr/>
          </p:nvSpPr>
          <p:spPr>
            <a:xfrm>
              <a:off x="10583064" y="1898266"/>
              <a:ext cx="525908" cy="192513"/>
            </a:xfrm>
            <a:custGeom>
              <a:avLst/>
              <a:gdLst>
                <a:gd name="connsiteX0" fmla="*/ 0 w 525908"/>
                <a:gd name="connsiteY0" fmla="*/ 0 h 192513"/>
                <a:gd name="connsiteX1" fmla="*/ 525908 w 525908"/>
                <a:gd name="connsiteY1" fmla="*/ 0 h 192513"/>
                <a:gd name="connsiteX2" fmla="*/ 525908 w 525908"/>
                <a:gd name="connsiteY2" fmla="*/ 192513 h 192513"/>
                <a:gd name="connsiteX3" fmla="*/ 0 w 525908"/>
                <a:gd name="connsiteY3" fmla="*/ 192513 h 19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5908" h="192513">
                  <a:moveTo>
                    <a:pt x="0" y="0"/>
                  </a:moveTo>
                  <a:lnTo>
                    <a:pt x="525908" y="0"/>
                  </a:lnTo>
                  <a:lnTo>
                    <a:pt x="525908" y="192513"/>
                  </a:lnTo>
                  <a:lnTo>
                    <a:pt x="0" y="192513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F5E48179-144C-4D4E-9970-CE1148A1CD6C}"/>
                </a:ext>
              </a:extLst>
            </p:cNvPr>
            <p:cNvSpPr/>
            <p:nvPr/>
          </p:nvSpPr>
          <p:spPr>
            <a:xfrm>
              <a:off x="10594772" y="1833136"/>
              <a:ext cx="124439" cy="32565"/>
            </a:xfrm>
            <a:custGeom>
              <a:avLst/>
              <a:gdLst>
                <a:gd name="connsiteX0" fmla="*/ 0 w 124439"/>
                <a:gd name="connsiteY0" fmla="*/ 0 h 32565"/>
                <a:gd name="connsiteX1" fmla="*/ 124440 w 124439"/>
                <a:gd name="connsiteY1" fmla="*/ 0 h 32565"/>
                <a:gd name="connsiteX2" fmla="*/ 124440 w 124439"/>
                <a:gd name="connsiteY2" fmla="*/ 32565 h 32565"/>
                <a:gd name="connsiteX3" fmla="*/ 0 w 124439"/>
                <a:gd name="connsiteY3" fmla="*/ 32565 h 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39" h="32565">
                  <a:moveTo>
                    <a:pt x="0" y="0"/>
                  </a:moveTo>
                  <a:lnTo>
                    <a:pt x="124440" y="0"/>
                  </a:lnTo>
                  <a:lnTo>
                    <a:pt x="124440" y="32565"/>
                  </a:lnTo>
                  <a:lnTo>
                    <a:pt x="0" y="32565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09DB1B34-04FD-420E-95F8-C65E9C0F73F8}"/>
                </a:ext>
              </a:extLst>
            </p:cNvPr>
            <p:cNvSpPr/>
            <p:nvPr/>
          </p:nvSpPr>
          <p:spPr>
            <a:xfrm>
              <a:off x="10987028" y="1833136"/>
              <a:ext cx="111515" cy="32565"/>
            </a:xfrm>
            <a:custGeom>
              <a:avLst/>
              <a:gdLst>
                <a:gd name="connsiteX0" fmla="*/ 0 w 111515"/>
                <a:gd name="connsiteY0" fmla="*/ 0 h 32565"/>
                <a:gd name="connsiteX1" fmla="*/ 111516 w 111515"/>
                <a:gd name="connsiteY1" fmla="*/ 0 h 32565"/>
                <a:gd name="connsiteX2" fmla="*/ 111516 w 111515"/>
                <a:gd name="connsiteY2" fmla="*/ 32565 h 32565"/>
                <a:gd name="connsiteX3" fmla="*/ 0 w 111515"/>
                <a:gd name="connsiteY3" fmla="*/ 32565 h 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515" h="32565">
                  <a:moveTo>
                    <a:pt x="0" y="0"/>
                  </a:moveTo>
                  <a:lnTo>
                    <a:pt x="111516" y="0"/>
                  </a:lnTo>
                  <a:lnTo>
                    <a:pt x="111516" y="32565"/>
                  </a:lnTo>
                  <a:lnTo>
                    <a:pt x="0" y="32565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4E693ADC-31CD-4519-8A6D-AEB98D8EF7AE}"/>
                </a:ext>
              </a:extLst>
            </p:cNvPr>
            <p:cNvSpPr/>
            <p:nvPr/>
          </p:nvSpPr>
          <p:spPr>
            <a:xfrm>
              <a:off x="10854335" y="1833136"/>
              <a:ext cx="111515" cy="32565"/>
            </a:xfrm>
            <a:custGeom>
              <a:avLst/>
              <a:gdLst>
                <a:gd name="connsiteX0" fmla="*/ 0 w 111515"/>
                <a:gd name="connsiteY0" fmla="*/ 0 h 32565"/>
                <a:gd name="connsiteX1" fmla="*/ 111516 w 111515"/>
                <a:gd name="connsiteY1" fmla="*/ 0 h 32565"/>
                <a:gd name="connsiteX2" fmla="*/ 111516 w 111515"/>
                <a:gd name="connsiteY2" fmla="*/ 32565 h 32565"/>
                <a:gd name="connsiteX3" fmla="*/ 0 w 111515"/>
                <a:gd name="connsiteY3" fmla="*/ 32565 h 3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515" h="32565">
                  <a:moveTo>
                    <a:pt x="0" y="0"/>
                  </a:moveTo>
                  <a:lnTo>
                    <a:pt x="111516" y="0"/>
                  </a:lnTo>
                  <a:lnTo>
                    <a:pt x="111516" y="32565"/>
                  </a:lnTo>
                  <a:lnTo>
                    <a:pt x="0" y="32565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73AFF0A-968A-413E-85B8-D667B415C9D5}"/>
                </a:ext>
              </a:extLst>
            </p:cNvPr>
            <p:cNvSpPr/>
            <p:nvPr/>
          </p:nvSpPr>
          <p:spPr>
            <a:xfrm>
              <a:off x="10615757" y="2189947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616A3EAB-302F-46C8-A039-E87F6501A8FD}"/>
                </a:ext>
              </a:extLst>
            </p:cNvPr>
            <p:cNvSpPr/>
            <p:nvPr/>
          </p:nvSpPr>
          <p:spPr>
            <a:xfrm>
              <a:off x="10615757" y="2125392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05F7D25-D62B-4FD4-88AB-F6E1BE2E77A8}"/>
                </a:ext>
              </a:extLst>
            </p:cNvPr>
            <p:cNvSpPr/>
            <p:nvPr/>
          </p:nvSpPr>
          <p:spPr>
            <a:xfrm>
              <a:off x="10615757" y="2322128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A95C315-D43A-47BF-AB10-75BB4B0C7678}"/>
                </a:ext>
              </a:extLst>
            </p:cNvPr>
            <p:cNvSpPr/>
            <p:nvPr/>
          </p:nvSpPr>
          <p:spPr>
            <a:xfrm>
              <a:off x="10615757" y="2382524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F475DA62-1C54-49AB-8A2A-89E35660D207}"/>
                </a:ext>
              </a:extLst>
            </p:cNvPr>
            <p:cNvSpPr/>
            <p:nvPr/>
          </p:nvSpPr>
          <p:spPr>
            <a:xfrm>
              <a:off x="10615757" y="2451494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7A67CD94-3B9A-4F54-821F-9A519DDAC649}"/>
                </a:ext>
              </a:extLst>
            </p:cNvPr>
            <p:cNvSpPr/>
            <p:nvPr/>
          </p:nvSpPr>
          <p:spPr>
            <a:xfrm>
              <a:off x="10615757" y="2520527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11FE0051-CB27-49B1-A643-49D2EE78D56B}"/>
                </a:ext>
              </a:extLst>
            </p:cNvPr>
            <p:cNvSpPr/>
            <p:nvPr/>
          </p:nvSpPr>
          <p:spPr>
            <a:xfrm>
              <a:off x="10615757" y="2589497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F04D2244-9E29-4DDC-A980-C052710037DA}"/>
                </a:ext>
              </a:extLst>
            </p:cNvPr>
            <p:cNvSpPr/>
            <p:nvPr/>
          </p:nvSpPr>
          <p:spPr>
            <a:xfrm>
              <a:off x="10615757" y="2257573"/>
              <a:ext cx="449005" cy="34100"/>
            </a:xfrm>
            <a:custGeom>
              <a:avLst/>
              <a:gdLst>
                <a:gd name="connsiteX0" fmla="*/ 0 w 449005"/>
                <a:gd name="connsiteY0" fmla="*/ 0 h 34100"/>
                <a:gd name="connsiteX1" fmla="*/ 449005 w 449005"/>
                <a:gd name="connsiteY1" fmla="*/ 0 h 34100"/>
                <a:gd name="connsiteX2" fmla="*/ 449005 w 449005"/>
                <a:gd name="connsiteY2" fmla="*/ 34101 h 34100"/>
                <a:gd name="connsiteX3" fmla="*/ 0 w 449005"/>
                <a:gd name="connsiteY3" fmla="*/ 34101 h 3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05" h="34100">
                  <a:moveTo>
                    <a:pt x="0" y="0"/>
                  </a:moveTo>
                  <a:lnTo>
                    <a:pt x="449005" y="0"/>
                  </a:lnTo>
                  <a:lnTo>
                    <a:pt x="449005" y="34101"/>
                  </a:lnTo>
                  <a:lnTo>
                    <a:pt x="0" y="3410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3C661E88-9787-4FB5-AD22-5A66D6AAFEFD}"/>
                </a:ext>
              </a:extLst>
            </p:cNvPr>
            <p:cNvSpPr/>
            <p:nvPr/>
          </p:nvSpPr>
          <p:spPr>
            <a:xfrm>
              <a:off x="10703601" y="2191291"/>
              <a:ext cx="331859" cy="241905"/>
            </a:xfrm>
            <a:custGeom>
              <a:avLst/>
              <a:gdLst>
                <a:gd name="connsiteX0" fmla="*/ 0 w 331859"/>
                <a:gd name="connsiteY0" fmla="*/ 127191 h 241905"/>
                <a:gd name="connsiteX1" fmla="*/ 43442 w 331859"/>
                <a:gd name="connsiteY1" fmla="*/ 83749 h 241905"/>
                <a:gd name="connsiteX2" fmla="*/ 127190 w 331859"/>
                <a:gd name="connsiteY2" fmla="*/ 158156 h 241905"/>
                <a:gd name="connsiteX3" fmla="*/ 291552 w 331859"/>
                <a:gd name="connsiteY3" fmla="*/ 0 h 241905"/>
                <a:gd name="connsiteX4" fmla="*/ 331860 w 331859"/>
                <a:gd name="connsiteY4" fmla="*/ 43442 h 241905"/>
                <a:gd name="connsiteX5" fmla="*/ 120984 w 331859"/>
                <a:gd name="connsiteY5" fmla="*/ 241905 h 24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859" h="241905">
                  <a:moveTo>
                    <a:pt x="0" y="127191"/>
                  </a:moveTo>
                  <a:lnTo>
                    <a:pt x="43442" y="83749"/>
                  </a:lnTo>
                  <a:lnTo>
                    <a:pt x="127190" y="158156"/>
                  </a:lnTo>
                  <a:lnTo>
                    <a:pt x="291552" y="0"/>
                  </a:lnTo>
                  <a:lnTo>
                    <a:pt x="331860" y="43442"/>
                  </a:lnTo>
                  <a:lnTo>
                    <a:pt x="120984" y="241905"/>
                  </a:ln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6FA6D216-3260-4BC3-87D6-DD02A030F891}"/>
                </a:ext>
              </a:extLst>
            </p:cNvPr>
            <p:cNvSpPr/>
            <p:nvPr/>
          </p:nvSpPr>
          <p:spPr>
            <a:xfrm>
              <a:off x="6912966" y="1692702"/>
              <a:ext cx="1747653" cy="1155718"/>
            </a:xfrm>
            <a:custGeom>
              <a:avLst/>
              <a:gdLst>
                <a:gd name="connsiteX0" fmla="*/ 1654436 w 1747653"/>
                <a:gd name="connsiteY0" fmla="*/ 1155719 h 1155718"/>
                <a:gd name="connsiteX1" fmla="*/ 93218 w 1747653"/>
                <a:gd name="connsiteY1" fmla="*/ 1155719 h 1155718"/>
                <a:gd name="connsiteX2" fmla="*/ 0 w 1747653"/>
                <a:gd name="connsiteY2" fmla="*/ 1062501 h 1155718"/>
                <a:gd name="connsiteX3" fmla="*/ 0 w 1747653"/>
                <a:gd name="connsiteY3" fmla="*/ 93218 h 1155718"/>
                <a:gd name="connsiteX4" fmla="*/ 93218 w 1747653"/>
                <a:gd name="connsiteY4" fmla="*/ 0 h 1155718"/>
                <a:gd name="connsiteX5" fmla="*/ 1654436 w 1747653"/>
                <a:gd name="connsiteY5" fmla="*/ 0 h 1155718"/>
                <a:gd name="connsiteX6" fmla="*/ 1747653 w 1747653"/>
                <a:gd name="connsiteY6" fmla="*/ 93218 h 1155718"/>
                <a:gd name="connsiteX7" fmla="*/ 1747653 w 1747653"/>
                <a:gd name="connsiteY7" fmla="*/ 1062501 h 1155718"/>
                <a:gd name="connsiteX8" fmla="*/ 1654436 w 1747653"/>
                <a:gd name="connsiteY8" fmla="*/ 1155719 h 115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7653" h="1155718">
                  <a:moveTo>
                    <a:pt x="1654436" y="1155719"/>
                  </a:moveTo>
                  <a:lnTo>
                    <a:pt x="93218" y="1155719"/>
                  </a:lnTo>
                  <a:cubicBezTo>
                    <a:pt x="41714" y="1155719"/>
                    <a:pt x="0" y="1114004"/>
                    <a:pt x="0" y="1062501"/>
                  </a:cubicBezTo>
                  <a:lnTo>
                    <a:pt x="0" y="93218"/>
                  </a:lnTo>
                  <a:cubicBezTo>
                    <a:pt x="0" y="41714"/>
                    <a:pt x="41714" y="0"/>
                    <a:pt x="93218" y="0"/>
                  </a:cubicBezTo>
                  <a:lnTo>
                    <a:pt x="1654436" y="0"/>
                  </a:lnTo>
                  <a:cubicBezTo>
                    <a:pt x="1705939" y="0"/>
                    <a:pt x="1747653" y="41714"/>
                    <a:pt x="1747653" y="93218"/>
                  </a:cubicBezTo>
                  <a:lnTo>
                    <a:pt x="1747653" y="1062501"/>
                  </a:lnTo>
                  <a:cubicBezTo>
                    <a:pt x="1747653" y="1114004"/>
                    <a:pt x="1705875" y="1155719"/>
                    <a:pt x="1654436" y="1155719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4599DDEF-7944-4446-846A-15080B61952A}"/>
                </a:ext>
              </a:extLst>
            </p:cNvPr>
            <p:cNvSpPr/>
            <p:nvPr/>
          </p:nvSpPr>
          <p:spPr>
            <a:xfrm>
              <a:off x="6844637" y="2773821"/>
              <a:ext cx="1893461" cy="101086"/>
            </a:xfrm>
            <a:custGeom>
              <a:avLst/>
              <a:gdLst>
                <a:gd name="connsiteX0" fmla="*/ 1796853 w 1893461"/>
                <a:gd name="connsiteY0" fmla="*/ 101087 h 101086"/>
                <a:gd name="connsiteX1" fmla="*/ 96608 w 1893461"/>
                <a:gd name="connsiteY1" fmla="*/ 101087 h 101086"/>
                <a:gd name="connsiteX2" fmla="*/ 0 w 1893461"/>
                <a:gd name="connsiteY2" fmla="*/ 4478 h 101086"/>
                <a:gd name="connsiteX3" fmla="*/ 0 w 1893461"/>
                <a:gd name="connsiteY3" fmla="*/ 0 h 101086"/>
                <a:gd name="connsiteX4" fmla="*/ 1893462 w 1893461"/>
                <a:gd name="connsiteY4" fmla="*/ 0 h 101086"/>
                <a:gd name="connsiteX5" fmla="*/ 1893462 w 1893461"/>
                <a:gd name="connsiteY5" fmla="*/ 4478 h 101086"/>
                <a:gd name="connsiteX6" fmla="*/ 1796853 w 1893461"/>
                <a:gd name="connsiteY6" fmla="*/ 101087 h 10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3461" h="101086">
                  <a:moveTo>
                    <a:pt x="1796853" y="101087"/>
                  </a:moveTo>
                  <a:lnTo>
                    <a:pt x="96608" y="101087"/>
                  </a:lnTo>
                  <a:cubicBezTo>
                    <a:pt x="43250" y="101087"/>
                    <a:pt x="0" y="57837"/>
                    <a:pt x="0" y="4478"/>
                  </a:cubicBezTo>
                  <a:lnTo>
                    <a:pt x="0" y="0"/>
                  </a:lnTo>
                  <a:lnTo>
                    <a:pt x="1893462" y="0"/>
                  </a:lnTo>
                  <a:lnTo>
                    <a:pt x="1893462" y="4478"/>
                  </a:lnTo>
                  <a:cubicBezTo>
                    <a:pt x="1893462" y="57837"/>
                    <a:pt x="1850212" y="101087"/>
                    <a:pt x="1796853" y="10108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38DB4FEC-76F9-418E-8194-58B1B3AE9E2E}"/>
                </a:ext>
              </a:extLst>
            </p:cNvPr>
            <p:cNvSpPr/>
            <p:nvPr/>
          </p:nvSpPr>
          <p:spPr>
            <a:xfrm>
              <a:off x="6959863" y="1738639"/>
              <a:ext cx="1648933" cy="976001"/>
            </a:xfrm>
            <a:custGeom>
              <a:avLst/>
              <a:gdLst>
                <a:gd name="connsiteX0" fmla="*/ 0 w 1648933"/>
                <a:gd name="connsiteY0" fmla="*/ 0 h 976001"/>
                <a:gd name="connsiteX1" fmla="*/ 1648934 w 1648933"/>
                <a:gd name="connsiteY1" fmla="*/ 0 h 976001"/>
                <a:gd name="connsiteX2" fmla="*/ 1648934 w 1648933"/>
                <a:gd name="connsiteY2" fmla="*/ 976002 h 976001"/>
                <a:gd name="connsiteX3" fmla="*/ 0 w 1648933"/>
                <a:gd name="connsiteY3" fmla="*/ 976002 h 97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8933" h="976001">
                  <a:moveTo>
                    <a:pt x="0" y="0"/>
                  </a:moveTo>
                  <a:lnTo>
                    <a:pt x="1648934" y="0"/>
                  </a:lnTo>
                  <a:lnTo>
                    <a:pt x="1648934" y="976002"/>
                  </a:lnTo>
                  <a:lnTo>
                    <a:pt x="0" y="976002"/>
                  </a:ln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A9E3D79A-86AC-4C53-A27F-C8A2A8DB227D}"/>
                </a:ext>
              </a:extLst>
            </p:cNvPr>
            <p:cNvSpPr/>
            <p:nvPr/>
          </p:nvSpPr>
          <p:spPr>
            <a:xfrm>
              <a:off x="7614497" y="2762944"/>
              <a:ext cx="375941" cy="37427"/>
            </a:xfrm>
            <a:custGeom>
              <a:avLst/>
              <a:gdLst>
                <a:gd name="connsiteX0" fmla="*/ 0 w 375941"/>
                <a:gd name="connsiteY0" fmla="*/ 0 h 37427"/>
                <a:gd name="connsiteX1" fmla="*/ 23480 w 375941"/>
                <a:gd name="connsiteY1" fmla="*/ 37428 h 37427"/>
                <a:gd name="connsiteX2" fmla="*/ 354124 w 375941"/>
                <a:gd name="connsiteY2" fmla="*/ 37428 h 37427"/>
                <a:gd name="connsiteX3" fmla="*/ 375941 w 375941"/>
                <a:gd name="connsiteY3" fmla="*/ 0 h 3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941" h="37427">
                  <a:moveTo>
                    <a:pt x="0" y="0"/>
                  </a:moveTo>
                  <a:lnTo>
                    <a:pt x="23480" y="37428"/>
                  </a:lnTo>
                  <a:lnTo>
                    <a:pt x="354124" y="37428"/>
                  </a:lnTo>
                  <a:lnTo>
                    <a:pt x="375941" y="0"/>
                  </a:ln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4" name="Graphic 2">
              <a:extLst>
                <a:ext uri="{FF2B5EF4-FFF2-40B4-BE49-F238E27FC236}">
                  <a16:creationId xmlns:a16="http://schemas.microsoft.com/office/drawing/2014/main" id="{3A5A28A2-49DE-4003-953D-71DD0E53FE83}"/>
                </a:ext>
              </a:extLst>
            </p:cNvPr>
            <p:cNvGrpSpPr/>
            <p:nvPr/>
          </p:nvGrpSpPr>
          <p:grpSpPr>
            <a:xfrm>
              <a:off x="6992108" y="1771716"/>
              <a:ext cx="1586106" cy="941196"/>
              <a:chOff x="6992108" y="1771716"/>
              <a:chExt cx="1586106" cy="941196"/>
            </a:xfrm>
          </p:grpSpPr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2705B60-C081-4B51-BE3B-8899D5B30563}"/>
                  </a:ext>
                </a:extLst>
              </p:cNvPr>
              <p:cNvSpPr/>
              <p:nvPr/>
            </p:nvSpPr>
            <p:spPr>
              <a:xfrm>
                <a:off x="6993836" y="1771716"/>
                <a:ext cx="1584378" cy="939789"/>
              </a:xfrm>
              <a:custGeom>
                <a:avLst/>
                <a:gdLst>
                  <a:gd name="connsiteX0" fmla="*/ 1563458 w 1584378"/>
                  <a:gd name="connsiteY0" fmla="*/ 939789 h 939789"/>
                  <a:gd name="connsiteX1" fmla="*/ 20921 w 1584378"/>
                  <a:gd name="connsiteY1" fmla="*/ 939789 h 939789"/>
                  <a:gd name="connsiteX2" fmla="*/ 0 w 1584378"/>
                  <a:gd name="connsiteY2" fmla="*/ 918868 h 939789"/>
                  <a:gd name="connsiteX3" fmla="*/ 0 w 1584378"/>
                  <a:gd name="connsiteY3" fmla="*/ 20921 h 939789"/>
                  <a:gd name="connsiteX4" fmla="*/ 20921 w 1584378"/>
                  <a:gd name="connsiteY4" fmla="*/ 0 h 939789"/>
                  <a:gd name="connsiteX5" fmla="*/ 1563458 w 1584378"/>
                  <a:gd name="connsiteY5" fmla="*/ 0 h 939789"/>
                  <a:gd name="connsiteX6" fmla="*/ 1584379 w 1584378"/>
                  <a:gd name="connsiteY6" fmla="*/ 20921 h 939789"/>
                  <a:gd name="connsiteX7" fmla="*/ 1584379 w 1584378"/>
                  <a:gd name="connsiteY7" fmla="*/ 918868 h 939789"/>
                  <a:gd name="connsiteX8" fmla="*/ 1563458 w 1584378"/>
                  <a:gd name="connsiteY8" fmla="*/ 939789 h 93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84378" h="939789">
                    <a:moveTo>
                      <a:pt x="1563458" y="939789"/>
                    </a:moveTo>
                    <a:lnTo>
                      <a:pt x="20921" y="939789"/>
                    </a:lnTo>
                    <a:cubicBezTo>
                      <a:pt x="9341" y="939789"/>
                      <a:pt x="0" y="930384"/>
                      <a:pt x="0" y="918868"/>
                    </a:cubicBezTo>
                    <a:lnTo>
                      <a:pt x="0" y="20921"/>
                    </a:lnTo>
                    <a:cubicBezTo>
                      <a:pt x="0" y="9341"/>
                      <a:pt x="9405" y="0"/>
                      <a:pt x="20921" y="0"/>
                    </a:cubicBezTo>
                    <a:lnTo>
                      <a:pt x="1563458" y="0"/>
                    </a:lnTo>
                    <a:cubicBezTo>
                      <a:pt x="1575038" y="0"/>
                      <a:pt x="1584379" y="9405"/>
                      <a:pt x="1584379" y="20921"/>
                    </a:cubicBezTo>
                    <a:lnTo>
                      <a:pt x="1584379" y="918868"/>
                    </a:lnTo>
                    <a:cubicBezTo>
                      <a:pt x="1584379" y="930448"/>
                      <a:pt x="1575038" y="939789"/>
                      <a:pt x="1563458" y="939789"/>
                    </a:cubicBezTo>
                    <a:close/>
                  </a:path>
                </a:pathLst>
              </a:custGeom>
              <a:solidFill>
                <a:srgbClr val="EBEBEB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9E736138-9CC4-4420-970C-8EB99A17BDB1}"/>
                  </a:ext>
                </a:extLst>
              </p:cNvPr>
              <p:cNvSpPr/>
              <p:nvPr/>
            </p:nvSpPr>
            <p:spPr>
              <a:xfrm>
                <a:off x="6992108" y="1841965"/>
                <a:ext cx="1584442" cy="870947"/>
              </a:xfrm>
              <a:custGeom>
                <a:avLst/>
                <a:gdLst>
                  <a:gd name="connsiteX0" fmla="*/ 1584443 w 1584442"/>
                  <a:gd name="connsiteY0" fmla="*/ 870948 h 870947"/>
                  <a:gd name="connsiteX1" fmla="*/ 0 w 1584442"/>
                  <a:gd name="connsiteY1" fmla="*/ 870948 h 870947"/>
                  <a:gd name="connsiteX2" fmla="*/ 1727 w 1584442"/>
                  <a:gd name="connsiteY2" fmla="*/ 0 h 870947"/>
                  <a:gd name="connsiteX3" fmla="*/ 1584443 w 1584442"/>
                  <a:gd name="connsiteY3" fmla="*/ 0 h 870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84442" h="870947">
                    <a:moveTo>
                      <a:pt x="1584443" y="870948"/>
                    </a:moveTo>
                    <a:lnTo>
                      <a:pt x="0" y="870948"/>
                    </a:lnTo>
                    <a:lnTo>
                      <a:pt x="1727" y="0"/>
                    </a:lnTo>
                    <a:lnTo>
                      <a:pt x="15844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03F3D03A-B0B4-4BAB-9E13-D6BA1723387F}"/>
                  </a:ext>
                </a:extLst>
              </p:cNvPr>
              <p:cNvSpPr/>
              <p:nvPr/>
            </p:nvSpPr>
            <p:spPr>
              <a:xfrm>
                <a:off x="7098442" y="1795324"/>
                <a:ext cx="25335" cy="25335"/>
              </a:xfrm>
              <a:custGeom>
                <a:avLst/>
                <a:gdLst>
                  <a:gd name="connsiteX0" fmla="*/ 25336 w 25335"/>
                  <a:gd name="connsiteY0" fmla="*/ 12668 h 25335"/>
                  <a:gd name="connsiteX1" fmla="*/ 12668 w 25335"/>
                  <a:gd name="connsiteY1" fmla="*/ 25336 h 25335"/>
                  <a:gd name="connsiteX2" fmla="*/ 0 w 25335"/>
                  <a:gd name="connsiteY2" fmla="*/ 12668 h 25335"/>
                  <a:gd name="connsiteX3" fmla="*/ 12668 w 25335"/>
                  <a:gd name="connsiteY3" fmla="*/ 0 h 25335"/>
                  <a:gd name="connsiteX4" fmla="*/ 25336 w 25335"/>
                  <a:gd name="connsiteY4" fmla="*/ 12668 h 25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35" h="25335">
                    <a:moveTo>
                      <a:pt x="25336" y="12668"/>
                    </a:moveTo>
                    <a:cubicBezTo>
                      <a:pt x="25336" y="19642"/>
                      <a:pt x="19642" y="25336"/>
                      <a:pt x="12668" y="25336"/>
                    </a:cubicBezTo>
                    <a:cubicBezTo>
                      <a:pt x="5694" y="25336"/>
                      <a:pt x="0" y="19642"/>
                      <a:pt x="0" y="12668"/>
                    </a:cubicBezTo>
                    <a:cubicBezTo>
                      <a:pt x="0" y="5694"/>
                      <a:pt x="5694" y="0"/>
                      <a:pt x="12668" y="0"/>
                    </a:cubicBezTo>
                    <a:cubicBezTo>
                      <a:pt x="19642" y="0"/>
                      <a:pt x="25336" y="5694"/>
                      <a:pt x="25336" y="12668"/>
                    </a:cubicBezTo>
                    <a:close/>
                  </a:path>
                </a:pathLst>
              </a:custGeom>
              <a:solidFill>
                <a:srgbClr val="263238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973D0185-1464-48BF-84F8-4D78BDD189C2}"/>
                  </a:ext>
                </a:extLst>
              </p:cNvPr>
              <p:cNvSpPr/>
              <p:nvPr/>
            </p:nvSpPr>
            <p:spPr>
              <a:xfrm>
                <a:off x="7021731" y="1795324"/>
                <a:ext cx="25335" cy="25335"/>
              </a:xfrm>
              <a:custGeom>
                <a:avLst/>
                <a:gdLst>
                  <a:gd name="connsiteX0" fmla="*/ 25336 w 25335"/>
                  <a:gd name="connsiteY0" fmla="*/ 12668 h 25335"/>
                  <a:gd name="connsiteX1" fmla="*/ 12668 w 25335"/>
                  <a:gd name="connsiteY1" fmla="*/ 25336 h 25335"/>
                  <a:gd name="connsiteX2" fmla="*/ 0 w 25335"/>
                  <a:gd name="connsiteY2" fmla="*/ 12668 h 25335"/>
                  <a:gd name="connsiteX3" fmla="*/ 12668 w 25335"/>
                  <a:gd name="connsiteY3" fmla="*/ 0 h 25335"/>
                  <a:gd name="connsiteX4" fmla="*/ 25336 w 25335"/>
                  <a:gd name="connsiteY4" fmla="*/ 12668 h 25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35" h="25335">
                    <a:moveTo>
                      <a:pt x="25336" y="12668"/>
                    </a:moveTo>
                    <a:cubicBezTo>
                      <a:pt x="25336" y="19642"/>
                      <a:pt x="19642" y="25336"/>
                      <a:pt x="12668" y="25336"/>
                    </a:cubicBezTo>
                    <a:cubicBezTo>
                      <a:pt x="5694" y="25336"/>
                      <a:pt x="0" y="19642"/>
                      <a:pt x="0" y="12668"/>
                    </a:cubicBezTo>
                    <a:cubicBezTo>
                      <a:pt x="0" y="5694"/>
                      <a:pt x="5694" y="0"/>
                      <a:pt x="12668" y="0"/>
                    </a:cubicBezTo>
                    <a:cubicBezTo>
                      <a:pt x="19706" y="0"/>
                      <a:pt x="25336" y="5694"/>
                      <a:pt x="25336" y="12668"/>
                    </a:cubicBezTo>
                    <a:close/>
                  </a:path>
                </a:pathLst>
              </a:custGeom>
              <a:solidFill>
                <a:srgbClr val="263238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C3CDE8B4-E41B-4BCA-AC61-EA6AB831E0B1}"/>
                  </a:ext>
                </a:extLst>
              </p:cNvPr>
              <p:cNvSpPr/>
              <p:nvPr/>
            </p:nvSpPr>
            <p:spPr>
              <a:xfrm>
                <a:off x="7058583" y="1795324"/>
                <a:ext cx="25335" cy="25335"/>
              </a:xfrm>
              <a:custGeom>
                <a:avLst/>
                <a:gdLst>
                  <a:gd name="connsiteX0" fmla="*/ 25336 w 25335"/>
                  <a:gd name="connsiteY0" fmla="*/ 12668 h 25335"/>
                  <a:gd name="connsiteX1" fmla="*/ 12668 w 25335"/>
                  <a:gd name="connsiteY1" fmla="*/ 25336 h 25335"/>
                  <a:gd name="connsiteX2" fmla="*/ 0 w 25335"/>
                  <a:gd name="connsiteY2" fmla="*/ 12668 h 25335"/>
                  <a:gd name="connsiteX3" fmla="*/ 12668 w 25335"/>
                  <a:gd name="connsiteY3" fmla="*/ 0 h 25335"/>
                  <a:gd name="connsiteX4" fmla="*/ 25336 w 25335"/>
                  <a:gd name="connsiteY4" fmla="*/ 12668 h 25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35" h="25335">
                    <a:moveTo>
                      <a:pt x="25336" y="12668"/>
                    </a:moveTo>
                    <a:cubicBezTo>
                      <a:pt x="25336" y="19642"/>
                      <a:pt x="19642" y="25336"/>
                      <a:pt x="12668" y="25336"/>
                    </a:cubicBezTo>
                    <a:cubicBezTo>
                      <a:pt x="5694" y="25336"/>
                      <a:pt x="0" y="19642"/>
                      <a:pt x="0" y="12668"/>
                    </a:cubicBezTo>
                    <a:cubicBezTo>
                      <a:pt x="0" y="5694"/>
                      <a:pt x="5694" y="0"/>
                      <a:pt x="12668" y="0"/>
                    </a:cubicBezTo>
                    <a:cubicBezTo>
                      <a:pt x="19642" y="0"/>
                      <a:pt x="25336" y="5694"/>
                      <a:pt x="25336" y="12668"/>
                    </a:cubicBezTo>
                    <a:close/>
                  </a:path>
                </a:pathLst>
              </a:custGeom>
              <a:solidFill>
                <a:srgbClr val="263238"/>
              </a:solidFill>
              <a:ln w="63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93CBFCD5-6F79-42AA-97E6-26CBB8E85053}"/>
                </a:ext>
              </a:extLst>
            </p:cNvPr>
            <p:cNvSpPr/>
            <p:nvPr/>
          </p:nvSpPr>
          <p:spPr>
            <a:xfrm>
              <a:off x="6912966" y="2761793"/>
              <a:ext cx="1732618" cy="2303"/>
            </a:xfrm>
            <a:custGeom>
              <a:avLst/>
              <a:gdLst>
                <a:gd name="connsiteX0" fmla="*/ 1732618 w 1732618"/>
                <a:gd name="connsiteY0" fmla="*/ 1152 h 2303"/>
                <a:gd name="connsiteX1" fmla="*/ 866341 w 1732618"/>
                <a:gd name="connsiteY1" fmla="*/ 2303 h 2303"/>
                <a:gd name="connsiteX2" fmla="*/ 0 w 1732618"/>
                <a:gd name="connsiteY2" fmla="*/ 1152 h 2303"/>
                <a:gd name="connsiteX3" fmla="*/ 866341 w 1732618"/>
                <a:gd name="connsiteY3" fmla="*/ 0 h 2303"/>
                <a:gd name="connsiteX4" fmla="*/ 1732618 w 1732618"/>
                <a:gd name="connsiteY4" fmla="*/ 1152 h 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2618" h="2303">
                  <a:moveTo>
                    <a:pt x="1732618" y="1152"/>
                  </a:moveTo>
                  <a:cubicBezTo>
                    <a:pt x="1732618" y="1791"/>
                    <a:pt x="1344713" y="2303"/>
                    <a:pt x="866341" y="2303"/>
                  </a:cubicBezTo>
                  <a:cubicBezTo>
                    <a:pt x="387777" y="2303"/>
                    <a:pt x="0" y="1791"/>
                    <a:pt x="0" y="1152"/>
                  </a:cubicBezTo>
                  <a:cubicBezTo>
                    <a:pt x="0" y="512"/>
                    <a:pt x="387777" y="0"/>
                    <a:pt x="866341" y="0"/>
                  </a:cubicBezTo>
                  <a:cubicBezTo>
                    <a:pt x="1344713" y="64"/>
                    <a:pt x="1732618" y="576"/>
                    <a:pt x="1732618" y="1152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76836443-E9EB-4E42-8E66-B50648D536D0}"/>
                </a:ext>
              </a:extLst>
            </p:cNvPr>
            <p:cNvSpPr/>
            <p:nvPr/>
          </p:nvSpPr>
          <p:spPr>
            <a:xfrm>
              <a:off x="6993836" y="1982335"/>
              <a:ext cx="1584378" cy="353676"/>
            </a:xfrm>
            <a:custGeom>
              <a:avLst/>
              <a:gdLst>
                <a:gd name="connsiteX0" fmla="*/ 0 w 1584378"/>
                <a:gd name="connsiteY0" fmla="*/ 0 h 353676"/>
                <a:gd name="connsiteX1" fmla="*/ 1584379 w 1584378"/>
                <a:gd name="connsiteY1" fmla="*/ 0 h 353676"/>
                <a:gd name="connsiteX2" fmla="*/ 1584379 w 1584378"/>
                <a:gd name="connsiteY2" fmla="*/ 353677 h 353676"/>
                <a:gd name="connsiteX3" fmla="*/ 0 w 1584378"/>
                <a:gd name="connsiteY3" fmla="*/ 353677 h 35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4378" h="353676">
                  <a:moveTo>
                    <a:pt x="0" y="0"/>
                  </a:moveTo>
                  <a:lnTo>
                    <a:pt x="1584379" y="0"/>
                  </a:lnTo>
                  <a:lnTo>
                    <a:pt x="1584379" y="353677"/>
                  </a:lnTo>
                  <a:lnTo>
                    <a:pt x="0" y="353677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BD6AFEAB-7A3F-4897-9B6B-EAF706C1FB8E}"/>
                </a:ext>
              </a:extLst>
            </p:cNvPr>
            <p:cNvSpPr/>
            <p:nvPr/>
          </p:nvSpPr>
          <p:spPr>
            <a:xfrm>
              <a:off x="7032735" y="1889181"/>
              <a:ext cx="228661" cy="59820"/>
            </a:xfrm>
            <a:custGeom>
              <a:avLst/>
              <a:gdLst>
                <a:gd name="connsiteX0" fmla="*/ 0 w 228661"/>
                <a:gd name="connsiteY0" fmla="*/ 0 h 59820"/>
                <a:gd name="connsiteX1" fmla="*/ 228661 w 228661"/>
                <a:gd name="connsiteY1" fmla="*/ 0 h 59820"/>
                <a:gd name="connsiteX2" fmla="*/ 228661 w 228661"/>
                <a:gd name="connsiteY2" fmla="*/ 59821 h 59820"/>
                <a:gd name="connsiteX3" fmla="*/ 0 w 228661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661" h="59820">
                  <a:moveTo>
                    <a:pt x="0" y="0"/>
                  </a:moveTo>
                  <a:lnTo>
                    <a:pt x="228661" y="0"/>
                  </a:lnTo>
                  <a:lnTo>
                    <a:pt x="228661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B18A5A16-61C3-4FBD-BA19-9BC805D3B52F}"/>
                </a:ext>
              </a:extLst>
            </p:cNvPr>
            <p:cNvSpPr/>
            <p:nvPr/>
          </p:nvSpPr>
          <p:spPr>
            <a:xfrm>
              <a:off x="8415452" y="1889181"/>
              <a:ext cx="125207" cy="59820"/>
            </a:xfrm>
            <a:custGeom>
              <a:avLst/>
              <a:gdLst>
                <a:gd name="connsiteX0" fmla="*/ 0 w 125207"/>
                <a:gd name="connsiteY0" fmla="*/ 0 h 59820"/>
                <a:gd name="connsiteX1" fmla="*/ 125207 w 125207"/>
                <a:gd name="connsiteY1" fmla="*/ 0 h 59820"/>
                <a:gd name="connsiteX2" fmla="*/ 125207 w 125207"/>
                <a:gd name="connsiteY2" fmla="*/ 59821 h 59820"/>
                <a:gd name="connsiteX3" fmla="*/ 0 w 125207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207" h="59820">
                  <a:moveTo>
                    <a:pt x="0" y="0"/>
                  </a:moveTo>
                  <a:lnTo>
                    <a:pt x="125207" y="0"/>
                  </a:lnTo>
                  <a:lnTo>
                    <a:pt x="125207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68A3823F-DE9E-43A9-932A-22939A7BE7BD}"/>
                </a:ext>
              </a:extLst>
            </p:cNvPr>
            <p:cNvSpPr/>
            <p:nvPr/>
          </p:nvSpPr>
          <p:spPr>
            <a:xfrm>
              <a:off x="8172907" y="1889181"/>
              <a:ext cx="204861" cy="59820"/>
            </a:xfrm>
            <a:custGeom>
              <a:avLst/>
              <a:gdLst>
                <a:gd name="connsiteX0" fmla="*/ 0 w 204861"/>
                <a:gd name="connsiteY0" fmla="*/ 0 h 59820"/>
                <a:gd name="connsiteX1" fmla="*/ 204861 w 204861"/>
                <a:gd name="connsiteY1" fmla="*/ 0 h 59820"/>
                <a:gd name="connsiteX2" fmla="*/ 204861 w 204861"/>
                <a:gd name="connsiteY2" fmla="*/ 59821 h 59820"/>
                <a:gd name="connsiteX3" fmla="*/ 0 w 204861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61" h="59820">
                  <a:moveTo>
                    <a:pt x="0" y="0"/>
                  </a:moveTo>
                  <a:lnTo>
                    <a:pt x="204861" y="0"/>
                  </a:lnTo>
                  <a:lnTo>
                    <a:pt x="204861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34B3FAB7-46E7-4CA3-87AE-893FDDF6E2C8}"/>
                </a:ext>
              </a:extLst>
            </p:cNvPr>
            <p:cNvSpPr/>
            <p:nvPr/>
          </p:nvSpPr>
          <p:spPr>
            <a:xfrm>
              <a:off x="7925436" y="1889181"/>
              <a:ext cx="204861" cy="59820"/>
            </a:xfrm>
            <a:custGeom>
              <a:avLst/>
              <a:gdLst>
                <a:gd name="connsiteX0" fmla="*/ 0 w 204861"/>
                <a:gd name="connsiteY0" fmla="*/ 0 h 59820"/>
                <a:gd name="connsiteX1" fmla="*/ 204861 w 204861"/>
                <a:gd name="connsiteY1" fmla="*/ 0 h 59820"/>
                <a:gd name="connsiteX2" fmla="*/ 204861 w 204861"/>
                <a:gd name="connsiteY2" fmla="*/ 59821 h 59820"/>
                <a:gd name="connsiteX3" fmla="*/ 0 w 204861"/>
                <a:gd name="connsiteY3" fmla="*/ 59821 h 5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61" h="59820">
                  <a:moveTo>
                    <a:pt x="0" y="0"/>
                  </a:moveTo>
                  <a:lnTo>
                    <a:pt x="204861" y="0"/>
                  </a:lnTo>
                  <a:lnTo>
                    <a:pt x="204861" y="59821"/>
                  </a:lnTo>
                  <a:lnTo>
                    <a:pt x="0" y="59821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A3ABCD23-11CD-4E44-A0C5-CF2E91FB80E6}"/>
                </a:ext>
              </a:extLst>
            </p:cNvPr>
            <p:cNvSpPr/>
            <p:nvPr/>
          </p:nvSpPr>
          <p:spPr>
            <a:xfrm>
              <a:off x="7071251" y="2544711"/>
              <a:ext cx="1396408" cy="62699"/>
            </a:xfrm>
            <a:custGeom>
              <a:avLst/>
              <a:gdLst>
                <a:gd name="connsiteX0" fmla="*/ 0 w 1396408"/>
                <a:gd name="connsiteY0" fmla="*/ 0 h 62699"/>
                <a:gd name="connsiteX1" fmla="*/ 1396408 w 1396408"/>
                <a:gd name="connsiteY1" fmla="*/ 0 h 62699"/>
                <a:gd name="connsiteX2" fmla="*/ 1396408 w 1396408"/>
                <a:gd name="connsiteY2" fmla="*/ 62700 h 62699"/>
                <a:gd name="connsiteX3" fmla="*/ 0 w 1396408"/>
                <a:gd name="connsiteY3" fmla="*/ 62700 h 6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408" h="62699">
                  <a:moveTo>
                    <a:pt x="0" y="0"/>
                  </a:moveTo>
                  <a:lnTo>
                    <a:pt x="1396408" y="0"/>
                  </a:lnTo>
                  <a:lnTo>
                    <a:pt x="1396408" y="62700"/>
                  </a:lnTo>
                  <a:lnTo>
                    <a:pt x="0" y="62700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38649020-1E52-48D8-8814-8362E661250F}"/>
                </a:ext>
              </a:extLst>
            </p:cNvPr>
            <p:cNvSpPr/>
            <p:nvPr/>
          </p:nvSpPr>
          <p:spPr>
            <a:xfrm>
              <a:off x="7071251" y="2426158"/>
              <a:ext cx="1396408" cy="62699"/>
            </a:xfrm>
            <a:custGeom>
              <a:avLst/>
              <a:gdLst>
                <a:gd name="connsiteX0" fmla="*/ 0 w 1396408"/>
                <a:gd name="connsiteY0" fmla="*/ 0 h 62699"/>
                <a:gd name="connsiteX1" fmla="*/ 1396408 w 1396408"/>
                <a:gd name="connsiteY1" fmla="*/ 0 h 62699"/>
                <a:gd name="connsiteX2" fmla="*/ 1396408 w 1396408"/>
                <a:gd name="connsiteY2" fmla="*/ 62700 h 62699"/>
                <a:gd name="connsiteX3" fmla="*/ 0 w 1396408"/>
                <a:gd name="connsiteY3" fmla="*/ 62700 h 62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408" h="62699">
                  <a:moveTo>
                    <a:pt x="0" y="0"/>
                  </a:moveTo>
                  <a:lnTo>
                    <a:pt x="1396408" y="0"/>
                  </a:lnTo>
                  <a:lnTo>
                    <a:pt x="1396408" y="62700"/>
                  </a:lnTo>
                  <a:lnTo>
                    <a:pt x="0" y="62700"/>
                  </a:lnTo>
                  <a:close/>
                </a:path>
              </a:pathLst>
            </a:custGeom>
            <a:solidFill>
              <a:srgbClr val="F5F5F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4760E2B-8938-445C-9C95-FA5343A500E2}"/>
                </a:ext>
              </a:extLst>
            </p:cNvPr>
            <p:cNvSpPr/>
            <p:nvPr/>
          </p:nvSpPr>
          <p:spPr>
            <a:xfrm>
              <a:off x="7585195" y="2055143"/>
              <a:ext cx="424053" cy="309147"/>
            </a:xfrm>
            <a:custGeom>
              <a:avLst/>
              <a:gdLst>
                <a:gd name="connsiteX0" fmla="*/ 0 w 424053"/>
                <a:gd name="connsiteY0" fmla="*/ 162507 h 309147"/>
                <a:gd name="connsiteX1" fmla="*/ 55470 w 424053"/>
                <a:gd name="connsiteY1" fmla="*/ 107037 h 309147"/>
                <a:gd name="connsiteX2" fmla="*/ 162507 w 424053"/>
                <a:gd name="connsiteY2" fmla="*/ 202174 h 309147"/>
                <a:gd name="connsiteX3" fmla="*/ 372550 w 424053"/>
                <a:gd name="connsiteY3" fmla="*/ 0 h 309147"/>
                <a:gd name="connsiteX4" fmla="*/ 424054 w 424053"/>
                <a:gd name="connsiteY4" fmla="*/ 55534 h 309147"/>
                <a:gd name="connsiteX5" fmla="*/ 154574 w 424053"/>
                <a:gd name="connsiteY5" fmla="*/ 309147 h 30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4053" h="309147">
                  <a:moveTo>
                    <a:pt x="0" y="162507"/>
                  </a:moveTo>
                  <a:lnTo>
                    <a:pt x="55470" y="107037"/>
                  </a:lnTo>
                  <a:lnTo>
                    <a:pt x="162507" y="202174"/>
                  </a:lnTo>
                  <a:lnTo>
                    <a:pt x="372550" y="0"/>
                  </a:lnTo>
                  <a:lnTo>
                    <a:pt x="424054" y="55534"/>
                  </a:lnTo>
                  <a:lnTo>
                    <a:pt x="154574" y="309147"/>
                  </a:ln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DD30349-FA56-48B3-8229-B94F2B650D2E}"/>
                </a:ext>
              </a:extLst>
            </p:cNvPr>
            <p:cNvSpPr/>
            <p:nvPr/>
          </p:nvSpPr>
          <p:spPr>
            <a:xfrm>
              <a:off x="7787881" y="577609"/>
              <a:ext cx="891996" cy="891996"/>
            </a:xfrm>
            <a:custGeom>
              <a:avLst/>
              <a:gdLst>
                <a:gd name="connsiteX0" fmla="*/ 891997 w 891996"/>
                <a:gd name="connsiteY0" fmla="*/ 445998 h 891996"/>
                <a:gd name="connsiteX1" fmla="*/ 445998 w 891996"/>
                <a:gd name="connsiteY1" fmla="*/ 891997 h 891996"/>
                <a:gd name="connsiteX2" fmla="*/ 0 w 891996"/>
                <a:gd name="connsiteY2" fmla="*/ 445998 h 891996"/>
                <a:gd name="connsiteX3" fmla="*/ 445998 w 891996"/>
                <a:gd name="connsiteY3" fmla="*/ 0 h 891996"/>
                <a:gd name="connsiteX4" fmla="*/ 891997 w 891996"/>
                <a:gd name="connsiteY4" fmla="*/ 445998 h 89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1996" h="891996">
                  <a:moveTo>
                    <a:pt x="891997" y="445998"/>
                  </a:moveTo>
                  <a:cubicBezTo>
                    <a:pt x="891997" y="692317"/>
                    <a:pt x="692317" y="891997"/>
                    <a:pt x="445998" y="891997"/>
                  </a:cubicBezTo>
                  <a:cubicBezTo>
                    <a:pt x="199680" y="891997"/>
                    <a:pt x="0" y="692317"/>
                    <a:pt x="0" y="445998"/>
                  </a:cubicBezTo>
                  <a:cubicBezTo>
                    <a:pt x="0" y="199680"/>
                    <a:pt x="199680" y="0"/>
                    <a:pt x="445998" y="0"/>
                  </a:cubicBezTo>
                  <a:cubicBezTo>
                    <a:pt x="692317" y="0"/>
                    <a:pt x="891997" y="199680"/>
                    <a:pt x="891997" y="445998"/>
                  </a:cubicBezTo>
                  <a:close/>
                </a:path>
              </a:pathLst>
            </a:custGeom>
            <a:solidFill>
              <a:srgbClr val="FF725E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4208E62A-650C-4156-B1B4-5FF9EF919C91}"/>
                </a:ext>
              </a:extLst>
            </p:cNvPr>
            <p:cNvSpPr/>
            <p:nvPr/>
          </p:nvSpPr>
          <p:spPr>
            <a:xfrm>
              <a:off x="7787881" y="577609"/>
              <a:ext cx="891996" cy="891996"/>
            </a:xfrm>
            <a:custGeom>
              <a:avLst/>
              <a:gdLst>
                <a:gd name="connsiteX0" fmla="*/ 891997 w 891996"/>
                <a:gd name="connsiteY0" fmla="*/ 445998 h 891996"/>
                <a:gd name="connsiteX1" fmla="*/ 445998 w 891996"/>
                <a:gd name="connsiteY1" fmla="*/ 891997 h 891996"/>
                <a:gd name="connsiteX2" fmla="*/ 0 w 891996"/>
                <a:gd name="connsiteY2" fmla="*/ 445998 h 891996"/>
                <a:gd name="connsiteX3" fmla="*/ 445998 w 891996"/>
                <a:gd name="connsiteY3" fmla="*/ 0 h 891996"/>
                <a:gd name="connsiteX4" fmla="*/ 891997 w 891996"/>
                <a:gd name="connsiteY4" fmla="*/ 445998 h 89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1996" h="891996">
                  <a:moveTo>
                    <a:pt x="891997" y="445998"/>
                  </a:moveTo>
                  <a:cubicBezTo>
                    <a:pt x="891997" y="692317"/>
                    <a:pt x="692317" y="891997"/>
                    <a:pt x="445998" y="891997"/>
                  </a:cubicBezTo>
                  <a:cubicBezTo>
                    <a:pt x="199680" y="891997"/>
                    <a:pt x="0" y="692317"/>
                    <a:pt x="0" y="445998"/>
                  </a:cubicBezTo>
                  <a:cubicBezTo>
                    <a:pt x="0" y="199680"/>
                    <a:pt x="199680" y="0"/>
                    <a:pt x="445998" y="0"/>
                  </a:cubicBezTo>
                  <a:cubicBezTo>
                    <a:pt x="692317" y="0"/>
                    <a:pt x="891997" y="199680"/>
                    <a:pt x="891997" y="445998"/>
                  </a:cubicBez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EA0EA692-1A82-401A-931F-9C5FD2FB0E50}"/>
                </a:ext>
              </a:extLst>
            </p:cNvPr>
            <p:cNvSpPr/>
            <p:nvPr/>
          </p:nvSpPr>
          <p:spPr>
            <a:xfrm>
              <a:off x="7775917" y="549075"/>
              <a:ext cx="891996" cy="891996"/>
            </a:xfrm>
            <a:custGeom>
              <a:avLst/>
              <a:gdLst>
                <a:gd name="connsiteX0" fmla="*/ 891997 w 891996"/>
                <a:gd name="connsiteY0" fmla="*/ 445998 h 891996"/>
                <a:gd name="connsiteX1" fmla="*/ 445998 w 891996"/>
                <a:gd name="connsiteY1" fmla="*/ 891997 h 891996"/>
                <a:gd name="connsiteX2" fmla="*/ 0 w 891996"/>
                <a:gd name="connsiteY2" fmla="*/ 445998 h 891996"/>
                <a:gd name="connsiteX3" fmla="*/ 445998 w 891996"/>
                <a:gd name="connsiteY3" fmla="*/ 0 h 891996"/>
                <a:gd name="connsiteX4" fmla="*/ 891997 w 891996"/>
                <a:gd name="connsiteY4" fmla="*/ 445998 h 89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1996" h="891996">
                  <a:moveTo>
                    <a:pt x="891997" y="445998"/>
                  </a:moveTo>
                  <a:cubicBezTo>
                    <a:pt x="891997" y="692317"/>
                    <a:pt x="692317" y="891997"/>
                    <a:pt x="445998" y="891997"/>
                  </a:cubicBezTo>
                  <a:cubicBezTo>
                    <a:pt x="199680" y="891997"/>
                    <a:pt x="0" y="692317"/>
                    <a:pt x="0" y="445998"/>
                  </a:cubicBezTo>
                  <a:cubicBezTo>
                    <a:pt x="0" y="199680"/>
                    <a:pt x="199680" y="0"/>
                    <a:pt x="445998" y="0"/>
                  </a:cubicBezTo>
                  <a:cubicBezTo>
                    <a:pt x="692317" y="0"/>
                    <a:pt x="891997" y="199680"/>
                    <a:pt x="891997" y="445998"/>
                  </a:cubicBez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7E14F70D-6E8C-4B41-BB8E-37E19AAE546F}"/>
                </a:ext>
              </a:extLst>
            </p:cNvPr>
            <p:cNvSpPr/>
            <p:nvPr/>
          </p:nvSpPr>
          <p:spPr>
            <a:xfrm rot="20224561">
              <a:off x="7874928" y="648126"/>
              <a:ext cx="693900" cy="693900"/>
            </a:xfrm>
            <a:custGeom>
              <a:avLst/>
              <a:gdLst>
                <a:gd name="connsiteX0" fmla="*/ 693901 w 693900"/>
                <a:gd name="connsiteY0" fmla="*/ 346950 h 693900"/>
                <a:gd name="connsiteX1" fmla="*/ 346950 w 693900"/>
                <a:gd name="connsiteY1" fmla="*/ 693901 h 693900"/>
                <a:gd name="connsiteX2" fmla="*/ 0 w 693900"/>
                <a:gd name="connsiteY2" fmla="*/ 346950 h 693900"/>
                <a:gd name="connsiteX3" fmla="*/ 346950 w 693900"/>
                <a:gd name="connsiteY3" fmla="*/ 0 h 693900"/>
                <a:gd name="connsiteX4" fmla="*/ 693901 w 693900"/>
                <a:gd name="connsiteY4" fmla="*/ 346950 h 69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3900" h="693900">
                  <a:moveTo>
                    <a:pt x="693901" y="346950"/>
                  </a:moveTo>
                  <a:cubicBezTo>
                    <a:pt x="693901" y="538566"/>
                    <a:pt x="538566" y="693901"/>
                    <a:pt x="346950" y="693901"/>
                  </a:cubicBezTo>
                  <a:cubicBezTo>
                    <a:pt x="155335" y="693901"/>
                    <a:pt x="0" y="538566"/>
                    <a:pt x="0" y="346950"/>
                  </a:cubicBezTo>
                  <a:cubicBezTo>
                    <a:pt x="0" y="155335"/>
                    <a:pt x="155335" y="0"/>
                    <a:pt x="346950" y="0"/>
                  </a:cubicBezTo>
                  <a:cubicBezTo>
                    <a:pt x="538566" y="0"/>
                    <a:pt x="693901" y="155335"/>
                    <a:pt x="693901" y="346950"/>
                  </a:cubicBezTo>
                  <a:close/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5A4BC056-8222-46F3-9339-B8D6F9AEE3CA}"/>
                </a:ext>
              </a:extLst>
            </p:cNvPr>
            <p:cNvSpPr/>
            <p:nvPr/>
          </p:nvSpPr>
          <p:spPr>
            <a:xfrm rot="18900000">
              <a:off x="7977760" y="750924"/>
              <a:ext cx="488283" cy="488283"/>
            </a:xfrm>
            <a:custGeom>
              <a:avLst/>
              <a:gdLst>
                <a:gd name="connsiteX0" fmla="*/ 488284 w 488283"/>
                <a:gd name="connsiteY0" fmla="*/ 244142 h 488283"/>
                <a:gd name="connsiteX1" fmla="*/ 244142 w 488283"/>
                <a:gd name="connsiteY1" fmla="*/ 488284 h 488283"/>
                <a:gd name="connsiteX2" fmla="*/ 0 w 488283"/>
                <a:gd name="connsiteY2" fmla="*/ 244142 h 488283"/>
                <a:gd name="connsiteX3" fmla="*/ 244142 w 488283"/>
                <a:gd name="connsiteY3" fmla="*/ 0 h 488283"/>
                <a:gd name="connsiteX4" fmla="*/ 488284 w 488283"/>
                <a:gd name="connsiteY4" fmla="*/ 244142 h 48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283" h="488283">
                  <a:moveTo>
                    <a:pt x="488284" y="244142"/>
                  </a:moveTo>
                  <a:cubicBezTo>
                    <a:pt x="488284" y="378978"/>
                    <a:pt x="378978" y="488284"/>
                    <a:pt x="244142" y="488284"/>
                  </a:cubicBezTo>
                  <a:cubicBezTo>
                    <a:pt x="109306" y="488284"/>
                    <a:pt x="0" y="378978"/>
                    <a:pt x="0" y="244142"/>
                  </a:cubicBezTo>
                  <a:cubicBezTo>
                    <a:pt x="0" y="109306"/>
                    <a:pt x="109306" y="0"/>
                    <a:pt x="244142" y="0"/>
                  </a:cubicBezTo>
                  <a:cubicBezTo>
                    <a:pt x="378978" y="0"/>
                    <a:pt x="488284" y="109306"/>
                    <a:pt x="488284" y="244142"/>
                  </a:cubicBezTo>
                  <a:close/>
                </a:path>
              </a:pathLst>
            </a:custGeom>
            <a:solidFill>
              <a:srgbClr val="FF725E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FC4B6857-77E3-447A-B713-038B462D8564}"/>
                </a:ext>
              </a:extLst>
            </p:cNvPr>
            <p:cNvSpPr/>
            <p:nvPr/>
          </p:nvSpPr>
          <p:spPr>
            <a:xfrm rot="20193595">
              <a:off x="8093163" y="866307"/>
              <a:ext cx="257586" cy="257586"/>
            </a:xfrm>
            <a:custGeom>
              <a:avLst/>
              <a:gdLst>
                <a:gd name="connsiteX0" fmla="*/ 257587 w 257586"/>
                <a:gd name="connsiteY0" fmla="*/ 128793 h 257586"/>
                <a:gd name="connsiteX1" fmla="*/ 128793 w 257586"/>
                <a:gd name="connsiteY1" fmla="*/ 257586 h 257586"/>
                <a:gd name="connsiteX2" fmla="*/ 0 w 257586"/>
                <a:gd name="connsiteY2" fmla="*/ 128793 h 257586"/>
                <a:gd name="connsiteX3" fmla="*/ 128793 w 257586"/>
                <a:gd name="connsiteY3" fmla="*/ 0 h 257586"/>
                <a:gd name="connsiteX4" fmla="*/ 257587 w 257586"/>
                <a:gd name="connsiteY4" fmla="*/ 128793 h 257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586" h="257586">
                  <a:moveTo>
                    <a:pt x="257587" y="128793"/>
                  </a:moveTo>
                  <a:cubicBezTo>
                    <a:pt x="257587" y="199924"/>
                    <a:pt x="199924" y="257586"/>
                    <a:pt x="128793" y="257586"/>
                  </a:cubicBezTo>
                  <a:cubicBezTo>
                    <a:pt x="57663" y="257586"/>
                    <a:pt x="0" y="199924"/>
                    <a:pt x="0" y="128793"/>
                  </a:cubicBezTo>
                  <a:cubicBezTo>
                    <a:pt x="0" y="57663"/>
                    <a:pt x="57663" y="0"/>
                    <a:pt x="128793" y="0"/>
                  </a:cubicBezTo>
                  <a:cubicBezTo>
                    <a:pt x="199924" y="0"/>
                    <a:pt x="257587" y="57663"/>
                    <a:pt x="257587" y="128793"/>
                  </a:cubicBezTo>
                  <a:close/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EE744081-E58F-4EF7-8223-F28C7704B47E}"/>
                </a:ext>
              </a:extLst>
            </p:cNvPr>
            <p:cNvSpPr/>
            <p:nvPr/>
          </p:nvSpPr>
          <p:spPr>
            <a:xfrm>
              <a:off x="8554862" y="435000"/>
              <a:ext cx="103838" cy="198847"/>
            </a:xfrm>
            <a:custGeom>
              <a:avLst/>
              <a:gdLst>
                <a:gd name="connsiteX0" fmla="*/ 12092 w 103838"/>
                <a:gd name="connsiteY0" fmla="*/ 198847 h 198847"/>
                <a:gd name="connsiteX1" fmla="*/ 0 w 103838"/>
                <a:gd name="connsiteY1" fmla="*/ 103646 h 198847"/>
                <a:gd name="connsiteX2" fmla="*/ 96864 w 103838"/>
                <a:gd name="connsiteY2" fmla="*/ 0 h 198847"/>
                <a:gd name="connsiteX3" fmla="*/ 103838 w 103838"/>
                <a:gd name="connsiteY3" fmla="*/ 102686 h 19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838" h="198847">
                  <a:moveTo>
                    <a:pt x="12092" y="198847"/>
                  </a:moveTo>
                  <a:lnTo>
                    <a:pt x="0" y="103646"/>
                  </a:lnTo>
                  <a:lnTo>
                    <a:pt x="96864" y="0"/>
                  </a:lnTo>
                  <a:lnTo>
                    <a:pt x="103838" y="102686"/>
                  </a:ln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A242F6C4-D713-40D2-BD29-B7DD1820DF8A}"/>
                </a:ext>
              </a:extLst>
            </p:cNvPr>
            <p:cNvSpPr/>
            <p:nvPr/>
          </p:nvSpPr>
          <p:spPr>
            <a:xfrm>
              <a:off x="8578087" y="550098"/>
              <a:ext cx="196799" cy="105309"/>
            </a:xfrm>
            <a:custGeom>
              <a:avLst/>
              <a:gdLst>
                <a:gd name="connsiteX0" fmla="*/ 196800 w 196799"/>
                <a:gd name="connsiteY0" fmla="*/ 7997 h 105309"/>
                <a:gd name="connsiteX1" fmla="*/ 98528 w 196799"/>
                <a:gd name="connsiteY1" fmla="*/ 0 h 105309"/>
                <a:gd name="connsiteX2" fmla="*/ 0 w 196799"/>
                <a:gd name="connsiteY2" fmla="*/ 94753 h 105309"/>
                <a:gd name="connsiteX3" fmla="*/ 98528 w 196799"/>
                <a:gd name="connsiteY3" fmla="*/ 105310 h 10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799" h="105309">
                  <a:moveTo>
                    <a:pt x="196800" y="7997"/>
                  </a:moveTo>
                  <a:lnTo>
                    <a:pt x="98528" y="0"/>
                  </a:lnTo>
                  <a:lnTo>
                    <a:pt x="0" y="94753"/>
                  </a:lnTo>
                  <a:lnTo>
                    <a:pt x="98528" y="105310"/>
                  </a:ln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04EDCD84-3BE0-4F6E-BA85-C7CB78775FCC}"/>
                </a:ext>
              </a:extLst>
            </p:cNvPr>
            <p:cNvSpPr/>
            <p:nvPr/>
          </p:nvSpPr>
          <p:spPr>
            <a:xfrm>
              <a:off x="8221915" y="682855"/>
              <a:ext cx="366152" cy="319703"/>
            </a:xfrm>
            <a:custGeom>
              <a:avLst/>
              <a:gdLst>
                <a:gd name="connsiteX0" fmla="*/ 0 w 366152"/>
                <a:gd name="connsiteY0" fmla="*/ 319704 h 319703"/>
                <a:gd name="connsiteX1" fmla="*/ 366152 w 366152"/>
                <a:gd name="connsiteY1" fmla="*/ 57453 h 319703"/>
                <a:gd name="connsiteX2" fmla="*/ 319640 w 366152"/>
                <a:gd name="connsiteY2" fmla="*/ 0 h 319703"/>
                <a:gd name="connsiteX3" fmla="*/ 5950 w 366152"/>
                <a:gd name="connsiteY3" fmla="*/ 303261 h 319703"/>
                <a:gd name="connsiteX4" fmla="*/ 0 w 366152"/>
                <a:gd name="connsiteY4" fmla="*/ 319704 h 319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152" h="319703">
                  <a:moveTo>
                    <a:pt x="0" y="319704"/>
                  </a:moveTo>
                  <a:lnTo>
                    <a:pt x="366152" y="57453"/>
                  </a:lnTo>
                  <a:cubicBezTo>
                    <a:pt x="354572" y="40115"/>
                    <a:pt x="336018" y="17402"/>
                    <a:pt x="319640" y="0"/>
                  </a:cubicBezTo>
                  <a:lnTo>
                    <a:pt x="5950" y="303261"/>
                  </a:lnTo>
                  <a:lnTo>
                    <a:pt x="0" y="319704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BAE9DB06-9E22-4BE5-A351-DFE0797869B1}"/>
                </a:ext>
              </a:extLst>
            </p:cNvPr>
            <p:cNvSpPr/>
            <p:nvPr/>
          </p:nvSpPr>
          <p:spPr>
            <a:xfrm>
              <a:off x="8207921" y="514284"/>
              <a:ext cx="485758" cy="491971"/>
            </a:xfrm>
            <a:custGeom>
              <a:avLst/>
              <a:gdLst>
                <a:gd name="connsiteX0" fmla="*/ 465302 w 485758"/>
                <a:gd name="connsiteY0" fmla="*/ 3569 h 491971"/>
                <a:gd name="connsiteX1" fmla="*/ 419365 w 485758"/>
                <a:gd name="connsiteY1" fmla="*/ 50145 h 491971"/>
                <a:gd name="connsiteX2" fmla="*/ 309001 w 485758"/>
                <a:gd name="connsiteY2" fmla="*/ 161981 h 491971"/>
                <a:gd name="connsiteX3" fmla="*/ 176053 w 485758"/>
                <a:gd name="connsiteY3" fmla="*/ 296657 h 491971"/>
                <a:gd name="connsiteX4" fmla="*/ 60571 w 485758"/>
                <a:gd name="connsiteY4" fmla="*/ 413675 h 491971"/>
                <a:gd name="connsiteX5" fmla="*/ 4333 w 485758"/>
                <a:gd name="connsiteY5" fmla="*/ 470616 h 491971"/>
                <a:gd name="connsiteX6" fmla="*/ 3501 w 485758"/>
                <a:gd name="connsiteY6" fmla="*/ 471448 h 491971"/>
                <a:gd name="connsiteX7" fmla="*/ 20456 w 485758"/>
                <a:gd name="connsiteY7" fmla="*/ 488402 h 491971"/>
                <a:gd name="connsiteX8" fmla="*/ 66393 w 485758"/>
                <a:gd name="connsiteY8" fmla="*/ 441826 h 491971"/>
                <a:gd name="connsiteX9" fmla="*/ 176757 w 485758"/>
                <a:gd name="connsiteY9" fmla="*/ 329990 h 491971"/>
                <a:gd name="connsiteX10" fmla="*/ 309705 w 485758"/>
                <a:gd name="connsiteY10" fmla="*/ 195314 h 491971"/>
                <a:gd name="connsiteX11" fmla="*/ 425188 w 485758"/>
                <a:gd name="connsiteY11" fmla="*/ 78296 h 491971"/>
                <a:gd name="connsiteX12" fmla="*/ 481425 w 485758"/>
                <a:gd name="connsiteY12" fmla="*/ 21355 h 491971"/>
                <a:gd name="connsiteX13" fmla="*/ 482257 w 485758"/>
                <a:gd name="connsiteY13" fmla="*/ 20523 h 491971"/>
                <a:gd name="connsiteX14" fmla="*/ 465302 w 485758"/>
                <a:gd name="connsiteY14" fmla="*/ 3569 h 491971"/>
                <a:gd name="connsiteX15" fmla="*/ 465302 w 485758"/>
                <a:gd name="connsiteY15" fmla="*/ 3569 h 49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5758" h="491971">
                  <a:moveTo>
                    <a:pt x="465302" y="3569"/>
                  </a:moveTo>
                  <a:cubicBezTo>
                    <a:pt x="450011" y="19116"/>
                    <a:pt x="434657" y="34599"/>
                    <a:pt x="419365" y="50145"/>
                  </a:cubicBezTo>
                  <a:cubicBezTo>
                    <a:pt x="382577" y="87445"/>
                    <a:pt x="345789" y="124681"/>
                    <a:pt x="309001" y="161981"/>
                  </a:cubicBezTo>
                  <a:cubicBezTo>
                    <a:pt x="264664" y="206894"/>
                    <a:pt x="220390" y="251744"/>
                    <a:pt x="176053" y="296657"/>
                  </a:cubicBezTo>
                  <a:cubicBezTo>
                    <a:pt x="137537" y="335684"/>
                    <a:pt x="99086" y="374648"/>
                    <a:pt x="60571" y="413675"/>
                  </a:cubicBezTo>
                  <a:cubicBezTo>
                    <a:pt x="41889" y="432613"/>
                    <a:pt x="22311" y="451039"/>
                    <a:pt x="4333" y="470616"/>
                  </a:cubicBezTo>
                  <a:cubicBezTo>
                    <a:pt x="4077" y="470872"/>
                    <a:pt x="3821" y="471192"/>
                    <a:pt x="3501" y="471448"/>
                  </a:cubicBezTo>
                  <a:cubicBezTo>
                    <a:pt x="-7375" y="482452"/>
                    <a:pt x="9579" y="499407"/>
                    <a:pt x="20456" y="488402"/>
                  </a:cubicBezTo>
                  <a:cubicBezTo>
                    <a:pt x="35747" y="472856"/>
                    <a:pt x="51102" y="457373"/>
                    <a:pt x="66393" y="441826"/>
                  </a:cubicBezTo>
                  <a:cubicBezTo>
                    <a:pt x="103181" y="404526"/>
                    <a:pt x="139969" y="367290"/>
                    <a:pt x="176757" y="329990"/>
                  </a:cubicBezTo>
                  <a:cubicBezTo>
                    <a:pt x="221094" y="285077"/>
                    <a:pt x="265368" y="240227"/>
                    <a:pt x="309705" y="195314"/>
                  </a:cubicBezTo>
                  <a:cubicBezTo>
                    <a:pt x="348221" y="156287"/>
                    <a:pt x="386672" y="117324"/>
                    <a:pt x="425188" y="78296"/>
                  </a:cubicBezTo>
                  <a:cubicBezTo>
                    <a:pt x="443869" y="59358"/>
                    <a:pt x="463447" y="40932"/>
                    <a:pt x="481425" y="21355"/>
                  </a:cubicBezTo>
                  <a:cubicBezTo>
                    <a:pt x="481681" y="21099"/>
                    <a:pt x="481937" y="20779"/>
                    <a:pt x="482257" y="20523"/>
                  </a:cubicBezTo>
                  <a:cubicBezTo>
                    <a:pt x="493133" y="9519"/>
                    <a:pt x="476179" y="-7436"/>
                    <a:pt x="465302" y="3569"/>
                  </a:cubicBezTo>
                  <a:lnTo>
                    <a:pt x="465302" y="3569"/>
                  </a:ln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24398679-80FB-4A3B-A378-3E80F229A44B}"/>
                </a:ext>
              </a:extLst>
            </p:cNvPr>
            <p:cNvSpPr/>
            <p:nvPr/>
          </p:nvSpPr>
          <p:spPr>
            <a:xfrm>
              <a:off x="9431959" y="1529553"/>
              <a:ext cx="200534" cy="150671"/>
            </a:xfrm>
            <a:custGeom>
              <a:avLst/>
              <a:gdLst>
                <a:gd name="connsiteX0" fmla="*/ 32878 w 200534"/>
                <a:gd name="connsiteY0" fmla="*/ 150609 h 150671"/>
                <a:gd name="connsiteX1" fmla="*/ 377 w 200534"/>
                <a:gd name="connsiteY1" fmla="*/ 124889 h 150671"/>
                <a:gd name="connsiteX2" fmla="*/ 22642 w 200534"/>
                <a:gd name="connsiteY2" fmla="*/ 89957 h 150671"/>
                <a:gd name="connsiteX3" fmla="*/ 18867 w 200534"/>
                <a:gd name="connsiteY3" fmla="*/ 52529 h 150671"/>
                <a:gd name="connsiteX4" fmla="*/ 53224 w 200534"/>
                <a:gd name="connsiteY4" fmla="*/ 37174 h 150671"/>
                <a:gd name="connsiteX5" fmla="*/ 74785 w 200534"/>
                <a:gd name="connsiteY5" fmla="*/ 5952 h 150671"/>
                <a:gd name="connsiteX6" fmla="*/ 112596 w 200534"/>
                <a:gd name="connsiteY6" fmla="*/ 8447 h 150671"/>
                <a:gd name="connsiteX7" fmla="*/ 165827 w 200534"/>
                <a:gd name="connsiteY7" fmla="*/ 9919 h 150671"/>
                <a:gd name="connsiteX8" fmla="*/ 197881 w 200534"/>
                <a:gd name="connsiteY8" fmla="*/ 27513 h 150671"/>
                <a:gd name="connsiteX9" fmla="*/ 190459 w 200534"/>
                <a:gd name="connsiteY9" fmla="*/ 63342 h 15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0534" h="150671">
                  <a:moveTo>
                    <a:pt x="32878" y="150609"/>
                  </a:moveTo>
                  <a:cubicBezTo>
                    <a:pt x="17779" y="151633"/>
                    <a:pt x="2872" y="139861"/>
                    <a:pt x="377" y="124889"/>
                  </a:cubicBezTo>
                  <a:cubicBezTo>
                    <a:pt x="-2118" y="109982"/>
                    <a:pt x="8054" y="93987"/>
                    <a:pt x="22642" y="89957"/>
                  </a:cubicBezTo>
                  <a:cubicBezTo>
                    <a:pt x="13749" y="79912"/>
                    <a:pt x="12149" y="64109"/>
                    <a:pt x="18867" y="52529"/>
                  </a:cubicBezTo>
                  <a:cubicBezTo>
                    <a:pt x="25585" y="40949"/>
                    <a:pt x="40108" y="34423"/>
                    <a:pt x="53224" y="37174"/>
                  </a:cubicBezTo>
                  <a:cubicBezTo>
                    <a:pt x="54375" y="23994"/>
                    <a:pt x="62885" y="11710"/>
                    <a:pt x="74785" y="5952"/>
                  </a:cubicBezTo>
                  <a:cubicBezTo>
                    <a:pt x="86685" y="194"/>
                    <a:pt x="101592" y="1154"/>
                    <a:pt x="112596" y="8447"/>
                  </a:cubicBezTo>
                  <a:cubicBezTo>
                    <a:pt x="127759" y="-3389"/>
                    <a:pt x="151304" y="-2685"/>
                    <a:pt x="165827" y="9919"/>
                  </a:cubicBezTo>
                  <a:cubicBezTo>
                    <a:pt x="178751" y="8191"/>
                    <a:pt x="192442" y="15677"/>
                    <a:pt x="197881" y="27513"/>
                  </a:cubicBezTo>
                  <a:cubicBezTo>
                    <a:pt x="203319" y="39349"/>
                    <a:pt x="200184" y="54640"/>
                    <a:pt x="190459" y="63342"/>
                  </a:cubicBezTo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70A687D2-284E-418B-B8F0-2CA16F7641A6}"/>
                </a:ext>
              </a:extLst>
            </p:cNvPr>
            <p:cNvSpPr/>
            <p:nvPr/>
          </p:nvSpPr>
          <p:spPr>
            <a:xfrm>
              <a:off x="9442830" y="1569844"/>
              <a:ext cx="259199" cy="447104"/>
            </a:xfrm>
            <a:custGeom>
              <a:avLst/>
              <a:gdLst>
                <a:gd name="connsiteX0" fmla="*/ 17336 w 259199"/>
                <a:gd name="connsiteY0" fmla="*/ 114413 h 447104"/>
                <a:gd name="connsiteX1" fmla="*/ 153420 w 259199"/>
                <a:gd name="connsiteY1" fmla="*/ 146 h 447104"/>
                <a:gd name="connsiteX2" fmla="*/ 160202 w 259199"/>
                <a:gd name="connsiteY2" fmla="*/ 466 h 447104"/>
                <a:gd name="connsiteX3" fmla="*/ 257578 w 259199"/>
                <a:gd name="connsiteY3" fmla="*/ 146978 h 447104"/>
                <a:gd name="connsiteX4" fmla="*/ 235633 w 259199"/>
                <a:gd name="connsiteY4" fmla="*/ 389843 h 447104"/>
                <a:gd name="connsiteX5" fmla="*/ 229875 w 259199"/>
                <a:gd name="connsiteY5" fmla="*/ 447104 h 447104"/>
                <a:gd name="connsiteX6" fmla="*/ 64233 w 259199"/>
                <a:gd name="connsiteY6" fmla="*/ 427526 h 447104"/>
                <a:gd name="connsiteX7" fmla="*/ 67368 w 259199"/>
                <a:gd name="connsiteY7" fmla="*/ 365531 h 447104"/>
                <a:gd name="connsiteX8" fmla="*/ 62 w 259199"/>
                <a:gd name="connsiteY8" fmla="*/ 281014 h 447104"/>
                <a:gd name="connsiteX9" fmla="*/ 17336 w 259199"/>
                <a:gd name="connsiteY9" fmla="*/ 114413 h 447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9199" h="447104">
                  <a:moveTo>
                    <a:pt x="17336" y="114413"/>
                  </a:moveTo>
                  <a:cubicBezTo>
                    <a:pt x="25974" y="46659"/>
                    <a:pt x="85218" y="-3053"/>
                    <a:pt x="153420" y="146"/>
                  </a:cubicBezTo>
                  <a:lnTo>
                    <a:pt x="160202" y="466"/>
                  </a:lnTo>
                  <a:cubicBezTo>
                    <a:pt x="233074" y="8143"/>
                    <a:pt x="267303" y="74362"/>
                    <a:pt x="257578" y="146978"/>
                  </a:cubicBezTo>
                  <a:lnTo>
                    <a:pt x="235633" y="389843"/>
                  </a:lnTo>
                  <a:lnTo>
                    <a:pt x="229875" y="447104"/>
                  </a:lnTo>
                  <a:lnTo>
                    <a:pt x="64233" y="427526"/>
                  </a:lnTo>
                  <a:lnTo>
                    <a:pt x="67368" y="365531"/>
                  </a:lnTo>
                  <a:cubicBezTo>
                    <a:pt x="67368" y="365531"/>
                    <a:pt x="-2369" y="351327"/>
                    <a:pt x="62" y="281014"/>
                  </a:cubicBezTo>
                  <a:cubicBezTo>
                    <a:pt x="1150" y="247105"/>
                    <a:pt x="9275" y="177432"/>
                    <a:pt x="17336" y="114413"/>
                  </a:cubicBezTo>
                  <a:close/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614E73B1-64B3-4DF3-900E-E698DC90A0E6}"/>
                </a:ext>
              </a:extLst>
            </p:cNvPr>
            <p:cNvSpPr/>
            <p:nvPr/>
          </p:nvSpPr>
          <p:spPr>
            <a:xfrm>
              <a:off x="9509111" y="1912598"/>
              <a:ext cx="93793" cy="41157"/>
            </a:xfrm>
            <a:custGeom>
              <a:avLst/>
              <a:gdLst>
                <a:gd name="connsiteX0" fmla="*/ 512 w 93793"/>
                <a:gd name="connsiteY0" fmla="*/ 22649 h 41157"/>
                <a:gd name="connsiteX1" fmla="*/ 93793 w 93793"/>
                <a:gd name="connsiteY1" fmla="*/ 0 h 41157"/>
                <a:gd name="connsiteX2" fmla="*/ 0 w 93793"/>
                <a:gd name="connsiteY2" fmla="*/ 39923 h 41157"/>
                <a:gd name="connsiteX3" fmla="*/ 512 w 93793"/>
                <a:gd name="connsiteY3" fmla="*/ 22649 h 41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793" h="41157">
                  <a:moveTo>
                    <a:pt x="512" y="22649"/>
                  </a:moveTo>
                  <a:cubicBezTo>
                    <a:pt x="512" y="22649"/>
                    <a:pt x="45233" y="27447"/>
                    <a:pt x="93793" y="0"/>
                  </a:cubicBezTo>
                  <a:cubicBezTo>
                    <a:pt x="93793" y="0"/>
                    <a:pt x="69801" y="49520"/>
                    <a:pt x="0" y="39923"/>
                  </a:cubicBezTo>
                  <a:lnTo>
                    <a:pt x="512" y="22649"/>
                  </a:ln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E7C53985-394C-4A7D-A548-E50429BF003E}"/>
                </a:ext>
              </a:extLst>
            </p:cNvPr>
            <p:cNvSpPr/>
            <p:nvPr/>
          </p:nvSpPr>
          <p:spPr>
            <a:xfrm>
              <a:off x="9475553" y="1740384"/>
              <a:ext cx="20027" cy="19232"/>
            </a:xfrm>
            <a:custGeom>
              <a:avLst/>
              <a:gdLst>
                <a:gd name="connsiteX0" fmla="*/ 33 w 20027"/>
                <a:gd name="connsiteY0" fmla="*/ 8619 h 19232"/>
                <a:gd name="connsiteX1" fmla="*/ 9246 w 20027"/>
                <a:gd name="connsiteY1" fmla="*/ 19175 h 19232"/>
                <a:gd name="connsiteX2" fmla="*/ 19994 w 20027"/>
                <a:gd name="connsiteY2" fmla="*/ 10602 h 19232"/>
                <a:gd name="connsiteX3" fmla="*/ 10781 w 20027"/>
                <a:gd name="connsiteY3" fmla="*/ 46 h 19232"/>
                <a:gd name="connsiteX4" fmla="*/ 33 w 20027"/>
                <a:gd name="connsiteY4" fmla="*/ 8619 h 1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27" h="19232">
                  <a:moveTo>
                    <a:pt x="33" y="8619"/>
                  </a:moveTo>
                  <a:cubicBezTo>
                    <a:pt x="-415" y="13929"/>
                    <a:pt x="3744" y="18664"/>
                    <a:pt x="9246" y="19175"/>
                  </a:cubicBezTo>
                  <a:cubicBezTo>
                    <a:pt x="14748" y="19751"/>
                    <a:pt x="19547" y="15913"/>
                    <a:pt x="19994" y="10602"/>
                  </a:cubicBezTo>
                  <a:cubicBezTo>
                    <a:pt x="20442" y="5292"/>
                    <a:pt x="16284" y="558"/>
                    <a:pt x="10781" y="46"/>
                  </a:cubicBezTo>
                  <a:cubicBezTo>
                    <a:pt x="5279" y="-466"/>
                    <a:pt x="481" y="3373"/>
                    <a:pt x="33" y="8619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F268E8C-102D-4E95-9814-0D57637002BE}"/>
                </a:ext>
              </a:extLst>
            </p:cNvPr>
            <p:cNvSpPr/>
            <p:nvPr/>
          </p:nvSpPr>
          <p:spPr>
            <a:xfrm>
              <a:off x="9473507" y="1709699"/>
              <a:ext cx="39839" cy="11460"/>
            </a:xfrm>
            <a:custGeom>
              <a:avLst/>
              <a:gdLst>
                <a:gd name="connsiteX0" fmla="*/ 159 w 39839"/>
                <a:gd name="connsiteY0" fmla="*/ 9617 h 11460"/>
                <a:gd name="connsiteX1" fmla="*/ 19992 w 39839"/>
                <a:gd name="connsiteY1" fmla="*/ 6227 h 11460"/>
                <a:gd name="connsiteX2" fmla="*/ 39698 w 39839"/>
                <a:gd name="connsiteY2" fmla="*/ 11281 h 11460"/>
                <a:gd name="connsiteX3" fmla="*/ 35795 w 39839"/>
                <a:gd name="connsiteY3" fmla="*/ 5651 h 11460"/>
                <a:gd name="connsiteX4" fmla="*/ 20120 w 39839"/>
                <a:gd name="connsiteY4" fmla="*/ 21 h 11460"/>
                <a:gd name="connsiteX5" fmla="*/ 4253 w 39839"/>
                <a:gd name="connsiteY5" fmla="*/ 4307 h 11460"/>
                <a:gd name="connsiteX6" fmla="*/ 159 w 39839"/>
                <a:gd name="connsiteY6" fmla="*/ 9617 h 1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839" h="11460">
                  <a:moveTo>
                    <a:pt x="159" y="9617"/>
                  </a:moveTo>
                  <a:cubicBezTo>
                    <a:pt x="1310" y="10961"/>
                    <a:pt x="9180" y="5715"/>
                    <a:pt x="19992" y="6227"/>
                  </a:cubicBezTo>
                  <a:cubicBezTo>
                    <a:pt x="30805" y="6610"/>
                    <a:pt x="38418" y="12560"/>
                    <a:pt x="39698" y="11281"/>
                  </a:cubicBezTo>
                  <a:cubicBezTo>
                    <a:pt x="40274" y="10705"/>
                    <a:pt x="39122" y="8274"/>
                    <a:pt x="35795" y="5651"/>
                  </a:cubicBezTo>
                  <a:cubicBezTo>
                    <a:pt x="32532" y="2964"/>
                    <a:pt x="26838" y="276"/>
                    <a:pt x="20120" y="21"/>
                  </a:cubicBezTo>
                  <a:cubicBezTo>
                    <a:pt x="13402" y="-235"/>
                    <a:pt x="7644" y="1940"/>
                    <a:pt x="4253" y="4307"/>
                  </a:cubicBezTo>
                  <a:cubicBezTo>
                    <a:pt x="799" y="6738"/>
                    <a:pt x="-481" y="9042"/>
                    <a:pt x="159" y="961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34E3AAB8-685D-4557-BBC4-2D518BAFF6B1}"/>
                </a:ext>
              </a:extLst>
            </p:cNvPr>
            <p:cNvSpPr/>
            <p:nvPr/>
          </p:nvSpPr>
          <p:spPr>
            <a:xfrm>
              <a:off x="9573888" y="1745311"/>
              <a:ext cx="20027" cy="19232"/>
            </a:xfrm>
            <a:custGeom>
              <a:avLst/>
              <a:gdLst>
                <a:gd name="connsiteX0" fmla="*/ 33 w 20027"/>
                <a:gd name="connsiteY0" fmla="*/ 8619 h 19232"/>
                <a:gd name="connsiteX1" fmla="*/ 9246 w 20027"/>
                <a:gd name="connsiteY1" fmla="*/ 19176 h 19232"/>
                <a:gd name="connsiteX2" fmla="*/ 19994 w 20027"/>
                <a:gd name="connsiteY2" fmla="*/ 10602 h 19232"/>
                <a:gd name="connsiteX3" fmla="*/ 10782 w 20027"/>
                <a:gd name="connsiteY3" fmla="*/ 46 h 19232"/>
                <a:gd name="connsiteX4" fmla="*/ 33 w 20027"/>
                <a:gd name="connsiteY4" fmla="*/ 8619 h 1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27" h="19232">
                  <a:moveTo>
                    <a:pt x="33" y="8619"/>
                  </a:moveTo>
                  <a:cubicBezTo>
                    <a:pt x="-415" y="13929"/>
                    <a:pt x="3744" y="18664"/>
                    <a:pt x="9246" y="19176"/>
                  </a:cubicBezTo>
                  <a:cubicBezTo>
                    <a:pt x="14748" y="19751"/>
                    <a:pt x="19547" y="15913"/>
                    <a:pt x="19994" y="10602"/>
                  </a:cubicBezTo>
                  <a:cubicBezTo>
                    <a:pt x="20442" y="5292"/>
                    <a:pt x="16284" y="558"/>
                    <a:pt x="10782" y="46"/>
                  </a:cubicBezTo>
                  <a:cubicBezTo>
                    <a:pt x="5279" y="-466"/>
                    <a:pt x="481" y="3373"/>
                    <a:pt x="33" y="8619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9D4A21C-F45B-498B-8E84-3964E2697512}"/>
                </a:ext>
              </a:extLst>
            </p:cNvPr>
            <p:cNvSpPr/>
            <p:nvPr/>
          </p:nvSpPr>
          <p:spPr>
            <a:xfrm>
              <a:off x="9579521" y="1716673"/>
              <a:ext cx="39844" cy="11445"/>
            </a:xfrm>
            <a:custGeom>
              <a:avLst/>
              <a:gdLst>
                <a:gd name="connsiteX0" fmla="*/ 159 w 39844"/>
                <a:gd name="connsiteY0" fmla="*/ 9617 h 11445"/>
                <a:gd name="connsiteX1" fmla="*/ 19992 w 39844"/>
                <a:gd name="connsiteY1" fmla="*/ 6227 h 11445"/>
                <a:gd name="connsiteX2" fmla="*/ 39698 w 39844"/>
                <a:gd name="connsiteY2" fmla="*/ 11281 h 11445"/>
                <a:gd name="connsiteX3" fmla="*/ 35795 w 39844"/>
                <a:gd name="connsiteY3" fmla="*/ 5651 h 11445"/>
                <a:gd name="connsiteX4" fmla="*/ 20120 w 39844"/>
                <a:gd name="connsiteY4" fmla="*/ 21 h 11445"/>
                <a:gd name="connsiteX5" fmla="*/ 4253 w 39844"/>
                <a:gd name="connsiteY5" fmla="*/ 4307 h 11445"/>
                <a:gd name="connsiteX6" fmla="*/ 159 w 39844"/>
                <a:gd name="connsiteY6" fmla="*/ 9617 h 1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844" h="11445">
                  <a:moveTo>
                    <a:pt x="159" y="9617"/>
                  </a:moveTo>
                  <a:cubicBezTo>
                    <a:pt x="1310" y="10961"/>
                    <a:pt x="9244" y="5715"/>
                    <a:pt x="19992" y="6227"/>
                  </a:cubicBezTo>
                  <a:cubicBezTo>
                    <a:pt x="30805" y="6610"/>
                    <a:pt x="38418" y="12496"/>
                    <a:pt x="39698" y="11281"/>
                  </a:cubicBezTo>
                  <a:cubicBezTo>
                    <a:pt x="40274" y="10705"/>
                    <a:pt x="39186" y="8274"/>
                    <a:pt x="35795" y="5651"/>
                  </a:cubicBezTo>
                  <a:cubicBezTo>
                    <a:pt x="32532" y="2964"/>
                    <a:pt x="26838" y="277"/>
                    <a:pt x="20120" y="21"/>
                  </a:cubicBezTo>
                  <a:cubicBezTo>
                    <a:pt x="13402" y="-235"/>
                    <a:pt x="7644" y="1940"/>
                    <a:pt x="4253" y="4307"/>
                  </a:cubicBezTo>
                  <a:cubicBezTo>
                    <a:pt x="799" y="6738"/>
                    <a:pt x="-481" y="9042"/>
                    <a:pt x="159" y="961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15F9D2E2-3371-445D-9386-135818235823}"/>
                </a:ext>
              </a:extLst>
            </p:cNvPr>
            <p:cNvSpPr/>
            <p:nvPr/>
          </p:nvSpPr>
          <p:spPr>
            <a:xfrm>
              <a:off x="9509682" y="1714830"/>
              <a:ext cx="36322" cy="89988"/>
            </a:xfrm>
            <a:custGeom>
              <a:avLst/>
              <a:gdLst>
                <a:gd name="connsiteX0" fmla="*/ 27067 w 36322"/>
                <a:gd name="connsiteY0" fmla="*/ 89707 h 89988"/>
                <a:gd name="connsiteX1" fmla="*/ 9665 w 36322"/>
                <a:gd name="connsiteY1" fmla="*/ 85740 h 89988"/>
                <a:gd name="connsiteX2" fmla="*/ 3971 w 36322"/>
                <a:gd name="connsiteY2" fmla="*/ 82733 h 89988"/>
                <a:gd name="connsiteX3" fmla="*/ 6210 w 36322"/>
                <a:gd name="connsiteY3" fmla="*/ 74672 h 89988"/>
                <a:gd name="connsiteX4" fmla="*/ 15359 w 36322"/>
                <a:gd name="connsiteY4" fmla="*/ 54071 h 89988"/>
                <a:gd name="connsiteX5" fmla="*/ 36216 w 36322"/>
                <a:gd name="connsiteY5" fmla="*/ 8 h 89988"/>
                <a:gd name="connsiteX6" fmla="*/ 11073 w 36322"/>
                <a:gd name="connsiteY6" fmla="*/ 52279 h 89988"/>
                <a:gd name="connsiteX7" fmla="*/ 2307 w 36322"/>
                <a:gd name="connsiteY7" fmla="*/ 73008 h 89988"/>
                <a:gd name="connsiteX8" fmla="*/ 388 w 36322"/>
                <a:gd name="connsiteY8" fmla="*/ 83757 h 89988"/>
                <a:gd name="connsiteX9" fmla="*/ 4739 w 36322"/>
                <a:gd name="connsiteY9" fmla="*/ 87980 h 89988"/>
                <a:gd name="connsiteX10" fmla="*/ 9409 w 36322"/>
                <a:gd name="connsiteY10" fmla="*/ 88875 h 89988"/>
                <a:gd name="connsiteX11" fmla="*/ 27067 w 36322"/>
                <a:gd name="connsiteY11" fmla="*/ 89707 h 8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322" h="89988">
                  <a:moveTo>
                    <a:pt x="27067" y="89707"/>
                  </a:moveTo>
                  <a:cubicBezTo>
                    <a:pt x="27131" y="89067"/>
                    <a:pt x="20477" y="87596"/>
                    <a:pt x="9665" y="85740"/>
                  </a:cubicBezTo>
                  <a:cubicBezTo>
                    <a:pt x="6914" y="85356"/>
                    <a:pt x="4355" y="84653"/>
                    <a:pt x="3971" y="82733"/>
                  </a:cubicBezTo>
                  <a:cubicBezTo>
                    <a:pt x="3395" y="80686"/>
                    <a:pt x="4739" y="77807"/>
                    <a:pt x="6210" y="74672"/>
                  </a:cubicBezTo>
                  <a:cubicBezTo>
                    <a:pt x="9089" y="68146"/>
                    <a:pt x="12160" y="61236"/>
                    <a:pt x="15359" y="54071"/>
                  </a:cubicBezTo>
                  <a:cubicBezTo>
                    <a:pt x="28091" y="24704"/>
                    <a:pt x="37432" y="520"/>
                    <a:pt x="36216" y="8"/>
                  </a:cubicBezTo>
                  <a:cubicBezTo>
                    <a:pt x="35001" y="-504"/>
                    <a:pt x="23740" y="22913"/>
                    <a:pt x="11073" y="52279"/>
                  </a:cubicBezTo>
                  <a:cubicBezTo>
                    <a:pt x="8002" y="59509"/>
                    <a:pt x="5059" y="66418"/>
                    <a:pt x="2307" y="73008"/>
                  </a:cubicBezTo>
                  <a:cubicBezTo>
                    <a:pt x="1092" y="76079"/>
                    <a:pt x="-827" y="79534"/>
                    <a:pt x="388" y="83757"/>
                  </a:cubicBezTo>
                  <a:cubicBezTo>
                    <a:pt x="1028" y="85868"/>
                    <a:pt x="3011" y="87468"/>
                    <a:pt x="4739" y="87980"/>
                  </a:cubicBezTo>
                  <a:cubicBezTo>
                    <a:pt x="6466" y="88619"/>
                    <a:pt x="8002" y="88683"/>
                    <a:pt x="9409" y="88875"/>
                  </a:cubicBezTo>
                  <a:cubicBezTo>
                    <a:pt x="20222" y="89963"/>
                    <a:pt x="27003" y="90283"/>
                    <a:pt x="27067" y="8970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B7D36A45-0AA9-4C92-8B75-972D22D7FF66}"/>
                </a:ext>
              </a:extLst>
            </p:cNvPr>
            <p:cNvSpPr/>
            <p:nvPr/>
          </p:nvSpPr>
          <p:spPr>
            <a:xfrm>
              <a:off x="9577271" y="1681633"/>
              <a:ext cx="44332" cy="12008"/>
            </a:xfrm>
            <a:custGeom>
              <a:avLst/>
              <a:gdLst>
                <a:gd name="connsiteX0" fmla="*/ 105 w 44332"/>
                <a:gd name="connsiteY0" fmla="*/ 10557 h 12008"/>
                <a:gd name="connsiteX1" fmla="*/ 22178 w 44332"/>
                <a:gd name="connsiteY1" fmla="*/ 11004 h 12008"/>
                <a:gd name="connsiteX2" fmla="*/ 44251 w 44332"/>
                <a:gd name="connsiteY2" fmla="*/ 10685 h 12008"/>
                <a:gd name="connsiteX3" fmla="*/ 38877 w 44332"/>
                <a:gd name="connsiteY3" fmla="*/ 4415 h 12008"/>
                <a:gd name="connsiteX4" fmla="*/ 21986 w 44332"/>
                <a:gd name="connsiteY4" fmla="*/ 0 h 12008"/>
                <a:gd name="connsiteX5" fmla="*/ 5288 w 44332"/>
                <a:gd name="connsiteY5" fmla="*/ 4287 h 12008"/>
                <a:gd name="connsiteX6" fmla="*/ 105 w 44332"/>
                <a:gd name="connsiteY6" fmla="*/ 10557 h 12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332" h="12008">
                  <a:moveTo>
                    <a:pt x="105" y="10557"/>
                  </a:moveTo>
                  <a:cubicBezTo>
                    <a:pt x="1385" y="13372"/>
                    <a:pt x="10790" y="10812"/>
                    <a:pt x="22178" y="11004"/>
                  </a:cubicBezTo>
                  <a:cubicBezTo>
                    <a:pt x="33567" y="10940"/>
                    <a:pt x="43099" y="13500"/>
                    <a:pt x="44251" y="10685"/>
                  </a:cubicBezTo>
                  <a:cubicBezTo>
                    <a:pt x="44763" y="9341"/>
                    <a:pt x="42843" y="6782"/>
                    <a:pt x="38877" y="4415"/>
                  </a:cubicBezTo>
                  <a:cubicBezTo>
                    <a:pt x="34910" y="2047"/>
                    <a:pt x="28768" y="64"/>
                    <a:pt x="21986" y="0"/>
                  </a:cubicBezTo>
                  <a:cubicBezTo>
                    <a:pt x="15141" y="0"/>
                    <a:pt x="9126" y="1919"/>
                    <a:pt x="5288" y="4287"/>
                  </a:cubicBezTo>
                  <a:cubicBezTo>
                    <a:pt x="1321" y="6654"/>
                    <a:pt x="-470" y="9213"/>
                    <a:pt x="105" y="1055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1EE0E4B2-6678-4F83-8208-7F8E5B1CD439}"/>
                </a:ext>
              </a:extLst>
            </p:cNvPr>
            <p:cNvSpPr/>
            <p:nvPr/>
          </p:nvSpPr>
          <p:spPr>
            <a:xfrm>
              <a:off x="9474904" y="1664673"/>
              <a:ext cx="44428" cy="12136"/>
            </a:xfrm>
            <a:custGeom>
              <a:avLst/>
              <a:gdLst>
                <a:gd name="connsiteX0" fmla="*/ 298 w 44428"/>
                <a:gd name="connsiteY0" fmla="*/ 10115 h 12136"/>
                <a:gd name="connsiteX1" fmla="*/ 22179 w 44428"/>
                <a:gd name="connsiteY1" fmla="*/ 10947 h 12136"/>
                <a:gd name="connsiteX2" fmla="*/ 44123 w 44428"/>
                <a:gd name="connsiteY2" fmla="*/ 11075 h 12136"/>
                <a:gd name="connsiteX3" fmla="*/ 39901 w 44428"/>
                <a:gd name="connsiteY3" fmla="*/ 4869 h 12136"/>
                <a:gd name="connsiteX4" fmla="*/ 22306 w 44428"/>
                <a:gd name="connsiteY4" fmla="*/ 6 h 12136"/>
                <a:gd name="connsiteX5" fmla="*/ 4584 w 44428"/>
                <a:gd name="connsiteY5" fmla="*/ 4101 h 12136"/>
                <a:gd name="connsiteX6" fmla="*/ 298 w 44428"/>
                <a:gd name="connsiteY6" fmla="*/ 10115 h 12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28" h="12136">
                  <a:moveTo>
                    <a:pt x="298" y="10115"/>
                  </a:moveTo>
                  <a:cubicBezTo>
                    <a:pt x="2473" y="12674"/>
                    <a:pt x="11494" y="10563"/>
                    <a:pt x="22179" y="10947"/>
                  </a:cubicBezTo>
                  <a:cubicBezTo>
                    <a:pt x="32927" y="11010"/>
                    <a:pt x="41884" y="13506"/>
                    <a:pt x="44123" y="11075"/>
                  </a:cubicBezTo>
                  <a:cubicBezTo>
                    <a:pt x="45083" y="9859"/>
                    <a:pt x="43803" y="7364"/>
                    <a:pt x="39901" y="4869"/>
                  </a:cubicBezTo>
                  <a:cubicBezTo>
                    <a:pt x="36126" y="2373"/>
                    <a:pt x="29664" y="198"/>
                    <a:pt x="22306" y="6"/>
                  </a:cubicBezTo>
                  <a:cubicBezTo>
                    <a:pt x="14949" y="-122"/>
                    <a:pt x="8423" y="1798"/>
                    <a:pt x="4584" y="4101"/>
                  </a:cubicBezTo>
                  <a:cubicBezTo>
                    <a:pt x="681" y="6404"/>
                    <a:pt x="-662" y="8899"/>
                    <a:pt x="298" y="10115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B62A50E-9284-42E3-A6E5-8CEBE4F292D3}"/>
                </a:ext>
              </a:extLst>
            </p:cNvPr>
            <p:cNvSpPr/>
            <p:nvPr/>
          </p:nvSpPr>
          <p:spPr>
            <a:xfrm>
              <a:off x="9468418" y="1560881"/>
              <a:ext cx="250784" cy="253486"/>
            </a:xfrm>
            <a:custGeom>
              <a:avLst/>
              <a:gdLst>
                <a:gd name="connsiteX0" fmla="*/ 2 w 250784"/>
                <a:gd name="connsiteY0" fmla="*/ 91514 h 253486"/>
                <a:gd name="connsiteX1" fmla="*/ 42292 w 250784"/>
                <a:gd name="connsiteY1" fmla="*/ 39115 h 253486"/>
                <a:gd name="connsiteX2" fmla="*/ 103072 w 250784"/>
                <a:gd name="connsiteY2" fmla="*/ 50887 h 253486"/>
                <a:gd name="connsiteX3" fmla="*/ 177032 w 250784"/>
                <a:gd name="connsiteY3" fmla="*/ 54470 h 253486"/>
                <a:gd name="connsiteX4" fmla="*/ 190148 w 250784"/>
                <a:gd name="connsiteY4" fmla="*/ 121648 h 253486"/>
                <a:gd name="connsiteX5" fmla="*/ 221881 w 250784"/>
                <a:gd name="connsiteY5" fmla="*/ 225934 h 253486"/>
                <a:gd name="connsiteX6" fmla="*/ 245234 w 250784"/>
                <a:gd name="connsiteY6" fmla="*/ 187675 h 253486"/>
                <a:gd name="connsiteX7" fmla="*/ 246961 w 250784"/>
                <a:gd name="connsiteY7" fmla="*/ 83069 h 253486"/>
                <a:gd name="connsiteX8" fmla="*/ 208638 w 250784"/>
                <a:gd name="connsiteY8" fmla="*/ 28750 h 253486"/>
                <a:gd name="connsiteX9" fmla="*/ 95651 w 250784"/>
                <a:gd name="connsiteY9" fmla="*/ 408 h 253486"/>
                <a:gd name="connsiteX10" fmla="*/ 2 w 250784"/>
                <a:gd name="connsiteY10" fmla="*/ 91514 h 25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784" h="253486">
                  <a:moveTo>
                    <a:pt x="2" y="91514"/>
                  </a:moveTo>
                  <a:cubicBezTo>
                    <a:pt x="2" y="91514"/>
                    <a:pt x="20603" y="48392"/>
                    <a:pt x="42292" y="39115"/>
                  </a:cubicBezTo>
                  <a:cubicBezTo>
                    <a:pt x="68523" y="27919"/>
                    <a:pt x="78312" y="56581"/>
                    <a:pt x="103072" y="50887"/>
                  </a:cubicBezTo>
                  <a:cubicBezTo>
                    <a:pt x="127896" y="45193"/>
                    <a:pt x="152912" y="34381"/>
                    <a:pt x="177032" y="54470"/>
                  </a:cubicBezTo>
                  <a:cubicBezTo>
                    <a:pt x="203455" y="76479"/>
                    <a:pt x="189956" y="90362"/>
                    <a:pt x="190148" y="121648"/>
                  </a:cubicBezTo>
                  <a:cubicBezTo>
                    <a:pt x="191107" y="248327"/>
                    <a:pt x="212476" y="285115"/>
                    <a:pt x="221881" y="225934"/>
                  </a:cubicBezTo>
                  <a:cubicBezTo>
                    <a:pt x="222905" y="219472"/>
                    <a:pt x="241267" y="215122"/>
                    <a:pt x="245234" y="187675"/>
                  </a:cubicBezTo>
                  <a:cubicBezTo>
                    <a:pt x="250352" y="152102"/>
                    <a:pt x="253807" y="108788"/>
                    <a:pt x="246961" y="83069"/>
                  </a:cubicBezTo>
                  <a:cubicBezTo>
                    <a:pt x="241267" y="61380"/>
                    <a:pt x="229751" y="46025"/>
                    <a:pt x="208638" y="28750"/>
                  </a:cubicBezTo>
                  <a:cubicBezTo>
                    <a:pt x="175369" y="1431"/>
                    <a:pt x="128024" y="-1320"/>
                    <a:pt x="95651" y="408"/>
                  </a:cubicBezTo>
                  <a:cubicBezTo>
                    <a:pt x="63405" y="2135"/>
                    <a:pt x="-382" y="36236"/>
                    <a:pt x="2" y="91514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2A02ACC3-FCFB-4038-9675-6D5AF16C8286}"/>
                </a:ext>
              </a:extLst>
            </p:cNvPr>
            <p:cNvSpPr/>
            <p:nvPr/>
          </p:nvSpPr>
          <p:spPr>
            <a:xfrm>
              <a:off x="9681342" y="1767115"/>
              <a:ext cx="51329" cy="72902"/>
            </a:xfrm>
            <a:custGeom>
              <a:avLst/>
              <a:gdLst>
                <a:gd name="connsiteX0" fmla="*/ 4542 w 51329"/>
                <a:gd name="connsiteY0" fmla="*/ 17589 h 72902"/>
                <a:gd name="connsiteX1" fmla="*/ 25976 w 51329"/>
                <a:gd name="connsiteY1" fmla="*/ 187 h 72902"/>
                <a:gd name="connsiteX2" fmla="*/ 51119 w 51329"/>
                <a:gd name="connsiteY2" fmla="*/ 37167 h 72902"/>
                <a:gd name="connsiteX3" fmla="*/ 0 w 51329"/>
                <a:gd name="connsiteY3" fmla="*/ 70052 h 72902"/>
                <a:gd name="connsiteX4" fmla="*/ 4542 w 51329"/>
                <a:gd name="connsiteY4" fmla="*/ 17589 h 7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329" h="72902">
                  <a:moveTo>
                    <a:pt x="4542" y="17589"/>
                  </a:moveTo>
                  <a:cubicBezTo>
                    <a:pt x="5502" y="6777"/>
                    <a:pt x="15227" y="-1349"/>
                    <a:pt x="25976" y="187"/>
                  </a:cubicBezTo>
                  <a:cubicBezTo>
                    <a:pt x="39027" y="2042"/>
                    <a:pt x="53231" y="10167"/>
                    <a:pt x="51119" y="37167"/>
                  </a:cubicBezTo>
                  <a:cubicBezTo>
                    <a:pt x="47345" y="85087"/>
                    <a:pt x="0" y="71459"/>
                    <a:pt x="0" y="70052"/>
                  </a:cubicBezTo>
                  <a:cubicBezTo>
                    <a:pt x="64" y="69092"/>
                    <a:pt x="2815" y="37615"/>
                    <a:pt x="4542" y="17589"/>
                  </a:cubicBezTo>
                  <a:close/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70E92247-11FD-43CB-8437-88410F05B7F7}"/>
                </a:ext>
              </a:extLst>
            </p:cNvPr>
            <p:cNvSpPr/>
            <p:nvPr/>
          </p:nvSpPr>
          <p:spPr>
            <a:xfrm>
              <a:off x="9693179" y="1782699"/>
              <a:ext cx="22933" cy="41778"/>
            </a:xfrm>
            <a:custGeom>
              <a:avLst/>
              <a:gdLst>
                <a:gd name="connsiteX0" fmla="*/ 63 w 22933"/>
                <a:gd name="connsiteY0" fmla="*/ 37257 h 41778"/>
                <a:gd name="connsiteX1" fmla="*/ 2238 w 22933"/>
                <a:gd name="connsiteY1" fmla="*/ 38665 h 41778"/>
                <a:gd name="connsiteX2" fmla="*/ 8444 w 22933"/>
                <a:gd name="connsiteY2" fmla="*/ 39305 h 41778"/>
                <a:gd name="connsiteX3" fmla="*/ 19449 w 22933"/>
                <a:gd name="connsiteY3" fmla="*/ 21518 h 41778"/>
                <a:gd name="connsiteX4" fmla="*/ 18041 w 22933"/>
                <a:gd name="connsiteY4" fmla="*/ 9362 h 41778"/>
                <a:gd name="connsiteX5" fmla="*/ 12283 w 22933"/>
                <a:gd name="connsiteY5" fmla="*/ 2453 h 41778"/>
                <a:gd name="connsiteX6" fmla="*/ 7165 w 22933"/>
                <a:gd name="connsiteY6" fmla="*/ 4372 h 41778"/>
                <a:gd name="connsiteX7" fmla="*/ 6397 w 22933"/>
                <a:gd name="connsiteY7" fmla="*/ 6675 h 41778"/>
                <a:gd name="connsiteX8" fmla="*/ 5949 w 22933"/>
                <a:gd name="connsiteY8" fmla="*/ 3860 h 41778"/>
                <a:gd name="connsiteX9" fmla="*/ 8060 w 22933"/>
                <a:gd name="connsiteY9" fmla="*/ 981 h 41778"/>
                <a:gd name="connsiteX10" fmla="*/ 12795 w 22933"/>
                <a:gd name="connsiteY10" fmla="*/ 149 h 41778"/>
                <a:gd name="connsiteX11" fmla="*/ 20920 w 22933"/>
                <a:gd name="connsiteY11" fmla="*/ 8275 h 41778"/>
                <a:gd name="connsiteX12" fmla="*/ 22776 w 22933"/>
                <a:gd name="connsiteY12" fmla="*/ 21838 h 41778"/>
                <a:gd name="connsiteX13" fmla="*/ 8956 w 22933"/>
                <a:gd name="connsiteY13" fmla="*/ 41608 h 41778"/>
                <a:gd name="connsiteX14" fmla="*/ 1407 w 22933"/>
                <a:gd name="connsiteY14" fmla="*/ 39752 h 41778"/>
                <a:gd name="connsiteX15" fmla="*/ 63 w 22933"/>
                <a:gd name="connsiteY15" fmla="*/ 37257 h 41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933" h="41778">
                  <a:moveTo>
                    <a:pt x="63" y="37257"/>
                  </a:moveTo>
                  <a:cubicBezTo>
                    <a:pt x="255" y="37129"/>
                    <a:pt x="831" y="37897"/>
                    <a:pt x="2238" y="38665"/>
                  </a:cubicBezTo>
                  <a:cubicBezTo>
                    <a:pt x="3582" y="39433"/>
                    <a:pt x="5885" y="40008"/>
                    <a:pt x="8444" y="39305"/>
                  </a:cubicBezTo>
                  <a:cubicBezTo>
                    <a:pt x="13627" y="37833"/>
                    <a:pt x="18553" y="30156"/>
                    <a:pt x="19449" y="21518"/>
                  </a:cubicBezTo>
                  <a:cubicBezTo>
                    <a:pt x="19897" y="17168"/>
                    <a:pt x="19321" y="12945"/>
                    <a:pt x="18041" y="9362"/>
                  </a:cubicBezTo>
                  <a:cubicBezTo>
                    <a:pt x="16826" y="5716"/>
                    <a:pt x="14778" y="3092"/>
                    <a:pt x="12283" y="2453"/>
                  </a:cubicBezTo>
                  <a:cubicBezTo>
                    <a:pt x="9788" y="1685"/>
                    <a:pt x="7868" y="3029"/>
                    <a:pt x="7165" y="4372"/>
                  </a:cubicBezTo>
                  <a:cubicBezTo>
                    <a:pt x="6397" y="5652"/>
                    <a:pt x="6653" y="6611"/>
                    <a:pt x="6397" y="6675"/>
                  </a:cubicBezTo>
                  <a:cubicBezTo>
                    <a:pt x="6269" y="6803"/>
                    <a:pt x="5437" y="5780"/>
                    <a:pt x="5949" y="3860"/>
                  </a:cubicBezTo>
                  <a:cubicBezTo>
                    <a:pt x="6205" y="2901"/>
                    <a:pt x="6845" y="1813"/>
                    <a:pt x="8060" y="981"/>
                  </a:cubicBezTo>
                  <a:cubicBezTo>
                    <a:pt x="9276" y="149"/>
                    <a:pt x="11004" y="-234"/>
                    <a:pt x="12795" y="149"/>
                  </a:cubicBezTo>
                  <a:cubicBezTo>
                    <a:pt x="16442" y="725"/>
                    <a:pt x="19513" y="4372"/>
                    <a:pt x="20920" y="8275"/>
                  </a:cubicBezTo>
                  <a:cubicBezTo>
                    <a:pt x="22520" y="12241"/>
                    <a:pt x="23287" y="16976"/>
                    <a:pt x="22776" y="21838"/>
                  </a:cubicBezTo>
                  <a:cubicBezTo>
                    <a:pt x="21688" y="31499"/>
                    <a:pt x="16058" y="40136"/>
                    <a:pt x="8956" y="41608"/>
                  </a:cubicBezTo>
                  <a:cubicBezTo>
                    <a:pt x="5501" y="42248"/>
                    <a:pt x="2750" y="40968"/>
                    <a:pt x="1407" y="39752"/>
                  </a:cubicBezTo>
                  <a:cubicBezTo>
                    <a:pt x="63" y="38409"/>
                    <a:pt x="-129" y="37321"/>
                    <a:pt x="63" y="37257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04C12FFE-E522-46BC-A614-26935EEF9D88}"/>
                </a:ext>
              </a:extLst>
            </p:cNvPr>
            <p:cNvSpPr/>
            <p:nvPr/>
          </p:nvSpPr>
          <p:spPr>
            <a:xfrm>
              <a:off x="9503835" y="1544461"/>
              <a:ext cx="233371" cy="155619"/>
            </a:xfrm>
            <a:custGeom>
              <a:avLst/>
              <a:gdLst>
                <a:gd name="connsiteX0" fmla="*/ 185505 w 233371"/>
                <a:gd name="connsiteY0" fmla="*/ 147153 h 155619"/>
                <a:gd name="connsiteX1" fmla="*/ 164711 w 233371"/>
                <a:gd name="connsiteY1" fmla="*/ 155598 h 155619"/>
                <a:gd name="connsiteX2" fmla="*/ 147821 w 233371"/>
                <a:gd name="connsiteY2" fmla="*/ 143762 h 155619"/>
                <a:gd name="connsiteX3" fmla="*/ 146349 w 233371"/>
                <a:gd name="connsiteY3" fmla="*/ 133845 h 155619"/>
                <a:gd name="connsiteX4" fmla="*/ 134961 w 233371"/>
                <a:gd name="connsiteY4" fmla="*/ 131606 h 155619"/>
                <a:gd name="connsiteX5" fmla="*/ 104187 w 233371"/>
                <a:gd name="connsiteY5" fmla="*/ 108126 h 155619"/>
                <a:gd name="connsiteX6" fmla="*/ 86849 w 233371"/>
                <a:gd name="connsiteY6" fmla="*/ 108957 h 155619"/>
                <a:gd name="connsiteX7" fmla="*/ 74437 w 233371"/>
                <a:gd name="connsiteY7" fmla="*/ 94370 h 155619"/>
                <a:gd name="connsiteX8" fmla="*/ 58314 w 233371"/>
                <a:gd name="connsiteY8" fmla="*/ 85349 h 155619"/>
                <a:gd name="connsiteX9" fmla="*/ 47757 w 233371"/>
                <a:gd name="connsiteY9" fmla="*/ 87140 h 155619"/>
                <a:gd name="connsiteX10" fmla="*/ 38097 w 233371"/>
                <a:gd name="connsiteY10" fmla="*/ 72425 h 155619"/>
                <a:gd name="connsiteX11" fmla="*/ 31827 w 233371"/>
                <a:gd name="connsiteY11" fmla="*/ 55151 h 155619"/>
                <a:gd name="connsiteX12" fmla="*/ 14680 w 233371"/>
                <a:gd name="connsiteY12" fmla="*/ 53871 h 155619"/>
                <a:gd name="connsiteX13" fmla="*/ 157 w 233371"/>
                <a:gd name="connsiteY13" fmla="*/ 47026 h 155619"/>
                <a:gd name="connsiteX14" fmla="*/ 2716 w 233371"/>
                <a:gd name="connsiteY14" fmla="*/ 38388 h 155619"/>
                <a:gd name="connsiteX15" fmla="*/ 39952 w 233371"/>
                <a:gd name="connsiteY15" fmla="*/ 28344 h 155619"/>
                <a:gd name="connsiteX16" fmla="*/ 77380 w 233371"/>
                <a:gd name="connsiteY16" fmla="*/ 65 h 155619"/>
                <a:gd name="connsiteX17" fmla="*/ 117815 w 233371"/>
                <a:gd name="connsiteY17" fmla="*/ 23801 h 155619"/>
                <a:gd name="connsiteX18" fmla="*/ 156522 w 233371"/>
                <a:gd name="connsiteY18" fmla="*/ 15548 h 155619"/>
                <a:gd name="connsiteX19" fmla="*/ 185440 w 233371"/>
                <a:gd name="connsiteY19" fmla="*/ 42611 h 155619"/>
                <a:gd name="connsiteX20" fmla="*/ 217302 w 233371"/>
                <a:gd name="connsiteY20" fmla="*/ 55087 h 155619"/>
                <a:gd name="connsiteX21" fmla="*/ 218262 w 233371"/>
                <a:gd name="connsiteY21" fmla="*/ 89316 h 155619"/>
                <a:gd name="connsiteX22" fmla="*/ 233361 w 233371"/>
                <a:gd name="connsiteY22" fmla="*/ 113500 h 155619"/>
                <a:gd name="connsiteX23" fmla="*/ 213463 w 233371"/>
                <a:gd name="connsiteY23" fmla="*/ 129814 h 155619"/>
                <a:gd name="connsiteX24" fmla="*/ 205658 w 233371"/>
                <a:gd name="connsiteY24" fmla="*/ 152079 h 155619"/>
                <a:gd name="connsiteX25" fmla="*/ 183009 w 233371"/>
                <a:gd name="connsiteY25" fmla="*/ 145553 h 155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3371" h="155619">
                  <a:moveTo>
                    <a:pt x="185505" y="147153"/>
                  </a:moveTo>
                  <a:cubicBezTo>
                    <a:pt x="179043" y="151119"/>
                    <a:pt x="172261" y="155214"/>
                    <a:pt x="164711" y="155598"/>
                  </a:cubicBezTo>
                  <a:cubicBezTo>
                    <a:pt x="157162" y="155982"/>
                    <a:pt x="148781" y="151247"/>
                    <a:pt x="147821" y="143762"/>
                  </a:cubicBezTo>
                  <a:cubicBezTo>
                    <a:pt x="147437" y="140371"/>
                    <a:pt x="148397" y="136532"/>
                    <a:pt x="146349" y="133845"/>
                  </a:cubicBezTo>
                  <a:cubicBezTo>
                    <a:pt x="143854" y="130646"/>
                    <a:pt x="138992" y="131350"/>
                    <a:pt x="134961" y="131606"/>
                  </a:cubicBezTo>
                  <a:cubicBezTo>
                    <a:pt x="120950" y="132438"/>
                    <a:pt x="107066" y="121881"/>
                    <a:pt x="104187" y="108126"/>
                  </a:cubicBezTo>
                  <a:cubicBezTo>
                    <a:pt x="100348" y="113308"/>
                    <a:pt x="92095" y="112668"/>
                    <a:pt x="86849" y="108957"/>
                  </a:cubicBezTo>
                  <a:cubicBezTo>
                    <a:pt x="81602" y="105246"/>
                    <a:pt x="78404" y="99360"/>
                    <a:pt x="74437" y="94370"/>
                  </a:cubicBezTo>
                  <a:cubicBezTo>
                    <a:pt x="70470" y="89316"/>
                    <a:pt x="64712" y="84773"/>
                    <a:pt x="58314" y="85349"/>
                  </a:cubicBezTo>
                  <a:cubicBezTo>
                    <a:pt x="54731" y="85669"/>
                    <a:pt x="51340" y="87652"/>
                    <a:pt x="47757" y="87140"/>
                  </a:cubicBezTo>
                  <a:cubicBezTo>
                    <a:pt x="41487" y="86309"/>
                    <a:pt x="38736" y="78759"/>
                    <a:pt x="38097" y="72425"/>
                  </a:cubicBezTo>
                  <a:cubicBezTo>
                    <a:pt x="37457" y="66091"/>
                    <a:pt x="37009" y="58798"/>
                    <a:pt x="31827" y="55151"/>
                  </a:cubicBezTo>
                  <a:cubicBezTo>
                    <a:pt x="27028" y="51760"/>
                    <a:pt x="20502" y="53295"/>
                    <a:pt x="14680" y="53871"/>
                  </a:cubicBezTo>
                  <a:cubicBezTo>
                    <a:pt x="8858" y="54447"/>
                    <a:pt x="1373" y="52720"/>
                    <a:pt x="157" y="47026"/>
                  </a:cubicBezTo>
                  <a:cubicBezTo>
                    <a:pt x="-483" y="44018"/>
                    <a:pt x="925" y="40947"/>
                    <a:pt x="2716" y="38388"/>
                  </a:cubicBezTo>
                  <a:cubicBezTo>
                    <a:pt x="10714" y="26936"/>
                    <a:pt x="27284" y="22522"/>
                    <a:pt x="39952" y="28344"/>
                  </a:cubicBezTo>
                  <a:cubicBezTo>
                    <a:pt x="45390" y="12669"/>
                    <a:pt x="60809" y="1025"/>
                    <a:pt x="77380" y="65"/>
                  </a:cubicBezTo>
                  <a:cubicBezTo>
                    <a:pt x="93950" y="-895"/>
                    <a:pt x="110585" y="8894"/>
                    <a:pt x="117815" y="23801"/>
                  </a:cubicBezTo>
                  <a:cubicBezTo>
                    <a:pt x="128371" y="15036"/>
                    <a:pt x="143342" y="11901"/>
                    <a:pt x="156522" y="15548"/>
                  </a:cubicBezTo>
                  <a:cubicBezTo>
                    <a:pt x="169766" y="19195"/>
                    <a:pt x="180898" y="29623"/>
                    <a:pt x="185440" y="42611"/>
                  </a:cubicBezTo>
                  <a:cubicBezTo>
                    <a:pt x="197277" y="40116"/>
                    <a:pt x="210392" y="45234"/>
                    <a:pt x="217302" y="55087"/>
                  </a:cubicBezTo>
                  <a:cubicBezTo>
                    <a:pt x="224276" y="65004"/>
                    <a:pt x="224660" y="79079"/>
                    <a:pt x="218262" y="89316"/>
                  </a:cubicBezTo>
                  <a:cubicBezTo>
                    <a:pt x="226643" y="94626"/>
                    <a:pt x="233681" y="103583"/>
                    <a:pt x="233361" y="113500"/>
                  </a:cubicBezTo>
                  <a:cubicBezTo>
                    <a:pt x="233105" y="123417"/>
                    <a:pt x="222932" y="132885"/>
                    <a:pt x="213463" y="129814"/>
                  </a:cubicBezTo>
                  <a:cubicBezTo>
                    <a:pt x="216982" y="137748"/>
                    <a:pt x="213335" y="148112"/>
                    <a:pt x="205658" y="152079"/>
                  </a:cubicBezTo>
                  <a:cubicBezTo>
                    <a:pt x="197981" y="156046"/>
                    <a:pt x="187424" y="153039"/>
                    <a:pt x="183009" y="145553"/>
                  </a:cubicBezTo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8282B3F-18CC-423B-8D05-78740B851797}"/>
                </a:ext>
              </a:extLst>
            </p:cNvPr>
            <p:cNvSpPr/>
            <p:nvPr/>
          </p:nvSpPr>
          <p:spPr>
            <a:xfrm>
              <a:off x="9539581" y="1586814"/>
              <a:ext cx="193206" cy="108409"/>
            </a:xfrm>
            <a:custGeom>
              <a:avLst/>
              <a:gdLst>
                <a:gd name="connsiteX0" fmla="*/ 48 w 193206"/>
                <a:gd name="connsiteY0" fmla="*/ 2 h 108409"/>
                <a:gd name="connsiteX1" fmla="*/ 48 w 193206"/>
                <a:gd name="connsiteY1" fmla="*/ 898 h 108409"/>
                <a:gd name="connsiteX2" fmla="*/ 240 w 193206"/>
                <a:gd name="connsiteY2" fmla="*/ 3457 h 108409"/>
                <a:gd name="connsiteX3" fmla="*/ 3311 w 193206"/>
                <a:gd name="connsiteY3" fmla="*/ 12862 h 108409"/>
                <a:gd name="connsiteX4" fmla="*/ 13420 w 193206"/>
                <a:gd name="connsiteY4" fmla="*/ 24698 h 108409"/>
                <a:gd name="connsiteX5" fmla="*/ 32805 w 193206"/>
                <a:gd name="connsiteY5" fmla="*/ 31224 h 108409"/>
                <a:gd name="connsiteX6" fmla="*/ 32038 w 193206"/>
                <a:gd name="connsiteY6" fmla="*/ 30137 h 108409"/>
                <a:gd name="connsiteX7" fmla="*/ 32357 w 193206"/>
                <a:gd name="connsiteY7" fmla="*/ 43444 h 108409"/>
                <a:gd name="connsiteX8" fmla="*/ 40035 w 193206"/>
                <a:gd name="connsiteY8" fmla="*/ 55664 h 108409"/>
                <a:gd name="connsiteX9" fmla="*/ 45153 w 193206"/>
                <a:gd name="connsiteY9" fmla="*/ 61422 h 108409"/>
                <a:gd name="connsiteX10" fmla="*/ 52639 w 193206"/>
                <a:gd name="connsiteY10" fmla="*/ 64621 h 108409"/>
                <a:gd name="connsiteX11" fmla="*/ 68378 w 193206"/>
                <a:gd name="connsiteY11" fmla="*/ 59823 h 108409"/>
                <a:gd name="connsiteX12" fmla="*/ 66586 w 193206"/>
                <a:gd name="connsiteY12" fmla="*/ 59247 h 108409"/>
                <a:gd name="connsiteX13" fmla="*/ 80726 w 193206"/>
                <a:gd name="connsiteY13" fmla="*/ 84903 h 108409"/>
                <a:gd name="connsiteX14" fmla="*/ 96273 w 193206"/>
                <a:gd name="connsiteY14" fmla="*/ 90789 h 108409"/>
                <a:gd name="connsiteX15" fmla="*/ 111947 w 193206"/>
                <a:gd name="connsiteY15" fmla="*/ 88102 h 108409"/>
                <a:gd name="connsiteX16" fmla="*/ 110668 w 193206"/>
                <a:gd name="connsiteY16" fmla="*/ 87462 h 108409"/>
                <a:gd name="connsiteX17" fmla="*/ 121352 w 193206"/>
                <a:gd name="connsiteY17" fmla="*/ 102817 h 108409"/>
                <a:gd name="connsiteX18" fmla="*/ 137859 w 193206"/>
                <a:gd name="connsiteY18" fmla="*/ 108127 h 108409"/>
                <a:gd name="connsiteX19" fmla="*/ 159164 w 193206"/>
                <a:gd name="connsiteY19" fmla="*/ 88358 h 108409"/>
                <a:gd name="connsiteX20" fmla="*/ 158076 w 193206"/>
                <a:gd name="connsiteY20" fmla="*/ 88805 h 108409"/>
                <a:gd name="connsiteX21" fmla="*/ 174455 w 193206"/>
                <a:gd name="connsiteY21" fmla="*/ 92004 h 108409"/>
                <a:gd name="connsiteX22" fmla="*/ 186227 w 193206"/>
                <a:gd name="connsiteY22" fmla="*/ 87398 h 108409"/>
                <a:gd name="connsiteX23" fmla="*/ 191857 w 193206"/>
                <a:gd name="connsiteY23" fmla="*/ 81768 h 108409"/>
                <a:gd name="connsiteX24" fmla="*/ 193201 w 193206"/>
                <a:gd name="connsiteY24" fmla="*/ 79337 h 108409"/>
                <a:gd name="connsiteX25" fmla="*/ 185779 w 193206"/>
                <a:gd name="connsiteY25" fmla="*/ 86694 h 108409"/>
                <a:gd name="connsiteX26" fmla="*/ 174327 w 193206"/>
                <a:gd name="connsiteY26" fmla="*/ 90789 h 108409"/>
                <a:gd name="connsiteX27" fmla="*/ 158844 w 193206"/>
                <a:gd name="connsiteY27" fmla="*/ 87526 h 108409"/>
                <a:gd name="connsiteX28" fmla="*/ 157948 w 193206"/>
                <a:gd name="connsiteY28" fmla="*/ 86950 h 108409"/>
                <a:gd name="connsiteX29" fmla="*/ 157692 w 193206"/>
                <a:gd name="connsiteY29" fmla="*/ 87974 h 108409"/>
                <a:gd name="connsiteX30" fmla="*/ 137539 w 193206"/>
                <a:gd name="connsiteY30" fmla="*/ 106272 h 108409"/>
                <a:gd name="connsiteX31" fmla="*/ 122568 w 193206"/>
                <a:gd name="connsiteY31" fmla="*/ 101281 h 108409"/>
                <a:gd name="connsiteX32" fmla="*/ 112523 w 193206"/>
                <a:gd name="connsiteY32" fmla="*/ 86694 h 108409"/>
                <a:gd name="connsiteX33" fmla="*/ 112203 w 193206"/>
                <a:gd name="connsiteY33" fmla="*/ 85798 h 108409"/>
                <a:gd name="connsiteX34" fmla="*/ 111308 w 193206"/>
                <a:gd name="connsiteY34" fmla="*/ 86054 h 108409"/>
                <a:gd name="connsiteX35" fmla="*/ 96273 w 193206"/>
                <a:gd name="connsiteY35" fmla="*/ 88613 h 108409"/>
                <a:gd name="connsiteX36" fmla="*/ 81941 w 193206"/>
                <a:gd name="connsiteY36" fmla="*/ 83111 h 108409"/>
                <a:gd name="connsiteX37" fmla="*/ 68570 w 193206"/>
                <a:gd name="connsiteY37" fmla="*/ 58927 h 108409"/>
                <a:gd name="connsiteX38" fmla="*/ 68378 w 193206"/>
                <a:gd name="connsiteY38" fmla="*/ 56624 h 108409"/>
                <a:gd name="connsiteX39" fmla="*/ 66778 w 193206"/>
                <a:gd name="connsiteY39" fmla="*/ 58287 h 108409"/>
                <a:gd name="connsiteX40" fmla="*/ 52895 w 193206"/>
                <a:gd name="connsiteY40" fmla="*/ 62510 h 108409"/>
                <a:gd name="connsiteX41" fmla="*/ 46241 w 193206"/>
                <a:gd name="connsiteY41" fmla="*/ 59759 h 108409"/>
                <a:gd name="connsiteX42" fmla="*/ 41443 w 193206"/>
                <a:gd name="connsiteY42" fmla="*/ 54385 h 108409"/>
                <a:gd name="connsiteX43" fmla="*/ 33957 w 193206"/>
                <a:gd name="connsiteY43" fmla="*/ 42676 h 108409"/>
                <a:gd name="connsiteX44" fmla="*/ 33445 w 193206"/>
                <a:gd name="connsiteY44" fmla="*/ 30648 h 108409"/>
                <a:gd name="connsiteX45" fmla="*/ 33893 w 193206"/>
                <a:gd name="connsiteY45" fmla="*/ 29497 h 108409"/>
                <a:gd name="connsiteX46" fmla="*/ 32677 w 193206"/>
                <a:gd name="connsiteY46" fmla="*/ 29497 h 108409"/>
                <a:gd name="connsiteX47" fmla="*/ 14059 w 193206"/>
                <a:gd name="connsiteY47" fmla="*/ 23547 h 108409"/>
                <a:gd name="connsiteX48" fmla="*/ 3951 w 193206"/>
                <a:gd name="connsiteY48" fmla="*/ 12286 h 108409"/>
                <a:gd name="connsiteX49" fmla="*/ 48 w 193206"/>
                <a:gd name="connsiteY49" fmla="*/ 2 h 108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93206" h="108409">
                  <a:moveTo>
                    <a:pt x="48" y="2"/>
                  </a:moveTo>
                  <a:cubicBezTo>
                    <a:pt x="-16" y="2"/>
                    <a:pt x="-16" y="322"/>
                    <a:pt x="48" y="898"/>
                  </a:cubicBezTo>
                  <a:cubicBezTo>
                    <a:pt x="112" y="1474"/>
                    <a:pt x="48" y="2370"/>
                    <a:pt x="240" y="3457"/>
                  </a:cubicBezTo>
                  <a:cubicBezTo>
                    <a:pt x="560" y="5697"/>
                    <a:pt x="1327" y="9023"/>
                    <a:pt x="3311" y="12862"/>
                  </a:cubicBezTo>
                  <a:cubicBezTo>
                    <a:pt x="5294" y="16637"/>
                    <a:pt x="8493" y="21116"/>
                    <a:pt x="13420" y="24698"/>
                  </a:cubicBezTo>
                  <a:cubicBezTo>
                    <a:pt x="18282" y="28345"/>
                    <a:pt x="25064" y="31288"/>
                    <a:pt x="32805" y="31224"/>
                  </a:cubicBezTo>
                  <a:lnTo>
                    <a:pt x="32038" y="30137"/>
                  </a:lnTo>
                  <a:cubicBezTo>
                    <a:pt x="30374" y="34167"/>
                    <a:pt x="30502" y="39094"/>
                    <a:pt x="32357" y="43444"/>
                  </a:cubicBezTo>
                  <a:cubicBezTo>
                    <a:pt x="34085" y="47859"/>
                    <a:pt x="36964" y="51762"/>
                    <a:pt x="40035" y="55664"/>
                  </a:cubicBezTo>
                  <a:cubicBezTo>
                    <a:pt x="41634" y="57520"/>
                    <a:pt x="42914" y="59695"/>
                    <a:pt x="45153" y="61422"/>
                  </a:cubicBezTo>
                  <a:cubicBezTo>
                    <a:pt x="47328" y="63086"/>
                    <a:pt x="49952" y="64109"/>
                    <a:pt x="52639" y="64621"/>
                  </a:cubicBezTo>
                  <a:cubicBezTo>
                    <a:pt x="58013" y="65581"/>
                    <a:pt x="64219" y="64173"/>
                    <a:pt x="68378" y="59823"/>
                  </a:cubicBezTo>
                  <a:lnTo>
                    <a:pt x="66586" y="59247"/>
                  </a:lnTo>
                  <a:cubicBezTo>
                    <a:pt x="67354" y="68844"/>
                    <a:pt x="72344" y="78633"/>
                    <a:pt x="80726" y="84903"/>
                  </a:cubicBezTo>
                  <a:cubicBezTo>
                    <a:pt x="85140" y="88422"/>
                    <a:pt x="90706" y="90725"/>
                    <a:pt x="96273" y="90789"/>
                  </a:cubicBezTo>
                  <a:cubicBezTo>
                    <a:pt x="101839" y="90981"/>
                    <a:pt x="107085" y="89573"/>
                    <a:pt x="111947" y="88102"/>
                  </a:cubicBezTo>
                  <a:lnTo>
                    <a:pt x="110668" y="87462"/>
                  </a:lnTo>
                  <a:cubicBezTo>
                    <a:pt x="112971" y="93540"/>
                    <a:pt x="116682" y="98850"/>
                    <a:pt x="121352" y="102817"/>
                  </a:cubicBezTo>
                  <a:cubicBezTo>
                    <a:pt x="125895" y="106784"/>
                    <a:pt x="132101" y="109279"/>
                    <a:pt x="137859" y="108127"/>
                  </a:cubicBezTo>
                  <a:cubicBezTo>
                    <a:pt x="149311" y="106272"/>
                    <a:pt x="157245" y="97187"/>
                    <a:pt x="159164" y="88358"/>
                  </a:cubicBezTo>
                  <a:lnTo>
                    <a:pt x="158076" y="88805"/>
                  </a:lnTo>
                  <a:cubicBezTo>
                    <a:pt x="163579" y="92132"/>
                    <a:pt x="169593" y="92708"/>
                    <a:pt x="174455" y="92004"/>
                  </a:cubicBezTo>
                  <a:cubicBezTo>
                    <a:pt x="179381" y="91365"/>
                    <a:pt x="183348" y="89381"/>
                    <a:pt x="186227" y="87398"/>
                  </a:cubicBezTo>
                  <a:cubicBezTo>
                    <a:pt x="189106" y="85351"/>
                    <a:pt x="190834" y="83239"/>
                    <a:pt x="191857" y="81768"/>
                  </a:cubicBezTo>
                  <a:cubicBezTo>
                    <a:pt x="192817" y="80232"/>
                    <a:pt x="193265" y="79337"/>
                    <a:pt x="193201" y="79337"/>
                  </a:cubicBezTo>
                  <a:cubicBezTo>
                    <a:pt x="192945" y="79145"/>
                    <a:pt x="191410" y="82919"/>
                    <a:pt x="185779" y="86694"/>
                  </a:cubicBezTo>
                  <a:cubicBezTo>
                    <a:pt x="182964" y="88486"/>
                    <a:pt x="179126" y="90277"/>
                    <a:pt x="174327" y="90789"/>
                  </a:cubicBezTo>
                  <a:cubicBezTo>
                    <a:pt x="169657" y="91365"/>
                    <a:pt x="163962" y="90661"/>
                    <a:pt x="158844" y="87526"/>
                  </a:cubicBezTo>
                  <a:lnTo>
                    <a:pt x="157948" y="86950"/>
                  </a:lnTo>
                  <a:lnTo>
                    <a:pt x="157692" y="87974"/>
                  </a:lnTo>
                  <a:cubicBezTo>
                    <a:pt x="155773" y="96163"/>
                    <a:pt x="148160" y="104672"/>
                    <a:pt x="137539" y="106272"/>
                  </a:cubicBezTo>
                  <a:cubicBezTo>
                    <a:pt x="132293" y="107231"/>
                    <a:pt x="126855" y="104992"/>
                    <a:pt x="122568" y="101281"/>
                  </a:cubicBezTo>
                  <a:cubicBezTo>
                    <a:pt x="118217" y="97507"/>
                    <a:pt x="114698" y="92452"/>
                    <a:pt x="112523" y="86694"/>
                  </a:cubicBezTo>
                  <a:lnTo>
                    <a:pt x="112203" y="85798"/>
                  </a:lnTo>
                  <a:lnTo>
                    <a:pt x="111308" y="86054"/>
                  </a:lnTo>
                  <a:cubicBezTo>
                    <a:pt x="106509" y="87526"/>
                    <a:pt x="101455" y="88805"/>
                    <a:pt x="96273" y="88613"/>
                  </a:cubicBezTo>
                  <a:cubicBezTo>
                    <a:pt x="91154" y="88486"/>
                    <a:pt x="86164" y="86438"/>
                    <a:pt x="81941" y="83111"/>
                  </a:cubicBezTo>
                  <a:cubicBezTo>
                    <a:pt x="74072" y="77225"/>
                    <a:pt x="69401" y="68076"/>
                    <a:pt x="68570" y="58927"/>
                  </a:cubicBezTo>
                  <a:lnTo>
                    <a:pt x="68378" y="56624"/>
                  </a:lnTo>
                  <a:lnTo>
                    <a:pt x="66778" y="58287"/>
                  </a:lnTo>
                  <a:cubicBezTo>
                    <a:pt x="63259" y="62062"/>
                    <a:pt x="57757" y="63406"/>
                    <a:pt x="52895" y="62510"/>
                  </a:cubicBezTo>
                  <a:cubicBezTo>
                    <a:pt x="50464" y="62126"/>
                    <a:pt x="48160" y="61166"/>
                    <a:pt x="46241" y="59759"/>
                  </a:cubicBezTo>
                  <a:cubicBezTo>
                    <a:pt x="44386" y="58351"/>
                    <a:pt x="42978" y="56240"/>
                    <a:pt x="41443" y="54385"/>
                  </a:cubicBezTo>
                  <a:cubicBezTo>
                    <a:pt x="38371" y="50610"/>
                    <a:pt x="35620" y="46771"/>
                    <a:pt x="33957" y="42676"/>
                  </a:cubicBezTo>
                  <a:cubicBezTo>
                    <a:pt x="32165" y="38646"/>
                    <a:pt x="32038" y="34295"/>
                    <a:pt x="33445" y="30648"/>
                  </a:cubicBezTo>
                  <a:lnTo>
                    <a:pt x="33893" y="29497"/>
                  </a:lnTo>
                  <a:lnTo>
                    <a:pt x="32677" y="29497"/>
                  </a:lnTo>
                  <a:cubicBezTo>
                    <a:pt x="25320" y="29625"/>
                    <a:pt x="18794" y="27002"/>
                    <a:pt x="14059" y="23547"/>
                  </a:cubicBezTo>
                  <a:cubicBezTo>
                    <a:pt x="9197" y="20156"/>
                    <a:pt x="6062" y="15933"/>
                    <a:pt x="3951" y="12286"/>
                  </a:cubicBezTo>
                  <a:cubicBezTo>
                    <a:pt x="-16" y="4929"/>
                    <a:pt x="368" y="-126"/>
                    <a:pt x="48" y="2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D8710591-F19C-442C-92A6-0F35443F8C9E}"/>
                </a:ext>
              </a:extLst>
            </p:cNvPr>
            <p:cNvSpPr/>
            <p:nvPr/>
          </p:nvSpPr>
          <p:spPr>
            <a:xfrm>
              <a:off x="9524456" y="1825790"/>
              <a:ext cx="47803" cy="18095"/>
            </a:xfrm>
            <a:custGeom>
              <a:avLst/>
              <a:gdLst>
                <a:gd name="connsiteX0" fmla="*/ 10 w 47803"/>
                <a:gd name="connsiteY0" fmla="*/ 14127 h 18095"/>
                <a:gd name="connsiteX1" fmla="*/ 7367 w 47803"/>
                <a:gd name="connsiteY1" fmla="*/ 17326 h 18095"/>
                <a:gd name="connsiteX2" fmla="*/ 26625 w 47803"/>
                <a:gd name="connsiteY2" fmla="*/ 16430 h 18095"/>
                <a:gd name="connsiteX3" fmla="*/ 43323 w 47803"/>
                <a:gd name="connsiteY3" fmla="*/ 6706 h 18095"/>
                <a:gd name="connsiteX4" fmla="*/ 47738 w 47803"/>
                <a:gd name="connsiteY4" fmla="*/ 52 h 18095"/>
                <a:gd name="connsiteX5" fmla="*/ 25473 w 47803"/>
                <a:gd name="connsiteY5" fmla="*/ 12528 h 18095"/>
                <a:gd name="connsiteX6" fmla="*/ 10 w 47803"/>
                <a:gd name="connsiteY6" fmla="*/ 14127 h 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803" h="18095">
                  <a:moveTo>
                    <a:pt x="10" y="14127"/>
                  </a:moveTo>
                  <a:cubicBezTo>
                    <a:pt x="-182" y="14575"/>
                    <a:pt x="2505" y="16238"/>
                    <a:pt x="7367" y="17326"/>
                  </a:cubicBezTo>
                  <a:cubicBezTo>
                    <a:pt x="12230" y="18414"/>
                    <a:pt x="19267" y="18542"/>
                    <a:pt x="26625" y="16430"/>
                  </a:cubicBezTo>
                  <a:cubicBezTo>
                    <a:pt x="33983" y="14255"/>
                    <a:pt x="39868" y="10225"/>
                    <a:pt x="43323" y="6706"/>
                  </a:cubicBezTo>
                  <a:cubicBezTo>
                    <a:pt x="46842" y="3187"/>
                    <a:pt x="48122" y="308"/>
                    <a:pt x="47738" y="52"/>
                  </a:cubicBezTo>
                  <a:cubicBezTo>
                    <a:pt x="46842" y="-780"/>
                    <a:pt x="39165" y="8625"/>
                    <a:pt x="25473" y="12528"/>
                  </a:cubicBezTo>
                  <a:cubicBezTo>
                    <a:pt x="11846" y="16686"/>
                    <a:pt x="265" y="12912"/>
                    <a:pt x="10" y="1412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45D82E0-ECEA-4786-8C00-83D2613B4B36}"/>
                </a:ext>
              </a:extLst>
            </p:cNvPr>
            <p:cNvSpPr/>
            <p:nvPr/>
          </p:nvSpPr>
          <p:spPr>
            <a:xfrm>
              <a:off x="9325299" y="2580595"/>
              <a:ext cx="765342" cy="368357"/>
            </a:xfrm>
            <a:custGeom>
              <a:avLst/>
              <a:gdLst>
                <a:gd name="connsiteX0" fmla="*/ 40819 w 765342"/>
                <a:gd name="connsiteY0" fmla="*/ 45498 h 368357"/>
                <a:gd name="connsiteX1" fmla="*/ 466280 w 765342"/>
                <a:gd name="connsiteY1" fmla="*/ 51320 h 368357"/>
                <a:gd name="connsiteX2" fmla="*/ 617974 w 765342"/>
                <a:gd name="connsiteY2" fmla="*/ 201 h 368357"/>
                <a:gd name="connsiteX3" fmla="*/ 745549 w 765342"/>
                <a:gd name="connsiteY3" fmla="*/ 51320 h 368357"/>
                <a:gd name="connsiteX4" fmla="*/ 685280 w 765342"/>
                <a:gd name="connsiteY4" fmla="*/ 253366 h 368357"/>
                <a:gd name="connsiteX5" fmla="*/ 108061 w 765342"/>
                <a:gd name="connsiteY5" fmla="*/ 368017 h 368357"/>
                <a:gd name="connsiteX6" fmla="*/ 512 w 765342"/>
                <a:gd name="connsiteY6" fmla="*/ 223616 h 368357"/>
                <a:gd name="connsiteX7" fmla="*/ 512 w 765342"/>
                <a:gd name="connsiteY7" fmla="*/ 99625 h 368357"/>
                <a:gd name="connsiteX8" fmla="*/ 19642 w 765342"/>
                <a:gd name="connsiteY8" fmla="*/ 43259 h 368357"/>
                <a:gd name="connsiteX9" fmla="*/ 40819 w 765342"/>
                <a:gd name="connsiteY9" fmla="*/ 45498 h 36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5342" h="368357">
                  <a:moveTo>
                    <a:pt x="40819" y="45498"/>
                  </a:moveTo>
                  <a:lnTo>
                    <a:pt x="466280" y="51320"/>
                  </a:lnTo>
                  <a:cubicBezTo>
                    <a:pt x="466280" y="51320"/>
                    <a:pt x="585281" y="1545"/>
                    <a:pt x="617974" y="201"/>
                  </a:cubicBezTo>
                  <a:cubicBezTo>
                    <a:pt x="650668" y="-1142"/>
                    <a:pt x="715542" y="3016"/>
                    <a:pt x="745549" y="51320"/>
                  </a:cubicBezTo>
                  <a:cubicBezTo>
                    <a:pt x="776578" y="101224"/>
                    <a:pt x="780929" y="189323"/>
                    <a:pt x="685280" y="253366"/>
                  </a:cubicBezTo>
                  <a:cubicBezTo>
                    <a:pt x="592191" y="315682"/>
                    <a:pt x="166474" y="373327"/>
                    <a:pt x="108061" y="368017"/>
                  </a:cubicBezTo>
                  <a:lnTo>
                    <a:pt x="512" y="223616"/>
                  </a:lnTo>
                  <a:cubicBezTo>
                    <a:pt x="512" y="223616"/>
                    <a:pt x="-640" y="105255"/>
                    <a:pt x="512" y="99625"/>
                  </a:cubicBezTo>
                  <a:cubicBezTo>
                    <a:pt x="1663" y="93994"/>
                    <a:pt x="19642" y="43259"/>
                    <a:pt x="19642" y="43259"/>
                  </a:cubicBezTo>
                  <a:lnTo>
                    <a:pt x="40819" y="45498"/>
                  </a:ln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38980A7-8027-490F-B89F-71830DD10D3D}"/>
                </a:ext>
              </a:extLst>
            </p:cNvPr>
            <p:cNvSpPr/>
            <p:nvPr/>
          </p:nvSpPr>
          <p:spPr>
            <a:xfrm>
              <a:off x="9544939" y="2817391"/>
              <a:ext cx="311386" cy="411001"/>
            </a:xfrm>
            <a:custGeom>
              <a:avLst/>
              <a:gdLst>
                <a:gd name="connsiteX0" fmla="*/ 57389 w 311386"/>
                <a:gd name="connsiteY0" fmla="*/ 0 h 411001"/>
                <a:gd name="connsiteX1" fmla="*/ 311386 w 311386"/>
                <a:gd name="connsiteY1" fmla="*/ 94369 h 411001"/>
                <a:gd name="connsiteX2" fmla="*/ 195648 w 311386"/>
                <a:gd name="connsiteY2" fmla="*/ 411002 h 411001"/>
                <a:gd name="connsiteX3" fmla="*/ 165258 w 311386"/>
                <a:gd name="connsiteY3" fmla="*/ 212091 h 411001"/>
                <a:gd name="connsiteX4" fmla="*/ 0 w 311386"/>
                <a:gd name="connsiteY4" fmla="*/ 158348 h 411001"/>
                <a:gd name="connsiteX5" fmla="*/ 57389 w 311386"/>
                <a:gd name="connsiteY5" fmla="*/ 0 h 411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386" h="411001">
                  <a:moveTo>
                    <a:pt x="57389" y="0"/>
                  </a:moveTo>
                  <a:lnTo>
                    <a:pt x="311386" y="94369"/>
                  </a:lnTo>
                  <a:lnTo>
                    <a:pt x="195648" y="411002"/>
                  </a:lnTo>
                  <a:cubicBezTo>
                    <a:pt x="166090" y="398078"/>
                    <a:pt x="165258" y="212091"/>
                    <a:pt x="165258" y="212091"/>
                  </a:cubicBezTo>
                  <a:lnTo>
                    <a:pt x="0" y="158348"/>
                  </a:lnTo>
                  <a:lnTo>
                    <a:pt x="57389" y="0"/>
                  </a:lnTo>
                  <a:close/>
                </a:path>
              </a:pathLst>
            </a:custGeom>
            <a:solidFill>
              <a:srgbClr val="FF725E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8D7A28FB-684D-4713-AB37-EDB5883203FB}"/>
                </a:ext>
              </a:extLst>
            </p:cNvPr>
            <p:cNvSpPr/>
            <p:nvPr/>
          </p:nvSpPr>
          <p:spPr>
            <a:xfrm>
              <a:off x="9729931" y="2921049"/>
              <a:ext cx="26001" cy="25672"/>
            </a:xfrm>
            <a:custGeom>
              <a:avLst/>
              <a:gdLst>
                <a:gd name="connsiteX0" fmla="*/ 2275 w 26001"/>
                <a:gd name="connsiteY0" fmla="*/ 5490 h 25672"/>
                <a:gd name="connsiteX1" fmla="*/ 20317 w 26001"/>
                <a:gd name="connsiteY1" fmla="*/ 1971 h 25672"/>
                <a:gd name="connsiteX2" fmla="*/ 23964 w 26001"/>
                <a:gd name="connsiteY2" fmla="*/ 19821 h 25672"/>
                <a:gd name="connsiteX3" fmla="*/ 4834 w 26001"/>
                <a:gd name="connsiteY3" fmla="*/ 23468 h 25672"/>
                <a:gd name="connsiteX4" fmla="*/ 3043 w 26001"/>
                <a:gd name="connsiteY4" fmla="*/ 4466 h 2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01" h="25672">
                  <a:moveTo>
                    <a:pt x="2275" y="5490"/>
                  </a:moveTo>
                  <a:cubicBezTo>
                    <a:pt x="6178" y="-12"/>
                    <a:pt x="14623" y="-1740"/>
                    <a:pt x="20317" y="1971"/>
                  </a:cubicBezTo>
                  <a:cubicBezTo>
                    <a:pt x="26011" y="5682"/>
                    <a:pt x="27803" y="14191"/>
                    <a:pt x="23964" y="19821"/>
                  </a:cubicBezTo>
                  <a:cubicBezTo>
                    <a:pt x="20125" y="25387"/>
                    <a:pt x="10081" y="27755"/>
                    <a:pt x="4834" y="23468"/>
                  </a:cubicBezTo>
                  <a:cubicBezTo>
                    <a:pt x="-412" y="19181"/>
                    <a:pt x="-1947" y="9009"/>
                    <a:pt x="3043" y="4466"/>
                  </a:cubicBezTo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70E3580D-610C-4BD4-8FB7-661B81943179}"/>
                </a:ext>
              </a:extLst>
            </p:cNvPr>
            <p:cNvSpPr/>
            <p:nvPr/>
          </p:nvSpPr>
          <p:spPr>
            <a:xfrm>
              <a:off x="9729071" y="2902227"/>
              <a:ext cx="127254" cy="326101"/>
            </a:xfrm>
            <a:custGeom>
              <a:avLst/>
              <a:gdLst>
                <a:gd name="connsiteX0" fmla="*/ 127255 w 127254"/>
                <a:gd name="connsiteY0" fmla="*/ 9533 h 326101"/>
                <a:gd name="connsiteX1" fmla="*/ 101599 w 127254"/>
                <a:gd name="connsiteY1" fmla="*/ 0 h 326101"/>
                <a:gd name="connsiteX2" fmla="*/ 0 w 127254"/>
                <a:gd name="connsiteY2" fmla="*/ 307740 h 326101"/>
                <a:gd name="connsiteX3" fmla="*/ 11516 w 127254"/>
                <a:gd name="connsiteY3" fmla="*/ 326102 h 326101"/>
                <a:gd name="connsiteX4" fmla="*/ 127255 w 127254"/>
                <a:gd name="connsiteY4" fmla="*/ 9533 h 326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254" h="326101">
                  <a:moveTo>
                    <a:pt x="127255" y="9533"/>
                  </a:moveTo>
                  <a:lnTo>
                    <a:pt x="101599" y="0"/>
                  </a:lnTo>
                  <a:lnTo>
                    <a:pt x="0" y="307740"/>
                  </a:lnTo>
                  <a:cubicBezTo>
                    <a:pt x="0" y="307740"/>
                    <a:pt x="960" y="324054"/>
                    <a:pt x="11516" y="326102"/>
                  </a:cubicBezTo>
                  <a:lnTo>
                    <a:pt x="127255" y="9533"/>
                  </a:ln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4314452B-2583-4867-B3C4-D7AF14070F3D}"/>
                </a:ext>
              </a:extLst>
            </p:cNvPr>
            <p:cNvSpPr/>
            <p:nvPr/>
          </p:nvSpPr>
          <p:spPr>
            <a:xfrm>
              <a:off x="9706161" y="3011078"/>
              <a:ext cx="28990" cy="22970"/>
            </a:xfrm>
            <a:custGeom>
              <a:avLst/>
              <a:gdLst>
                <a:gd name="connsiteX0" fmla="*/ 517 w 28990"/>
                <a:gd name="connsiteY0" fmla="*/ 22946 h 22970"/>
                <a:gd name="connsiteX1" fmla="*/ 13377 w 28990"/>
                <a:gd name="connsiteY1" fmla="*/ 10214 h 22970"/>
                <a:gd name="connsiteX2" fmla="*/ 28988 w 28990"/>
                <a:gd name="connsiteY2" fmla="*/ 1129 h 22970"/>
                <a:gd name="connsiteX3" fmla="*/ 9859 w 28990"/>
                <a:gd name="connsiteY3" fmla="*/ 5672 h 22970"/>
                <a:gd name="connsiteX4" fmla="*/ 517 w 28990"/>
                <a:gd name="connsiteY4" fmla="*/ 22946 h 2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90" h="22970">
                  <a:moveTo>
                    <a:pt x="517" y="22946"/>
                  </a:moveTo>
                  <a:cubicBezTo>
                    <a:pt x="2053" y="23458"/>
                    <a:pt x="5636" y="15972"/>
                    <a:pt x="13377" y="10214"/>
                  </a:cubicBezTo>
                  <a:cubicBezTo>
                    <a:pt x="20991" y="4200"/>
                    <a:pt x="29116" y="2729"/>
                    <a:pt x="28988" y="1129"/>
                  </a:cubicBezTo>
                  <a:cubicBezTo>
                    <a:pt x="29180" y="-406"/>
                    <a:pt x="19135" y="-1494"/>
                    <a:pt x="9859" y="5672"/>
                  </a:cubicBezTo>
                  <a:cubicBezTo>
                    <a:pt x="517" y="12709"/>
                    <a:pt x="-1018" y="22754"/>
                    <a:pt x="517" y="22946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58A73271-56E5-4A4B-A6B2-3055CED2EA18}"/>
                </a:ext>
              </a:extLst>
            </p:cNvPr>
            <p:cNvSpPr/>
            <p:nvPr/>
          </p:nvSpPr>
          <p:spPr>
            <a:xfrm>
              <a:off x="9707982" y="3057675"/>
              <a:ext cx="31693" cy="14637"/>
            </a:xfrm>
            <a:custGeom>
              <a:avLst/>
              <a:gdLst>
                <a:gd name="connsiteX0" fmla="*/ 296 w 31693"/>
                <a:gd name="connsiteY0" fmla="*/ 14544 h 14637"/>
                <a:gd name="connsiteX1" fmla="*/ 15203 w 31693"/>
                <a:gd name="connsiteY1" fmla="*/ 6867 h 14637"/>
                <a:gd name="connsiteX2" fmla="*/ 31646 w 31693"/>
                <a:gd name="connsiteY2" fmla="*/ 3476 h 14637"/>
                <a:gd name="connsiteX3" fmla="*/ 13284 w 31693"/>
                <a:gd name="connsiteY3" fmla="*/ 1493 h 14637"/>
                <a:gd name="connsiteX4" fmla="*/ 296 w 31693"/>
                <a:gd name="connsiteY4" fmla="*/ 14544 h 1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93" h="14637">
                  <a:moveTo>
                    <a:pt x="296" y="14544"/>
                  </a:moveTo>
                  <a:cubicBezTo>
                    <a:pt x="1640" y="15440"/>
                    <a:pt x="6758" y="9682"/>
                    <a:pt x="15203" y="6867"/>
                  </a:cubicBezTo>
                  <a:cubicBezTo>
                    <a:pt x="23584" y="3732"/>
                    <a:pt x="31134" y="5012"/>
                    <a:pt x="31646" y="3476"/>
                  </a:cubicBezTo>
                  <a:cubicBezTo>
                    <a:pt x="32414" y="2132"/>
                    <a:pt x="23776" y="-2282"/>
                    <a:pt x="13284" y="1493"/>
                  </a:cubicBezTo>
                  <a:cubicBezTo>
                    <a:pt x="2791" y="5139"/>
                    <a:pt x="-1175" y="13969"/>
                    <a:pt x="296" y="14544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088092D4-8A36-43A8-A757-DDD9FE0700ED}"/>
                </a:ext>
              </a:extLst>
            </p:cNvPr>
            <p:cNvSpPr/>
            <p:nvPr/>
          </p:nvSpPr>
          <p:spPr>
            <a:xfrm>
              <a:off x="9710084" y="3100135"/>
              <a:ext cx="31082" cy="8441"/>
            </a:xfrm>
            <a:custGeom>
              <a:avLst/>
              <a:gdLst>
                <a:gd name="connsiteX0" fmla="*/ 31015 w 31082"/>
                <a:gd name="connsiteY0" fmla="*/ 5481 h 8441"/>
                <a:gd name="connsiteX1" fmla="*/ 15020 w 31082"/>
                <a:gd name="connsiteY1" fmla="*/ 107 h 8441"/>
                <a:gd name="connsiteX2" fmla="*/ 113 w 31082"/>
                <a:gd name="connsiteY2" fmla="*/ 8104 h 8441"/>
                <a:gd name="connsiteX3" fmla="*/ 15468 w 31082"/>
                <a:gd name="connsiteY3" fmla="*/ 5801 h 8441"/>
                <a:gd name="connsiteX4" fmla="*/ 31015 w 31082"/>
                <a:gd name="connsiteY4" fmla="*/ 5481 h 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82" h="8441">
                  <a:moveTo>
                    <a:pt x="31015" y="5481"/>
                  </a:moveTo>
                  <a:cubicBezTo>
                    <a:pt x="31846" y="4202"/>
                    <a:pt x="24937" y="-789"/>
                    <a:pt x="15020" y="107"/>
                  </a:cubicBezTo>
                  <a:cubicBezTo>
                    <a:pt x="5103" y="939"/>
                    <a:pt x="-911" y="6953"/>
                    <a:pt x="113" y="8104"/>
                  </a:cubicBezTo>
                  <a:cubicBezTo>
                    <a:pt x="1073" y="9448"/>
                    <a:pt x="7343" y="6377"/>
                    <a:pt x="15468" y="5801"/>
                  </a:cubicBezTo>
                  <a:cubicBezTo>
                    <a:pt x="23657" y="5033"/>
                    <a:pt x="30311" y="6953"/>
                    <a:pt x="31015" y="5481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E9CF150A-D730-40EA-9E88-211BEAF6534B}"/>
                </a:ext>
              </a:extLst>
            </p:cNvPr>
            <p:cNvSpPr/>
            <p:nvPr/>
          </p:nvSpPr>
          <p:spPr>
            <a:xfrm>
              <a:off x="9668452" y="2985252"/>
              <a:ext cx="15960" cy="32337"/>
            </a:xfrm>
            <a:custGeom>
              <a:avLst/>
              <a:gdLst>
                <a:gd name="connsiteX0" fmla="*/ 1950 w 15960"/>
                <a:gd name="connsiteY0" fmla="*/ 32329 h 32337"/>
                <a:gd name="connsiteX1" fmla="*/ 7836 w 15960"/>
                <a:gd name="connsiteY1" fmla="*/ 15822 h 32337"/>
                <a:gd name="connsiteX2" fmla="*/ 15833 w 15960"/>
                <a:gd name="connsiteY2" fmla="*/ 211 h 32337"/>
                <a:gd name="connsiteX3" fmla="*/ 2590 w 15960"/>
                <a:gd name="connsiteY3" fmla="*/ 13583 h 32337"/>
                <a:gd name="connsiteX4" fmla="*/ 1950 w 15960"/>
                <a:gd name="connsiteY4" fmla="*/ 32329 h 3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60" h="32337">
                  <a:moveTo>
                    <a:pt x="1950" y="32329"/>
                  </a:moveTo>
                  <a:cubicBezTo>
                    <a:pt x="3613" y="32201"/>
                    <a:pt x="4061" y="24331"/>
                    <a:pt x="7836" y="15822"/>
                  </a:cubicBezTo>
                  <a:cubicBezTo>
                    <a:pt x="11483" y="7249"/>
                    <a:pt x="16857" y="1491"/>
                    <a:pt x="15833" y="211"/>
                  </a:cubicBezTo>
                  <a:cubicBezTo>
                    <a:pt x="15065" y="-1068"/>
                    <a:pt x="6876" y="3474"/>
                    <a:pt x="2590" y="13583"/>
                  </a:cubicBezTo>
                  <a:cubicBezTo>
                    <a:pt x="-1825" y="23564"/>
                    <a:pt x="414" y="32649"/>
                    <a:pt x="1950" y="32329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79E23F50-9CAE-438D-8B6E-1BD6301F75D9}"/>
                </a:ext>
              </a:extLst>
            </p:cNvPr>
            <p:cNvSpPr/>
            <p:nvPr/>
          </p:nvSpPr>
          <p:spPr>
            <a:xfrm>
              <a:off x="9623064" y="2940991"/>
              <a:ext cx="19298" cy="55292"/>
            </a:xfrm>
            <a:custGeom>
              <a:avLst/>
              <a:gdLst>
                <a:gd name="connsiteX0" fmla="*/ 12470 w 19298"/>
                <a:gd name="connsiteY0" fmla="*/ 55285 h 55292"/>
                <a:gd name="connsiteX1" fmla="*/ 18164 w 19298"/>
                <a:gd name="connsiteY1" fmla="*/ 39418 h 55292"/>
                <a:gd name="connsiteX2" fmla="*/ 19124 w 19298"/>
                <a:gd name="connsiteY2" fmla="*/ 20992 h 55292"/>
                <a:gd name="connsiteX3" fmla="*/ 17652 w 19298"/>
                <a:gd name="connsiteY3" fmla="*/ 10116 h 55292"/>
                <a:gd name="connsiteX4" fmla="*/ 15669 w 19298"/>
                <a:gd name="connsiteY4" fmla="*/ 3974 h 55292"/>
                <a:gd name="connsiteX5" fmla="*/ 7735 w 19298"/>
                <a:gd name="connsiteY5" fmla="*/ 263 h 55292"/>
                <a:gd name="connsiteX6" fmla="*/ 1721 w 19298"/>
                <a:gd name="connsiteY6" fmla="*/ 5765 h 55292"/>
                <a:gd name="connsiteX7" fmla="*/ 378 w 19298"/>
                <a:gd name="connsiteY7" fmla="*/ 12035 h 55292"/>
                <a:gd name="connsiteX8" fmla="*/ 122 w 19298"/>
                <a:gd name="connsiteY8" fmla="*/ 23103 h 55292"/>
                <a:gd name="connsiteX9" fmla="*/ 4344 w 19298"/>
                <a:gd name="connsiteY9" fmla="*/ 41209 h 55292"/>
                <a:gd name="connsiteX10" fmla="*/ 13813 w 19298"/>
                <a:gd name="connsiteY10" fmla="*/ 55221 h 55292"/>
                <a:gd name="connsiteX11" fmla="*/ 8183 w 19298"/>
                <a:gd name="connsiteY11" fmla="*/ 39866 h 55292"/>
                <a:gd name="connsiteX12" fmla="*/ 5368 w 19298"/>
                <a:gd name="connsiteY12" fmla="*/ 22783 h 55292"/>
                <a:gd name="connsiteX13" fmla="*/ 5880 w 19298"/>
                <a:gd name="connsiteY13" fmla="*/ 12675 h 55292"/>
                <a:gd name="connsiteX14" fmla="*/ 9079 w 19298"/>
                <a:gd name="connsiteY14" fmla="*/ 5829 h 55292"/>
                <a:gd name="connsiteX15" fmla="*/ 10742 w 19298"/>
                <a:gd name="connsiteY15" fmla="*/ 6853 h 55292"/>
                <a:gd name="connsiteX16" fmla="*/ 12150 w 19298"/>
                <a:gd name="connsiteY16" fmla="*/ 11395 h 55292"/>
                <a:gd name="connsiteX17" fmla="*/ 13877 w 19298"/>
                <a:gd name="connsiteY17" fmla="*/ 21504 h 55292"/>
                <a:gd name="connsiteX18" fmla="*/ 14133 w 19298"/>
                <a:gd name="connsiteY18" fmla="*/ 38970 h 55292"/>
                <a:gd name="connsiteX19" fmla="*/ 12470 w 19298"/>
                <a:gd name="connsiteY19" fmla="*/ 55285 h 55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298" h="55292">
                  <a:moveTo>
                    <a:pt x="12470" y="55285"/>
                  </a:moveTo>
                  <a:cubicBezTo>
                    <a:pt x="13110" y="55541"/>
                    <a:pt x="16309" y="49783"/>
                    <a:pt x="18164" y="39418"/>
                  </a:cubicBezTo>
                  <a:cubicBezTo>
                    <a:pt x="19124" y="34236"/>
                    <a:pt x="19572" y="27966"/>
                    <a:pt x="19124" y="20992"/>
                  </a:cubicBezTo>
                  <a:cubicBezTo>
                    <a:pt x="18868" y="17473"/>
                    <a:pt x="18420" y="13826"/>
                    <a:pt x="17652" y="10116"/>
                  </a:cubicBezTo>
                  <a:cubicBezTo>
                    <a:pt x="17268" y="8324"/>
                    <a:pt x="16948" y="6213"/>
                    <a:pt x="15669" y="3974"/>
                  </a:cubicBezTo>
                  <a:cubicBezTo>
                    <a:pt x="14709" y="1670"/>
                    <a:pt x="10934" y="-825"/>
                    <a:pt x="7735" y="263"/>
                  </a:cubicBezTo>
                  <a:cubicBezTo>
                    <a:pt x="4728" y="967"/>
                    <a:pt x="2617" y="3462"/>
                    <a:pt x="1721" y="5765"/>
                  </a:cubicBezTo>
                  <a:cubicBezTo>
                    <a:pt x="762" y="8068"/>
                    <a:pt x="570" y="10116"/>
                    <a:pt x="378" y="12035"/>
                  </a:cubicBezTo>
                  <a:cubicBezTo>
                    <a:pt x="-70" y="15874"/>
                    <a:pt x="-70" y="19585"/>
                    <a:pt x="122" y="23103"/>
                  </a:cubicBezTo>
                  <a:cubicBezTo>
                    <a:pt x="634" y="30141"/>
                    <a:pt x="2361" y="36347"/>
                    <a:pt x="4344" y="41209"/>
                  </a:cubicBezTo>
                  <a:cubicBezTo>
                    <a:pt x="8439" y="51062"/>
                    <a:pt x="13302" y="55669"/>
                    <a:pt x="13813" y="55221"/>
                  </a:cubicBezTo>
                  <a:cubicBezTo>
                    <a:pt x="14581" y="54709"/>
                    <a:pt x="11062" y="49335"/>
                    <a:pt x="8183" y="39866"/>
                  </a:cubicBezTo>
                  <a:cubicBezTo>
                    <a:pt x="6776" y="35131"/>
                    <a:pt x="5624" y="29309"/>
                    <a:pt x="5368" y="22783"/>
                  </a:cubicBezTo>
                  <a:cubicBezTo>
                    <a:pt x="5304" y="19520"/>
                    <a:pt x="5432" y="16130"/>
                    <a:pt x="5880" y="12675"/>
                  </a:cubicBezTo>
                  <a:cubicBezTo>
                    <a:pt x="6200" y="9028"/>
                    <a:pt x="7223" y="6149"/>
                    <a:pt x="9079" y="5829"/>
                  </a:cubicBezTo>
                  <a:cubicBezTo>
                    <a:pt x="9783" y="5701"/>
                    <a:pt x="9975" y="5765"/>
                    <a:pt x="10742" y="6853"/>
                  </a:cubicBezTo>
                  <a:cubicBezTo>
                    <a:pt x="11382" y="7876"/>
                    <a:pt x="11766" y="9604"/>
                    <a:pt x="12150" y="11395"/>
                  </a:cubicBezTo>
                  <a:cubicBezTo>
                    <a:pt x="12982" y="14850"/>
                    <a:pt x="13493" y="18241"/>
                    <a:pt x="13877" y="21504"/>
                  </a:cubicBezTo>
                  <a:cubicBezTo>
                    <a:pt x="14581" y="28030"/>
                    <a:pt x="14517" y="33980"/>
                    <a:pt x="14133" y="38970"/>
                  </a:cubicBezTo>
                  <a:cubicBezTo>
                    <a:pt x="13429" y="48887"/>
                    <a:pt x="11638" y="55029"/>
                    <a:pt x="12470" y="55285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F0966185-EA23-4C30-B81A-F77F96DD2C68}"/>
                </a:ext>
              </a:extLst>
            </p:cNvPr>
            <p:cNvSpPr/>
            <p:nvPr/>
          </p:nvSpPr>
          <p:spPr>
            <a:xfrm>
              <a:off x="9583301" y="2981094"/>
              <a:ext cx="55270" cy="24500"/>
            </a:xfrm>
            <a:custGeom>
              <a:avLst/>
              <a:gdLst>
                <a:gd name="connsiteX0" fmla="*/ 55239 w 55270"/>
                <a:gd name="connsiteY0" fmla="*/ 14031 h 24500"/>
                <a:gd name="connsiteX1" fmla="*/ 41484 w 55270"/>
                <a:gd name="connsiteY1" fmla="*/ 4242 h 24500"/>
                <a:gd name="connsiteX2" fmla="*/ 23314 w 55270"/>
                <a:gd name="connsiteY2" fmla="*/ 83 h 24500"/>
                <a:gd name="connsiteX3" fmla="*/ 12181 w 55270"/>
                <a:gd name="connsiteY3" fmla="*/ 595 h 24500"/>
                <a:gd name="connsiteX4" fmla="*/ 473 w 55270"/>
                <a:gd name="connsiteY4" fmla="*/ 7761 h 24500"/>
                <a:gd name="connsiteX5" fmla="*/ 2457 w 55270"/>
                <a:gd name="connsiteY5" fmla="*/ 16014 h 24500"/>
                <a:gd name="connsiteX6" fmla="*/ 7703 w 55270"/>
                <a:gd name="connsiteY6" fmla="*/ 19789 h 24500"/>
                <a:gd name="connsiteX7" fmla="*/ 18387 w 55270"/>
                <a:gd name="connsiteY7" fmla="*/ 23692 h 24500"/>
                <a:gd name="connsiteX8" fmla="*/ 37261 w 55270"/>
                <a:gd name="connsiteY8" fmla="*/ 22924 h 24500"/>
                <a:gd name="connsiteX9" fmla="*/ 51465 w 55270"/>
                <a:gd name="connsiteY9" fmla="*/ 13647 h 24500"/>
                <a:gd name="connsiteX10" fmla="*/ 36302 w 55270"/>
                <a:gd name="connsiteY10" fmla="*/ 19021 h 24500"/>
                <a:gd name="connsiteX11" fmla="*/ 19539 w 55270"/>
                <a:gd name="connsiteY11" fmla="*/ 18573 h 24500"/>
                <a:gd name="connsiteX12" fmla="*/ 10454 w 55270"/>
                <a:gd name="connsiteY12" fmla="*/ 14926 h 24500"/>
                <a:gd name="connsiteX13" fmla="*/ 5848 w 55270"/>
                <a:gd name="connsiteY13" fmla="*/ 9808 h 24500"/>
                <a:gd name="connsiteX14" fmla="*/ 13077 w 55270"/>
                <a:gd name="connsiteY14" fmla="*/ 6161 h 24500"/>
                <a:gd name="connsiteX15" fmla="*/ 23122 w 55270"/>
                <a:gd name="connsiteY15" fmla="*/ 5393 h 24500"/>
                <a:gd name="connsiteX16" fmla="*/ 40076 w 55270"/>
                <a:gd name="connsiteY16" fmla="*/ 8081 h 24500"/>
                <a:gd name="connsiteX17" fmla="*/ 55239 w 55270"/>
                <a:gd name="connsiteY17" fmla="*/ 14031 h 2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270" h="24500">
                  <a:moveTo>
                    <a:pt x="55239" y="14031"/>
                  </a:moveTo>
                  <a:cubicBezTo>
                    <a:pt x="55687" y="13583"/>
                    <a:pt x="51273" y="8464"/>
                    <a:pt x="41484" y="4242"/>
                  </a:cubicBezTo>
                  <a:cubicBezTo>
                    <a:pt x="36621" y="2194"/>
                    <a:pt x="30416" y="467"/>
                    <a:pt x="23314" y="83"/>
                  </a:cubicBezTo>
                  <a:cubicBezTo>
                    <a:pt x="19795" y="-109"/>
                    <a:pt x="16020" y="19"/>
                    <a:pt x="12181" y="595"/>
                  </a:cubicBezTo>
                  <a:cubicBezTo>
                    <a:pt x="8343" y="1299"/>
                    <a:pt x="3352" y="2067"/>
                    <a:pt x="473" y="7761"/>
                  </a:cubicBezTo>
                  <a:cubicBezTo>
                    <a:pt x="-806" y="10832"/>
                    <a:pt x="729" y="14350"/>
                    <a:pt x="2457" y="16014"/>
                  </a:cubicBezTo>
                  <a:cubicBezTo>
                    <a:pt x="4248" y="17869"/>
                    <a:pt x="5975" y="18701"/>
                    <a:pt x="7703" y="19789"/>
                  </a:cubicBezTo>
                  <a:cubicBezTo>
                    <a:pt x="11158" y="21708"/>
                    <a:pt x="14869" y="22988"/>
                    <a:pt x="18387" y="23692"/>
                  </a:cubicBezTo>
                  <a:cubicBezTo>
                    <a:pt x="25489" y="25163"/>
                    <a:pt x="32079" y="24459"/>
                    <a:pt x="37261" y="22924"/>
                  </a:cubicBezTo>
                  <a:cubicBezTo>
                    <a:pt x="47754" y="19725"/>
                    <a:pt x="51913" y="13967"/>
                    <a:pt x="51465" y="13647"/>
                  </a:cubicBezTo>
                  <a:cubicBezTo>
                    <a:pt x="50889" y="12815"/>
                    <a:pt x="45899" y="17166"/>
                    <a:pt x="36302" y="19021"/>
                  </a:cubicBezTo>
                  <a:cubicBezTo>
                    <a:pt x="31567" y="19917"/>
                    <a:pt x="25681" y="20109"/>
                    <a:pt x="19539" y="18573"/>
                  </a:cubicBezTo>
                  <a:cubicBezTo>
                    <a:pt x="16468" y="17805"/>
                    <a:pt x="13397" y="16654"/>
                    <a:pt x="10454" y="14926"/>
                  </a:cubicBezTo>
                  <a:cubicBezTo>
                    <a:pt x="7255" y="13199"/>
                    <a:pt x="5016" y="10960"/>
                    <a:pt x="5848" y="9808"/>
                  </a:cubicBezTo>
                  <a:cubicBezTo>
                    <a:pt x="6423" y="8208"/>
                    <a:pt x="9942" y="6481"/>
                    <a:pt x="13077" y="6161"/>
                  </a:cubicBezTo>
                  <a:cubicBezTo>
                    <a:pt x="16532" y="5585"/>
                    <a:pt x="19859" y="5329"/>
                    <a:pt x="23122" y="5393"/>
                  </a:cubicBezTo>
                  <a:cubicBezTo>
                    <a:pt x="29584" y="5521"/>
                    <a:pt x="35342" y="6609"/>
                    <a:pt x="40076" y="8081"/>
                  </a:cubicBezTo>
                  <a:cubicBezTo>
                    <a:pt x="49481" y="10960"/>
                    <a:pt x="54664" y="14734"/>
                    <a:pt x="55239" y="14031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CCF8C8D4-A4C7-4F24-87A1-27BBCA9BF487}"/>
                </a:ext>
              </a:extLst>
            </p:cNvPr>
            <p:cNvSpPr/>
            <p:nvPr/>
          </p:nvSpPr>
          <p:spPr>
            <a:xfrm>
              <a:off x="9234512" y="2810801"/>
              <a:ext cx="292064" cy="389440"/>
            </a:xfrm>
            <a:custGeom>
              <a:avLst/>
              <a:gdLst>
                <a:gd name="connsiteX0" fmla="*/ 227638 w 292064"/>
                <a:gd name="connsiteY0" fmla="*/ 0 h 389440"/>
                <a:gd name="connsiteX1" fmla="*/ 0 w 292064"/>
                <a:gd name="connsiteY1" fmla="*/ 105566 h 389440"/>
                <a:gd name="connsiteX2" fmla="*/ 129878 w 292064"/>
                <a:gd name="connsiteY2" fmla="*/ 389441 h 389440"/>
                <a:gd name="connsiteX3" fmla="*/ 143441 w 292064"/>
                <a:gd name="connsiteY3" fmla="*/ 203582 h 389440"/>
                <a:gd name="connsiteX4" fmla="*/ 292065 w 292064"/>
                <a:gd name="connsiteY4" fmla="*/ 141906 h 389440"/>
                <a:gd name="connsiteX5" fmla="*/ 227638 w 292064"/>
                <a:gd name="connsiteY5" fmla="*/ 0 h 38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064" h="389440">
                  <a:moveTo>
                    <a:pt x="227638" y="0"/>
                  </a:moveTo>
                  <a:lnTo>
                    <a:pt x="0" y="105566"/>
                  </a:lnTo>
                  <a:lnTo>
                    <a:pt x="129878" y="389441"/>
                  </a:lnTo>
                  <a:cubicBezTo>
                    <a:pt x="156237" y="375365"/>
                    <a:pt x="143441" y="203582"/>
                    <a:pt x="143441" y="203582"/>
                  </a:cubicBezTo>
                  <a:lnTo>
                    <a:pt x="292065" y="141906"/>
                  </a:lnTo>
                  <a:lnTo>
                    <a:pt x="227638" y="0"/>
                  </a:lnTo>
                  <a:close/>
                </a:path>
              </a:pathLst>
            </a:custGeom>
            <a:solidFill>
              <a:srgbClr val="FF725E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712571FE-3A69-4FCF-9FC8-BCFE41406064}"/>
                </a:ext>
              </a:extLst>
            </p:cNvPr>
            <p:cNvSpPr/>
            <p:nvPr/>
          </p:nvSpPr>
          <p:spPr>
            <a:xfrm>
              <a:off x="9328739" y="2916736"/>
              <a:ext cx="23985" cy="23582"/>
            </a:xfrm>
            <a:custGeom>
              <a:avLst/>
              <a:gdLst>
                <a:gd name="connsiteX0" fmla="*/ 21384 w 23985"/>
                <a:gd name="connsiteY0" fmla="*/ 4301 h 23582"/>
                <a:gd name="connsiteX1" fmla="*/ 4494 w 23985"/>
                <a:gd name="connsiteY1" fmla="*/ 2317 h 23582"/>
                <a:gd name="connsiteX2" fmla="*/ 2382 w 23985"/>
                <a:gd name="connsiteY2" fmla="*/ 19016 h 23582"/>
                <a:gd name="connsiteX3" fmla="*/ 20296 w 23985"/>
                <a:gd name="connsiteY3" fmla="*/ 20999 h 23582"/>
                <a:gd name="connsiteX4" fmla="*/ 20552 w 23985"/>
                <a:gd name="connsiteY4" fmla="*/ 3341 h 23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5" h="23582">
                  <a:moveTo>
                    <a:pt x="21384" y="4301"/>
                  </a:moveTo>
                  <a:cubicBezTo>
                    <a:pt x="17353" y="-498"/>
                    <a:pt x="9420" y="-1457"/>
                    <a:pt x="4494" y="2317"/>
                  </a:cubicBezTo>
                  <a:cubicBezTo>
                    <a:pt x="-497" y="6156"/>
                    <a:pt x="-1521" y="14154"/>
                    <a:pt x="2382" y="19016"/>
                  </a:cubicBezTo>
                  <a:cubicBezTo>
                    <a:pt x="6285" y="23878"/>
                    <a:pt x="15754" y="25350"/>
                    <a:pt x="20296" y="20999"/>
                  </a:cubicBezTo>
                  <a:cubicBezTo>
                    <a:pt x="24775" y="16649"/>
                    <a:pt x="25543" y="7116"/>
                    <a:pt x="20552" y="3341"/>
                  </a:cubicBezTo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9184983B-D9C4-4283-88E8-B2B247210DDC}"/>
                </a:ext>
              </a:extLst>
            </p:cNvPr>
            <p:cNvSpPr/>
            <p:nvPr/>
          </p:nvSpPr>
          <p:spPr>
            <a:xfrm>
              <a:off x="9234512" y="2905746"/>
              <a:ext cx="139155" cy="294495"/>
            </a:xfrm>
            <a:custGeom>
              <a:avLst/>
              <a:gdLst>
                <a:gd name="connsiteX0" fmla="*/ 0 w 139155"/>
                <a:gd name="connsiteY0" fmla="*/ 10684 h 294495"/>
                <a:gd name="connsiteX1" fmla="*/ 22968 w 139155"/>
                <a:gd name="connsiteY1" fmla="*/ 0 h 294495"/>
                <a:gd name="connsiteX2" fmla="*/ 139155 w 139155"/>
                <a:gd name="connsiteY2" fmla="*/ 276710 h 294495"/>
                <a:gd name="connsiteX3" fmla="*/ 129878 w 139155"/>
                <a:gd name="connsiteY3" fmla="*/ 294496 h 294495"/>
                <a:gd name="connsiteX4" fmla="*/ 0 w 139155"/>
                <a:gd name="connsiteY4" fmla="*/ 10684 h 29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155" h="294495">
                  <a:moveTo>
                    <a:pt x="0" y="10684"/>
                  </a:moveTo>
                  <a:lnTo>
                    <a:pt x="22968" y="0"/>
                  </a:lnTo>
                  <a:lnTo>
                    <a:pt x="139155" y="276710"/>
                  </a:lnTo>
                  <a:cubicBezTo>
                    <a:pt x="139155" y="276710"/>
                    <a:pt x="139411" y="291873"/>
                    <a:pt x="129878" y="294496"/>
                  </a:cubicBezTo>
                  <a:lnTo>
                    <a:pt x="0" y="10684"/>
                  </a:ln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C673A4ED-12BA-49E9-A436-B0A288EE06E0}"/>
                </a:ext>
              </a:extLst>
            </p:cNvPr>
            <p:cNvSpPr/>
            <p:nvPr/>
          </p:nvSpPr>
          <p:spPr>
            <a:xfrm>
              <a:off x="9353633" y="2998876"/>
              <a:ext cx="28318" cy="19508"/>
            </a:xfrm>
            <a:custGeom>
              <a:avLst/>
              <a:gdLst>
                <a:gd name="connsiteX0" fmla="*/ 27903 w 28318"/>
                <a:gd name="connsiteY0" fmla="*/ 19473 h 19508"/>
                <a:gd name="connsiteX1" fmla="*/ 15107 w 28318"/>
                <a:gd name="connsiteY1" fmla="*/ 8661 h 19508"/>
                <a:gd name="connsiteX2" fmla="*/ 8 w 28318"/>
                <a:gd name="connsiteY2" fmla="*/ 1367 h 19508"/>
                <a:gd name="connsiteX3" fmla="*/ 17986 w 28318"/>
                <a:gd name="connsiteY3" fmla="*/ 4182 h 19508"/>
                <a:gd name="connsiteX4" fmla="*/ 27903 w 28318"/>
                <a:gd name="connsiteY4" fmla="*/ 19473 h 19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18" h="19508">
                  <a:moveTo>
                    <a:pt x="27903" y="19473"/>
                  </a:moveTo>
                  <a:cubicBezTo>
                    <a:pt x="26496" y="20049"/>
                    <a:pt x="22721" y="13395"/>
                    <a:pt x="15107" y="8661"/>
                  </a:cubicBezTo>
                  <a:cubicBezTo>
                    <a:pt x="7686" y="3670"/>
                    <a:pt x="72" y="2903"/>
                    <a:pt x="8" y="1367"/>
                  </a:cubicBezTo>
                  <a:cubicBezTo>
                    <a:pt x="-312" y="-41"/>
                    <a:pt x="8901" y="-1768"/>
                    <a:pt x="17986" y="4182"/>
                  </a:cubicBezTo>
                  <a:cubicBezTo>
                    <a:pt x="27135" y="10068"/>
                    <a:pt x="29374" y="19217"/>
                    <a:pt x="27903" y="19473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A6597901-211C-42A2-BA76-10C86F4FB5AB}"/>
                </a:ext>
              </a:extLst>
            </p:cNvPr>
            <p:cNvSpPr/>
            <p:nvPr/>
          </p:nvSpPr>
          <p:spPr>
            <a:xfrm>
              <a:off x="9353068" y="3041777"/>
              <a:ext cx="30032" cy="12139"/>
            </a:xfrm>
            <a:custGeom>
              <a:avLst/>
              <a:gdLst>
                <a:gd name="connsiteX0" fmla="*/ 29812 w 30032"/>
                <a:gd name="connsiteY0" fmla="*/ 12017 h 12139"/>
                <a:gd name="connsiteX1" fmla="*/ 15481 w 30032"/>
                <a:gd name="connsiteY1" fmla="*/ 6003 h 12139"/>
                <a:gd name="connsiteX2" fmla="*/ 62 w 30032"/>
                <a:gd name="connsiteY2" fmla="*/ 4019 h 12139"/>
                <a:gd name="connsiteX3" fmla="*/ 16824 w 30032"/>
                <a:gd name="connsiteY3" fmla="*/ 820 h 12139"/>
                <a:gd name="connsiteX4" fmla="*/ 29812 w 30032"/>
                <a:gd name="connsiteY4" fmla="*/ 12017 h 12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32" h="12139">
                  <a:moveTo>
                    <a:pt x="29812" y="12017"/>
                  </a:moveTo>
                  <a:cubicBezTo>
                    <a:pt x="28596" y="12977"/>
                    <a:pt x="23542" y="8050"/>
                    <a:pt x="15481" y="6003"/>
                  </a:cubicBezTo>
                  <a:cubicBezTo>
                    <a:pt x="7547" y="3764"/>
                    <a:pt x="638" y="5427"/>
                    <a:pt x="62" y="4019"/>
                  </a:cubicBezTo>
                  <a:cubicBezTo>
                    <a:pt x="-770" y="2804"/>
                    <a:pt x="6907" y="-1867"/>
                    <a:pt x="16824" y="820"/>
                  </a:cubicBezTo>
                  <a:cubicBezTo>
                    <a:pt x="26805" y="3508"/>
                    <a:pt x="31091" y="11377"/>
                    <a:pt x="29812" y="1201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CAD79939-5F1C-4719-80E1-2889D23C800B}"/>
                </a:ext>
              </a:extLst>
            </p:cNvPr>
            <p:cNvSpPr/>
            <p:nvPr/>
          </p:nvSpPr>
          <p:spPr>
            <a:xfrm>
              <a:off x="9354898" y="3080856"/>
              <a:ext cx="28902" cy="6657"/>
            </a:xfrm>
            <a:custGeom>
              <a:avLst/>
              <a:gdLst>
                <a:gd name="connsiteX0" fmla="*/ 87 w 28902"/>
                <a:gd name="connsiteY0" fmla="*/ 6143 h 6657"/>
                <a:gd name="connsiteX1" fmla="*/ 14483 w 28902"/>
                <a:gd name="connsiteY1" fmla="*/ 1 h 6657"/>
                <a:gd name="connsiteX2" fmla="*/ 28814 w 28902"/>
                <a:gd name="connsiteY2" fmla="*/ 6271 h 6657"/>
                <a:gd name="connsiteX3" fmla="*/ 14483 w 28902"/>
                <a:gd name="connsiteY3" fmla="*/ 5247 h 6657"/>
                <a:gd name="connsiteX4" fmla="*/ 87 w 28902"/>
                <a:gd name="connsiteY4" fmla="*/ 6143 h 6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02" h="6657">
                  <a:moveTo>
                    <a:pt x="87" y="6143"/>
                  </a:moveTo>
                  <a:cubicBezTo>
                    <a:pt x="-808" y="4991"/>
                    <a:pt x="5270" y="-63"/>
                    <a:pt x="14483" y="1"/>
                  </a:cubicBezTo>
                  <a:cubicBezTo>
                    <a:pt x="23696" y="1"/>
                    <a:pt x="29710" y="5183"/>
                    <a:pt x="28814" y="6271"/>
                  </a:cubicBezTo>
                  <a:cubicBezTo>
                    <a:pt x="28046" y="7550"/>
                    <a:pt x="22032" y="5247"/>
                    <a:pt x="14483" y="5247"/>
                  </a:cubicBezTo>
                  <a:cubicBezTo>
                    <a:pt x="6869" y="5183"/>
                    <a:pt x="855" y="7486"/>
                    <a:pt x="87" y="6143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49993D3-6C5E-4212-BD54-0C929965353A}"/>
                </a:ext>
              </a:extLst>
            </p:cNvPr>
            <p:cNvSpPr/>
            <p:nvPr/>
          </p:nvSpPr>
          <p:spPr>
            <a:xfrm>
              <a:off x="9398649" y="2971652"/>
              <a:ext cx="16583" cy="28914"/>
            </a:xfrm>
            <a:custGeom>
              <a:avLst/>
              <a:gdLst>
                <a:gd name="connsiteX0" fmla="*/ 15261 w 16583"/>
                <a:gd name="connsiteY0" fmla="*/ 28911 h 28914"/>
                <a:gd name="connsiteX1" fmla="*/ 8607 w 16583"/>
                <a:gd name="connsiteY1" fmla="*/ 14068 h 28914"/>
                <a:gd name="connsiteX2" fmla="*/ 98 w 16583"/>
                <a:gd name="connsiteY2" fmla="*/ 248 h 28914"/>
                <a:gd name="connsiteX3" fmla="*/ 13342 w 16583"/>
                <a:gd name="connsiteY3" fmla="*/ 11573 h 28914"/>
                <a:gd name="connsiteX4" fmla="*/ 15261 w 16583"/>
                <a:gd name="connsiteY4" fmla="*/ 28911 h 2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83" h="28914">
                  <a:moveTo>
                    <a:pt x="15261" y="28911"/>
                  </a:moveTo>
                  <a:cubicBezTo>
                    <a:pt x="13726" y="28911"/>
                    <a:pt x="12702" y="21682"/>
                    <a:pt x="8607" y="14068"/>
                  </a:cubicBezTo>
                  <a:cubicBezTo>
                    <a:pt x="4641" y="6390"/>
                    <a:pt x="-798" y="1528"/>
                    <a:pt x="98" y="248"/>
                  </a:cubicBezTo>
                  <a:cubicBezTo>
                    <a:pt x="738" y="-1031"/>
                    <a:pt x="8607" y="2616"/>
                    <a:pt x="13342" y="11573"/>
                  </a:cubicBezTo>
                  <a:cubicBezTo>
                    <a:pt x="18076" y="20594"/>
                    <a:pt x="16605" y="29103"/>
                    <a:pt x="15261" y="28911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99E2D881-9CDE-4DCF-B794-2635888FEFD0}"/>
                </a:ext>
              </a:extLst>
            </p:cNvPr>
            <p:cNvSpPr/>
            <p:nvPr/>
          </p:nvSpPr>
          <p:spPr>
            <a:xfrm>
              <a:off x="9435779" y="2926996"/>
              <a:ext cx="17798" cy="51375"/>
            </a:xfrm>
            <a:custGeom>
              <a:avLst/>
              <a:gdLst>
                <a:gd name="connsiteX0" fmla="*/ 8713 w 17798"/>
                <a:gd name="connsiteY0" fmla="*/ 51366 h 51375"/>
                <a:gd name="connsiteX1" fmla="*/ 2251 w 17798"/>
                <a:gd name="connsiteY1" fmla="*/ 37099 h 51375"/>
                <a:gd name="connsiteX2" fmla="*/ 12 w 17798"/>
                <a:gd name="connsiteY2" fmla="*/ 20144 h 51375"/>
                <a:gd name="connsiteX3" fmla="*/ 588 w 17798"/>
                <a:gd name="connsiteY3" fmla="*/ 9972 h 51375"/>
                <a:gd name="connsiteX4" fmla="*/ 1995 w 17798"/>
                <a:gd name="connsiteY4" fmla="*/ 4150 h 51375"/>
                <a:gd name="connsiteX5" fmla="*/ 9097 w 17798"/>
                <a:gd name="connsiteY5" fmla="*/ 119 h 51375"/>
                <a:gd name="connsiteX6" fmla="*/ 15047 w 17798"/>
                <a:gd name="connsiteY6" fmla="*/ 4725 h 51375"/>
                <a:gd name="connsiteX7" fmla="*/ 16775 w 17798"/>
                <a:gd name="connsiteY7" fmla="*/ 10419 h 51375"/>
                <a:gd name="connsiteX8" fmla="*/ 17798 w 17798"/>
                <a:gd name="connsiteY8" fmla="*/ 20656 h 51375"/>
                <a:gd name="connsiteX9" fmla="*/ 15175 w 17798"/>
                <a:gd name="connsiteY9" fmla="*/ 37675 h 51375"/>
                <a:gd name="connsiteX10" fmla="*/ 7434 w 17798"/>
                <a:gd name="connsiteY10" fmla="*/ 51302 h 51375"/>
                <a:gd name="connsiteX11" fmla="*/ 11528 w 17798"/>
                <a:gd name="connsiteY11" fmla="*/ 36715 h 51375"/>
                <a:gd name="connsiteX12" fmla="*/ 12872 w 17798"/>
                <a:gd name="connsiteY12" fmla="*/ 20784 h 51375"/>
                <a:gd name="connsiteX13" fmla="*/ 11656 w 17798"/>
                <a:gd name="connsiteY13" fmla="*/ 11443 h 51375"/>
                <a:gd name="connsiteX14" fmla="*/ 8201 w 17798"/>
                <a:gd name="connsiteY14" fmla="*/ 5365 h 51375"/>
                <a:gd name="connsiteX15" fmla="*/ 6730 w 17798"/>
                <a:gd name="connsiteY15" fmla="*/ 6389 h 51375"/>
                <a:gd name="connsiteX16" fmla="*/ 5706 w 17798"/>
                <a:gd name="connsiteY16" fmla="*/ 10675 h 51375"/>
                <a:gd name="connsiteX17" fmla="*/ 4874 w 17798"/>
                <a:gd name="connsiteY17" fmla="*/ 20144 h 51375"/>
                <a:gd name="connsiteX18" fmla="*/ 5898 w 17798"/>
                <a:gd name="connsiteY18" fmla="*/ 36331 h 51375"/>
                <a:gd name="connsiteX19" fmla="*/ 8713 w 17798"/>
                <a:gd name="connsiteY19" fmla="*/ 51366 h 5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798" h="51375">
                  <a:moveTo>
                    <a:pt x="8713" y="51366"/>
                  </a:moveTo>
                  <a:cubicBezTo>
                    <a:pt x="8137" y="51622"/>
                    <a:pt x="4810" y="46568"/>
                    <a:pt x="2251" y="37099"/>
                  </a:cubicBezTo>
                  <a:cubicBezTo>
                    <a:pt x="1036" y="32428"/>
                    <a:pt x="76" y="26606"/>
                    <a:pt x="12" y="20144"/>
                  </a:cubicBezTo>
                  <a:cubicBezTo>
                    <a:pt x="-52" y="16881"/>
                    <a:pt x="140" y="13490"/>
                    <a:pt x="588" y="9972"/>
                  </a:cubicBezTo>
                  <a:cubicBezTo>
                    <a:pt x="844" y="8308"/>
                    <a:pt x="972" y="6325"/>
                    <a:pt x="1995" y="4150"/>
                  </a:cubicBezTo>
                  <a:cubicBezTo>
                    <a:pt x="2763" y="1974"/>
                    <a:pt x="6026" y="-585"/>
                    <a:pt x="9097" y="119"/>
                  </a:cubicBezTo>
                  <a:cubicBezTo>
                    <a:pt x="11976" y="567"/>
                    <a:pt x="14087" y="2742"/>
                    <a:pt x="15047" y="4725"/>
                  </a:cubicBezTo>
                  <a:cubicBezTo>
                    <a:pt x="16071" y="6773"/>
                    <a:pt x="16455" y="8692"/>
                    <a:pt x="16775" y="10419"/>
                  </a:cubicBezTo>
                  <a:cubicBezTo>
                    <a:pt x="17478" y="13938"/>
                    <a:pt x="17734" y="17393"/>
                    <a:pt x="17798" y="20656"/>
                  </a:cubicBezTo>
                  <a:cubicBezTo>
                    <a:pt x="17798" y="27182"/>
                    <a:pt x="16711" y="33068"/>
                    <a:pt x="15175" y="37675"/>
                  </a:cubicBezTo>
                  <a:cubicBezTo>
                    <a:pt x="12104" y="47080"/>
                    <a:pt x="7945" y="51686"/>
                    <a:pt x="7434" y="51302"/>
                  </a:cubicBezTo>
                  <a:cubicBezTo>
                    <a:pt x="6666" y="50854"/>
                    <a:pt x="9545" y="45672"/>
                    <a:pt x="11528" y="36715"/>
                  </a:cubicBezTo>
                  <a:cubicBezTo>
                    <a:pt x="12488" y="32236"/>
                    <a:pt x="13128" y="26798"/>
                    <a:pt x="12872" y="20784"/>
                  </a:cubicBezTo>
                  <a:cubicBezTo>
                    <a:pt x="12744" y="17777"/>
                    <a:pt x="12360" y="14642"/>
                    <a:pt x="11656" y="11443"/>
                  </a:cubicBezTo>
                  <a:cubicBezTo>
                    <a:pt x="11080" y="8052"/>
                    <a:pt x="9929" y="5493"/>
                    <a:pt x="8201" y="5365"/>
                  </a:cubicBezTo>
                  <a:cubicBezTo>
                    <a:pt x="7561" y="5301"/>
                    <a:pt x="7370" y="5365"/>
                    <a:pt x="6730" y="6389"/>
                  </a:cubicBezTo>
                  <a:cubicBezTo>
                    <a:pt x="6218" y="7413"/>
                    <a:pt x="5962" y="9012"/>
                    <a:pt x="5706" y="10675"/>
                  </a:cubicBezTo>
                  <a:cubicBezTo>
                    <a:pt x="5194" y="13938"/>
                    <a:pt x="4939" y="17137"/>
                    <a:pt x="4874" y="20144"/>
                  </a:cubicBezTo>
                  <a:cubicBezTo>
                    <a:pt x="4683" y="26222"/>
                    <a:pt x="5194" y="31725"/>
                    <a:pt x="5898" y="36331"/>
                  </a:cubicBezTo>
                  <a:cubicBezTo>
                    <a:pt x="7370" y="45544"/>
                    <a:pt x="9417" y="51046"/>
                    <a:pt x="8713" y="51366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93C5944E-197B-4B95-9501-74B9003EEC4B}"/>
                </a:ext>
              </a:extLst>
            </p:cNvPr>
            <p:cNvSpPr/>
            <p:nvPr/>
          </p:nvSpPr>
          <p:spPr>
            <a:xfrm>
              <a:off x="9441641" y="2961789"/>
              <a:ext cx="50767" cy="23315"/>
            </a:xfrm>
            <a:custGeom>
              <a:avLst/>
              <a:gdLst>
                <a:gd name="connsiteX0" fmla="*/ 36 w 50767"/>
                <a:gd name="connsiteY0" fmla="*/ 15677 h 23315"/>
                <a:gd name="connsiteX1" fmla="*/ 12064 w 50767"/>
                <a:gd name="connsiteY1" fmla="*/ 5633 h 23315"/>
                <a:gd name="connsiteX2" fmla="*/ 28507 w 50767"/>
                <a:gd name="connsiteY2" fmla="*/ 450 h 23315"/>
                <a:gd name="connsiteX3" fmla="*/ 38807 w 50767"/>
                <a:gd name="connsiteY3" fmla="*/ 130 h 23315"/>
                <a:gd name="connsiteX4" fmla="*/ 50132 w 50767"/>
                <a:gd name="connsiteY4" fmla="*/ 5889 h 23315"/>
                <a:gd name="connsiteX5" fmla="*/ 48852 w 50767"/>
                <a:gd name="connsiteY5" fmla="*/ 13630 h 23315"/>
                <a:gd name="connsiteX6" fmla="*/ 44309 w 50767"/>
                <a:gd name="connsiteY6" fmla="*/ 17469 h 23315"/>
                <a:gd name="connsiteX7" fmla="*/ 34713 w 50767"/>
                <a:gd name="connsiteY7" fmla="*/ 21883 h 23315"/>
                <a:gd name="connsiteX8" fmla="*/ 17246 w 50767"/>
                <a:gd name="connsiteY8" fmla="*/ 22523 h 23315"/>
                <a:gd name="connsiteX9" fmla="*/ 3491 w 50767"/>
                <a:gd name="connsiteY9" fmla="*/ 14974 h 23315"/>
                <a:gd name="connsiteX10" fmla="*/ 17886 w 50767"/>
                <a:gd name="connsiteY10" fmla="*/ 18812 h 23315"/>
                <a:gd name="connsiteX11" fmla="*/ 33305 w 50767"/>
                <a:gd name="connsiteY11" fmla="*/ 17213 h 23315"/>
                <a:gd name="connsiteX12" fmla="*/ 41431 w 50767"/>
                <a:gd name="connsiteY12" fmla="*/ 13182 h 23315"/>
                <a:gd name="connsiteX13" fmla="*/ 45333 w 50767"/>
                <a:gd name="connsiteY13" fmla="*/ 8128 h 23315"/>
                <a:gd name="connsiteX14" fmla="*/ 38424 w 50767"/>
                <a:gd name="connsiteY14" fmla="*/ 5313 h 23315"/>
                <a:gd name="connsiteX15" fmla="*/ 29082 w 50767"/>
                <a:gd name="connsiteY15" fmla="*/ 5313 h 23315"/>
                <a:gd name="connsiteX16" fmla="*/ 13664 w 50767"/>
                <a:gd name="connsiteY16" fmla="*/ 9023 h 23315"/>
                <a:gd name="connsiteX17" fmla="*/ 36 w 50767"/>
                <a:gd name="connsiteY17" fmla="*/ 15677 h 2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767" h="23315">
                  <a:moveTo>
                    <a:pt x="36" y="15677"/>
                  </a:moveTo>
                  <a:cubicBezTo>
                    <a:pt x="-412" y="15293"/>
                    <a:pt x="3299" y="10239"/>
                    <a:pt x="12064" y="5633"/>
                  </a:cubicBezTo>
                  <a:cubicBezTo>
                    <a:pt x="16415" y="3329"/>
                    <a:pt x="22045" y="1346"/>
                    <a:pt x="28507" y="450"/>
                  </a:cubicBezTo>
                  <a:cubicBezTo>
                    <a:pt x="31770" y="3"/>
                    <a:pt x="35225" y="-126"/>
                    <a:pt x="38807" y="130"/>
                  </a:cubicBezTo>
                  <a:cubicBezTo>
                    <a:pt x="42390" y="514"/>
                    <a:pt x="47061" y="834"/>
                    <a:pt x="50132" y="5889"/>
                  </a:cubicBezTo>
                  <a:cubicBezTo>
                    <a:pt x="51539" y="8640"/>
                    <a:pt x="50388" y="11967"/>
                    <a:pt x="48852" y="13630"/>
                  </a:cubicBezTo>
                  <a:cubicBezTo>
                    <a:pt x="47381" y="15421"/>
                    <a:pt x="45781" y="16381"/>
                    <a:pt x="44309" y="17469"/>
                  </a:cubicBezTo>
                  <a:cubicBezTo>
                    <a:pt x="41239" y="19516"/>
                    <a:pt x="37976" y="20924"/>
                    <a:pt x="34713" y="21883"/>
                  </a:cubicBezTo>
                  <a:cubicBezTo>
                    <a:pt x="28251" y="23739"/>
                    <a:pt x="22109" y="23611"/>
                    <a:pt x="17246" y="22523"/>
                  </a:cubicBezTo>
                  <a:cubicBezTo>
                    <a:pt x="7330" y="20348"/>
                    <a:pt x="3043" y="15293"/>
                    <a:pt x="3491" y="14974"/>
                  </a:cubicBezTo>
                  <a:cubicBezTo>
                    <a:pt x="4003" y="14206"/>
                    <a:pt x="8865" y="17789"/>
                    <a:pt x="17886" y="18812"/>
                  </a:cubicBezTo>
                  <a:cubicBezTo>
                    <a:pt x="22301" y="19324"/>
                    <a:pt x="27803" y="19068"/>
                    <a:pt x="33305" y="17213"/>
                  </a:cubicBezTo>
                  <a:cubicBezTo>
                    <a:pt x="36056" y="16317"/>
                    <a:pt x="38807" y="14974"/>
                    <a:pt x="41431" y="13182"/>
                  </a:cubicBezTo>
                  <a:cubicBezTo>
                    <a:pt x="44246" y="11327"/>
                    <a:pt x="46165" y="9087"/>
                    <a:pt x="45333" y="8128"/>
                  </a:cubicBezTo>
                  <a:cubicBezTo>
                    <a:pt x="44693" y="6720"/>
                    <a:pt x="41366" y="5377"/>
                    <a:pt x="38424" y="5313"/>
                  </a:cubicBezTo>
                  <a:cubicBezTo>
                    <a:pt x="35225" y="4993"/>
                    <a:pt x="32089" y="5057"/>
                    <a:pt x="29082" y="5313"/>
                  </a:cubicBezTo>
                  <a:cubicBezTo>
                    <a:pt x="23132" y="5889"/>
                    <a:pt x="17886" y="7360"/>
                    <a:pt x="13664" y="9023"/>
                  </a:cubicBezTo>
                  <a:cubicBezTo>
                    <a:pt x="5090" y="12478"/>
                    <a:pt x="548" y="16381"/>
                    <a:pt x="36" y="1567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B52D139E-331F-40EA-940E-20056FD05FAF}"/>
                </a:ext>
              </a:extLst>
            </p:cNvPr>
            <p:cNvSpPr/>
            <p:nvPr/>
          </p:nvSpPr>
          <p:spPr>
            <a:xfrm>
              <a:off x="8991250" y="2563312"/>
              <a:ext cx="737117" cy="454844"/>
            </a:xfrm>
            <a:custGeom>
              <a:avLst/>
              <a:gdLst>
                <a:gd name="connsiteX0" fmla="*/ 353691 w 737117"/>
                <a:gd name="connsiteY0" fmla="*/ 60541 h 454844"/>
                <a:gd name="connsiteX1" fmla="*/ 102317 w 737117"/>
                <a:gd name="connsiteY1" fmla="*/ 785 h 454844"/>
                <a:gd name="connsiteX2" fmla="*/ 846 w 737117"/>
                <a:gd name="connsiteY2" fmla="*/ 83062 h 454844"/>
                <a:gd name="connsiteX3" fmla="*/ 73526 w 737117"/>
                <a:gd name="connsiteY3" fmla="*/ 227911 h 454844"/>
                <a:gd name="connsiteX4" fmla="*/ 461815 w 737117"/>
                <a:gd name="connsiteY4" fmla="*/ 394576 h 454844"/>
                <a:gd name="connsiteX5" fmla="*/ 678385 w 737117"/>
                <a:gd name="connsiteY5" fmla="*/ 454845 h 454844"/>
                <a:gd name="connsiteX6" fmla="*/ 737117 w 737117"/>
                <a:gd name="connsiteY6" fmla="*/ 287539 h 454844"/>
                <a:gd name="connsiteX7" fmla="*/ 399884 w 737117"/>
                <a:gd name="connsiteY7" fmla="*/ 164251 h 454844"/>
                <a:gd name="connsiteX8" fmla="*/ 340127 w 737117"/>
                <a:gd name="connsiteY8" fmla="*/ 134949 h 454844"/>
                <a:gd name="connsiteX9" fmla="*/ 353691 w 737117"/>
                <a:gd name="connsiteY9" fmla="*/ 60541 h 45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7117" h="454844">
                  <a:moveTo>
                    <a:pt x="353691" y="60541"/>
                  </a:moveTo>
                  <a:cubicBezTo>
                    <a:pt x="353691" y="60541"/>
                    <a:pt x="169943" y="-8044"/>
                    <a:pt x="102317" y="785"/>
                  </a:cubicBezTo>
                  <a:cubicBezTo>
                    <a:pt x="64505" y="5775"/>
                    <a:pt x="5388" y="34630"/>
                    <a:pt x="846" y="83062"/>
                  </a:cubicBezTo>
                  <a:cubicBezTo>
                    <a:pt x="-3633" y="131558"/>
                    <a:pt x="8139" y="196369"/>
                    <a:pt x="73526" y="227911"/>
                  </a:cubicBezTo>
                  <a:cubicBezTo>
                    <a:pt x="138913" y="259452"/>
                    <a:pt x="399820" y="376534"/>
                    <a:pt x="461815" y="394576"/>
                  </a:cubicBezTo>
                  <a:cubicBezTo>
                    <a:pt x="523811" y="412618"/>
                    <a:pt x="678385" y="454845"/>
                    <a:pt x="678385" y="454845"/>
                  </a:cubicBezTo>
                  <a:lnTo>
                    <a:pt x="737117" y="287539"/>
                  </a:lnTo>
                  <a:cubicBezTo>
                    <a:pt x="737117" y="287539"/>
                    <a:pt x="416774" y="176599"/>
                    <a:pt x="399884" y="164251"/>
                  </a:cubicBezTo>
                  <a:cubicBezTo>
                    <a:pt x="382993" y="151839"/>
                    <a:pt x="340127" y="134949"/>
                    <a:pt x="340127" y="134949"/>
                  </a:cubicBezTo>
                  <a:lnTo>
                    <a:pt x="353691" y="60541"/>
                  </a:ln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57B298AA-E86D-49BC-8EC0-D2E2E6956942}"/>
                </a:ext>
              </a:extLst>
            </p:cNvPr>
            <p:cNvSpPr/>
            <p:nvPr/>
          </p:nvSpPr>
          <p:spPr>
            <a:xfrm>
              <a:off x="9497658" y="2635283"/>
              <a:ext cx="485985" cy="131180"/>
            </a:xfrm>
            <a:custGeom>
              <a:avLst/>
              <a:gdLst>
                <a:gd name="connsiteX0" fmla="*/ 485985 w 485985"/>
                <a:gd name="connsiteY0" fmla="*/ 11283 h 131180"/>
                <a:gd name="connsiteX1" fmla="*/ 484706 w 485985"/>
                <a:gd name="connsiteY1" fmla="*/ 10964 h 131180"/>
                <a:gd name="connsiteX2" fmla="*/ 480995 w 485985"/>
                <a:gd name="connsiteY2" fmla="*/ 9812 h 131180"/>
                <a:gd name="connsiteX3" fmla="*/ 466728 w 485985"/>
                <a:gd name="connsiteY3" fmla="*/ 5973 h 131180"/>
                <a:gd name="connsiteX4" fmla="*/ 443695 w 485985"/>
                <a:gd name="connsiteY4" fmla="*/ 1943 h 131180"/>
                <a:gd name="connsiteX5" fmla="*/ 412793 w 485985"/>
                <a:gd name="connsiteY5" fmla="*/ 2007 h 131180"/>
                <a:gd name="connsiteX6" fmla="*/ 376005 w 485985"/>
                <a:gd name="connsiteY6" fmla="*/ 8980 h 131180"/>
                <a:gd name="connsiteX7" fmla="*/ 356620 w 485985"/>
                <a:gd name="connsiteY7" fmla="*/ 16530 h 131180"/>
                <a:gd name="connsiteX8" fmla="*/ 336594 w 485985"/>
                <a:gd name="connsiteY8" fmla="*/ 26319 h 131180"/>
                <a:gd name="connsiteX9" fmla="*/ 245744 w 485985"/>
                <a:gd name="connsiteY9" fmla="*/ 65794 h 131180"/>
                <a:gd name="connsiteX10" fmla="*/ 72616 w 485985"/>
                <a:gd name="connsiteY10" fmla="*/ 114674 h 131180"/>
                <a:gd name="connsiteX11" fmla="*/ 19450 w 485985"/>
                <a:gd name="connsiteY11" fmla="*/ 126702 h 131180"/>
                <a:gd name="connsiteX12" fmla="*/ 5054 w 485985"/>
                <a:gd name="connsiteY12" fmla="*/ 130093 h 131180"/>
                <a:gd name="connsiteX13" fmla="*/ 1279 w 485985"/>
                <a:gd name="connsiteY13" fmla="*/ 130925 h 131180"/>
                <a:gd name="connsiteX14" fmla="*/ 0 w 485985"/>
                <a:gd name="connsiteY14" fmla="*/ 131181 h 131180"/>
                <a:gd name="connsiteX15" fmla="*/ 1279 w 485985"/>
                <a:gd name="connsiteY15" fmla="*/ 130733 h 131180"/>
                <a:gd name="connsiteX16" fmla="*/ 4990 w 485985"/>
                <a:gd name="connsiteY16" fmla="*/ 129709 h 131180"/>
                <a:gd name="connsiteX17" fmla="*/ 19322 w 485985"/>
                <a:gd name="connsiteY17" fmla="*/ 125934 h 131180"/>
                <a:gd name="connsiteX18" fmla="*/ 72360 w 485985"/>
                <a:gd name="connsiteY18" fmla="*/ 113266 h 131180"/>
                <a:gd name="connsiteX19" fmla="*/ 245040 w 485985"/>
                <a:gd name="connsiteY19" fmla="*/ 63938 h 131180"/>
                <a:gd name="connsiteX20" fmla="*/ 335826 w 485985"/>
                <a:gd name="connsiteY20" fmla="*/ 24655 h 131180"/>
                <a:gd name="connsiteX21" fmla="*/ 355852 w 485985"/>
                <a:gd name="connsiteY21" fmla="*/ 14994 h 131180"/>
                <a:gd name="connsiteX22" fmla="*/ 375557 w 485985"/>
                <a:gd name="connsiteY22" fmla="*/ 7445 h 131180"/>
                <a:gd name="connsiteX23" fmla="*/ 412665 w 485985"/>
                <a:gd name="connsiteY23" fmla="*/ 599 h 131180"/>
                <a:gd name="connsiteX24" fmla="*/ 443823 w 485985"/>
                <a:gd name="connsiteY24" fmla="*/ 855 h 131180"/>
                <a:gd name="connsiteX25" fmla="*/ 466919 w 485985"/>
                <a:gd name="connsiteY25" fmla="*/ 5206 h 131180"/>
                <a:gd name="connsiteX26" fmla="*/ 481123 w 485985"/>
                <a:gd name="connsiteY26" fmla="*/ 9428 h 131180"/>
                <a:gd name="connsiteX27" fmla="*/ 484770 w 485985"/>
                <a:gd name="connsiteY27" fmla="*/ 10708 h 131180"/>
                <a:gd name="connsiteX28" fmla="*/ 485985 w 485985"/>
                <a:gd name="connsiteY28" fmla="*/ 11283 h 131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85985" h="131180">
                  <a:moveTo>
                    <a:pt x="485985" y="11283"/>
                  </a:moveTo>
                  <a:cubicBezTo>
                    <a:pt x="485985" y="11348"/>
                    <a:pt x="485537" y="11220"/>
                    <a:pt x="484706" y="10964"/>
                  </a:cubicBezTo>
                  <a:cubicBezTo>
                    <a:pt x="483746" y="10708"/>
                    <a:pt x="482530" y="10324"/>
                    <a:pt x="480995" y="9812"/>
                  </a:cubicBezTo>
                  <a:cubicBezTo>
                    <a:pt x="477732" y="8852"/>
                    <a:pt x="472934" y="7445"/>
                    <a:pt x="466728" y="5973"/>
                  </a:cubicBezTo>
                  <a:cubicBezTo>
                    <a:pt x="460458" y="4502"/>
                    <a:pt x="452780" y="2838"/>
                    <a:pt x="443695" y="1943"/>
                  </a:cubicBezTo>
                  <a:cubicBezTo>
                    <a:pt x="434610" y="1047"/>
                    <a:pt x="424181" y="983"/>
                    <a:pt x="412793" y="2007"/>
                  </a:cubicBezTo>
                  <a:cubicBezTo>
                    <a:pt x="401405" y="3030"/>
                    <a:pt x="388929" y="5078"/>
                    <a:pt x="376005" y="8980"/>
                  </a:cubicBezTo>
                  <a:cubicBezTo>
                    <a:pt x="369543" y="10964"/>
                    <a:pt x="363017" y="13395"/>
                    <a:pt x="356620" y="16530"/>
                  </a:cubicBezTo>
                  <a:cubicBezTo>
                    <a:pt x="350158" y="19665"/>
                    <a:pt x="343440" y="22928"/>
                    <a:pt x="336594" y="26319"/>
                  </a:cubicBezTo>
                  <a:cubicBezTo>
                    <a:pt x="309083" y="39434"/>
                    <a:pt x="278437" y="52934"/>
                    <a:pt x="245744" y="65794"/>
                  </a:cubicBezTo>
                  <a:cubicBezTo>
                    <a:pt x="180293" y="92025"/>
                    <a:pt x="117466" y="104501"/>
                    <a:pt x="72616" y="114674"/>
                  </a:cubicBezTo>
                  <a:cubicBezTo>
                    <a:pt x="50160" y="119664"/>
                    <a:pt x="31990" y="123759"/>
                    <a:pt x="19450" y="126702"/>
                  </a:cubicBezTo>
                  <a:cubicBezTo>
                    <a:pt x="13308" y="128173"/>
                    <a:pt x="8445" y="129325"/>
                    <a:pt x="5054" y="130093"/>
                  </a:cubicBezTo>
                  <a:cubicBezTo>
                    <a:pt x="3455" y="130477"/>
                    <a:pt x="2239" y="130733"/>
                    <a:pt x="1279" y="130925"/>
                  </a:cubicBezTo>
                  <a:cubicBezTo>
                    <a:pt x="448" y="131116"/>
                    <a:pt x="0" y="131181"/>
                    <a:pt x="0" y="131181"/>
                  </a:cubicBezTo>
                  <a:cubicBezTo>
                    <a:pt x="0" y="131116"/>
                    <a:pt x="384" y="130988"/>
                    <a:pt x="1279" y="130733"/>
                  </a:cubicBezTo>
                  <a:cubicBezTo>
                    <a:pt x="2239" y="130477"/>
                    <a:pt x="3455" y="130157"/>
                    <a:pt x="4990" y="129709"/>
                  </a:cubicBezTo>
                  <a:cubicBezTo>
                    <a:pt x="8253" y="128813"/>
                    <a:pt x="13052" y="127470"/>
                    <a:pt x="19322" y="125934"/>
                  </a:cubicBezTo>
                  <a:cubicBezTo>
                    <a:pt x="31798" y="122735"/>
                    <a:pt x="49904" y="118449"/>
                    <a:pt x="72360" y="113266"/>
                  </a:cubicBezTo>
                  <a:cubicBezTo>
                    <a:pt x="117082" y="102710"/>
                    <a:pt x="179781" y="90106"/>
                    <a:pt x="245040" y="63938"/>
                  </a:cubicBezTo>
                  <a:cubicBezTo>
                    <a:pt x="277669" y="51014"/>
                    <a:pt x="308379" y="37643"/>
                    <a:pt x="335826" y="24655"/>
                  </a:cubicBezTo>
                  <a:cubicBezTo>
                    <a:pt x="342672" y="21328"/>
                    <a:pt x="349326" y="18129"/>
                    <a:pt x="355852" y="14994"/>
                  </a:cubicBezTo>
                  <a:cubicBezTo>
                    <a:pt x="362378" y="11795"/>
                    <a:pt x="369031" y="9364"/>
                    <a:pt x="375557" y="7445"/>
                  </a:cubicBezTo>
                  <a:cubicBezTo>
                    <a:pt x="388609" y="3542"/>
                    <a:pt x="401149" y="1559"/>
                    <a:pt x="412665" y="599"/>
                  </a:cubicBezTo>
                  <a:cubicBezTo>
                    <a:pt x="424181" y="-297"/>
                    <a:pt x="434674" y="-169"/>
                    <a:pt x="443823" y="855"/>
                  </a:cubicBezTo>
                  <a:cubicBezTo>
                    <a:pt x="452972" y="1879"/>
                    <a:pt x="460650" y="3606"/>
                    <a:pt x="466919" y="5206"/>
                  </a:cubicBezTo>
                  <a:cubicBezTo>
                    <a:pt x="473189" y="6805"/>
                    <a:pt x="477924" y="8341"/>
                    <a:pt x="481123" y="9428"/>
                  </a:cubicBezTo>
                  <a:cubicBezTo>
                    <a:pt x="482658" y="10004"/>
                    <a:pt x="483810" y="10388"/>
                    <a:pt x="484770" y="10708"/>
                  </a:cubicBezTo>
                  <a:cubicBezTo>
                    <a:pt x="485537" y="11092"/>
                    <a:pt x="485985" y="11283"/>
                    <a:pt x="485985" y="11283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771BC9ED-C9D5-401F-B40B-EB07A6EC6857}"/>
                </a:ext>
              </a:extLst>
            </p:cNvPr>
            <p:cNvSpPr/>
            <p:nvPr/>
          </p:nvSpPr>
          <p:spPr>
            <a:xfrm>
              <a:off x="9874813" y="2617474"/>
              <a:ext cx="99169" cy="10003"/>
            </a:xfrm>
            <a:custGeom>
              <a:avLst/>
              <a:gdLst>
                <a:gd name="connsiteX0" fmla="*/ 99170 w 99169"/>
                <a:gd name="connsiteY0" fmla="*/ 4908 h 10003"/>
                <a:gd name="connsiteX1" fmla="*/ 84583 w 99169"/>
                <a:gd name="connsiteY1" fmla="*/ 3244 h 10003"/>
                <a:gd name="connsiteX2" fmla="*/ 49330 w 99169"/>
                <a:gd name="connsiteY2" fmla="*/ 2221 h 10003"/>
                <a:gd name="connsiteX3" fmla="*/ 14334 w 99169"/>
                <a:gd name="connsiteY3" fmla="*/ 6827 h 10003"/>
                <a:gd name="connsiteX4" fmla="*/ 2 w 99169"/>
                <a:gd name="connsiteY4" fmla="*/ 9962 h 10003"/>
                <a:gd name="connsiteX5" fmla="*/ 3649 w 99169"/>
                <a:gd name="connsiteY5" fmla="*/ 8490 h 10003"/>
                <a:gd name="connsiteX6" fmla="*/ 14014 w 99169"/>
                <a:gd name="connsiteY6" fmla="*/ 5483 h 10003"/>
                <a:gd name="connsiteX7" fmla="*/ 49202 w 99169"/>
                <a:gd name="connsiteY7" fmla="*/ 237 h 10003"/>
                <a:gd name="connsiteX8" fmla="*/ 84711 w 99169"/>
                <a:gd name="connsiteY8" fmla="*/ 1837 h 10003"/>
                <a:gd name="connsiteX9" fmla="*/ 95331 w 99169"/>
                <a:gd name="connsiteY9" fmla="*/ 3756 h 10003"/>
                <a:gd name="connsiteX10" fmla="*/ 99170 w 99169"/>
                <a:gd name="connsiteY10" fmla="*/ 4908 h 1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169" h="10003">
                  <a:moveTo>
                    <a:pt x="99170" y="4908"/>
                  </a:moveTo>
                  <a:cubicBezTo>
                    <a:pt x="99106" y="5228"/>
                    <a:pt x="93604" y="4204"/>
                    <a:pt x="84583" y="3244"/>
                  </a:cubicBezTo>
                  <a:cubicBezTo>
                    <a:pt x="75561" y="2284"/>
                    <a:pt x="63086" y="1517"/>
                    <a:pt x="49330" y="2221"/>
                  </a:cubicBezTo>
                  <a:cubicBezTo>
                    <a:pt x="35575" y="2924"/>
                    <a:pt x="23227" y="4972"/>
                    <a:pt x="14334" y="6827"/>
                  </a:cubicBezTo>
                  <a:cubicBezTo>
                    <a:pt x="5504" y="8682"/>
                    <a:pt x="66" y="10282"/>
                    <a:pt x="2" y="9962"/>
                  </a:cubicBezTo>
                  <a:cubicBezTo>
                    <a:pt x="-62" y="9834"/>
                    <a:pt x="1282" y="9322"/>
                    <a:pt x="3649" y="8490"/>
                  </a:cubicBezTo>
                  <a:cubicBezTo>
                    <a:pt x="6080" y="7659"/>
                    <a:pt x="9599" y="6571"/>
                    <a:pt x="14014" y="5483"/>
                  </a:cubicBezTo>
                  <a:cubicBezTo>
                    <a:pt x="22843" y="3244"/>
                    <a:pt x="35319" y="941"/>
                    <a:pt x="49202" y="237"/>
                  </a:cubicBezTo>
                  <a:cubicBezTo>
                    <a:pt x="63086" y="-467"/>
                    <a:pt x="75753" y="493"/>
                    <a:pt x="84711" y="1837"/>
                  </a:cubicBezTo>
                  <a:cubicBezTo>
                    <a:pt x="89189" y="2476"/>
                    <a:pt x="92836" y="3180"/>
                    <a:pt x="95331" y="3756"/>
                  </a:cubicBezTo>
                  <a:cubicBezTo>
                    <a:pt x="97826" y="4396"/>
                    <a:pt x="99170" y="4780"/>
                    <a:pt x="99170" y="4908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BC345599-E060-44CB-A7C7-E481210CE90D}"/>
                </a:ext>
              </a:extLst>
            </p:cNvPr>
            <p:cNvSpPr/>
            <p:nvPr/>
          </p:nvSpPr>
          <p:spPr>
            <a:xfrm>
              <a:off x="9161256" y="2634526"/>
              <a:ext cx="106406" cy="37899"/>
            </a:xfrm>
            <a:custGeom>
              <a:avLst/>
              <a:gdLst>
                <a:gd name="connsiteX0" fmla="*/ 106397 w 106406"/>
                <a:gd name="connsiteY0" fmla="*/ 37888 h 37899"/>
                <a:gd name="connsiteX1" fmla="*/ 92322 w 106406"/>
                <a:gd name="connsiteY1" fmla="*/ 28739 h 37899"/>
                <a:gd name="connsiteX2" fmla="*/ 55982 w 106406"/>
                <a:gd name="connsiteY2" fmla="*/ 11272 h 37899"/>
                <a:gd name="connsiteX3" fmla="*/ 16699 w 106406"/>
                <a:gd name="connsiteY3" fmla="*/ 1995 h 37899"/>
                <a:gd name="connsiteX4" fmla="*/ 0 w 106406"/>
                <a:gd name="connsiteY4" fmla="*/ 268 h 37899"/>
                <a:gd name="connsiteX5" fmla="*/ 4543 w 106406"/>
                <a:gd name="connsiteY5" fmla="*/ 12 h 37899"/>
                <a:gd name="connsiteX6" fmla="*/ 16891 w 106406"/>
                <a:gd name="connsiteY6" fmla="*/ 588 h 37899"/>
                <a:gd name="connsiteX7" fmla="*/ 56686 w 106406"/>
                <a:gd name="connsiteY7" fmla="*/ 9353 h 37899"/>
                <a:gd name="connsiteX8" fmla="*/ 93154 w 106406"/>
                <a:gd name="connsiteY8" fmla="*/ 27459 h 37899"/>
                <a:gd name="connsiteX9" fmla="*/ 103134 w 106406"/>
                <a:gd name="connsiteY9" fmla="*/ 34753 h 37899"/>
                <a:gd name="connsiteX10" fmla="*/ 106397 w 106406"/>
                <a:gd name="connsiteY10" fmla="*/ 37888 h 37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406" h="37899">
                  <a:moveTo>
                    <a:pt x="106397" y="37888"/>
                  </a:moveTo>
                  <a:cubicBezTo>
                    <a:pt x="106205" y="38144"/>
                    <a:pt x="101087" y="34241"/>
                    <a:pt x="92322" y="28739"/>
                  </a:cubicBezTo>
                  <a:cubicBezTo>
                    <a:pt x="83557" y="23300"/>
                    <a:pt x="70825" y="16583"/>
                    <a:pt x="55982" y="11272"/>
                  </a:cubicBezTo>
                  <a:cubicBezTo>
                    <a:pt x="41075" y="6026"/>
                    <a:pt x="26999" y="3275"/>
                    <a:pt x="16699" y="1995"/>
                  </a:cubicBezTo>
                  <a:cubicBezTo>
                    <a:pt x="6398" y="716"/>
                    <a:pt x="0" y="588"/>
                    <a:pt x="0" y="268"/>
                  </a:cubicBezTo>
                  <a:cubicBezTo>
                    <a:pt x="0" y="140"/>
                    <a:pt x="1599" y="76"/>
                    <a:pt x="4543" y="12"/>
                  </a:cubicBezTo>
                  <a:cubicBezTo>
                    <a:pt x="7486" y="-52"/>
                    <a:pt x="11708" y="140"/>
                    <a:pt x="16891" y="588"/>
                  </a:cubicBezTo>
                  <a:cubicBezTo>
                    <a:pt x="27255" y="1484"/>
                    <a:pt x="41586" y="4043"/>
                    <a:pt x="56686" y="9353"/>
                  </a:cubicBezTo>
                  <a:cubicBezTo>
                    <a:pt x="71721" y="14663"/>
                    <a:pt x="84453" y="21701"/>
                    <a:pt x="93154" y="27459"/>
                  </a:cubicBezTo>
                  <a:cubicBezTo>
                    <a:pt x="97504" y="30338"/>
                    <a:pt x="100895" y="32833"/>
                    <a:pt x="103134" y="34753"/>
                  </a:cubicBezTo>
                  <a:cubicBezTo>
                    <a:pt x="105310" y="36736"/>
                    <a:pt x="106525" y="37824"/>
                    <a:pt x="106397" y="37888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1E30FD9C-4D0E-41E5-98DD-996DCD6B7818}"/>
                </a:ext>
              </a:extLst>
            </p:cNvPr>
            <p:cNvSpPr/>
            <p:nvPr/>
          </p:nvSpPr>
          <p:spPr>
            <a:xfrm>
              <a:off x="9150956" y="2582459"/>
              <a:ext cx="576835" cy="436785"/>
            </a:xfrm>
            <a:custGeom>
              <a:avLst/>
              <a:gdLst>
                <a:gd name="connsiteX0" fmla="*/ 208892 w 576835"/>
                <a:gd name="connsiteY0" fmla="*/ 339537 h 436785"/>
                <a:gd name="connsiteX1" fmla="*/ 210299 w 576835"/>
                <a:gd name="connsiteY1" fmla="*/ 340113 h 436785"/>
                <a:gd name="connsiteX2" fmla="*/ 214458 w 576835"/>
                <a:gd name="connsiteY2" fmla="*/ 341840 h 436785"/>
                <a:gd name="connsiteX3" fmla="*/ 230709 w 576835"/>
                <a:gd name="connsiteY3" fmla="*/ 348622 h 436785"/>
                <a:gd name="connsiteX4" fmla="*/ 293280 w 576835"/>
                <a:gd name="connsiteY4" fmla="*/ 371015 h 436785"/>
                <a:gd name="connsiteX5" fmla="*/ 518935 w 576835"/>
                <a:gd name="connsiteY5" fmla="*/ 434866 h 436785"/>
                <a:gd name="connsiteX6" fmla="*/ 517847 w 576835"/>
                <a:gd name="connsiteY6" fmla="*/ 435442 h 436785"/>
                <a:gd name="connsiteX7" fmla="*/ 574660 w 576835"/>
                <a:gd name="connsiteY7" fmla="*/ 277797 h 436785"/>
                <a:gd name="connsiteX8" fmla="*/ 575236 w 576835"/>
                <a:gd name="connsiteY8" fmla="*/ 279013 h 436785"/>
                <a:gd name="connsiteX9" fmla="*/ 504923 w 576835"/>
                <a:gd name="connsiteY9" fmla="*/ 250158 h 436785"/>
                <a:gd name="connsiteX10" fmla="*/ 115738 w 576835"/>
                <a:gd name="connsiteY10" fmla="*/ 89955 h 436785"/>
                <a:gd name="connsiteX11" fmla="*/ 115610 w 576835"/>
                <a:gd name="connsiteY11" fmla="*/ 89891 h 436785"/>
                <a:gd name="connsiteX12" fmla="*/ 115482 w 576835"/>
                <a:gd name="connsiteY12" fmla="*/ 89763 h 436785"/>
                <a:gd name="connsiteX13" fmla="*/ 71401 w 576835"/>
                <a:gd name="connsiteY13" fmla="*/ 46321 h 436785"/>
                <a:gd name="connsiteX14" fmla="*/ 34421 w 576835"/>
                <a:gd name="connsiteY14" fmla="*/ 18490 h 436785"/>
                <a:gd name="connsiteX15" fmla="*/ 9085 w 576835"/>
                <a:gd name="connsiteY15" fmla="*/ 4351 h 436785"/>
                <a:gd name="connsiteX16" fmla="*/ 2303 w 576835"/>
                <a:gd name="connsiteY16" fmla="*/ 1152 h 436785"/>
                <a:gd name="connsiteX17" fmla="*/ 0 w 576835"/>
                <a:gd name="connsiteY17" fmla="*/ 0 h 436785"/>
                <a:gd name="connsiteX18" fmla="*/ 2367 w 576835"/>
                <a:gd name="connsiteY18" fmla="*/ 960 h 436785"/>
                <a:gd name="connsiteX19" fmla="*/ 9277 w 576835"/>
                <a:gd name="connsiteY19" fmla="*/ 3967 h 436785"/>
                <a:gd name="connsiteX20" fmla="*/ 34869 w 576835"/>
                <a:gd name="connsiteY20" fmla="*/ 17850 h 436785"/>
                <a:gd name="connsiteX21" fmla="*/ 72104 w 576835"/>
                <a:gd name="connsiteY21" fmla="*/ 45489 h 436785"/>
                <a:gd name="connsiteX22" fmla="*/ 116442 w 576835"/>
                <a:gd name="connsiteY22" fmla="*/ 88803 h 436785"/>
                <a:gd name="connsiteX23" fmla="*/ 116186 w 576835"/>
                <a:gd name="connsiteY23" fmla="*/ 88675 h 436785"/>
                <a:gd name="connsiteX24" fmla="*/ 505627 w 576835"/>
                <a:gd name="connsiteY24" fmla="*/ 248239 h 436785"/>
                <a:gd name="connsiteX25" fmla="*/ 575940 w 576835"/>
                <a:gd name="connsiteY25" fmla="*/ 277158 h 436785"/>
                <a:gd name="connsiteX26" fmla="*/ 576836 w 576835"/>
                <a:gd name="connsiteY26" fmla="*/ 277541 h 436785"/>
                <a:gd name="connsiteX27" fmla="*/ 576516 w 576835"/>
                <a:gd name="connsiteY27" fmla="*/ 278437 h 436785"/>
                <a:gd name="connsiteX28" fmla="*/ 519574 w 576835"/>
                <a:gd name="connsiteY28" fmla="*/ 436018 h 436785"/>
                <a:gd name="connsiteX29" fmla="*/ 519318 w 576835"/>
                <a:gd name="connsiteY29" fmla="*/ 436785 h 436785"/>
                <a:gd name="connsiteX30" fmla="*/ 518551 w 576835"/>
                <a:gd name="connsiteY30" fmla="*/ 436593 h 436785"/>
                <a:gd name="connsiteX31" fmla="*/ 293024 w 576835"/>
                <a:gd name="connsiteY31" fmla="*/ 372039 h 436785"/>
                <a:gd name="connsiteX32" fmla="*/ 230581 w 576835"/>
                <a:gd name="connsiteY32" fmla="*/ 349198 h 436785"/>
                <a:gd name="connsiteX33" fmla="*/ 214458 w 576835"/>
                <a:gd name="connsiteY33" fmla="*/ 342160 h 436785"/>
                <a:gd name="connsiteX34" fmla="*/ 210363 w 576835"/>
                <a:gd name="connsiteY34" fmla="*/ 340305 h 436785"/>
                <a:gd name="connsiteX35" fmla="*/ 208892 w 576835"/>
                <a:gd name="connsiteY35" fmla="*/ 339537 h 43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76835" h="436785">
                  <a:moveTo>
                    <a:pt x="208892" y="339537"/>
                  </a:moveTo>
                  <a:cubicBezTo>
                    <a:pt x="208892" y="339537"/>
                    <a:pt x="209404" y="339729"/>
                    <a:pt x="210299" y="340113"/>
                  </a:cubicBezTo>
                  <a:cubicBezTo>
                    <a:pt x="211259" y="340497"/>
                    <a:pt x="212667" y="341137"/>
                    <a:pt x="214458" y="341840"/>
                  </a:cubicBezTo>
                  <a:cubicBezTo>
                    <a:pt x="218169" y="343312"/>
                    <a:pt x="223479" y="345871"/>
                    <a:pt x="230709" y="348622"/>
                  </a:cubicBezTo>
                  <a:cubicBezTo>
                    <a:pt x="245040" y="354316"/>
                    <a:pt x="266153" y="362058"/>
                    <a:pt x="293280" y="371015"/>
                  </a:cubicBezTo>
                  <a:cubicBezTo>
                    <a:pt x="347535" y="388737"/>
                    <a:pt x="425589" y="411322"/>
                    <a:pt x="518935" y="434866"/>
                  </a:cubicBezTo>
                  <a:lnTo>
                    <a:pt x="517847" y="435442"/>
                  </a:lnTo>
                  <a:cubicBezTo>
                    <a:pt x="535249" y="387138"/>
                    <a:pt x="554443" y="333843"/>
                    <a:pt x="574660" y="277797"/>
                  </a:cubicBezTo>
                  <a:lnTo>
                    <a:pt x="575236" y="279013"/>
                  </a:lnTo>
                  <a:cubicBezTo>
                    <a:pt x="552715" y="269736"/>
                    <a:pt x="528979" y="260011"/>
                    <a:pt x="504923" y="250158"/>
                  </a:cubicBezTo>
                  <a:cubicBezTo>
                    <a:pt x="349902" y="186371"/>
                    <a:pt x="210555" y="128982"/>
                    <a:pt x="115738" y="89955"/>
                  </a:cubicBezTo>
                  <a:lnTo>
                    <a:pt x="115610" y="89891"/>
                  </a:lnTo>
                  <a:lnTo>
                    <a:pt x="115482" y="89763"/>
                  </a:lnTo>
                  <a:cubicBezTo>
                    <a:pt x="99616" y="73000"/>
                    <a:pt x="85092" y="58221"/>
                    <a:pt x="71401" y="46321"/>
                  </a:cubicBezTo>
                  <a:cubicBezTo>
                    <a:pt x="57709" y="34421"/>
                    <a:pt x="45169" y="25208"/>
                    <a:pt x="34421" y="18490"/>
                  </a:cubicBezTo>
                  <a:cubicBezTo>
                    <a:pt x="23736" y="11644"/>
                    <a:pt x="14971" y="7358"/>
                    <a:pt x="9085" y="4351"/>
                  </a:cubicBezTo>
                  <a:cubicBezTo>
                    <a:pt x="6142" y="2943"/>
                    <a:pt x="3839" y="1919"/>
                    <a:pt x="2303" y="1152"/>
                  </a:cubicBezTo>
                  <a:cubicBezTo>
                    <a:pt x="768" y="448"/>
                    <a:pt x="0" y="0"/>
                    <a:pt x="0" y="0"/>
                  </a:cubicBezTo>
                  <a:cubicBezTo>
                    <a:pt x="0" y="0"/>
                    <a:pt x="832" y="320"/>
                    <a:pt x="2367" y="960"/>
                  </a:cubicBezTo>
                  <a:cubicBezTo>
                    <a:pt x="3967" y="1664"/>
                    <a:pt x="6270" y="2687"/>
                    <a:pt x="9277" y="3967"/>
                  </a:cubicBezTo>
                  <a:cubicBezTo>
                    <a:pt x="15227" y="6846"/>
                    <a:pt x="24120" y="11068"/>
                    <a:pt x="34869" y="17850"/>
                  </a:cubicBezTo>
                  <a:cubicBezTo>
                    <a:pt x="45681" y="24504"/>
                    <a:pt x="58349" y="33653"/>
                    <a:pt x="72104" y="45489"/>
                  </a:cubicBezTo>
                  <a:cubicBezTo>
                    <a:pt x="85860" y="57389"/>
                    <a:pt x="100575" y="72104"/>
                    <a:pt x="116442" y="88803"/>
                  </a:cubicBezTo>
                  <a:lnTo>
                    <a:pt x="116186" y="88675"/>
                  </a:lnTo>
                  <a:cubicBezTo>
                    <a:pt x="211067" y="127574"/>
                    <a:pt x="350478" y="184708"/>
                    <a:pt x="505627" y="248239"/>
                  </a:cubicBezTo>
                  <a:cubicBezTo>
                    <a:pt x="529747" y="258156"/>
                    <a:pt x="553419" y="267881"/>
                    <a:pt x="575940" y="277158"/>
                  </a:cubicBezTo>
                  <a:lnTo>
                    <a:pt x="576836" y="277541"/>
                  </a:lnTo>
                  <a:lnTo>
                    <a:pt x="576516" y="278437"/>
                  </a:lnTo>
                  <a:cubicBezTo>
                    <a:pt x="556234" y="334483"/>
                    <a:pt x="536977" y="387777"/>
                    <a:pt x="519574" y="436018"/>
                  </a:cubicBezTo>
                  <a:lnTo>
                    <a:pt x="519318" y="436785"/>
                  </a:lnTo>
                  <a:lnTo>
                    <a:pt x="518551" y="436593"/>
                  </a:lnTo>
                  <a:cubicBezTo>
                    <a:pt x="425205" y="412921"/>
                    <a:pt x="347215" y="390081"/>
                    <a:pt x="293024" y="372039"/>
                  </a:cubicBezTo>
                  <a:cubicBezTo>
                    <a:pt x="265961" y="362953"/>
                    <a:pt x="244848" y="355020"/>
                    <a:pt x="230581" y="349198"/>
                  </a:cubicBezTo>
                  <a:cubicBezTo>
                    <a:pt x="223415" y="346383"/>
                    <a:pt x="218105" y="343696"/>
                    <a:pt x="214458" y="342160"/>
                  </a:cubicBezTo>
                  <a:cubicBezTo>
                    <a:pt x="212667" y="341329"/>
                    <a:pt x="211323" y="340753"/>
                    <a:pt x="210363" y="340305"/>
                  </a:cubicBezTo>
                  <a:cubicBezTo>
                    <a:pt x="209340" y="339793"/>
                    <a:pt x="208892" y="339537"/>
                    <a:pt x="208892" y="339537"/>
                  </a:cubicBezTo>
                  <a:close/>
                </a:path>
              </a:pathLst>
            </a:custGeom>
            <a:solidFill>
              <a:srgbClr val="455A64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D6E7F011-EE8F-416C-9B30-F3663E947668}"/>
                </a:ext>
              </a:extLst>
            </p:cNvPr>
            <p:cNvSpPr/>
            <p:nvPr/>
          </p:nvSpPr>
          <p:spPr>
            <a:xfrm>
              <a:off x="9686525" y="2038317"/>
              <a:ext cx="256686" cy="609337"/>
            </a:xfrm>
            <a:custGeom>
              <a:avLst/>
              <a:gdLst>
                <a:gd name="connsiteX0" fmla="*/ 127446 w 256686"/>
                <a:gd name="connsiteY0" fmla="*/ 0 h 609337"/>
                <a:gd name="connsiteX1" fmla="*/ 191042 w 256686"/>
                <a:gd name="connsiteY1" fmla="*/ 66282 h 609337"/>
                <a:gd name="connsiteX2" fmla="*/ 254701 w 256686"/>
                <a:gd name="connsiteY2" fmla="*/ 420983 h 609337"/>
                <a:gd name="connsiteX3" fmla="*/ 222647 w 256686"/>
                <a:gd name="connsiteY3" fmla="*/ 534610 h 609337"/>
                <a:gd name="connsiteX4" fmla="*/ 128342 w 256686"/>
                <a:gd name="connsiteY4" fmla="*/ 577028 h 609337"/>
                <a:gd name="connsiteX5" fmla="*/ 28599 w 256686"/>
                <a:gd name="connsiteY5" fmla="*/ 609337 h 609337"/>
                <a:gd name="connsiteX6" fmla="*/ 0 w 256686"/>
                <a:gd name="connsiteY6" fmla="*/ 536593 h 609337"/>
                <a:gd name="connsiteX7" fmla="*/ 94945 w 256686"/>
                <a:gd name="connsiteY7" fmla="*/ 400190 h 609337"/>
                <a:gd name="connsiteX8" fmla="*/ 85732 w 256686"/>
                <a:gd name="connsiteY8" fmla="*/ 308315 h 609337"/>
                <a:gd name="connsiteX9" fmla="*/ 127446 w 256686"/>
                <a:gd name="connsiteY9" fmla="*/ 0 h 60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686" h="609337">
                  <a:moveTo>
                    <a:pt x="127446" y="0"/>
                  </a:moveTo>
                  <a:cubicBezTo>
                    <a:pt x="127446" y="0"/>
                    <a:pt x="180357" y="30454"/>
                    <a:pt x="191042" y="66282"/>
                  </a:cubicBezTo>
                  <a:cubicBezTo>
                    <a:pt x="197568" y="88035"/>
                    <a:pt x="246895" y="366153"/>
                    <a:pt x="254701" y="420983"/>
                  </a:cubicBezTo>
                  <a:cubicBezTo>
                    <a:pt x="262570" y="476325"/>
                    <a:pt x="246064" y="516439"/>
                    <a:pt x="222647" y="534610"/>
                  </a:cubicBezTo>
                  <a:cubicBezTo>
                    <a:pt x="199231" y="552780"/>
                    <a:pt x="128342" y="577028"/>
                    <a:pt x="128342" y="577028"/>
                  </a:cubicBezTo>
                  <a:lnTo>
                    <a:pt x="28599" y="609337"/>
                  </a:lnTo>
                  <a:lnTo>
                    <a:pt x="0" y="536593"/>
                  </a:lnTo>
                  <a:lnTo>
                    <a:pt x="94945" y="400190"/>
                  </a:lnTo>
                  <a:lnTo>
                    <a:pt x="85732" y="308315"/>
                  </a:lnTo>
                  <a:lnTo>
                    <a:pt x="127446" y="0"/>
                  </a:ln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2E05A7AB-2D71-430B-84E2-11359C798771}"/>
                </a:ext>
              </a:extLst>
            </p:cNvPr>
            <p:cNvSpPr/>
            <p:nvPr/>
          </p:nvSpPr>
          <p:spPr>
            <a:xfrm>
              <a:off x="9074989" y="1961734"/>
              <a:ext cx="739109" cy="680354"/>
            </a:xfrm>
            <a:custGeom>
              <a:avLst/>
              <a:gdLst>
                <a:gd name="connsiteX0" fmla="*/ 635016 w 739109"/>
                <a:gd name="connsiteY0" fmla="*/ 28535 h 680354"/>
                <a:gd name="connsiteX1" fmla="*/ 595285 w 739109"/>
                <a:gd name="connsiteY1" fmla="*/ 5822 h 680354"/>
                <a:gd name="connsiteX2" fmla="*/ 509744 w 739109"/>
                <a:gd name="connsiteY2" fmla="*/ 42994 h 680354"/>
                <a:gd name="connsiteX3" fmla="*/ 431114 w 739109"/>
                <a:gd name="connsiteY3" fmla="*/ 0 h 680354"/>
                <a:gd name="connsiteX4" fmla="*/ 283898 w 739109"/>
                <a:gd name="connsiteY4" fmla="*/ 30006 h 680354"/>
                <a:gd name="connsiteX5" fmla="*/ 283898 w 739109"/>
                <a:gd name="connsiteY5" fmla="*/ 30006 h 680354"/>
                <a:gd name="connsiteX6" fmla="*/ 238793 w 739109"/>
                <a:gd name="connsiteY6" fmla="*/ 62827 h 680354"/>
                <a:gd name="connsiteX7" fmla="*/ 128493 w 739109"/>
                <a:gd name="connsiteY7" fmla="*/ 212091 h 680354"/>
                <a:gd name="connsiteX8" fmla="*/ 64706 w 739109"/>
                <a:gd name="connsiteY8" fmla="*/ 212091 h 680354"/>
                <a:gd name="connsiteX9" fmla="*/ 22800 w 739109"/>
                <a:gd name="connsiteY9" fmla="*/ 237362 h 680354"/>
                <a:gd name="connsiteX10" fmla="*/ 87 w 739109"/>
                <a:gd name="connsiteY10" fmla="*/ 297311 h 680354"/>
                <a:gd name="connsiteX11" fmla="*/ 24527 w 739109"/>
                <a:gd name="connsiteY11" fmla="*/ 386754 h 680354"/>
                <a:gd name="connsiteX12" fmla="*/ 85307 w 739109"/>
                <a:gd name="connsiteY12" fmla="*/ 406779 h 680354"/>
                <a:gd name="connsiteX13" fmla="*/ 181148 w 739109"/>
                <a:gd name="connsiteY13" fmla="*/ 371719 h 680354"/>
                <a:gd name="connsiteX14" fmla="*/ 262081 w 739109"/>
                <a:gd name="connsiteY14" fmla="*/ 293856 h 680354"/>
                <a:gd name="connsiteX15" fmla="*/ 262081 w 739109"/>
                <a:gd name="connsiteY15" fmla="*/ 294112 h 680354"/>
                <a:gd name="connsiteX16" fmla="*/ 273086 w 739109"/>
                <a:gd name="connsiteY16" fmla="*/ 680354 h 680354"/>
                <a:gd name="connsiteX17" fmla="*/ 659136 w 739109"/>
                <a:gd name="connsiteY17" fmla="*/ 669350 h 680354"/>
                <a:gd name="connsiteX18" fmla="*/ 739110 w 739109"/>
                <a:gd name="connsiteY18" fmla="*/ 76583 h 680354"/>
                <a:gd name="connsiteX19" fmla="*/ 635016 w 739109"/>
                <a:gd name="connsiteY19" fmla="*/ 28535 h 68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39109" h="680354">
                  <a:moveTo>
                    <a:pt x="635016" y="28535"/>
                  </a:moveTo>
                  <a:lnTo>
                    <a:pt x="595285" y="5822"/>
                  </a:lnTo>
                  <a:cubicBezTo>
                    <a:pt x="595285" y="5822"/>
                    <a:pt x="559072" y="48176"/>
                    <a:pt x="509744" y="42994"/>
                  </a:cubicBezTo>
                  <a:cubicBezTo>
                    <a:pt x="460353" y="37812"/>
                    <a:pt x="431114" y="0"/>
                    <a:pt x="431114" y="0"/>
                  </a:cubicBezTo>
                  <a:lnTo>
                    <a:pt x="283898" y="30006"/>
                  </a:lnTo>
                  <a:lnTo>
                    <a:pt x="283898" y="30006"/>
                  </a:lnTo>
                  <a:cubicBezTo>
                    <a:pt x="274045" y="31990"/>
                    <a:pt x="256003" y="38196"/>
                    <a:pt x="238793" y="62827"/>
                  </a:cubicBezTo>
                  <a:cubicBezTo>
                    <a:pt x="219599" y="90275"/>
                    <a:pt x="128493" y="212091"/>
                    <a:pt x="128493" y="212091"/>
                  </a:cubicBezTo>
                  <a:lnTo>
                    <a:pt x="64706" y="212091"/>
                  </a:lnTo>
                  <a:cubicBezTo>
                    <a:pt x="47111" y="212091"/>
                    <a:pt x="30989" y="221816"/>
                    <a:pt x="22800" y="237362"/>
                  </a:cubicBezTo>
                  <a:cubicBezTo>
                    <a:pt x="11923" y="258092"/>
                    <a:pt x="-1193" y="285859"/>
                    <a:pt x="87" y="297311"/>
                  </a:cubicBezTo>
                  <a:cubicBezTo>
                    <a:pt x="2262" y="316761"/>
                    <a:pt x="-1513" y="370055"/>
                    <a:pt x="24527" y="386754"/>
                  </a:cubicBezTo>
                  <a:cubicBezTo>
                    <a:pt x="32780" y="392064"/>
                    <a:pt x="62339" y="407867"/>
                    <a:pt x="85307" y="406779"/>
                  </a:cubicBezTo>
                  <a:cubicBezTo>
                    <a:pt x="119152" y="405180"/>
                    <a:pt x="158499" y="387586"/>
                    <a:pt x="181148" y="371719"/>
                  </a:cubicBezTo>
                  <a:cubicBezTo>
                    <a:pt x="200342" y="358283"/>
                    <a:pt x="244935" y="311962"/>
                    <a:pt x="262081" y="293856"/>
                  </a:cubicBezTo>
                  <a:lnTo>
                    <a:pt x="262081" y="294112"/>
                  </a:lnTo>
                  <a:lnTo>
                    <a:pt x="273086" y="680354"/>
                  </a:lnTo>
                  <a:lnTo>
                    <a:pt x="659136" y="669350"/>
                  </a:lnTo>
                  <a:lnTo>
                    <a:pt x="739110" y="76583"/>
                  </a:lnTo>
                  <a:cubicBezTo>
                    <a:pt x="738982" y="76583"/>
                    <a:pt x="638918" y="28535"/>
                    <a:pt x="635016" y="28535"/>
                  </a:cubicBezTo>
                  <a:close/>
                </a:path>
              </a:pathLst>
            </a:custGeom>
            <a:solidFill>
              <a:srgbClr val="F7AB9B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9DFC17E4-7626-463F-ADDB-7435DD9137C7}"/>
                </a:ext>
              </a:extLst>
            </p:cNvPr>
            <p:cNvSpPr/>
            <p:nvPr/>
          </p:nvSpPr>
          <p:spPr>
            <a:xfrm>
              <a:off x="9335237" y="2093787"/>
              <a:ext cx="3220" cy="213882"/>
            </a:xfrm>
            <a:custGeom>
              <a:avLst/>
              <a:gdLst>
                <a:gd name="connsiteX0" fmla="*/ 363 w 3220"/>
                <a:gd name="connsiteY0" fmla="*/ 0 h 213882"/>
                <a:gd name="connsiteX1" fmla="*/ 2602 w 3220"/>
                <a:gd name="connsiteY1" fmla="*/ 106909 h 213882"/>
                <a:gd name="connsiteX2" fmla="*/ 2858 w 3220"/>
                <a:gd name="connsiteY2" fmla="*/ 213882 h 213882"/>
                <a:gd name="connsiteX3" fmla="*/ 619 w 3220"/>
                <a:gd name="connsiteY3" fmla="*/ 106973 h 213882"/>
                <a:gd name="connsiteX4" fmla="*/ 363 w 3220"/>
                <a:gd name="connsiteY4" fmla="*/ 0 h 21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0" h="213882">
                  <a:moveTo>
                    <a:pt x="363" y="0"/>
                  </a:moveTo>
                  <a:cubicBezTo>
                    <a:pt x="938" y="0"/>
                    <a:pt x="1898" y="47856"/>
                    <a:pt x="2602" y="106909"/>
                  </a:cubicBezTo>
                  <a:cubicBezTo>
                    <a:pt x="3306" y="165962"/>
                    <a:pt x="3434" y="213882"/>
                    <a:pt x="2858" y="213882"/>
                  </a:cubicBezTo>
                  <a:cubicBezTo>
                    <a:pt x="2282" y="213882"/>
                    <a:pt x="1322" y="166026"/>
                    <a:pt x="619" y="106973"/>
                  </a:cubicBezTo>
                  <a:cubicBezTo>
                    <a:pt x="-85" y="47856"/>
                    <a:pt x="-213" y="0"/>
                    <a:pt x="363" y="0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799331DA-D494-4CEE-8C82-3A9E97E074C7}"/>
                </a:ext>
              </a:extLst>
            </p:cNvPr>
            <p:cNvSpPr/>
            <p:nvPr/>
          </p:nvSpPr>
          <p:spPr>
            <a:xfrm>
              <a:off x="9677820" y="2405963"/>
              <a:ext cx="182856" cy="141186"/>
            </a:xfrm>
            <a:custGeom>
              <a:avLst/>
              <a:gdLst>
                <a:gd name="connsiteX0" fmla="*/ 182856 w 182856"/>
                <a:gd name="connsiteY0" fmla="*/ 42 h 141186"/>
                <a:gd name="connsiteX1" fmla="*/ 173771 w 182856"/>
                <a:gd name="connsiteY1" fmla="*/ 1705 h 141186"/>
                <a:gd name="connsiteX2" fmla="*/ 149843 w 182856"/>
                <a:gd name="connsiteY2" fmla="*/ 9319 h 141186"/>
                <a:gd name="connsiteX3" fmla="*/ 118045 w 182856"/>
                <a:gd name="connsiteY3" fmla="*/ 28513 h 141186"/>
                <a:gd name="connsiteX4" fmla="*/ 84520 w 182856"/>
                <a:gd name="connsiteY4" fmla="*/ 59543 h 141186"/>
                <a:gd name="connsiteX5" fmla="*/ 53938 w 182856"/>
                <a:gd name="connsiteY5" fmla="*/ 93707 h 141186"/>
                <a:gd name="connsiteX6" fmla="*/ 27643 w 182856"/>
                <a:gd name="connsiteY6" fmla="*/ 120515 h 141186"/>
                <a:gd name="connsiteX7" fmla="*/ 7873 w 182856"/>
                <a:gd name="connsiteY7" fmla="*/ 136318 h 141186"/>
                <a:gd name="connsiteX8" fmla="*/ 2115 w 182856"/>
                <a:gd name="connsiteY8" fmla="*/ 140028 h 141186"/>
                <a:gd name="connsiteX9" fmla="*/ 4 w 182856"/>
                <a:gd name="connsiteY9" fmla="*/ 141180 h 141186"/>
                <a:gd name="connsiteX10" fmla="*/ 1859 w 182856"/>
                <a:gd name="connsiteY10" fmla="*/ 139708 h 141186"/>
                <a:gd name="connsiteX11" fmla="*/ 7425 w 182856"/>
                <a:gd name="connsiteY11" fmla="*/ 135678 h 141186"/>
                <a:gd name="connsiteX12" fmla="*/ 26683 w 182856"/>
                <a:gd name="connsiteY12" fmla="*/ 119427 h 141186"/>
                <a:gd name="connsiteX13" fmla="*/ 52595 w 182856"/>
                <a:gd name="connsiteY13" fmla="*/ 92428 h 141186"/>
                <a:gd name="connsiteX14" fmla="*/ 83113 w 182856"/>
                <a:gd name="connsiteY14" fmla="*/ 58135 h 141186"/>
                <a:gd name="connsiteX15" fmla="*/ 116958 w 182856"/>
                <a:gd name="connsiteY15" fmla="*/ 27041 h 141186"/>
                <a:gd name="connsiteX16" fmla="*/ 149331 w 182856"/>
                <a:gd name="connsiteY16" fmla="*/ 7975 h 141186"/>
                <a:gd name="connsiteX17" fmla="*/ 173643 w 182856"/>
                <a:gd name="connsiteY17" fmla="*/ 874 h 141186"/>
                <a:gd name="connsiteX18" fmla="*/ 180489 w 182856"/>
                <a:gd name="connsiteY18" fmla="*/ 106 h 141186"/>
                <a:gd name="connsiteX19" fmla="*/ 182856 w 182856"/>
                <a:gd name="connsiteY19" fmla="*/ 42 h 141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856" h="141186">
                  <a:moveTo>
                    <a:pt x="182856" y="42"/>
                  </a:moveTo>
                  <a:cubicBezTo>
                    <a:pt x="182856" y="234"/>
                    <a:pt x="179593" y="554"/>
                    <a:pt x="173771" y="1705"/>
                  </a:cubicBezTo>
                  <a:cubicBezTo>
                    <a:pt x="167949" y="2793"/>
                    <a:pt x="159568" y="5096"/>
                    <a:pt x="149843" y="9319"/>
                  </a:cubicBezTo>
                  <a:cubicBezTo>
                    <a:pt x="140118" y="13542"/>
                    <a:pt x="129178" y="20004"/>
                    <a:pt x="118045" y="28513"/>
                  </a:cubicBezTo>
                  <a:cubicBezTo>
                    <a:pt x="106913" y="37022"/>
                    <a:pt x="95589" y="47642"/>
                    <a:pt x="84520" y="59543"/>
                  </a:cubicBezTo>
                  <a:cubicBezTo>
                    <a:pt x="73452" y="71443"/>
                    <a:pt x="63407" y="83279"/>
                    <a:pt x="53938" y="93707"/>
                  </a:cubicBezTo>
                  <a:cubicBezTo>
                    <a:pt x="44469" y="104200"/>
                    <a:pt x="35576" y="113349"/>
                    <a:pt x="27643" y="120515"/>
                  </a:cubicBezTo>
                  <a:cubicBezTo>
                    <a:pt x="19710" y="127680"/>
                    <a:pt x="12864" y="132991"/>
                    <a:pt x="7873" y="136318"/>
                  </a:cubicBezTo>
                  <a:cubicBezTo>
                    <a:pt x="5442" y="138045"/>
                    <a:pt x="3395" y="139197"/>
                    <a:pt x="2115" y="140028"/>
                  </a:cubicBezTo>
                  <a:cubicBezTo>
                    <a:pt x="772" y="140860"/>
                    <a:pt x="68" y="141244"/>
                    <a:pt x="4" y="141180"/>
                  </a:cubicBezTo>
                  <a:cubicBezTo>
                    <a:pt x="-60" y="141116"/>
                    <a:pt x="644" y="140604"/>
                    <a:pt x="1859" y="139708"/>
                  </a:cubicBezTo>
                  <a:cubicBezTo>
                    <a:pt x="3139" y="138749"/>
                    <a:pt x="5058" y="137533"/>
                    <a:pt x="7425" y="135678"/>
                  </a:cubicBezTo>
                  <a:cubicBezTo>
                    <a:pt x="12224" y="132159"/>
                    <a:pt x="18942" y="126721"/>
                    <a:pt x="26683" y="119427"/>
                  </a:cubicBezTo>
                  <a:cubicBezTo>
                    <a:pt x="34489" y="112197"/>
                    <a:pt x="43190" y="102985"/>
                    <a:pt x="52595" y="92428"/>
                  </a:cubicBezTo>
                  <a:cubicBezTo>
                    <a:pt x="62000" y="81935"/>
                    <a:pt x="71981" y="70099"/>
                    <a:pt x="83113" y="58135"/>
                  </a:cubicBezTo>
                  <a:cubicBezTo>
                    <a:pt x="94245" y="46235"/>
                    <a:pt x="105697" y="35550"/>
                    <a:pt x="116958" y="27041"/>
                  </a:cubicBezTo>
                  <a:cubicBezTo>
                    <a:pt x="128282" y="18532"/>
                    <a:pt x="139414" y="12070"/>
                    <a:pt x="149331" y="7975"/>
                  </a:cubicBezTo>
                  <a:cubicBezTo>
                    <a:pt x="159248" y="3881"/>
                    <a:pt x="167693" y="1705"/>
                    <a:pt x="173643" y="874"/>
                  </a:cubicBezTo>
                  <a:cubicBezTo>
                    <a:pt x="176586" y="298"/>
                    <a:pt x="178954" y="298"/>
                    <a:pt x="180489" y="106"/>
                  </a:cubicBezTo>
                  <a:cubicBezTo>
                    <a:pt x="182024" y="-22"/>
                    <a:pt x="182856" y="-22"/>
                    <a:pt x="182856" y="42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93F8DC90-9AEC-48BE-8540-7E434C8E1205}"/>
                </a:ext>
              </a:extLst>
            </p:cNvPr>
            <p:cNvSpPr/>
            <p:nvPr/>
          </p:nvSpPr>
          <p:spPr>
            <a:xfrm>
              <a:off x="9780689" y="2379776"/>
              <a:ext cx="88752" cy="52914"/>
            </a:xfrm>
            <a:custGeom>
              <a:avLst/>
              <a:gdLst>
                <a:gd name="connsiteX0" fmla="*/ 88752 w 88752"/>
                <a:gd name="connsiteY0" fmla="*/ 62 h 52914"/>
                <a:gd name="connsiteX1" fmla="*/ 73717 w 88752"/>
                <a:gd name="connsiteY1" fmla="*/ 3773 h 52914"/>
                <a:gd name="connsiteX2" fmla="*/ 39552 w 88752"/>
                <a:gd name="connsiteY2" fmla="*/ 18360 h 52914"/>
                <a:gd name="connsiteX3" fmla="*/ 10441 w 88752"/>
                <a:gd name="connsiteY3" fmla="*/ 41456 h 52914"/>
                <a:gd name="connsiteX4" fmla="*/ 13 w 88752"/>
                <a:gd name="connsiteY4" fmla="*/ 52909 h 52914"/>
                <a:gd name="connsiteX5" fmla="*/ 2252 w 88752"/>
                <a:gd name="connsiteY5" fmla="*/ 49390 h 52914"/>
                <a:gd name="connsiteX6" fmla="*/ 9418 w 88752"/>
                <a:gd name="connsiteY6" fmla="*/ 40497 h 52914"/>
                <a:gd name="connsiteX7" fmla="*/ 38528 w 88752"/>
                <a:gd name="connsiteY7" fmla="*/ 16696 h 52914"/>
                <a:gd name="connsiteX8" fmla="*/ 73333 w 88752"/>
                <a:gd name="connsiteY8" fmla="*/ 2429 h 52914"/>
                <a:gd name="connsiteX9" fmla="*/ 84529 w 88752"/>
                <a:gd name="connsiteY9" fmla="*/ 318 h 52914"/>
                <a:gd name="connsiteX10" fmla="*/ 88752 w 88752"/>
                <a:gd name="connsiteY10" fmla="*/ 62 h 5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752" h="52914">
                  <a:moveTo>
                    <a:pt x="88752" y="62"/>
                  </a:moveTo>
                  <a:cubicBezTo>
                    <a:pt x="88816" y="446"/>
                    <a:pt x="82930" y="1213"/>
                    <a:pt x="73717" y="3773"/>
                  </a:cubicBezTo>
                  <a:cubicBezTo>
                    <a:pt x="64504" y="6268"/>
                    <a:pt x="52092" y="10938"/>
                    <a:pt x="39552" y="18360"/>
                  </a:cubicBezTo>
                  <a:cubicBezTo>
                    <a:pt x="27076" y="25845"/>
                    <a:pt x="17031" y="34547"/>
                    <a:pt x="10441" y="41456"/>
                  </a:cubicBezTo>
                  <a:cubicBezTo>
                    <a:pt x="3788" y="48302"/>
                    <a:pt x="333" y="53100"/>
                    <a:pt x="13" y="52909"/>
                  </a:cubicBezTo>
                  <a:cubicBezTo>
                    <a:pt x="-115" y="52845"/>
                    <a:pt x="717" y="51565"/>
                    <a:pt x="2252" y="49390"/>
                  </a:cubicBezTo>
                  <a:cubicBezTo>
                    <a:pt x="3788" y="47150"/>
                    <a:pt x="6219" y="44079"/>
                    <a:pt x="9418" y="40497"/>
                  </a:cubicBezTo>
                  <a:cubicBezTo>
                    <a:pt x="15816" y="33267"/>
                    <a:pt x="25860" y="24246"/>
                    <a:pt x="38528" y="16696"/>
                  </a:cubicBezTo>
                  <a:cubicBezTo>
                    <a:pt x="51260" y="9147"/>
                    <a:pt x="63928" y="4668"/>
                    <a:pt x="73333" y="2429"/>
                  </a:cubicBezTo>
                  <a:cubicBezTo>
                    <a:pt x="78003" y="1341"/>
                    <a:pt x="81842" y="638"/>
                    <a:pt x="84529" y="318"/>
                  </a:cubicBezTo>
                  <a:cubicBezTo>
                    <a:pt x="87280" y="-2"/>
                    <a:pt x="88752" y="-66"/>
                    <a:pt x="88752" y="62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A4C8991-5560-47D8-9BEC-C19B6D4E43FC}"/>
                </a:ext>
              </a:extLst>
            </p:cNvPr>
            <p:cNvSpPr/>
            <p:nvPr/>
          </p:nvSpPr>
          <p:spPr>
            <a:xfrm>
              <a:off x="9150956" y="2177535"/>
              <a:ext cx="88172" cy="135173"/>
            </a:xfrm>
            <a:custGeom>
              <a:avLst/>
              <a:gdLst>
                <a:gd name="connsiteX0" fmla="*/ 0 w 88172"/>
                <a:gd name="connsiteY0" fmla="*/ 134484 h 135173"/>
                <a:gd name="connsiteX1" fmla="*/ 63531 w 88172"/>
                <a:gd name="connsiteY1" fmla="*/ 92258 h 135173"/>
                <a:gd name="connsiteX2" fmla="*/ 86756 w 88172"/>
                <a:gd name="connsiteY2" fmla="*/ 59373 h 135173"/>
                <a:gd name="connsiteX3" fmla="*/ 83557 w 88172"/>
                <a:gd name="connsiteY3" fmla="*/ 26423 h 135173"/>
                <a:gd name="connsiteX4" fmla="*/ 69993 w 88172"/>
                <a:gd name="connsiteY4" fmla="*/ 0 h 135173"/>
                <a:gd name="connsiteX5" fmla="*/ 70249 w 88172"/>
                <a:gd name="connsiteY5" fmla="*/ 60140 h 135173"/>
                <a:gd name="connsiteX6" fmla="*/ 44082 w 88172"/>
                <a:gd name="connsiteY6" fmla="*/ 102559 h 135173"/>
                <a:gd name="connsiteX7" fmla="*/ 0 w 88172"/>
                <a:gd name="connsiteY7" fmla="*/ 134484 h 13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72" h="135173">
                  <a:moveTo>
                    <a:pt x="0" y="134484"/>
                  </a:moveTo>
                  <a:cubicBezTo>
                    <a:pt x="20409" y="140050"/>
                    <a:pt x="44977" y="110620"/>
                    <a:pt x="63531" y="92258"/>
                  </a:cubicBezTo>
                  <a:cubicBezTo>
                    <a:pt x="73192" y="82661"/>
                    <a:pt x="83237" y="72488"/>
                    <a:pt x="86756" y="59373"/>
                  </a:cubicBezTo>
                  <a:cubicBezTo>
                    <a:pt x="89699" y="48560"/>
                    <a:pt x="87779" y="36852"/>
                    <a:pt x="83557" y="26423"/>
                  </a:cubicBezTo>
                  <a:cubicBezTo>
                    <a:pt x="79334" y="15995"/>
                    <a:pt x="76327" y="9277"/>
                    <a:pt x="69993" y="0"/>
                  </a:cubicBezTo>
                  <a:cubicBezTo>
                    <a:pt x="71721" y="15867"/>
                    <a:pt x="75623" y="40179"/>
                    <a:pt x="70249" y="60140"/>
                  </a:cubicBezTo>
                  <a:cubicBezTo>
                    <a:pt x="65771" y="76775"/>
                    <a:pt x="55278" y="90019"/>
                    <a:pt x="44082" y="102559"/>
                  </a:cubicBezTo>
                  <a:cubicBezTo>
                    <a:pt x="32309" y="115802"/>
                    <a:pt x="18298" y="129750"/>
                    <a:pt x="0" y="134484"/>
                  </a:cubicBezTo>
                </a:path>
              </a:pathLst>
            </a:custGeom>
            <a:solidFill>
              <a:srgbClr val="00000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B4164ED2-4355-4749-AD07-C7F8AAB2D9B3}"/>
                </a:ext>
              </a:extLst>
            </p:cNvPr>
            <p:cNvSpPr/>
            <p:nvPr/>
          </p:nvSpPr>
          <p:spPr>
            <a:xfrm>
              <a:off x="9219588" y="2176509"/>
              <a:ext cx="26358" cy="118685"/>
            </a:xfrm>
            <a:custGeom>
              <a:avLst/>
              <a:gdLst>
                <a:gd name="connsiteX0" fmla="*/ 18763 w 26358"/>
                <a:gd name="connsiteY0" fmla="*/ 118684 h 118685"/>
                <a:gd name="connsiteX1" fmla="*/ 22665 w 26358"/>
                <a:gd name="connsiteY1" fmla="*/ 100897 h 118685"/>
                <a:gd name="connsiteX2" fmla="*/ 24521 w 26358"/>
                <a:gd name="connsiteY2" fmla="*/ 81256 h 118685"/>
                <a:gd name="connsiteX3" fmla="*/ 22921 w 26358"/>
                <a:gd name="connsiteY3" fmla="*/ 57200 h 118685"/>
                <a:gd name="connsiteX4" fmla="*/ 17035 w 26358"/>
                <a:gd name="connsiteY4" fmla="*/ 33847 h 118685"/>
                <a:gd name="connsiteX5" fmla="*/ 9230 w 26358"/>
                <a:gd name="connsiteY5" fmla="*/ 15741 h 118685"/>
                <a:gd name="connsiteX6" fmla="*/ 17 w 26358"/>
                <a:gd name="connsiteY6" fmla="*/ 2 h 118685"/>
                <a:gd name="connsiteX7" fmla="*/ 3152 w 26358"/>
                <a:gd name="connsiteY7" fmla="*/ 3777 h 118685"/>
                <a:gd name="connsiteX8" fmla="*/ 6479 w 26358"/>
                <a:gd name="connsiteY8" fmla="*/ 8512 h 118685"/>
                <a:gd name="connsiteX9" fmla="*/ 10445 w 26358"/>
                <a:gd name="connsiteY9" fmla="*/ 15037 h 118685"/>
                <a:gd name="connsiteX10" fmla="*/ 18763 w 26358"/>
                <a:gd name="connsiteY10" fmla="*/ 33207 h 118685"/>
                <a:gd name="connsiteX11" fmla="*/ 24841 w 26358"/>
                <a:gd name="connsiteY11" fmla="*/ 56880 h 118685"/>
                <a:gd name="connsiteX12" fmla="*/ 26312 w 26358"/>
                <a:gd name="connsiteY12" fmla="*/ 81256 h 118685"/>
                <a:gd name="connsiteX13" fmla="*/ 24009 w 26358"/>
                <a:gd name="connsiteY13" fmla="*/ 101089 h 118685"/>
                <a:gd name="connsiteX14" fmla="*/ 22218 w 26358"/>
                <a:gd name="connsiteY14" fmla="*/ 108575 h 118685"/>
                <a:gd name="connsiteX15" fmla="*/ 20554 w 26358"/>
                <a:gd name="connsiteY15" fmla="*/ 114077 h 118685"/>
                <a:gd name="connsiteX16" fmla="*/ 18763 w 26358"/>
                <a:gd name="connsiteY16" fmla="*/ 118684 h 11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358" h="118685">
                  <a:moveTo>
                    <a:pt x="18763" y="118684"/>
                  </a:moveTo>
                  <a:cubicBezTo>
                    <a:pt x="18379" y="118555"/>
                    <a:pt x="20746" y="111966"/>
                    <a:pt x="22665" y="100897"/>
                  </a:cubicBezTo>
                  <a:cubicBezTo>
                    <a:pt x="23689" y="95395"/>
                    <a:pt x="24329" y="88677"/>
                    <a:pt x="24521" y="81256"/>
                  </a:cubicBezTo>
                  <a:cubicBezTo>
                    <a:pt x="24585" y="73834"/>
                    <a:pt x="24201" y="65709"/>
                    <a:pt x="22921" y="57200"/>
                  </a:cubicBezTo>
                  <a:cubicBezTo>
                    <a:pt x="21514" y="48754"/>
                    <a:pt x="19402" y="40821"/>
                    <a:pt x="17035" y="33847"/>
                  </a:cubicBezTo>
                  <a:cubicBezTo>
                    <a:pt x="14540" y="26873"/>
                    <a:pt x="11853" y="20732"/>
                    <a:pt x="9230" y="15741"/>
                  </a:cubicBezTo>
                  <a:cubicBezTo>
                    <a:pt x="3984" y="5760"/>
                    <a:pt x="-303" y="258"/>
                    <a:pt x="17" y="2"/>
                  </a:cubicBezTo>
                  <a:cubicBezTo>
                    <a:pt x="145" y="-62"/>
                    <a:pt x="1232" y="1282"/>
                    <a:pt x="3152" y="3777"/>
                  </a:cubicBezTo>
                  <a:cubicBezTo>
                    <a:pt x="4112" y="5057"/>
                    <a:pt x="5263" y="6592"/>
                    <a:pt x="6479" y="8512"/>
                  </a:cubicBezTo>
                  <a:cubicBezTo>
                    <a:pt x="7694" y="10431"/>
                    <a:pt x="9166" y="12542"/>
                    <a:pt x="10445" y="15037"/>
                  </a:cubicBezTo>
                  <a:cubicBezTo>
                    <a:pt x="13261" y="19964"/>
                    <a:pt x="16140" y="26106"/>
                    <a:pt x="18763" y="33207"/>
                  </a:cubicBezTo>
                  <a:cubicBezTo>
                    <a:pt x="21258" y="40309"/>
                    <a:pt x="23497" y="48307"/>
                    <a:pt x="24841" y="56880"/>
                  </a:cubicBezTo>
                  <a:cubicBezTo>
                    <a:pt x="26120" y="65453"/>
                    <a:pt x="26504" y="73770"/>
                    <a:pt x="26312" y="81256"/>
                  </a:cubicBezTo>
                  <a:cubicBezTo>
                    <a:pt x="25993" y="88741"/>
                    <a:pt x="25161" y="95523"/>
                    <a:pt x="24009" y="101089"/>
                  </a:cubicBezTo>
                  <a:cubicBezTo>
                    <a:pt x="23561" y="103904"/>
                    <a:pt x="22794" y="106335"/>
                    <a:pt x="22218" y="108575"/>
                  </a:cubicBezTo>
                  <a:cubicBezTo>
                    <a:pt x="21706" y="110750"/>
                    <a:pt x="21066" y="112605"/>
                    <a:pt x="20554" y="114077"/>
                  </a:cubicBezTo>
                  <a:cubicBezTo>
                    <a:pt x="19531" y="117148"/>
                    <a:pt x="18891" y="118747"/>
                    <a:pt x="18763" y="118684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B3C2AE0F-E250-44DD-9735-152CCD7AF93B}"/>
                </a:ext>
              </a:extLst>
            </p:cNvPr>
            <p:cNvSpPr/>
            <p:nvPr/>
          </p:nvSpPr>
          <p:spPr>
            <a:xfrm>
              <a:off x="9504645" y="1976577"/>
              <a:ext cx="17463" cy="15563"/>
            </a:xfrm>
            <a:custGeom>
              <a:avLst/>
              <a:gdLst>
                <a:gd name="connsiteX0" fmla="*/ 17453 w 17463"/>
                <a:gd name="connsiteY0" fmla="*/ 63 h 15563"/>
                <a:gd name="connsiteX1" fmla="*/ 8433 w 17463"/>
                <a:gd name="connsiteY1" fmla="*/ 7485 h 15563"/>
                <a:gd name="connsiteX2" fmla="*/ 51 w 17463"/>
                <a:gd name="connsiteY2" fmla="*/ 15546 h 15563"/>
                <a:gd name="connsiteX3" fmla="*/ 7153 w 17463"/>
                <a:gd name="connsiteY3" fmla="*/ 6013 h 15563"/>
                <a:gd name="connsiteX4" fmla="*/ 17453 w 17463"/>
                <a:gd name="connsiteY4" fmla="*/ 63 h 1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63" h="15563">
                  <a:moveTo>
                    <a:pt x="17453" y="63"/>
                  </a:moveTo>
                  <a:cubicBezTo>
                    <a:pt x="17709" y="575"/>
                    <a:pt x="13167" y="3198"/>
                    <a:pt x="8433" y="7485"/>
                  </a:cubicBezTo>
                  <a:cubicBezTo>
                    <a:pt x="3634" y="11708"/>
                    <a:pt x="499" y="15866"/>
                    <a:pt x="51" y="15546"/>
                  </a:cubicBezTo>
                  <a:cubicBezTo>
                    <a:pt x="-397" y="15290"/>
                    <a:pt x="2098" y="10428"/>
                    <a:pt x="7153" y="6013"/>
                  </a:cubicBezTo>
                  <a:cubicBezTo>
                    <a:pt x="12143" y="1535"/>
                    <a:pt x="17261" y="-385"/>
                    <a:pt x="17453" y="63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86A2F58-4433-49E2-BF1A-70FD79C3F47D}"/>
                </a:ext>
              </a:extLst>
            </p:cNvPr>
            <p:cNvSpPr/>
            <p:nvPr/>
          </p:nvSpPr>
          <p:spPr>
            <a:xfrm>
              <a:off x="9550566" y="1999966"/>
              <a:ext cx="11746" cy="22420"/>
            </a:xfrm>
            <a:custGeom>
              <a:avLst/>
              <a:gdLst>
                <a:gd name="connsiteX0" fmla="*/ 11711 w 11746"/>
                <a:gd name="connsiteY0" fmla="*/ 27 h 22420"/>
                <a:gd name="connsiteX1" fmla="*/ 5121 w 11746"/>
                <a:gd name="connsiteY1" fmla="*/ 10776 h 22420"/>
                <a:gd name="connsiteX2" fmla="*/ 195 w 11746"/>
                <a:gd name="connsiteY2" fmla="*/ 22420 h 22420"/>
                <a:gd name="connsiteX3" fmla="*/ 3330 w 11746"/>
                <a:gd name="connsiteY3" fmla="*/ 9880 h 22420"/>
                <a:gd name="connsiteX4" fmla="*/ 11711 w 11746"/>
                <a:gd name="connsiteY4" fmla="*/ 27 h 2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6" h="22420">
                  <a:moveTo>
                    <a:pt x="11711" y="27"/>
                  </a:moveTo>
                  <a:cubicBezTo>
                    <a:pt x="12159" y="475"/>
                    <a:pt x="8256" y="4634"/>
                    <a:pt x="5121" y="10776"/>
                  </a:cubicBezTo>
                  <a:cubicBezTo>
                    <a:pt x="1922" y="16918"/>
                    <a:pt x="771" y="22484"/>
                    <a:pt x="195" y="22420"/>
                  </a:cubicBezTo>
                  <a:cubicBezTo>
                    <a:pt x="-317" y="22420"/>
                    <a:pt x="3" y="16406"/>
                    <a:pt x="3330" y="9880"/>
                  </a:cubicBezTo>
                  <a:cubicBezTo>
                    <a:pt x="6657" y="3354"/>
                    <a:pt x="11391" y="-357"/>
                    <a:pt x="11711" y="27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8F0589A-D0AD-463B-97CF-4DFE94C79D18}"/>
                </a:ext>
              </a:extLst>
            </p:cNvPr>
            <p:cNvSpPr/>
            <p:nvPr/>
          </p:nvSpPr>
          <p:spPr>
            <a:xfrm>
              <a:off x="9622613" y="2001007"/>
              <a:ext cx="8599" cy="23236"/>
            </a:xfrm>
            <a:custGeom>
              <a:avLst/>
              <a:gdLst>
                <a:gd name="connsiteX0" fmla="*/ 8442 w 8599"/>
                <a:gd name="connsiteY0" fmla="*/ 23234 h 23236"/>
                <a:gd name="connsiteX1" fmla="*/ 4027 w 8599"/>
                <a:gd name="connsiteY1" fmla="*/ 11718 h 23236"/>
                <a:gd name="connsiteX2" fmla="*/ 60 w 8599"/>
                <a:gd name="connsiteY2" fmla="*/ 10 h 23236"/>
                <a:gd name="connsiteX3" fmla="*/ 5883 w 8599"/>
                <a:gd name="connsiteY3" fmla="*/ 11014 h 23236"/>
                <a:gd name="connsiteX4" fmla="*/ 8442 w 8599"/>
                <a:gd name="connsiteY4" fmla="*/ 23234 h 2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99" h="23236">
                  <a:moveTo>
                    <a:pt x="8442" y="23234"/>
                  </a:moveTo>
                  <a:cubicBezTo>
                    <a:pt x="7866" y="23362"/>
                    <a:pt x="6330" y="18052"/>
                    <a:pt x="4027" y="11718"/>
                  </a:cubicBezTo>
                  <a:cubicBezTo>
                    <a:pt x="1724" y="5384"/>
                    <a:pt x="-387" y="266"/>
                    <a:pt x="60" y="10"/>
                  </a:cubicBezTo>
                  <a:cubicBezTo>
                    <a:pt x="508" y="-246"/>
                    <a:pt x="3515" y="4552"/>
                    <a:pt x="5883" y="11014"/>
                  </a:cubicBezTo>
                  <a:cubicBezTo>
                    <a:pt x="8250" y="17540"/>
                    <a:pt x="8954" y="23106"/>
                    <a:pt x="8442" y="23234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75CC8D61-DF32-4273-8C86-CE3079689095}"/>
                </a:ext>
              </a:extLst>
            </p:cNvPr>
            <p:cNvSpPr/>
            <p:nvPr/>
          </p:nvSpPr>
          <p:spPr>
            <a:xfrm>
              <a:off x="9659698" y="1977502"/>
              <a:ext cx="15773" cy="25819"/>
            </a:xfrm>
            <a:custGeom>
              <a:avLst/>
              <a:gdLst>
                <a:gd name="connsiteX0" fmla="*/ 15631 w 15773"/>
                <a:gd name="connsiteY0" fmla="*/ 25818 h 25819"/>
                <a:gd name="connsiteX1" fmla="*/ 9169 w 15773"/>
                <a:gd name="connsiteY1" fmla="*/ 12126 h 25819"/>
                <a:gd name="connsiteX2" fmla="*/ 20 w 15773"/>
                <a:gd name="connsiteY2" fmla="*/ 34 h 25819"/>
                <a:gd name="connsiteX3" fmla="*/ 10896 w 15773"/>
                <a:gd name="connsiteY3" fmla="*/ 11103 h 25819"/>
                <a:gd name="connsiteX4" fmla="*/ 15631 w 15773"/>
                <a:gd name="connsiteY4" fmla="*/ 25818 h 2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73" h="25819">
                  <a:moveTo>
                    <a:pt x="15631" y="25818"/>
                  </a:moveTo>
                  <a:cubicBezTo>
                    <a:pt x="15055" y="25946"/>
                    <a:pt x="13520" y="19228"/>
                    <a:pt x="9169" y="12126"/>
                  </a:cubicBezTo>
                  <a:cubicBezTo>
                    <a:pt x="4882" y="4961"/>
                    <a:pt x="-364" y="482"/>
                    <a:pt x="20" y="34"/>
                  </a:cubicBezTo>
                  <a:cubicBezTo>
                    <a:pt x="276" y="-414"/>
                    <a:pt x="6354" y="3553"/>
                    <a:pt x="10896" y="11103"/>
                  </a:cubicBezTo>
                  <a:cubicBezTo>
                    <a:pt x="15439" y="18524"/>
                    <a:pt x="16143" y="25754"/>
                    <a:pt x="15631" y="25818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4B8187C0-D7A7-45B2-BE37-FE3F92561DE9}"/>
                </a:ext>
              </a:extLst>
            </p:cNvPr>
            <p:cNvSpPr/>
            <p:nvPr/>
          </p:nvSpPr>
          <p:spPr>
            <a:xfrm>
              <a:off x="9771262" y="2128399"/>
              <a:ext cx="31221" cy="235443"/>
            </a:xfrm>
            <a:custGeom>
              <a:avLst/>
              <a:gdLst>
                <a:gd name="connsiteX0" fmla="*/ 31193 w 31221"/>
                <a:gd name="connsiteY0" fmla="*/ 0 h 235443"/>
                <a:gd name="connsiteX1" fmla="*/ 16606 w 31221"/>
                <a:gd name="connsiteY1" fmla="*/ 117849 h 235443"/>
                <a:gd name="connsiteX2" fmla="*/ 35 w 31221"/>
                <a:gd name="connsiteY2" fmla="*/ 235443 h 235443"/>
                <a:gd name="connsiteX3" fmla="*/ 14622 w 31221"/>
                <a:gd name="connsiteY3" fmla="*/ 117594 h 235443"/>
                <a:gd name="connsiteX4" fmla="*/ 31193 w 31221"/>
                <a:gd name="connsiteY4" fmla="*/ 0 h 235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21" h="235443">
                  <a:moveTo>
                    <a:pt x="31193" y="0"/>
                  </a:moveTo>
                  <a:cubicBezTo>
                    <a:pt x="31705" y="64"/>
                    <a:pt x="25179" y="52847"/>
                    <a:pt x="16606" y="117849"/>
                  </a:cubicBezTo>
                  <a:cubicBezTo>
                    <a:pt x="7968" y="182852"/>
                    <a:pt x="611" y="235507"/>
                    <a:pt x="35" y="235443"/>
                  </a:cubicBezTo>
                  <a:cubicBezTo>
                    <a:pt x="-541" y="235379"/>
                    <a:pt x="6049" y="182597"/>
                    <a:pt x="14622" y="117594"/>
                  </a:cubicBezTo>
                  <a:cubicBezTo>
                    <a:pt x="23195" y="52527"/>
                    <a:pt x="30617" y="-64"/>
                    <a:pt x="31193" y="0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D86DBBB9-D7CF-4BE6-B78A-772325A7B784}"/>
                </a:ext>
              </a:extLst>
            </p:cNvPr>
            <p:cNvSpPr/>
            <p:nvPr/>
          </p:nvSpPr>
          <p:spPr>
            <a:xfrm>
              <a:off x="9141933" y="2213811"/>
              <a:ext cx="82089" cy="99271"/>
            </a:xfrm>
            <a:custGeom>
              <a:avLst/>
              <a:gdLst>
                <a:gd name="connsiteX0" fmla="*/ 82023 w 82089"/>
                <a:gd name="connsiteY0" fmla="*/ 0 h 99271"/>
                <a:gd name="connsiteX1" fmla="*/ 81895 w 82089"/>
                <a:gd name="connsiteY1" fmla="*/ 5438 h 99271"/>
                <a:gd name="connsiteX2" fmla="*/ 81127 w 82089"/>
                <a:gd name="connsiteY2" fmla="*/ 11773 h 99271"/>
                <a:gd name="connsiteX3" fmla="*/ 80487 w 82089"/>
                <a:gd name="connsiteY3" fmla="*/ 15739 h 99271"/>
                <a:gd name="connsiteX4" fmla="*/ 79400 w 82089"/>
                <a:gd name="connsiteY4" fmla="*/ 20090 h 99271"/>
                <a:gd name="connsiteX5" fmla="*/ 71786 w 82089"/>
                <a:gd name="connsiteY5" fmla="*/ 40819 h 99271"/>
                <a:gd name="connsiteX6" fmla="*/ 57583 w 82089"/>
                <a:gd name="connsiteY6" fmla="*/ 63851 h 99271"/>
                <a:gd name="connsiteX7" fmla="*/ 38709 w 82089"/>
                <a:gd name="connsiteY7" fmla="*/ 83301 h 99271"/>
                <a:gd name="connsiteX8" fmla="*/ 19771 w 82089"/>
                <a:gd name="connsiteY8" fmla="*/ 94689 h 99271"/>
                <a:gd name="connsiteX9" fmla="*/ 15612 w 82089"/>
                <a:gd name="connsiteY9" fmla="*/ 96417 h 99271"/>
                <a:gd name="connsiteX10" fmla="*/ 11710 w 82089"/>
                <a:gd name="connsiteY10" fmla="*/ 97505 h 99271"/>
                <a:gd name="connsiteX11" fmla="*/ 8319 w 82089"/>
                <a:gd name="connsiteY11" fmla="*/ 98400 h 99271"/>
                <a:gd name="connsiteX12" fmla="*/ 5440 w 82089"/>
                <a:gd name="connsiteY12" fmla="*/ 98784 h 99271"/>
                <a:gd name="connsiteX13" fmla="*/ 2 w 82089"/>
                <a:gd name="connsiteY13" fmla="*/ 99232 h 99271"/>
                <a:gd name="connsiteX14" fmla="*/ 19195 w 82089"/>
                <a:gd name="connsiteY14" fmla="*/ 93410 h 99271"/>
                <a:gd name="connsiteX15" fmla="*/ 37557 w 82089"/>
                <a:gd name="connsiteY15" fmla="*/ 81830 h 99271"/>
                <a:gd name="connsiteX16" fmla="*/ 55983 w 82089"/>
                <a:gd name="connsiteY16" fmla="*/ 62636 h 99271"/>
                <a:gd name="connsiteX17" fmla="*/ 70123 w 82089"/>
                <a:gd name="connsiteY17" fmla="*/ 39987 h 99271"/>
                <a:gd name="connsiteX18" fmla="*/ 77992 w 82089"/>
                <a:gd name="connsiteY18" fmla="*/ 19706 h 99271"/>
                <a:gd name="connsiteX19" fmla="*/ 82023 w 82089"/>
                <a:gd name="connsiteY19" fmla="*/ 0 h 9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2089" h="99271">
                  <a:moveTo>
                    <a:pt x="82023" y="0"/>
                  </a:moveTo>
                  <a:cubicBezTo>
                    <a:pt x="82151" y="0"/>
                    <a:pt x="82087" y="1920"/>
                    <a:pt x="81895" y="5438"/>
                  </a:cubicBezTo>
                  <a:cubicBezTo>
                    <a:pt x="81895" y="7230"/>
                    <a:pt x="81575" y="9341"/>
                    <a:pt x="81127" y="11773"/>
                  </a:cubicBezTo>
                  <a:cubicBezTo>
                    <a:pt x="80935" y="13052"/>
                    <a:pt x="80679" y="14332"/>
                    <a:pt x="80487" y="15739"/>
                  </a:cubicBezTo>
                  <a:cubicBezTo>
                    <a:pt x="80167" y="17147"/>
                    <a:pt x="79783" y="18554"/>
                    <a:pt x="79400" y="20090"/>
                  </a:cubicBezTo>
                  <a:cubicBezTo>
                    <a:pt x="77992" y="26232"/>
                    <a:pt x="75241" y="33269"/>
                    <a:pt x="71786" y="40819"/>
                  </a:cubicBezTo>
                  <a:cubicBezTo>
                    <a:pt x="68075" y="48241"/>
                    <a:pt x="63469" y="56238"/>
                    <a:pt x="57583" y="63851"/>
                  </a:cubicBezTo>
                  <a:cubicBezTo>
                    <a:pt x="51633" y="71401"/>
                    <a:pt x="45235" y="78055"/>
                    <a:pt x="38709" y="83301"/>
                  </a:cubicBezTo>
                  <a:cubicBezTo>
                    <a:pt x="32055" y="88356"/>
                    <a:pt x="25721" y="92450"/>
                    <a:pt x="19771" y="94689"/>
                  </a:cubicBezTo>
                  <a:cubicBezTo>
                    <a:pt x="18299" y="95265"/>
                    <a:pt x="16956" y="95905"/>
                    <a:pt x="15612" y="96417"/>
                  </a:cubicBezTo>
                  <a:cubicBezTo>
                    <a:pt x="14269" y="96801"/>
                    <a:pt x="12989" y="97121"/>
                    <a:pt x="11710" y="97505"/>
                  </a:cubicBezTo>
                  <a:cubicBezTo>
                    <a:pt x="10494" y="97824"/>
                    <a:pt x="9406" y="98144"/>
                    <a:pt x="8319" y="98400"/>
                  </a:cubicBezTo>
                  <a:cubicBezTo>
                    <a:pt x="7295" y="98656"/>
                    <a:pt x="6272" y="98656"/>
                    <a:pt x="5440" y="98784"/>
                  </a:cubicBezTo>
                  <a:cubicBezTo>
                    <a:pt x="1921" y="99168"/>
                    <a:pt x="2" y="99360"/>
                    <a:pt x="2" y="99232"/>
                  </a:cubicBezTo>
                  <a:cubicBezTo>
                    <a:pt x="-126" y="98720"/>
                    <a:pt x="7871" y="98528"/>
                    <a:pt x="19195" y="93410"/>
                  </a:cubicBezTo>
                  <a:cubicBezTo>
                    <a:pt x="24889" y="91043"/>
                    <a:pt x="31095" y="86884"/>
                    <a:pt x="37557" y="81830"/>
                  </a:cubicBezTo>
                  <a:cubicBezTo>
                    <a:pt x="43891" y="76583"/>
                    <a:pt x="50161" y="70057"/>
                    <a:pt x="55983" y="62636"/>
                  </a:cubicBezTo>
                  <a:cubicBezTo>
                    <a:pt x="61741" y="55150"/>
                    <a:pt x="66348" y="47281"/>
                    <a:pt x="70123" y="39987"/>
                  </a:cubicBezTo>
                  <a:cubicBezTo>
                    <a:pt x="73577" y="32566"/>
                    <a:pt x="76457" y="25720"/>
                    <a:pt x="77992" y="19706"/>
                  </a:cubicBezTo>
                  <a:cubicBezTo>
                    <a:pt x="81447" y="7742"/>
                    <a:pt x="81575" y="-64"/>
                    <a:pt x="82023" y="0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19EBC529-D422-47D8-909D-80D93726B12E}"/>
                </a:ext>
              </a:extLst>
            </p:cNvPr>
            <p:cNvSpPr/>
            <p:nvPr/>
          </p:nvSpPr>
          <p:spPr>
            <a:xfrm>
              <a:off x="9340398" y="2360385"/>
              <a:ext cx="487258" cy="294946"/>
            </a:xfrm>
            <a:custGeom>
              <a:avLst/>
              <a:gdLst>
                <a:gd name="connsiteX0" fmla="*/ 449581 w 487258"/>
                <a:gd name="connsiteY0" fmla="*/ 294946 h 294946"/>
                <a:gd name="connsiteX1" fmla="*/ 471334 w 487258"/>
                <a:gd name="connsiteY1" fmla="*/ 247666 h 294946"/>
                <a:gd name="connsiteX2" fmla="*/ 485985 w 487258"/>
                <a:gd name="connsiteY2" fmla="*/ 88486 h 294946"/>
                <a:gd name="connsiteX3" fmla="*/ 471782 w 487258"/>
                <a:gd name="connsiteY3" fmla="*/ 17213 h 294946"/>
                <a:gd name="connsiteX4" fmla="*/ 407291 w 487258"/>
                <a:gd name="connsiteY4" fmla="*/ 3 h 294946"/>
                <a:gd name="connsiteX5" fmla="*/ 0 w 487258"/>
                <a:gd name="connsiteY5" fmla="*/ 4929 h 294946"/>
                <a:gd name="connsiteX6" fmla="*/ 7166 w 487258"/>
                <a:gd name="connsiteY6" fmla="*/ 252016 h 294946"/>
                <a:gd name="connsiteX7" fmla="*/ 449581 w 487258"/>
                <a:gd name="connsiteY7" fmla="*/ 294946 h 29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7258" h="294946">
                  <a:moveTo>
                    <a:pt x="449581" y="294946"/>
                  </a:moveTo>
                  <a:cubicBezTo>
                    <a:pt x="465960" y="287013"/>
                    <a:pt x="469671" y="265772"/>
                    <a:pt x="471334" y="247666"/>
                  </a:cubicBezTo>
                  <a:cubicBezTo>
                    <a:pt x="476197" y="194627"/>
                    <a:pt x="481123" y="141524"/>
                    <a:pt x="485985" y="88486"/>
                  </a:cubicBezTo>
                  <a:cubicBezTo>
                    <a:pt x="488289" y="63534"/>
                    <a:pt x="489376" y="35063"/>
                    <a:pt x="471782" y="17213"/>
                  </a:cubicBezTo>
                  <a:cubicBezTo>
                    <a:pt x="455723" y="898"/>
                    <a:pt x="430196" y="-61"/>
                    <a:pt x="407291" y="3"/>
                  </a:cubicBezTo>
                  <a:cubicBezTo>
                    <a:pt x="266025" y="387"/>
                    <a:pt x="141266" y="4545"/>
                    <a:pt x="0" y="4929"/>
                  </a:cubicBezTo>
                  <a:lnTo>
                    <a:pt x="7166" y="252016"/>
                  </a:lnTo>
                  <a:lnTo>
                    <a:pt x="449581" y="294946"/>
                  </a:lnTo>
                  <a:close/>
                </a:path>
              </a:pathLst>
            </a:custGeom>
            <a:solidFill>
              <a:srgbClr val="00000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81677AAB-3CF3-4795-A78B-65CA57449BA3}"/>
                </a:ext>
              </a:extLst>
            </p:cNvPr>
            <p:cNvSpPr/>
            <p:nvPr/>
          </p:nvSpPr>
          <p:spPr>
            <a:xfrm>
              <a:off x="9279652" y="2381693"/>
              <a:ext cx="530956" cy="328980"/>
            </a:xfrm>
            <a:custGeom>
              <a:avLst/>
              <a:gdLst>
                <a:gd name="connsiteX0" fmla="*/ 29 w 530956"/>
                <a:gd name="connsiteY0" fmla="*/ 21945 h 328980"/>
                <a:gd name="connsiteX1" fmla="*/ 15065 w 530956"/>
                <a:gd name="connsiteY1" fmla="*/ 308507 h 328980"/>
                <a:gd name="connsiteX2" fmla="*/ 36050 w 530956"/>
                <a:gd name="connsiteY2" fmla="*/ 328213 h 328980"/>
                <a:gd name="connsiteX3" fmla="*/ 492541 w 530956"/>
                <a:gd name="connsiteY3" fmla="*/ 328981 h 328980"/>
                <a:gd name="connsiteX4" fmla="*/ 513526 w 530956"/>
                <a:gd name="connsiteY4" fmla="*/ 309211 h 328980"/>
                <a:gd name="connsiteX5" fmla="*/ 530928 w 530956"/>
                <a:gd name="connsiteY5" fmla="*/ 27511 h 328980"/>
                <a:gd name="connsiteX6" fmla="*/ 511351 w 530956"/>
                <a:gd name="connsiteY6" fmla="*/ 0 h 328980"/>
                <a:gd name="connsiteX7" fmla="*/ 21398 w 530956"/>
                <a:gd name="connsiteY7" fmla="*/ 64 h 328980"/>
                <a:gd name="connsiteX8" fmla="*/ 29 w 530956"/>
                <a:gd name="connsiteY8" fmla="*/ 21945 h 328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0956" h="328980">
                  <a:moveTo>
                    <a:pt x="29" y="21945"/>
                  </a:moveTo>
                  <a:lnTo>
                    <a:pt x="15065" y="308507"/>
                  </a:lnTo>
                  <a:cubicBezTo>
                    <a:pt x="15640" y="319576"/>
                    <a:pt x="24853" y="328213"/>
                    <a:pt x="36050" y="328213"/>
                  </a:cubicBezTo>
                  <a:lnTo>
                    <a:pt x="492541" y="328981"/>
                  </a:lnTo>
                  <a:cubicBezTo>
                    <a:pt x="503737" y="328981"/>
                    <a:pt x="513014" y="320279"/>
                    <a:pt x="513526" y="309211"/>
                  </a:cubicBezTo>
                  <a:lnTo>
                    <a:pt x="530928" y="27511"/>
                  </a:lnTo>
                  <a:cubicBezTo>
                    <a:pt x="531504" y="15803"/>
                    <a:pt x="523187" y="256"/>
                    <a:pt x="511351" y="0"/>
                  </a:cubicBezTo>
                  <a:lnTo>
                    <a:pt x="21398" y="64"/>
                  </a:lnTo>
                  <a:cubicBezTo>
                    <a:pt x="9243" y="-128"/>
                    <a:pt x="-610" y="9917"/>
                    <a:pt x="29" y="21945"/>
                  </a:cubicBezTo>
                  <a:close/>
                </a:path>
              </a:pathLst>
            </a:custGeom>
            <a:solidFill>
              <a:srgbClr val="E0E0E0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1D953CB-23A7-4FDF-BBD5-05C2FEE66246}"/>
                </a:ext>
              </a:extLst>
            </p:cNvPr>
            <p:cNvSpPr/>
            <p:nvPr/>
          </p:nvSpPr>
          <p:spPr>
            <a:xfrm>
              <a:off x="9279594" y="2380783"/>
              <a:ext cx="532010" cy="331011"/>
            </a:xfrm>
            <a:custGeom>
              <a:avLst/>
              <a:gdLst>
                <a:gd name="connsiteX0" fmla="*/ 88 w 532010"/>
                <a:gd name="connsiteY0" fmla="*/ 22854 h 331011"/>
                <a:gd name="connsiteX1" fmla="*/ 24 w 532010"/>
                <a:gd name="connsiteY1" fmla="*/ 21767 h 331011"/>
                <a:gd name="connsiteX2" fmla="*/ 216 w 532010"/>
                <a:gd name="connsiteY2" fmla="*/ 18568 h 331011"/>
                <a:gd name="connsiteX3" fmla="*/ 5654 w 532010"/>
                <a:gd name="connsiteY3" fmla="*/ 7371 h 331011"/>
                <a:gd name="connsiteX4" fmla="*/ 13268 w 532010"/>
                <a:gd name="connsiteY4" fmla="*/ 2189 h 331011"/>
                <a:gd name="connsiteX5" fmla="*/ 24272 w 532010"/>
                <a:gd name="connsiteY5" fmla="*/ 653 h 331011"/>
                <a:gd name="connsiteX6" fmla="*/ 52039 w 532010"/>
                <a:gd name="connsiteY6" fmla="*/ 590 h 331011"/>
                <a:gd name="connsiteX7" fmla="*/ 228941 w 532010"/>
                <a:gd name="connsiteY7" fmla="*/ 270 h 331011"/>
                <a:gd name="connsiteX8" fmla="*/ 491256 w 532010"/>
                <a:gd name="connsiteY8" fmla="*/ 14 h 331011"/>
                <a:gd name="connsiteX9" fmla="*/ 509874 w 532010"/>
                <a:gd name="connsiteY9" fmla="*/ 14 h 331011"/>
                <a:gd name="connsiteX10" fmla="*/ 519278 w 532010"/>
                <a:gd name="connsiteY10" fmla="*/ 2445 h 331011"/>
                <a:gd name="connsiteX11" fmla="*/ 526252 w 532010"/>
                <a:gd name="connsiteY11" fmla="*/ 9291 h 331011"/>
                <a:gd name="connsiteX12" fmla="*/ 532010 w 532010"/>
                <a:gd name="connsiteY12" fmla="*/ 27781 h 331011"/>
                <a:gd name="connsiteX13" fmla="*/ 530859 w 532010"/>
                <a:gd name="connsiteY13" fmla="*/ 47038 h 331011"/>
                <a:gd name="connsiteX14" fmla="*/ 525996 w 532010"/>
                <a:gd name="connsiteY14" fmla="*/ 125989 h 331011"/>
                <a:gd name="connsiteX15" fmla="*/ 515760 w 532010"/>
                <a:gd name="connsiteY15" fmla="*/ 292014 h 331011"/>
                <a:gd name="connsiteX16" fmla="*/ 515120 w 532010"/>
                <a:gd name="connsiteY16" fmla="*/ 302635 h 331011"/>
                <a:gd name="connsiteX17" fmla="*/ 514224 w 532010"/>
                <a:gd name="connsiteY17" fmla="*/ 313383 h 331011"/>
                <a:gd name="connsiteX18" fmla="*/ 500469 w 532010"/>
                <a:gd name="connsiteY18" fmla="*/ 329570 h 331011"/>
                <a:gd name="connsiteX19" fmla="*/ 489720 w 532010"/>
                <a:gd name="connsiteY19" fmla="*/ 330978 h 331011"/>
                <a:gd name="connsiteX20" fmla="*/ 479227 w 532010"/>
                <a:gd name="connsiteY20" fmla="*/ 330978 h 331011"/>
                <a:gd name="connsiteX21" fmla="*/ 458370 w 532010"/>
                <a:gd name="connsiteY21" fmla="*/ 330914 h 331011"/>
                <a:gd name="connsiteX22" fmla="*/ 376413 w 532010"/>
                <a:gd name="connsiteY22" fmla="*/ 330786 h 331011"/>
                <a:gd name="connsiteX23" fmla="*/ 221456 w 532010"/>
                <a:gd name="connsiteY23" fmla="*/ 330466 h 331011"/>
                <a:gd name="connsiteX24" fmla="*/ 81277 w 532010"/>
                <a:gd name="connsiteY24" fmla="*/ 330146 h 331011"/>
                <a:gd name="connsiteX25" fmla="*/ 48904 w 532010"/>
                <a:gd name="connsiteY25" fmla="*/ 330082 h 331011"/>
                <a:gd name="connsiteX26" fmla="*/ 40971 w 532010"/>
                <a:gd name="connsiteY26" fmla="*/ 330082 h 331011"/>
                <a:gd name="connsiteX27" fmla="*/ 33037 w 532010"/>
                <a:gd name="connsiteY27" fmla="*/ 329826 h 331011"/>
                <a:gd name="connsiteX28" fmla="*/ 19346 w 532010"/>
                <a:gd name="connsiteY28" fmla="*/ 322277 h 331011"/>
                <a:gd name="connsiteX29" fmla="*/ 14227 w 532010"/>
                <a:gd name="connsiteY29" fmla="*/ 307881 h 331011"/>
                <a:gd name="connsiteX30" fmla="*/ 13460 w 532010"/>
                <a:gd name="connsiteY30" fmla="*/ 293102 h 331011"/>
                <a:gd name="connsiteX31" fmla="*/ 11988 w 532010"/>
                <a:gd name="connsiteY31" fmla="*/ 264504 h 331011"/>
                <a:gd name="connsiteX32" fmla="*/ 3031 w 532010"/>
                <a:gd name="connsiteY32" fmla="*/ 87857 h 331011"/>
                <a:gd name="connsiteX33" fmla="*/ 728 w 532010"/>
                <a:gd name="connsiteY33" fmla="*/ 39809 h 331011"/>
                <a:gd name="connsiteX34" fmla="*/ 152 w 532010"/>
                <a:gd name="connsiteY34" fmla="*/ 27333 h 331011"/>
                <a:gd name="connsiteX35" fmla="*/ 88 w 532010"/>
                <a:gd name="connsiteY35" fmla="*/ 22854 h 331011"/>
                <a:gd name="connsiteX36" fmla="*/ 408 w 532010"/>
                <a:gd name="connsiteY36" fmla="*/ 27077 h 331011"/>
                <a:gd name="connsiteX37" fmla="*/ 1176 w 532010"/>
                <a:gd name="connsiteY37" fmla="*/ 39553 h 331011"/>
                <a:gd name="connsiteX38" fmla="*/ 3863 w 532010"/>
                <a:gd name="connsiteY38" fmla="*/ 87537 h 331011"/>
                <a:gd name="connsiteX39" fmla="*/ 13460 w 532010"/>
                <a:gd name="connsiteY39" fmla="*/ 264120 h 331011"/>
                <a:gd name="connsiteX40" fmla="*/ 14995 w 532010"/>
                <a:gd name="connsiteY40" fmla="*/ 292718 h 331011"/>
                <a:gd name="connsiteX41" fmla="*/ 15763 w 532010"/>
                <a:gd name="connsiteY41" fmla="*/ 307497 h 331011"/>
                <a:gd name="connsiteX42" fmla="*/ 20561 w 532010"/>
                <a:gd name="connsiteY42" fmla="*/ 320997 h 331011"/>
                <a:gd name="connsiteX43" fmla="*/ 33293 w 532010"/>
                <a:gd name="connsiteY43" fmla="*/ 327971 h 331011"/>
                <a:gd name="connsiteX44" fmla="*/ 41035 w 532010"/>
                <a:gd name="connsiteY44" fmla="*/ 328163 h 331011"/>
                <a:gd name="connsiteX45" fmla="*/ 48968 w 532010"/>
                <a:gd name="connsiteY45" fmla="*/ 328163 h 331011"/>
                <a:gd name="connsiteX46" fmla="*/ 81342 w 532010"/>
                <a:gd name="connsiteY46" fmla="*/ 328163 h 331011"/>
                <a:gd name="connsiteX47" fmla="*/ 221520 w 532010"/>
                <a:gd name="connsiteY47" fmla="*/ 328291 h 331011"/>
                <a:gd name="connsiteX48" fmla="*/ 376477 w 532010"/>
                <a:gd name="connsiteY48" fmla="*/ 328483 h 331011"/>
                <a:gd name="connsiteX49" fmla="*/ 458434 w 532010"/>
                <a:gd name="connsiteY49" fmla="*/ 328611 h 331011"/>
                <a:gd name="connsiteX50" fmla="*/ 479292 w 532010"/>
                <a:gd name="connsiteY50" fmla="*/ 328675 h 331011"/>
                <a:gd name="connsiteX51" fmla="*/ 489784 w 532010"/>
                <a:gd name="connsiteY51" fmla="*/ 328675 h 331011"/>
                <a:gd name="connsiteX52" fmla="*/ 499829 w 532010"/>
                <a:gd name="connsiteY52" fmla="*/ 327395 h 331011"/>
                <a:gd name="connsiteX53" fmla="*/ 512369 w 532010"/>
                <a:gd name="connsiteY53" fmla="*/ 312680 h 331011"/>
                <a:gd name="connsiteX54" fmla="*/ 513201 w 532010"/>
                <a:gd name="connsiteY54" fmla="*/ 302251 h 331011"/>
                <a:gd name="connsiteX55" fmla="*/ 513840 w 532010"/>
                <a:gd name="connsiteY55" fmla="*/ 291631 h 331011"/>
                <a:gd name="connsiteX56" fmla="*/ 524141 w 532010"/>
                <a:gd name="connsiteY56" fmla="*/ 125605 h 331011"/>
                <a:gd name="connsiteX57" fmla="*/ 529067 w 532010"/>
                <a:gd name="connsiteY57" fmla="*/ 46654 h 331011"/>
                <a:gd name="connsiteX58" fmla="*/ 530219 w 532010"/>
                <a:gd name="connsiteY58" fmla="*/ 27461 h 331011"/>
                <a:gd name="connsiteX59" fmla="*/ 524845 w 532010"/>
                <a:gd name="connsiteY59" fmla="*/ 10058 h 331011"/>
                <a:gd name="connsiteX60" fmla="*/ 509938 w 532010"/>
                <a:gd name="connsiteY60" fmla="*/ 1613 h 331011"/>
                <a:gd name="connsiteX61" fmla="*/ 491320 w 532010"/>
                <a:gd name="connsiteY61" fmla="*/ 1613 h 331011"/>
                <a:gd name="connsiteX62" fmla="*/ 229005 w 532010"/>
                <a:gd name="connsiteY62" fmla="*/ 1421 h 331011"/>
                <a:gd name="connsiteX63" fmla="*/ 52103 w 532010"/>
                <a:gd name="connsiteY63" fmla="*/ 1101 h 331011"/>
                <a:gd name="connsiteX64" fmla="*/ 24336 w 532010"/>
                <a:gd name="connsiteY64" fmla="*/ 1037 h 331011"/>
                <a:gd name="connsiteX65" fmla="*/ 13460 w 532010"/>
                <a:gd name="connsiteY65" fmla="*/ 2445 h 331011"/>
                <a:gd name="connsiteX66" fmla="*/ 5910 w 532010"/>
                <a:gd name="connsiteY66" fmla="*/ 7435 h 331011"/>
                <a:gd name="connsiteX67" fmla="*/ 408 w 532010"/>
                <a:gd name="connsiteY67" fmla="*/ 18376 h 331011"/>
                <a:gd name="connsiteX68" fmla="*/ 88 w 532010"/>
                <a:gd name="connsiteY68" fmla="*/ 22854 h 331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32010" h="331011">
                  <a:moveTo>
                    <a:pt x="88" y="22854"/>
                  </a:moveTo>
                  <a:cubicBezTo>
                    <a:pt x="88" y="22854"/>
                    <a:pt x="24" y="22470"/>
                    <a:pt x="24" y="21767"/>
                  </a:cubicBezTo>
                  <a:cubicBezTo>
                    <a:pt x="-40" y="21063"/>
                    <a:pt x="24" y="19975"/>
                    <a:pt x="216" y="18568"/>
                  </a:cubicBezTo>
                  <a:cubicBezTo>
                    <a:pt x="600" y="15817"/>
                    <a:pt x="1815" y="11466"/>
                    <a:pt x="5654" y="7371"/>
                  </a:cubicBezTo>
                  <a:cubicBezTo>
                    <a:pt x="7574" y="5388"/>
                    <a:pt x="10069" y="3405"/>
                    <a:pt x="13268" y="2189"/>
                  </a:cubicBezTo>
                  <a:cubicBezTo>
                    <a:pt x="16467" y="845"/>
                    <a:pt x="20305" y="526"/>
                    <a:pt x="24272" y="653"/>
                  </a:cubicBezTo>
                  <a:cubicBezTo>
                    <a:pt x="32334" y="653"/>
                    <a:pt x="41610" y="590"/>
                    <a:pt x="52039" y="590"/>
                  </a:cubicBezTo>
                  <a:cubicBezTo>
                    <a:pt x="93817" y="526"/>
                    <a:pt x="154278" y="398"/>
                    <a:pt x="228941" y="270"/>
                  </a:cubicBezTo>
                  <a:cubicBezTo>
                    <a:pt x="303605" y="206"/>
                    <a:pt x="392536" y="142"/>
                    <a:pt x="491256" y="14"/>
                  </a:cubicBezTo>
                  <a:cubicBezTo>
                    <a:pt x="497398" y="14"/>
                    <a:pt x="503668" y="14"/>
                    <a:pt x="509874" y="14"/>
                  </a:cubicBezTo>
                  <a:cubicBezTo>
                    <a:pt x="513009" y="-114"/>
                    <a:pt x="516527" y="653"/>
                    <a:pt x="519278" y="2445"/>
                  </a:cubicBezTo>
                  <a:cubicBezTo>
                    <a:pt x="522094" y="4172"/>
                    <a:pt x="524397" y="6604"/>
                    <a:pt x="526252" y="9291"/>
                  </a:cubicBezTo>
                  <a:cubicBezTo>
                    <a:pt x="529899" y="14665"/>
                    <a:pt x="532010" y="21127"/>
                    <a:pt x="532010" y="27781"/>
                  </a:cubicBezTo>
                  <a:cubicBezTo>
                    <a:pt x="531626" y="34179"/>
                    <a:pt x="531243" y="40577"/>
                    <a:pt x="530859" y="47038"/>
                  </a:cubicBezTo>
                  <a:cubicBezTo>
                    <a:pt x="529259" y="72822"/>
                    <a:pt x="527660" y="99181"/>
                    <a:pt x="525996" y="125989"/>
                  </a:cubicBezTo>
                  <a:cubicBezTo>
                    <a:pt x="522669" y="179603"/>
                    <a:pt x="519278" y="235137"/>
                    <a:pt x="515760" y="292014"/>
                  </a:cubicBezTo>
                  <a:lnTo>
                    <a:pt x="515120" y="302635"/>
                  </a:lnTo>
                  <a:cubicBezTo>
                    <a:pt x="514800" y="306218"/>
                    <a:pt x="514864" y="309609"/>
                    <a:pt x="514224" y="313383"/>
                  </a:cubicBezTo>
                  <a:cubicBezTo>
                    <a:pt x="512881" y="320741"/>
                    <a:pt x="507378" y="327011"/>
                    <a:pt x="500469" y="329570"/>
                  </a:cubicBezTo>
                  <a:cubicBezTo>
                    <a:pt x="497078" y="330914"/>
                    <a:pt x="493175" y="331106"/>
                    <a:pt x="489720" y="330978"/>
                  </a:cubicBezTo>
                  <a:lnTo>
                    <a:pt x="479227" y="330978"/>
                  </a:lnTo>
                  <a:cubicBezTo>
                    <a:pt x="472254" y="330978"/>
                    <a:pt x="465280" y="330978"/>
                    <a:pt x="458370" y="330914"/>
                  </a:cubicBezTo>
                  <a:cubicBezTo>
                    <a:pt x="430603" y="330850"/>
                    <a:pt x="403284" y="330786"/>
                    <a:pt x="376413" y="330786"/>
                  </a:cubicBezTo>
                  <a:cubicBezTo>
                    <a:pt x="322671" y="330658"/>
                    <a:pt x="270848" y="330530"/>
                    <a:pt x="221456" y="330466"/>
                  </a:cubicBezTo>
                  <a:cubicBezTo>
                    <a:pt x="172064" y="330338"/>
                    <a:pt x="125167" y="330210"/>
                    <a:pt x="81277" y="330146"/>
                  </a:cubicBezTo>
                  <a:cubicBezTo>
                    <a:pt x="70273" y="330146"/>
                    <a:pt x="59525" y="330082"/>
                    <a:pt x="48904" y="330082"/>
                  </a:cubicBezTo>
                  <a:cubicBezTo>
                    <a:pt x="46281" y="330082"/>
                    <a:pt x="43594" y="330082"/>
                    <a:pt x="40971" y="330082"/>
                  </a:cubicBezTo>
                  <a:cubicBezTo>
                    <a:pt x="38348" y="330018"/>
                    <a:pt x="35724" y="330210"/>
                    <a:pt x="33037" y="329826"/>
                  </a:cubicBezTo>
                  <a:cubicBezTo>
                    <a:pt x="27663" y="329122"/>
                    <a:pt x="22737" y="326307"/>
                    <a:pt x="19346" y="322277"/>
                  </a:cubicBezTo>
                  <a:cubicBezTo>
                    <a:pt x="15891" y="318246"/>
                    <a:pt x="14227" y="312872"/>
                    <a:pt x="14227" y="307881"/>
                  </a:cubicBezTo>
                  <a:cubicBezTo>
                    <a:pt x="13972" y="302891"/>
                    <a:pt x="13716" y="297964"/>
                    <a:pt x="13460" y="293102"/>
                  </a:cubicBezTo>
                  <a:cubicBezTo>
                    <a:pt x="12948" y="283313"/>
                    <a:pt x="12500" y="273780"/>
                    <a:pt x="11988" y="264504"/>
                  </a:cubicBezTo>
                  <a:cubicBezTo>
                    <a:pt x="8213" y="189968"/>
                    <a:pt x="5142" y="129635"/>
                    <a:pt x="3031" y="87857"/>
                  </a:cubicBezTo>
                  <a:cubicBezTo>
                    <a:pt x="2007" y="67000"/>
                    <a:pt x="1240" y="50877"/>
                    <a:pt x="728" y="39809"/>
                  </a:cubicBezTo>
                  <a:cubicBezTo>
                    <a:pt x="472" y="34371"/>
                    <a:pt x="280" y="30148"/>
                    <a:pt x="152" y="27333"/>
                  </a:cubicBezTo>
                  <a:cubicBezTo>
                    <a:pt x="88" y="24326"/>
                    <a:pt x="88" y="22854"/>
                    <a:pt x="88" y="22854"/>
                  </a:cubicBezTo>
                  <a:cubicBezTo>
                    <a:pt x="88" y="22854"/>
                    <a:pt x="216" y="24262"/>
                    <a:pt x="408" y="27077"/>
                  </a:cubicBezTo>
                  <a:cubicBezTo>
                    <a:pt x="600" y="29956"/>
                    <a:pt x="856" y="34115"/>
                    <a:pt x="1176" y="39553"/>
                  </a:cubicBezTo>
                  <a:cubicBezTo>
                    <a:pt x="1815" y="50557"/>
                    <a:pt x="2711" y="66744"/>
                    <a:pt x="3863" y="87537"/>
                  </a:cubicBezTo>
                  <a:cubicBezTo>
                    <a:pt x="6102" y="129252"/>
                    <a:pt x="9429" y="189584"/>
                    <a:pt x="13460" y="264120"/>
                  </a:cubicBezTo>
                  <a:cubicBezTo>
                    <a:pt x="13972" y="273461"/>
                    <a:pt x="14483" y="282993"/>
                    <a:pt x="14995" y="292718"/>
                  </a:cubicBezTo>
                  <a:cubicBezTo>
                    <a:pt x="15251" y="297581"/>
                    <a:pt x="15507" y="302507"/>
                    <a:pt x="15763" y="307497"/>
                  </a:cubicBezTo>
                  <a:cubicBezTo>
                    <a:pt x="15763" y="312424"/>
                    <a:pt x="17298" y="317222"/>
                    <a:pt x="20561" y="320997"/>
                  </a:cubicBezTo>
                  <a:cubicBezTo>
                    <a:pt x="23696" y="324772"/>
                    <a:pt x="28303" y="327331"/>
                    <a:pt x="33293" y="327971"/>
                  </a:cubicBezTo>
                  <a:cubicBezTo>
                    <a:pt x="35724" y="328291"/>
                    <a:pt x="38411" y="328163"/>
                    <a:pt x="41035" y="328163"/>
                  </a:cubicBezTo>
                  <a:cubicBezTo>
                    <a:pt x="43658" y="328163"/>
                    <a:pt x="46281" y="328163"/>
                    <a:pt x="48968" y="328163"/>
                  </a:cubicBezTo>
                  <a:cubicBezTo>
                    <a:pt x="59588" y="328163"/>
                    <a:pt x="70337" y="328163"/>
                    <a:pt x="81342" y="328163"/>
                  </a:cubicBezTo>
                  <a:cubicBezTo>
                    <a:pt x="125231" y="328227"/>
                    <a:pt x="172192" y="328291"/>
                    <a:pt x="221520" y="328291"/>
                  </a:cubicBezTo>
                  <a:cubicBezTo>
                    <a:pt x="270911" y="328355"/>
                    <a:pt x="322735" y="328419"/>
                    <a:pt x="376477" y="328483"/>
                  </a:cubicBezTo>
                  <a:cubicBezTo>
                    <a:pt x="403348" y="328546"/>
                    <a:pt x="430667" y="328546"/>
                    <a:pt x="458434" y="328611"/>
                  </a:cubicBezTo>
                  <a:cubicBezTo>
                    <a:pt x="465344" y="328611"/>
                    <a:pt x="472318" y="328611"/>
                    <a:pt x="479292" y="328675"/>
                  </a:cubicBezTo>
                  <a:lnTo>
                    <a:pt x="489784" y="328675"/>
                  </a:lnTo>
                  <a:cubicBezTo>
                    <a:pt x="493367" y="328802"/>
                    <a:pt x="496630" y="328611"/>
                    <a:pt x="499829" y="327395"/>
                  </a:cubicBezTo>
                  <a:cubicBezTo>
                    <a:pt x="506099" y="325092"/>
                    <a:pt x="511153" y="319398"/>
                    <a:pt x="512369" y="312680"/>
                  </a:cubicBezTo>
                  <a:cubicBezTo>
                    <a:pt x="512945" y="309417"/>
                    <a:pt x="512945" y="305706"/>
                    <a:pt x="513201" y="302251"/>
                  </a:cubicBezTo>
                  <a:lnTo>
                    <a:pt x="513840" y="291631"/>
                  </a:lnTo>
                  <a:cubicBezTo>
                    <a:pt x="517359" y="234753"/>
                    <a:pt x="520814" y="179283"/>
                    <a:pt x="524141" y="125605"/>
                  </a:cubicBezTo>
                  <a:cubicBezTo>
                    <a:pt x="525804" y="98797"/>
                    <a:pt x="527468" y="72438"/>
                    <a:pt x="529067" y="46654"/>
                  </a:cubicBezTo>
                  <a:cubicBezTo>
                    <a:pt x="529451" y="40193"/>
                    <a:pt x="529835" y="33795"/>
                    <a:pt x="530219" y="27461"/>
                  </a:cubicBezTo>
                  <a:cubicBezTo>
                    <a:pt x="530283" y="21319"/>
                    <a:pt x="528236" y="15113"/>
                    <a:pt x="524845" y="10058"/>
                  </a:cubicBezTo>
                  <a:cubicBezTo>
                    <a:pt x="521454" y="5004"/>
                    <a:pt x="516079" y="1165"/>
                    <a:pt x="509938" y="1613"/>
                  </a:cubicBezTo>
                  <a:cubicBezTo>
                    <a:pt x="503668" y="1613"/>
                    <a:pt x="497462" y="1613"/>
                    <a:pt x="491320" y="1613"/>
                  </a:cubicBezTo>
                  <a:cubicBezTo>
                    <a:pt x="392600" y="1549"/>
                    <a:pt x="303669" y="1485"/>
                    <a:pt x="229005" y="1421"/>
                  </a:cubicBezTo>
                  <a:cubicBezTo>
                    <a:pt x="154342" y="1293"/>
                    <a:pt x="93945" y="1165"/>
                    <a:pt x="52103" y="1101"/>
                  </a:cubicBezTo>
                  <a:cubicBezTo>
                    <a:pt x="41674" y="1037"/>
                    <a:pt x="32397" y="1037"/>
                    <a:pt x="24336" y="1037"/>
                  </a:cubicBezTo>
                  <a:cubicBezTo>
                    <a:pt x="20305" y="909"/>
                    <a:pt x="16659" y="1165"/>
                    <a:pt x="13460" y="2445"/>
                  </a:cubicBezTo>
                  <a:cubicBezTo>
                    <a:pt x="10325" y="3597"/>
                    <a:pt x="7829" y="5516"/>
                    <a:pt x="5910" y="7435"/>
                  </a:cubicBezTo>
                  <a:cubicBezTo>
                    <a:pt x="2135" y="11402"/>
                    <a:pt x="856" y="15625"/>
                    <a:pt x="408" y="18376"/>
                  </a:cubicBezTo>
                  <a:cubicBezTo>
                    <a:pt x="-40" y="21383"/>
                    <a:pt x="152" y="22854"/>
                    <a:pt x="88" y="22854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7342E19-240D-43FF-90DE-709A637A8CA3}"/>
                </a:ext>
              </a:extLst>
            </p:cNvPr>
            <p:cNvSpPr/>
            <p:nvPr/>
          </p:nvSpPr>
          <p:spPr>
            <a:xfrm>
              <a:off x="9521714" y="2516561"/>
              <a:ext cx="53742" cy="53742"/>
            </a:xfrm>
            <a:custGeom>
              <a:avLst/>
              <a:gdLst>
                <a:gd name="connsiteX0" fmla="*/ 53743 w 53742"/>
                <a:gd name="connsiteY0" fmla="*/ 26871 h 53742"/>
                <a:gd name="connsiteX1" fmla="*/ 26871 w 53742"/>
                <a:gd name="connsiteY1" fmla="*/ 53743 h 53742"/>
                <a:gd name="connsiteX2" fmla="*/ 0 w 53742"/>
                <a:gd name="connsiteY2" fmla="*/ 26871 h 53742"/>
                <a:gd name="connsiteX3" fmla="*/ 26871 w 53742"/>
                <a:gd name="connsiteY3" fmla="*/ 0 h 53742"/>
                <a:gd name="connsiteX4" fmla="*/ 53743 w 53742"/>
                <a:gd name="connsiteY4" fmla="*/ 26871 h 5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742" h="53742">
                  <a:moveTo>
                    <a:pt x="53743" y="26871"/>
                  </a:moveTo>
                  <a:cubicBezTo>
                    <a:pt x="53743" y="41715"/>
                    <a:pt x="41715" y="53743"/>
                    <a:pt x="26871" y="53743"/>
                  </a:cubicBezTo>
                  <a:cubicBezTo>
                    <a:pt x="12028" y="53743"/>
                    <a:pt x="0" y="41715"/>
                    <a:pt x="0" y="26871"/>
                  </a:cubicBezTo>
                  <a:cubicBezTo>
                    <a:pt x="0" y="12028"/>
                    <a:pt x="12028" y="0"/>
                    <a:pt x="26871" y="0"/>
                  </a:cubicBezTo>
                  <a:cubicBezTo>
                    <a:pt x="41650" y="0"/>
                    <a:pt x="53743" y="12028"/>
                    <a:pt x="53743" y="26871"/>
                  </a:cubicBezTo>
                  <a:close/>
                </a:path>
              </a:pathLst>
            </a:custGeom>
            <a:solidFill>
              <a:srgbClr val="FFFFFF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72FD8886-9632-49FF-B2EB-21D2C50590B5}"/>
                </a:ext>
              </a:extLst>
            </p:cNvPr>
            <p:cNvSpPr/>
            <p:nvPr/>
          </p:nvSpPr>
          <p:spPr>
            <a:xfrm>
              <a:off x="9520691" y="2515794"/>
              <a:ext cx="54906" cy="55387"/>
            </a:xfrm>
            <a:custGeom>
              <a:avLst/>
              <a:gdLst>
                <a:gd name="connsiteX0" fmla="*/ 54766 w 54906"/>
                <a:gd name="connsiteY0" fmla="*/ 27638 h 55387"/>
                <a:gd name="connsiteX1" fmla="*/ 53550 w 54906"/>
                <a:gd name="connsiteY1" fmla="*/ 21176 h 55387"/>
                <a:gd name="connsiteX2" fmla="*/ 43698 w 54906"/>
                <a:gd name="connsiteY2" fmla="*/ 6845 h 55387"/>
                <a:gd name="connsiteX3" fmla="*/ 32693 w 54906"/>
                <a:gd name="connsiteY3" fmla="*/ 2047 h 55387"/>
                <a:gd name="connsiteX4" fmla="*/ 19066 w 54906"/>
                <a:gd name="connsiteY4" fmla="*/ 3262 h 55387"/>
                <a:gd name="connsiteX5" fmla="*/ 7038 w 54906"/>
                <a:gd name="connsiteY5" fmla="*/ 12347 h 55387"/>
                <a:gd name="connsiteX6" fmla="*/ 1983 w 54906"/>
                <a:gd name="connsiteY6" fmla="*/ 27638 h 55387"/>
                <a:gd name="connsiteX7" fmla="*/ 7038 w 54906"/>
                <a:gd name="connsiteY7" fmla="*/ 42929 h 55387"/>
                <a:gd name="connsiteX8" fmla="*/ 19066 w 54906"/>
                <a:gd name="connsiteY8" fmla="*/ 52014 h 55387"/>
                <a:gd name="connsiteX9" fmla="*/ 32757 w 54906"/>
                <a:gd name="connsiteY9" fmla="*/ 53230 h 55387"/>
                <a:gd name="connsiteX10" fmla="*/ 43762 w 54906"/>
                <a:gd name="connsiteY10" fmla="*/ 48432 h 55387"/>
                <a:gd name="connsiteX11" fmla="*/ 53614 w 54906"/>
                <a:gd name="connsiteY11" fmla="*/ 34100 h 55387"/>
                <a:gd name="connsiteX12" fmla="*/ 54766 w 54906"/>
                <a:gd name="connsiteY12" fmla="*/ 27638 h 55387"/>
                <a:gd name="connsiteX13" fmla="*/ 54894 w 54906"/>
                <a:gd name="connsiteY13" fmla="*/ 29366 h 55387"/>
                <a:gd name="connsiteX14" fmla="*/ 54318 w 54906"/>
                <a:gd name="connsiteY14" fmla="*/ 34292 h 55387"/>
                <a:gd name="connsiteX15" fmla="*/ 44593 w 54906"/>
                <a:gd name="connsiteY15" fmla="*/ 49583 h 55387"/>
                <a:gd name="connsiteX16" fmla="*/ 33013 w 54906"/>
                <a:gd name="connsiteY16" fmla="*/ 54894 h 55387"/>
                <a:gd name="connsiteX17" fmla="*/ 18426 w 54906"/>
                <a:gd name="connsiteY17" fmla="*/ 53806 h 55387"/>
                <a:gd name="connsiteX18" fmla="*/ 5438 w 54906"/>
                <a:gd name="connsiteY18" fmla="*/ 44145 h 55387"/>
                <a:gd name="connsiteX19" fmla="*/ 0 w 54906"/>
                <a:gd name="connsiteY19" fmla="*/ 27702 h 55387"/>
                <a:gd name="connsiteX20" fmla="*/ 5438 w 54906"/>
                <a:gd name="connsiteY20" fmla="*/ 11260 h 55387"/>
                <a:gd name="connsiteX21" fmla="*/ 18426 w 54906"/>
                <a:gd name="connsiteY21" fmla="*/ 1599 h 55387"/>
                <a:gd name="connsiteX22" fmla="*/ 33013 w 54906"/>
                <a:gd name="connsiteY22" fmla="*/ 511 h 55387"/>
                <a:gd name="connsiteX23" fmla="*/ 44593 w 54906"/>
                <a:gd name="connsiteY23" fmla="*/ 5821 h 55387"/>
                <a:gd name="connsiteX24" fmla="*/ 54318 w 54906"/>
                <a:gd name="connsiteY24" fmla="*/ 21113 h 55387"/>
                <a:gd name="connsiteX25" fmla="*/ 54894 w 54906"/>
                <a:gd name="connsiteY25" fmla="*/ 26039 h 55387"/>
                <a:gd name="connsiteX26" fmla="*/ 54766 w 54906"/>
                <a:gd name="connsiteY26" fmla="*/ 27638 h 55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4906" h="55387">
                  <a:moveTo>
                    <a:pt x="54766" y="27638"/>
                  </a:moveTo>
                  <a:cubicBezTo>
                    <a:pt x="54574" y="27638"/>
                    <a:pt x="54638" y="25271"/>
                    <a:pt x="53550" y="21176"/>
                  </a:cubicBezTo>
                  <a:cubicBezTo>
                    <a:pt x="52463" y="17210"/>
                    <a:pt x="49776" y="11324"/>
                    <a:pt x="43698" y="6845"/>
                  </a:cubicBezTo>
                  <a:cubicBezTo>
                    <a:pt x="40691" y="4670"/>
                    <a:pt x="36980" y="2814"/>
                    <a:pt x="32693" y="2047"/>
                  </a:cubicBezTo>
                  <a:cubicBezTo>
                    <a:pt x="28407" y="1343"/>
                    <a:pt x="23608" y="1471"/>
                    <a:pt x="19066" y="3262"/>
                  </a:cubicBezTo>
                  <a:cubicBezTo>
                    <a:pt x="14523" y="4926"/>
                    <a:pt x="10109" y="8061"/>
                    <a:pt x="7038" y="12347"/>
                  </a:cubicBezTo>
                  <a:cubicBezTo>
                    <a:pt x="3839" y="16570"/>
                    <a:pt x="2047" y="22072"/>
                    <a:pt x="1983" y="27638"/>
                  </a:cubicBezTo>
                  <a:cubicBezTo>
                    <a:pt x="2047" y="33269"/>
                    <a:pt x="3839" y="38707"/>
                    <a:pt x="7038" y="42929"/>
                  </a:cubicBezTo>
                  <a:cubicBezTo>
                    <a:pt x="10109" y="47216"/>
                    <a:pt x="14523" y="50351"/>
                    <a:pt x="19066" y="52014"/>
                  </a:cubicBezTo>
                  <a:cubicBezTo>
                    <a:pt x="23608" y="53742"/>
                    <a:pt x="28471" y="53934"/>
                    <a:pt x="32757" y="53230"/>
                  </a:cubicBezTo>
                  <a:cubicBezTo>
                    <a:pt x="37044" y="52526"/>
                    <a:pt x="40819" y="50607"/>
                    <a:pt x="43762" y="48432"/>
                  </a:cubicBezTo>
                  <a:cubicBezTo>
                    <a:pt x="49776" y="43953"/>
                    <a:pt x="52527" y="38067"/>
                    <a:pt x="53614" y="34100"/>
                  </a:cubicBezTo>
                  <a:cubicBezTo>
                    <a:pt x="54638" y="30006"/>
                    <a:pt x="54510" y="27638"/>
                    <a:pt x="54766" y="27638"/>
                  </a:cubicBezTo>
                  <a:cubicBezTo>
                    <a:pt x="54830" y="27638"/>
                    <a:pt x="54894" y="28214"/>
                    <a:pt x="54894" y="29366"/>
                  </a:cubicBezTo>
                  <a:cubicBezTo>
                    <a:pt x="54894" y="30518"/>
                    <a:pt x="54766" y="32181"/>
                    <a:pt x="54318" y="34292"/>
                  </a:cubicBezTo>
                  <a:cubicBezTo>
                    <a:pt x="53422" y="38451"/>
                    <a:pt x="50799" y="44657"/>
                    <a:pt x="44593" y="49583"/>
                  </a:cubicBezTo>
                  <a:cubicBezTo>
                    <a:pt x="41522" y="51950"/>
                    <a:pt x="37556" y="53998"/>
                    <a:pt x="33013" y="54894"/>
                  </a:cubicBezTo>
                  <a:cubicBezTo>
                    <a:pt x="28471" y="55725"/>
                    <a:pt x="23352" y="55597"/>
                    <a:pt x="18426" y="53806"/>
                  </a:cubicBezTo>
                  <a:cubicBezTo>
                    <a:pt x="13499" y="52078"/>
                    <a:pt x="8829" y="48751"/>
                    <a:pt x="5438" y="44145"/>
                  </a:cubicBezTo>
                  <a:cubicBezTo>
                    <a:pt x="1983" y="39602"/>
                    <a:pt x="64" y="33716"/>
                    <a:pt x="0" y="27702"/>
                  </a:cubicBezTo>
                  <a:cubicBezTo>
                    <a:pt x="64" y="21688"/>
                    <a:pt x="1983" y="15802"/>
                    <a:pt x="5438" y="11260"/>
                  </a:cubicBezTo>
                  <a:cubicBezTo>
                    <a:pt x="8765" y="6653"/>
                    <a:pt x="13499" y="3326"/>
                    <a:pt x="18426" y="1599"/>
                  </a:cubicBezTo>
                  <a:cubicBezTo>
                    <a:pt x="23352" y="-256"/>
                    <a:pt x="28471" y="-320"/>
                    <a:pt x="33013" y="511"/>
                  </a:cubicBezTo>
                  <a:cubicBezTo>
                    <a:pt x="37556" y="1343"/>
                    <a:pt x="41522" y="3390"/>
                    <a:pt x="44593" y="5821"/>
                  </a:cubicBezTo>
                  <a:cubicBezTo>
                    <a:pt x="50799" y="10684"/>
                    <a:pt x="53422" y="16954"/>
                    <a:pt x="54318" y="21113"/>
                  </a:cubicBezTo>
                  <a:cubicBezTo>
                    <a:pt x="54766" y="23224"/>
                    <a:pt x="54958" y="24887"/>
                    <a:pt x="54894" y="26039"/>
                  </a:cubicBezTo>
                  <a:cubicBezTo>
                    <a:pt x="54830" y="27063"/>
                    <a:pt x="54830" y="27638"/>
                    <a:pt x="54766" y="27638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FAA18466-5571-49D9-BF8F-60ADB952032B}"/>
                </a:ext>
              </a:extLst>
            </p:cNvPr>
            <p:cNvSpPr/>
            <p:nvPr/>
          </p:nvSpPr>
          <p:spPr>
            <a:xfrm>
              <a:off x="9294907" y="2435371"/>
              <a:ext cx="8363" cy="215161"/>
            </a:xfrm>
            <a:custGeom>
              <a:avLst/>
              <a:gdLst>
                <a:gd name="connsiteX0" fmla="*/ 129 w 8363"/>
                <a:gd name="connsiteY0" fmla="*/ 0 h 215161"/>
                <a:gd name="connsiteX1" fmla="*/ 5184 w 8363"/>
                <a:gd name="connsiteY1" fmla="*/ 107549 h 215161"/>
                <a:gd name="connsiteX2" fmla="*/ 8255 w 8363"/>
                <a:gd name="connsiteY2" fmla="*/ 215162 h 215161"/>
                <a:gd name="connsiteX3" fmla="*/ 3200 w 8363"/>
                <a:gd name="connsiteY3" fmla="*/ 107613 h 215161"/>
                <a:gd name="connsiteX4" fmla="*/ 129 w 8363"/>
                <a:gd name="connsiteY4" fmla="*/ 0 h 21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63" h="215161">
                  <a:moveTo>
                    <a:pt x="129" y="0"/>
                  </a:moveTo>
                  <a:cubicBezTo>
                    <a:pt x="705" y="0"/>
                    <a:pt x="2944" y="48112"/>
                    <a:pt x="5184" y="107549"/>
                  </a:cubicBezTo>
                  <a:cubicBezTo>
                    <a:pt x="7423" y="166985"/>
                    <a:pt x="8766" y="215162"/>
                    <a:pt x="8255" y="215162"/>
                  </a:cubicBezTo>
                  <a:cubicBezTo>
                    <a:pt x="7679" y="215162"/>
                    <a:pt x="5440" y="167049"/>
                    <a:pt x="3200" y="107613"/>
                  </a:cubicBezTo>
                  <a:cubicBezTo>
                    <a:pt x="961" y="48240"/>
                    <a:pt x="-447" y="0"/>
                    <a:pt x="129" y="0"/>
                  </a:cubicBezTo>
                  <a:close/>
                </a:path>
              </a:pathLst>
            </a:custGeom>
            <a:solidFill>
              <a:srgbClr val="263238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7E93631F-7CFB-471C-A147-C826F00F0628}"/>
                </a:ext>
              </a:extLst>
            </p:cNvPr>
            <p:cNvSpPr/>
            <p:nvPr/>
          </p:nvSpPr>
          <p:spPr>
            <a:xfrm>
              <a:off x="9134987" y="1874786"/>
              <a:ext cx="136612" cy="202614"/>
            </a:xfrm>
            <a:custGeom>
              <a:avLst/>
              <a:gdLst>
                <a:gd name="connsiteX0" fmla="*/ 22815 w 136612"/>
                <a:gd name="connsiteY0" fmla="*/ 186691 h 202614"/>
                <a:gd name="connsiteX1" fmla="*/ 31836 w 136612"/>
                <a:gd name="connsiteY1" fmla="*/ 139410 h 202614"/>
                <a:gd name="connsiteX2" fmla="*/ 38 w 136612"/>
                <a:gd name="connsiteY2" fmla="*/ 72552 h 202614"/>
                <a:gd name="connsiteX3" fmla="*/ 12258 w 136612"/>
                <a:gd name="connsiteY3" fmla="*/ 22840 h 202614"/>
                <a:gd name="connsiteX4" fmla="*/ 101125 w 136612"/>
                <a:gd name="connsiteY4" fmla="*/ 0 h 202614"/>
                <a:gd name="connsiteX5" fmla="*/ 135354 w 136612"/>
                <a:gd name="connsiteY5" fmla="*/ 71721 h 202614"/>
                <a:gd name="connsiteX6" fmla="*/ 125565 w 136612"/>
                <a:gd name="connsiteY6" fmla="*/ 154062 h 202614"/>
                <a:gd name="connsiteX7" fmla="*/ 110530 w 136612"/>
                <a:gd name="connsiteY7" fmla="*/ 186691 h 202614"/>
                <a:gd name="connsiteX8" fmla="*/ 22815 w 136612"/>
                <a:gd name="connsiteY8" fmla="*/ 186691 h 202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12" h="202614">
                  <a:moveTo>
                    <a:pt x="22815" y="186691"/>
                  </a:moveTo>
                  <a:cubicBezTo>
                    <a:pt x="20128" y="184452"/>
                    <a:pt x="31836" y="139410"/>
                    <a:pt x="31836" y="139410"/>
                  </a:cubicBezTo>
                  <a:cubicBezTo>
                    <a:pt x="31836" y="139410"/>
                    <a:pt x="870" y="88867"/>
                    <a:pt x="38" y="72552"/>
                  </a:cubicBezTo>
                  <a:cubicBezTo>
                    <a:pt x="-793" y="56238"/>
                    <a:pt x="12258" y="22840"/>
                    <a:pt x="12258" y="22840"/>
                  </a:cubicBezTo>
                  <a:lnTo>
                    <a:pt x="101125" y="0"/>
                  </a:lnTo>
                  <a:cubicBezTo>
                    <a:pt x="101125" y="0"/>
                    <a:pt x="129660" y="52975"/>
                    <a:pt x="135354" y="71721"/>
                  </a:cubicBezTo>
                  <a:cubicBezTo>
                    <a:pt x="141048" y="90466"/>
                    <a:pt x="125565" y="154062"/>
                    <a:pt x="125565" y="154062"/>
                  </a:cubicBezTo>
                  <a:lnTo>
                    <a:pt x="110530" y="186691"/>
                  </a:lnTo>
                  <a:cubicBezTo>
                    <a:pt x="110530" y="186691"/>
                    <a:pt x="65169" y="222519"/>
                    <a:pt x="22815" y="186691"/>
                  </a:cubicBezTo>
                  <a:close/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B116372D-3571-4D36-A34D-F60DC2FB0B1B}"/>
                </a:ext>
              </a:extLst>
            </p:cNvPr>
            <p:cNvSpPr/>
            <p:nvPr/>
          </p:nvSpPr>
          <p:spPr>
            <a:xfrm>
              <a:off x="9118831" y="1765841"/>
              <a:ext cx="153327" cy="248355"/>
            </a:xfrm>
            <a:custGeom>
              <a:avLst/>
              <a:gdLst>
                <a:gd name="connsiteX0" fmla="*/ 16386 w 153327"/>
                <a:gd name="connsiteY0" fmla="*/ 191222 h 248355"/>
                <a:gd name="connsiteX1" fmla="*/ 7045 w 153327"/>
                <a:gd name="connsiteY1" fmla="*/ 171517 h 248355"/>
                <a:gd name="connsiteX2" fmla="*/ 7045 w 153327"/>
                <a:gd name="connsiteY2" fmla="*/ 137608 h 248355"/>
                <a:gd name="connsiteX3" fmla="*/ 20416 w 153327"/>
                <a:gd name="connsiteY3" fmla="*/ 135496 h 248355"/>
                <a:gd name="connsiteX4" fmla="*/ 25215 w 153327"/>
                <a:gd name="connsiteY4" fmla="*/ 120077 h 248355"/>
                <a:gd name="connsiteX5" fmla="*/ 38394 w 153327"/>
                <a:gd name="connsiteY5" fmla="*/ 118926 h 248355"/>
                <a:gd name="connsiteX6" fmla="*/ 45944 w 153327"/>
                <a:gd name="connsiteY6" fmla="*/ 96341 h 248355"/>
                <a:gd name="connsiteX7" fmla="*/ 70576 w 153327"/>
                <a:gd name="connsiteY7" fmla="*/ 95637 h 248355"/>
                <a:gd name="connsiteX8" fmla="*/ 62259 w 153327"/>
                <a:gd name="connsiteY8" fmla="*/ 22637 h 248355"/>
                <a:gd name="connsiteX9" fmla="*/ 78253 w 153327"/>
                <a:gd name="connsiteY9" fmla="*/ 564 h 248355"/>
                <a:gd name="connsiteX10" fmla="*/ 91689 w 153327"/>
                <a:gd name="connsiteY10" fmla="*/ 29547 h 248355"/>
                <a:gd name="connsiteX11" fmla="*/ 106724 w 153327"/>
                <a:gd name="connsiteY11" fmla="*/ 90647 h 248355"/>
                <a:gd name="connsiteX12" fmla="*/ 129693 w 153327"/>
                <a:gd name="connsiteY12" fmla="*/ 132489 h 248355"/>
                <a:gd name="connsiteX13" fmla="*/ 152853 w 153327"/>
                <a:gd name="connsiteY13" fmla="*/ 189559 h 248355"/>
                <a:gd name="connsiteX14" fmla="*/ 142552 w 153327"/>
                <a:gd name="connsiteY14" fmla="*/ 242853 h 248355"/>
                <a:gd name="connsiteX15" fmla="*/ 48119 w 153327"/>
                <a:gd name="connsiteY15" fmla="*/ 248355 h 248355"/>
                <a:gd name="connsiteX16" fmla="*/ 16386 w 153327"/>
                <a:gd name="connsiteY16" fmla="*/ 191222 h 248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27" h="248355">
                  <a:moveTo>
                    <a:pt x="16386" y="191222"/>
                  </a:moveTo>
                  <a:cubicBezTo>
                    <a:pt x="16386" y="191222"/>
                    <a:pt x="12547" y="184568"/>
                    <a:pt x="7045" y="171517"/>
                  </a:cubicBezTo>
                  <a:cubicBezTo>
                    <a:pt x="1414" y="158209"/>
                    <a:pt x="-5495" y="145093"/>
                    <a:pt x="7045" y="137608"/>
                  </a:cubicBezTo>
                  <a:cubicBezTo>
                    <a:pt x="14402" y="133193"/>
                    <a:pt x="20416" y="135496"/>
                    <a:pt x="20416" y="135496"/>
                  </a:cubicBezTo>
                  <a:cubicBezTo>
                    <a:pt x="20416" y="135496"/>
                    <a:pt x="18497" y="124300"/>
                    <a:pt x="25215" y="120077"/>
                  </a:cubicBezTo>
                  <a:cubicBezTo>
                    <a:pt x="31933" y="115855"/>
                    <a:pt x="38394" y="118926"/>
                    <a:pt x="38394" y="118926"/>
                  </a:cubicBezTo>
                  <a:cubicBezTo>
                    <a:pt x="38394" y="118926"/>
                    <a:pt x="36283" y="103059"/>
                    <a:pt x="45944" y="96341"/>
                  </a:cubicBezTo>
                  <a:cubicBezTo>
                    <a:pt x="58036" y="87896"/>
                    <a:pt x="70576" y="95637"/>
                    <a:pt x="70576" y="95637"/>
                  </a:cubicBezTo>
                  <a:cubicBezTo>
                    <a:pt x="70576" y="95637"/>
                    <a:pt x="62899" y="26284"/>
                    <a:pt x="62259" y="22637"/>
                  </a:cubicBezTo>
                  <a:cubicBezTo>
                    <a:pt x="59827" y="9138"/>
                    <a:pt x="64818" y="-2763"/>
                    <a:pt x="78253" y="564"/>
                  </a:cubicBezTo>
                  <a:cubicBezTo>
                    <a:pt x="83180" y="1780"/>
                    <a:pt x="85867" y="6962"/>
                    <a:pt x="91689" y="29547"/>
                  </a:cubicBezTo>
                  <a:cubicBezTo>
                    <a:pt x="97447" y="52132"/>
                    <a:pt x="106724" y="90647"/>
                    <a:pt x="106724" y="90647"/>
                  </a:cubicBezTo>
                  <a:cubicBezTo>
                    <a:pt x="106724" y="90647"/>
                    <a:pt x="122335" y="117774"/>
                    <a:pt x="129693" y="132489"/>
                  </a:cubicBezTo>
                  <a:cubicBezTo>
                    <a:pt x="137050" y="147205"/>
                    <a:pt x="151638" y="180666"/>
                    <a:pt x="152853" y="189559"/>
                  </a:cubicBezTo>
                  <a:cubicBezTo>
                    <a:pt x="155988" y="212463"/>
                    <a:pt x="142552" y="242853"/>
                    <a:pt x="142552" y="242853"/>
                  </a:cubicBezTo>
                  <a:lnTo>
                    <a:pt x="48119" y="248355"/>
                  </a:lnTo>
                  <a:cubicBezTo>
                    <a:pt x="47991" y="248355"/>
                    <a:pt x="19969" y="197812"/>
                    <a:pt x="16386" y="191222"/>
                  </a:cubicBezTo>
                  <a:close/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182CBF6F-E717-4604-936A-B0E71BAE0ED9}"/>
                </a:ext>
              </a:extLst>
            </p:cNvPr>
            <p:cNvSpPr/>
            <p:nvPr/>
          </p:nvSpPr>
          <p:spPr>
            <a:xfrm>
              <a:off x="9125799" y="1904341"/>
              <a:ext cx="35522" cy="45068"/>
            </a:xfrm>
            <a:custGeom>
              <a:avLst/>
              <a:gdLst>
                <a:gd name="connsiteX0" fmla="*/ 15304 w 35522"/>
                <a:gd name="connsiteY0" fmla="*/ 3 h 45068"/>
                <a:gd name="connsiteX1" fmla="*/ 22597 w 35522"/>
                <a:gd name="connsiteY1" fmla="*/ 10176 h 45068"/>
                <a:gd name="connsiteX2" fmla="*/ 30083 w 35522"/>
                <a:gd name="connsiteY2" fmla="*/ 21564 h 45068"/>
                <a:gd name="connsiteX3" fmla="*/ 34114 w 35522"/>
                <a:gd name="connsiteY3" fmla="*/ 28666 h 45068"/>
                <a:gd name="connsiteX4" fmla="*/ 35201 w 35522"/>
                <a:gd name="connsiteY4" fmla="*/ 37687 h 45068"/>
                <a:gd name="connsiteX5" fmla="*/ 29251 w 35522"/>
                <a:gd name="connsiteY5" fmla="*/ 44660 h 45068"/>
                <a:gd name="connsiteX6" fmla="*/ 20806 w 35522"/>
                <a:gd name="connsiteY6" fmla="*/ 43637 h 45068"/>
                <a:gd name="connsiteX7" fmla="*/ 14472 w 35522"/>
                <a:gd name="connsiteY7" fmla="*/ 39734 h 45068"/>
                <a:gd name="connsiteX8" fmla="*/ 9354 w 35522"/>
                <a:gd name="connsiteY8" fmla="*/ 35895 h 45068"/>
                <a:gd name="connsiteX9" fmla="*/ 2316 w 35522"/>
                <a:gd name="connsiteY9" fmla="*/ 30009 h 45068"/>
                <a:gd name="connsiteX10" fmla="*/ 13 w 35522"/>
                <a:gd name="connsiteY10" fmla="*/ 27578 h 45068"/>
                <a:gd name="connsiteX11" fmla="*/ 10249 w 35522"/>
                <a:gd name="connsiteY11" fmla="*/ 34808 h 45068"/>
                <a:gd name="connsiteX12" fmla="*/ 21574 w 35522"/>
                <a:gd name="connsiteY12" fmla="*/ 41973 h 45068"/>
                <a:gd name="connsiteX13" fmla="*/ 28675 w 35522"/>
                <a:gd name="connsiteY13" fmla="*/ 42805 h 45068"/>
                <a:gd name="connsiteX14" fmla="*/ 33282 w 35522"/>
                <a:gd name="connsiteY14" fmla="*/ 37239 h 45068"/>
                <a:gd name="connsiteX15" fmla="*/ 32322 w 35522"/>
                <a:gd name="connsiteY15" fmla="*/ 29433 h 45068"/>
                <a:gd name="connsiteX16" fmla="*/ 28483 w 35522"/>
                <a:gd name="connsiteY16" fmla="*/ 22588 h 45068"/>
                <a:gd name="connsiteX17" fmla="*/ 21382 w 35522"/>
                <a:gd name="connsiteY17" fmla="*/ 11007 h 45068"/>
                <a:gd name="connsiteX18" fmla="*/ 15304 w 35522"/>
                <a:gd name="connsiteY18" fmla="*/ 3 h 45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522" h="45068">
                  <a:moveTo>
                    <a:pt x="15304" y="3"/>
                  </a:moveTo>
                  <a:cubicBezTo>
                    <a:pt x="15560" y="-125"/>
                    <a:pt x="18311" y="3778"/>
                    <a:pt x="22597" y="10176"/>
                  </a:cubicBezTo>
                  <a:cubicBezTo>
                    <a:pt x="24837" y="13567"/>
                    <a:pt x="27332" y="17405"/>
                    <a:pt x="30083" y="21564"/>
                  </a:cubicBezTo>
                  <a:cubicBezTo>
                    <a:pt x="31490" y="23739"/>
                    <a:pt x="32962" y="25979"/>
                    <a:pt x="34114" y="28666"/>
                  </a:cubicBezTo>
                  <a:cubicBezTo>
                    <a:pt x="35265" y="31289"/>
                    <a:pt x="35969" y="34488"/>
                    <a:pt x="35201" y="37687"/>
                  </a:cubicBezTo>
                  <a:cubicBezTo>
                    <a:pt x="34562" y="40822"/>
                    <a:pt x="32322" y="43829"/>
                    <a:pt x="29251" y="44660"/>
                  </a:cubicBezTo>
                  <a:cubicBezTo>
                    <a:pt x="26180" y="45620"/>
                    <a:pt x="23173" y="44724"/>
                    <a:pt x="20806" y="43637"/>
                  </a:cubicBezTo>
                  <a:cubicBezTo>
                    <a:pt x="18375" y="42549"/>
                    <a:pt x="16327" y="41078"/>
                    <a:pt x="14472" y="39734"/>
                  </a:cubicBezTo>
                  <a:cubicBezTo>
                    <a:pt x="12617" y="38391"/>
                    <a:pt x="10889" y="37111"/>
                    <a:pt x="9354" y="35895"/>
                  </a:cubicBezTo>
                  <a:cubicBezTo>
                    <a:pt x="6283" y="33528"/>
                    <a:pt x="3916" y="31481"/>
                    <a:pt x="2316" y="30009"/>
                  </a:cubicBezTo>
                  <a:cubicBezTo>
                    <a:pt x="717" y="28538"/>
                    <a:pt x="-115" y="27642"/>
                    <a:pt x="13" y="27578"/>
                  </a:cubicBezTo>
                  <a:cubicBezTo>
                    <a:pt x="205" y="27322"/>
                    <a:pt x="3916" y="30329"/>
                    <a:pt x="10249" y="34808"/>
                  </a:cubicBezTo>
                  <a:cubicBezTo>
                    <a:pt x="13448" y="36919"/>
                    <a:pt x="17095" y="39926"/>
                    <a:pt x="21574" y="41973"/>
                  </a:cubicBezTo>
                  <a:cubicBezTo>
                    <a:pt x="23813" y="42933"/>
                    <a:pt x="26372" y="43637"/>
                    <a:pt x="28675" y="42805"/>
                  </a:cubicBezTo>
                  <a:cubicBezTo>
                    <a:pt x="31043" y="42101"/>
                    <a:pt x="32706" y="39862"/>
                    <a:pt x="33282" y="37239"/>
                  </a:cubicBezTo>
                  <a:cubicBezTo>
                    <a:pt x="33922" y="34616"/>
                    <a:pt x="33346" y="31865"/>
                    <a:pt x="32322" y="29433"/>
                  </a:cubicBezTo>
                  <a:cubicBezTo>
                    <a:pt x="31299" y="27002"/>
                    <a:pt x="29827" y="24763"/>
                    <a:pt x="28483" y="22588"/>
                  </a:cubicBezTo>
                  <a:cubicBezTo>
                    <a:pt x="25860" y="18365"/>
                    <a:pt x="23493" y="14462"/>
                    <a:pt x="21382" y="11007"/>
                  </a:cubicBezTo>
                  <a:cubicBezTo>
                    <a:pt x="17415" y="4354"/>
                    <a:pt x="15112" y="195"/>
                    <a:pt x="15304" y="3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E01F4540-C7BC-4635-B102-58FD85F1260A}"/>
                </a:ext>
              </a:extLst>
            </p:cNvPr>
            <p:cNvSpPr/>
            <p:nvPr/>
          </p:nvSpPr>
          <p:spPr>
            <a:xfrm>
              <a:off x="9218139" y="1884119"/>
              <a:ext cx="7353" cy="28478"/>
            </a:xfrm>
            <a:custGeom>
              <a:avLst/>
              <a:gdLst>
                <a:gd name="connsiteX0" fmla="*/ 442 w 7353"/>
                <a:gd name="connsiteY0" fmla="*/ 28479 h 28478"/>
                <a:gd name="connsiteX1" fmla="*/ 1402 w 7353"/>
                <a:gd name="connsiteY1" fmla="*/ 13636 h 28478"/>
                <a:gd name="connsiteX2" fmla="*/ 7288 w 7353"/>
                <a:gd name="connsiteY2" fmla="*/ 8 h 28478"/>
                <a:gd name="connsiteX3" fmla="*/ 3321 w 7353"/>
                <a:gd name="connsiteY3" fmla="*/ 14148 h 28478"/>
                <a:gd name="connsiteX4" fmla="*/ 442 w 7353"/>
                <a:gd name="connsiteY4" fmla="*/ 28479 h 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3" h="28478">
                  <a:moveTo>
                    <a:pt x="442" y="28479"/>
                  </a:moveTo>
                  <a:cubicBezTo>
                    <a:pt x="-70" y="28479"/>
                    <a:pt x="-517" y="21697"/>
                    <a:pt x="1402" y="13636"/>
                  </a:cubicBezTo>
                  <a:cubicBezTo>
                    <a:pt x="3321" y="5574"/>
                    <a:pt x="6840" y="-248"/>
                    <a:pt x="7288" y="8"/>
                  </a:cubicBezTo>
                  <a:cubicBezTo>
                    <a:pt x="7800" y="264"/>
                    <a:pt x="5177" y="6278"/>
                    <a:pt x="3321" y="14148"/>
                  </a:cubicBezTo>
                  <a:cubicBezTo>
                    <a:pt x="1402" y="21889"/>
                    <a:pt x="1018" y="28479"/>
                    <a:pt x="442" y="28479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1E67A93D-D81E-48E8-BCEC-403A3EE90EFF}"/>
                </a:ext>
              </a:extLst>
            </p:cNvPr>
            <p:cNvSpPr/>
            <p:nvPr/>
          </p:nvSpPr>
          <p:spPr>
            <a:xfrm>
              <a:off x="9161880" y="1914253"/>
              <a:ext cx="94129" cy="42827"/>
            </a:xfrm>
            <a:custGeom>
              <a:avLst/>
              <a:gdLst>
                <a:gd name="connsiteX0" fmla="*/ 94129 w 94129"/>
                <a:gd name="connsiteY0" fmla="*/ 18626 h 42827"/>
                <a:gd name="connsiteX1" fmla="*/ 62524 w 94129"/>
                <a:gd name="connsiteY1" fmla="*/ 2119 h 42827"/>
                <a:gd name="connsiteX2" fmla="*/ 26567 w 94129"/>
                <a:gd name="connsiteY2" fmla="*/ 712 h 42827"/>
                <a:gd name="connsiteX3" fmla="*/ 1616 w 94129"/>
                <a:gd name="connsiteY3" fmla="*/ 12676 h 42827"/>
                <a:gd name="connsiteX4" fmla="*/ 11085 w 94129"/>
                <a:gd name="connsiteY4" fmla="*/ 38011 h 42827"/>
                <a:gd name="connsiteX5" fmla="*/ 40003 w 94129"/>
                <a:gd name="connsiteY5" fmla="*/ 42426 h 42827"/>
                <a:gd name="connsiteX6" fmla="*/ 69689 w 94129"/>
                <a:gd name="connsiteY6" fmla="*/ 41210 h 42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129" h="42827">
                  <a:moveTo>
                    <a:pt x="94129" y="18626"/>
                  </a:moveTo>
                  <a:cubicBezTo>
                    <a:pt x="85684" y="10052"/>
                    <a:pt x="74296" y="4678"/>
                    <a:pt x="62524" y="2119"/>
                  </a:cubicBezTo>
                  <a:cubicBezTo>
                    <a:pt x="50751" y="-440"/>
                    <a:pt x="38531" y="-376"/>
                    <a:pt x="26567" y="712"/>
                  </a:cubicBezTo>
                  <a:cubicBezTo>
                    <a:pt x="16971" y="1607"/>
                    <a:pt x="5966" y="4038"/>
                    <a:pt x="1616" y="12676"/>
                  </a:cubicBezTo>
                  <a:cubicBezTo>
                    <a:pt x="-2863" y="21505"/>
                    <a:pt x="2511" y="32957"/>
                    <a:pt x="11085" y="38011"/>
                  </a:cubicBezTo>
                  <a:cubicBezTo>
                    <a:pt x="19658" y="43066"/>
                    <a:pt x="30150" y="43322"/>
                    <a:pt x="40003" y="42426"/>
                  </a:cubicBezTo>
                  <a:cubicBezTo>
                    <a:pt x="49920" y="41530"/>
                    <a:pt x="59837" y="39675"/>
                    <a:pt x="69689" y="41210"/>
                  </a:cubicBezTo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8480061-4407-4E27-88ED-CA6A04E1ABCF}"/>
                </a:ext>
              </a:extLst>
            </p:cNvPr>
            <p:cNvSpPr/>
            <p:nvPr/>
          </p:nvSpPr>
          <p:spPr>
            <a:xfrm>
              <a:off x="9160927" y="1913364"/>
              <a:ext cx="95089" cy="44511"/>
            </a:xfrm>
            <a:custGeom>
              <a:avLst/>
              <a:gdLst>
                <a:gd name="connsiteX0" fmla="*/ 70643 w 95089"/>
                <a:gd name="connsiteY0" fmla="*/ 42100 h 44511"/>
                <a:gd name="connsiteX1" fmla="*/ 63221 w 95089"/>
                <a:gd name="connsiteY1" fmla="*/ 41908 h 44511"/>
                <a:gd name="connsiteX2" fmla="*/ 43004 w 95089"/>
                <a:gd name="connsiteY2" fmla="*/ 43827 h 44511"/>
                <a:gd name="connsiteX3" fmla="*/ 28800 w 95089"/>
                <a:gd name="connsiteY3" fmla="*/ 44403 h 44511"/>
                <a:gd name="connsiteX4" fmla="*/ 12870 w 95089"/>
                <a:gd name="connsiteY4" fmla="*/ 40436 h 44511"/>
                <a:gd name="connsiteX5" fmla="*/ 1034 w 95089"/>
                <a:gd name="connsiteY5" fmla="*/ 26681 h 44511"/>
                <a:gd name="connsiteX6" fmla="*/ 394 w 95089"/>
                <a:gd name="connsiteY6" fmla="*/ 16828 h 44511"/>
                <a:gd name="connsiteX7" fmla="*/ 5576 w 95089"/>
                <a:gd name="connsiteY7" fmla="*/ 8127 h 44511"/>
                <a:gd name="connsiteX8" fmla="*/ 23746 w 95089"/>
                <a:gd name="connsiteY8" fmla="*/ 1089 h 44511"/>
                <a:gd name="connsiteX9" fmla="*/ 41660 w 95089"/>
                <a:gd name="connsiteY9" fmla="*/ 2 h 44511"/>
                <a:gd name="connsiteX10" fmla="*/ 71666 w 95089"/>
                <a:gd name="connsiteY10" fmla="*/ 4544 h 44511"/>
                <a:gd name="connsiteX11" fmla="*/ 89708 w 95089"/>
                <a:gd name="connsiteY11" fmla="*/ 14269 h 44511"/>
                <a:gd name="connsiteX12" fmla="*/ 93867 w 95089"/>
                <a:gd name="connsiteY12" fmla="*/ 17980 h 44511"/>
                <a:gd name="connsiteX13" fmla="*/ 95083 w 95089"/>
                <a:gd name="connsiteY13" fmla="*/ 19451 h 44511"/>
                <a:gd name="connsiteX14" fmla="*/ 89261 w 95089"/>
                <a:gd name="connsiteY14" fmla="*/ 14845 h 44511"/>
                <a:gd name="connsiteX15" fmla="*/ 71282 w 95089"/>
                <a:gd name="connsiteY15" fmla="*/ 5824 h 44511"/>
                <a:gd name="connsiteX16" fmla="*/ 41724 w 95089"/>
                <a:gd name="connsiteY16" fmla="*/ 1793 h 44511"/>
                <a:gd name="connsiteX17" fmla="*/ 24066 w 95089"/>
                <a:gd name="connsiteY17" fmla="*/ 2945 h 44511"/>
                <a:gd name="connsiteX18" fmla="*/ 6984 w 95089"/>
                <a:gd name="connsiteY18" fmla="*/ 9535 h 44511"/>
                <a:gd name="connsiteX19" fmla="*/ 2377 w 95089"/>
                <a:gd name="connsiteY19" fmla="*/ 17212 h 44511"/>
                <a:gd name="connsiteX20" fmla="*/ 2953 w 95089"/>
                <a:gd name="connsiteY20" fmla="*/ 25977 h 44511"/>
                <a:gd name="connsiteX21" fmla="*/ 13765 w 95089"/>
                <a:gd name="connsiteY21" fmla="*/ 38709 h 44511"/>
                <a:gd name="connsiteX22" fmla="*/ 28928 w 95089"/>
                <a:gd name="connsiteY22" fmla="*/ 42676 h 44511"/>
                <a:gd name="connsiteX23" fmla="*/ 42876 w 95089"/>
                <a:gd name="connsiteY23" fmla="*/ 42292 h 44511"/>
                <a:gd name="connsiteX24" fmla="*/ 63285 w 95089"/>
                <a:gd name="connsiteY24" fmla="*/ 41012 h 44511"/>
                <a:gd name="connsiteX25" fmla="*/ 68851 w 95089"/>
                <a:gd name="connsiteY25" fmla="*/ 41524 h 44511"/>
                <a:gd name="connsiteX26" fmla="*/ 70643 w 95089"/>
                <a:gd name="connsiteY26" fmla="*/ 42100 h 4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5089" h="44511">
                  <a:moveTo>
                    <a:pt x="70643" y="42100"/>
                  </a:moveTo>
                  <a:cubicBezTo>
                    <a:pt x="70643" y="42292"/>
                    <a:pt x="67956" y="41844"/>
                    <a:pt x="63221" y="41908"/>
                  </a:cubicBezTo>
                  <a:cubicBezTo>
                    <a:pt x="58423" y="41908"/>
                    <a:pt x="51577" y="42804"/>
                    <a:pt x="43004" y="43827"/>
                  </a:cubicBezTo>
                  <a:cubicBezTo>
                    <a:pt x="38717" y="44275"/>
                    <a:pt x="33983" y="44723"/>
                    <a:pt x="28800" y="44403"/>
                  </a:cubicBezTo>
                  <a:cubicBezTo>
                    <a:pt x="23682" y="44083"/>
                    <a:pt x="18116" y="43188"/>
                    <a:pt x="12870" y="40436"/>
                  </a:cubicBezTo>
                  <a:cubicBezTo>
                    <a:pt x="7623" y="37749"/>
                    <a:pt x="3145" y="32823"/>
                    <a:pt x="1034" y="26681"/>
                  </a:cubicBezTo>
                  <a:cubicBezTo>
                    <a:pt x="-54" y="23610"/>
                    <a:pt x="-310" y="20219"/>
                    <a:pt x="394" y="16828"/>
                  </a:cubicBezTo>
                  <a:cubicBezTo>
                    <a:pt x="1161" y="13501"/>
                    <a:pt x="3017" y="10366"/>
                    <a:pt x="5576" y="8127"/>
                  </a:cubicBezTo>
                  <a:cubicBezTo>
                    <a:pt x="10822" y="3457"/>
                    <a:pt x="17604" y="1985"/>
                    <a:pt x="23746" y="1089"/>
                  </a:cubicBezTo>
                  <a:cubicBezTo>
                    <a:pt x="29952" y="322"/>
                    <a:pt x="35966" y="2"/>
                    <a:pt x="41660" y="2"/>
                  </a:cubicBezTo>
                  <a:cubicBezTo>
                    <a:pt x="53112" y="-62"/>
                    <a:pt x="63477" y="1665"/>
                    <a:pt x="71666" y="4544"/>
                  </a:cubicBezTo>
                  <a:cubicBezTo>
                    <a:pt x="79920" y="7423"/>
                    <a:pt x="85934" y="11198"/>
                    <a:pt x="89708" y="14269"/>
                  </a:cubicBezTo>
                  <a:cubicBezTo>
                    <a:pt x="91628" y="15805"/>
                    <a:pt x="92971" y="17084"/>
                    <a:pt x="93867" y="17980"/>
                  </a:cubicBezTo>
                  <a:cubicBezTo>
                    <a:pt x="94763" y="18939"/>
                    <a:pt x="95147" y="19451"/>
                    <a:pt x="95083" y="19451"/>
                  </a:cubicBezTo>
                  <a:cubicBezTo>
                    <a:pt x="94955" y="19579"/>
                    <a:pt x="93099" y="17660"/>
                    <a:pt x="89261" y="14845"/>
                  </a:cubicBezTo>
                  <a:cubicBezTo>
                    <a:pt x="85422" y="12030"/>
                    <a:pt x="79408" y="8447"/>
                    <a:pt x="71282" y="5824"/>
                  </a:cubicBezTo>
                  <a:cubicBezTo>
                    <a:pt x="63157" y="3137"/>
                    <a:pt x="53049" y="1665"/>
                    <a:pt x="41724" y="1793"/>
                  </a:cubicBezTo>
                  <a:cubicBezTo>
                    <a:pt x="36094" y="1857"/>
                    <a:pt x="30080" y="2241"/>
                    <a:pt x="24066" y="2945"/>
                  </a:cubicBezTo>
                  <a:cubicBezTo>
                    <a:pt x="18116" y="3840"/>
                    <a:pt x="11654" y="5376"/>
                    <a:pt x="6984" y="9535"/>
                  </a:cubicBezTo>
                  <a:cubicBezTo>
                    <a:pt x="4616" y="11582"/>
                    <a:pt x="3081" y="14333"/>
                    <a:pt x="2377" y="17212"/>
                  </a:cubicBezTo>
                  <a:cubicBezTo>
                    <a:pt x="1801" y="20155"/>
                    <a:pt x="1993" y="23226"/>
                    <a:pt x="2953" y="25977"/>
                  </a:cubicBezTo>
                  <a:cubicBezTo>
                    <a:pt x="4808" y="31607"/>
                    <a:pt x="8967" y="36214"/>
                    <a:pt x="13765" y="38709"/>
                  </a:cubicBezTo>
                  <a:cubicBezTo>
                    <a:pt x="18628" y="41332"/>
                    <a:pt x="23938" y="42356"/>
                    <a:pt x="28928" y="42676"/>
                  </a:cubicBezTo>
                  <a:cubicBezTo>
                    <a:pt x="33919" y="42996"/>
                    <a:pt x="38589" y="42676"/>
                    <a:pt x="42876" y="42292"/>
                  </a:cubicBezTo>
                  <a:cubicBezTo>
                    <a:pt x="51385" y="41460"/>
                    <a:pt x="58423" y="40756"/>
                    <a:pt x="63285" y="41012"/>
                  </a:cubicBezTo>
                  <a:cubicBezTo>
                    <a:pt x="65716" y="41076"/>
                    <a:pt x="67572" y="41332"/>
                    <a:pt x="68851" y="41524"/>
                  </a:cubicBezTo>
                  <a:cubicBezTo>
                    <a:pt x="70003" y="41908"/>
                    <a:pt x="70643" y="42036"/>
                    <a:pt x="70643" y="42100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57FC0E39-374E-4869-9CD3-C195B6D0917B}"/>
                </a:ext>
              </a:extLst>
            </p:cNvPr>
            <p:cNvSpPr/>
            <p:nvPr/>
          </p:nvSpPr>
          <p:spPr>
            <a:xfrm>
              <a:off x="9141807" y="1900250"/>
              <a:ext cx="52974" cy="65858"/>
            </a:xfrm>
            <a:custGeom>
              <a:avLst/>
              <a:gdLst>
                <a:gd name="connsiteX0" fmla="*/ 0 w 52974"/>
                <a:gd name="connsiteY0" fmla="*/ 5182 h 65858"/>
                <a:gd name="connsiteX1" fmla="*/ 27063 w 52974"/>
                <a:gd name="connsiteY1" fmla="*/ 52847 h 65858"/>
                <a:gd name="connsiteX2" fmla="*/ 36532 w 52974"/>
                <a:gd name="connsiteY2" fmla="*/ 65195 h 65858"/>
                <a:gd name="connsiteX3" fmla="*/ 52975 w 52974"/>
                <a:gd name="connsiteY3" fmla="*/ 62060 h 65858"/>
                <a:gd name="connsiteX4" fmla="*/ 25720 w 52974"/>
                <a:gd name="connsiteY4" fmla="*/ 0 h 65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74" h="65858">
                  <a:moveTo>
                    <a:pt x="0" y="5182"/>
                  </a:moveTo>
                  <a:cubicBezTo>
                    <a:pt x="9917" y="20281"/>
                    <a:pt x="18682" y="36852"/>
                    <a:pt x="27063" y="52847"/>
                  </a:cubicBezTo>
                  <a:cubicBezTo>
                    <a:pt x="29494" y="57517"/>
                    <a:pt x="32053" y="62444"/>
                    <a:pt x="36532" y="65195"/>
                  </a:cubicBezTo>
                  <a:cubicBezTo>
                    <a:pt x="40115" y="67434"/>
                    <a:pt x="49008" y="63403"/>
                    <a:pt x="52975" y="62060"/>
                  </a:cubicBezTo>
                  <a:lnTo>
                    <a:pt x="25720" y="0"/>
                  </a:lnTo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743CBE9A-0962-44E9-BA8C-07D1A2ADED02}"/>
                </a:ext>
              </a:extLst>
            </p:cNvPr>
            <p:cNvSpPr/>
            <p:nvPr/>
          </p:nvSpPr>
          <p:spPr>
            <a:xfrm>
              <a:off x="9141740" y="1900248"/>
              <a:ext cx="54384" cy="66923"/>
            </a:xfrm>
            <a:custGeom>
              <a:avLst/>
              <a:gdLst>
                <a:gd name="connsiteX0" fmla="*/ 25786 w 54384"/>
                <a:gd name="connsiteY0" fmla="*/ 2 h 66923"/>
                <a:gd name="connsiteX1" fmla="*/ 28217 w 54384"/>
                <a:gd name="connsiteY1" fmla="*/ 4608 h 66923"/>
                <a:gd name="connsiteX2" fmla="*/ 34232 w 54384"/>
                <a:gd name="connsiteY2" fmla="*/ 17596 h 66923"/>
                <a:gd name="connsiteX3" fmla="*/ 53937 w 54384"/>
                <a:gd name="connsiteY3" fmla="*/ 61678 h 66923"/>
                <a:gd name="connsiteX4" fmla="*/ 54385 w 54384"/>
                <a:gd name="connsiteY4" fmla="*/ 62637 h 66923"/>
                <a:gd name="connsiteX5" fmla="*/ 53361 w 54384"/>
                <a:gd name="connsiteY5" fmla="*/ 63021 h 66923"/>
                <a:gd name="connsiteX6" fmla="*/ 43828 w 54384"/>
                <a:gd name="connsiteY6" fmla="*/ 66284 h 66923"/>
                <a:gd name="connsiteX7" fmla="*/ 39670 w 54384"/>
                <a:gd name="connsiteY7" fmla="*/ 66924 h 66923"/>
                <a:gd name="connsiteX8" fmla="*/ 37430 w 54384"/>
                <a:gd name="connsiteY8" fmla="*/ 66668 h 66923"/>
                <a:gd name="connsiteX9" fmla="*/ 35383 w 54384"/>
                <a:gd name="connsiteY9" fmla="*/ 65644 h 66923"/>
                <a:gd name="connsiteX10" fmla="*/ 29881 w 54384"/>
                <a:gd name="connsiteY10" fmla="*/ 59758 h 66923"/>
                <a:gd name="connsiteX11" fmla="*/ 22907 w 54384"/>
                <a:gd name="connsiteY11" fmla="*/ 46835 h 66923"/>
                <a:gd name="connsiteX12" fmla="*/ 11263 w 54384"/>
                <a:gd name="connsiteY12" fmla="*/ 25018 h 66923"/>
                <a:gd name="connsiteX13" fmla="*/ 3010 w 54384"/>
                <a:gd name="connsiteY13" fmla="*/ 10558 h 66923"/>
                <a:gd name="connsiteX14" fmla="*/ 3 w 54384"/>
                <a:gd name="connsiteY14" fmla="*/ 5184 h 66923"/>
                <a:gd name="connsiteX15" fmla="*/ 3650 w 54384"/>
                <a:gd name="connsiteY15" fmla="*/ 10110 h 66923"/>
                <a:gd name="connsiteX16" fmla="*/ 12478 w 54384"/>
                <a:gd name="connsiteY16" fmla="*/ 24314 h 66923"/>
                <a:gd name="connsiteX17" fmla="*/ 24507 w 54384"/>
                <a:gd name="connsiteY17" fmla="*/ 45939 h 66923"/>
                <a:gd name="connsiteX18" fmla="*/ 31480 w 54384"/>
                <a:gd name="connsiteY18" fmla="*/ 58607 h 66923"/>
                <a:gd name="connsiteX19" fmla="*/ 36471 w 54384"/>
                <a:gd name="connsiteY19" fmla="*/ 63917 h 66923"/>
                <a:gd name="connsiteX20" fmla="*/ 43316 w 54384"/>
                <a:gd name="connsiteY20" fmla="*/ 64237 h 66923"/>
                <a:gd name="connsiteX21" fmla="*/ 52658 w 54384"/>
                <a:gd name="connsiteY21" fmla="*/ 61038 h 66923"/>
                <a:gd name="connsiteX22" fmla="*/ 52082 w 54384"/>
                <a:gd name="connsiteY22" fmla="*/ 62381 h 66923"/>
                <a:gd name="connsiteX23" fmla="*/ 32952 w 54384"/>
                <a:gd name="connsiteY23" fmla="*/ 18044 h 66923"/>
                <a:gd name="connsiteX24" fmla="*/ 27450 w 54384"/>
                <a:gd name="connsiteY24" fmla="*/ 4800 h 66923"/>
                <a:gd name="connsiteX25" fmla="*/ 25786 w 54384"/>
                <a:gd name="connsiteY25" fmla="*/ 2 h 6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84" h="66923">
                  <a:moveTo>
                    <a:pt x="25786" y="2"/>
                  </a:moveTo>
                  <a:cubicBezTo>
                    <a:pt x="25914" y="-62"/>
                    <a:pt x="26746" y="1601"/>
                    <a:pt x="28217" y="4608"/>
                  </a:cubicBezTo>
                  <a:cubicBezTo>
                    <a:pt x="29753" y="7999"/>
                    <a:pt x="31800" y="12350"/>
                    <a:pt x="34232" y="17596"/>
                  </a:cubicBezTo>
                  <a:cubicBezTo>
                    <a:pt x="39286" y="28664"/>
                    <a:pt x="46196" y="44147"/>
                    <a:pt x="53937" y="61678"/>
                  </a:cubicBezTo>
                  <a:lnTo>
                    <a:pt x="54385" y="62637"/>
                  </a:lnTo>
                  <a:lnTo>
                    <a:pt x="53361" y="63021"/>
                  </a:lnTo>
                  <a:cubicBezTo>
                    <a:pt x="50418" y="64045"/>
                    <a:pt x="47219" y="65388"/>
                    <a:pt x="43828" y="66284"/>
                  </a:cubicBezTo>
                  <a:cubicBezTo>
                    <a:pt x="42485" y="66604"/>
                    <a:pt x="41077" y="66860"/>
                    <a:pt x="39670" y="66924"/>
                  </a:cubicBezTo>
                  <a:cubicBezTo>
                    <a:pt x="38966" y="66924"/>
                    <a:pt x="38198" y="66924"/>
                    <a:pt x="37430" y="66668"/>
                  </a:cubicBezTo>
                  <a:cubicBezTo>
                    <a:pt x="36663" y="66476"/>
                    <a:pt x="35895" y="66028"/>
                    <a:pt x="35383" y="65644"/>
                  </a:cubicBezTo>
                  <a:cubicBezTo>
                    <a:pt x="33080" y="64045"/>
                    <a:pt x="31352" y="61934"/>
                    <a:pt x="29881" y="59758"/>
                  </a:cubicBezTo>
                  <a:cubicBezTo>
                    <a:pt x="27066" y="55344"/>
                    <a:pt x="25082" y="50929"/>
                    <a:pt x="22907" y="46835"/>
                  </a:cubicBezTo>
                  <a:cubicBezTo>
                    <a:pt x="18621" y="38581"/>
                    <a:pt x="14718" y="31160"/>
                    <a:pt x="11263" y="25018"/>
                  </a:cubicBezTo>
                  <a:cubicBezTo>
                    <a:pt x="7872" y="18876"/>
                    <a:pt x="4993" y="13949"/>
                    <a:pt x="3010" y="10558"/>
                  </a:cubicBezTo>
                  <a:cubicBezTo>
                    <a:pt x="1026" y="7167"/>
                    <a:pt x="-61" y="5312"/>
                    <a:pt x="3" y="5184"/>
                  </a:cubicBezTo>
                  <a:cubicBezTo>
                    <a:pt x="131" y="5120"/>
                    <a:pt x="1410" y="6848"/>
                    <a:pt x="3650" y="10110"/>
                  </a:cubicBezTo>
                  <a:cubicBezTo>
                    <a:pt x="5825" y="13373"/>
                    <a:pt x="8896" y="18172"/>
                    <a:pt x="12478" y="24314"/>
                  </a:cubicBezTo>
                  <a:cubicBezTo>
                    <a:pt x="16061" y="30392"/>
                    <a:pt x="20092" y="37749"/>
                    <a:pt x="24507" y="45939"/>
                  </a:cubicBezTo>
                  <a:cubicBezTo>
                    <a:pt x="26746" y="49969"/>
                    <a:pt x="28857" y="54512"/>
                    <a:pt x="31480" y="58607"/>
                  </a:cubicBezTo>
                  <a:cubicBezTo>
                    <a:pt x="32824" y="60654"/>
                    <a:pt x="34487" y="62573"/>
                    <a:pt x="36471" y="63917"/>
                  </a:cubicBezTo>
                  <a:cubicBezTo>
                    <a:pt x="38198" y="65325"/>
                    <a:pt x="40821" y="64813"/>
                    <a:pt x="43316" y="64237"/>
                  </a:cubicBezTo>
                  <a:cubicBezTo>
                    <a:pt x="46515" y="63405"/>
                    <a:pt x="49586" y="62126"/>
                    <a:pt x="52658" y="61038"/>
                  </a:cubicBezTo>
                  <a:lnTo>
                    <a:pt x="52082" y="62381"/>
                  </a:lnTo>
                  <a:cubicBezTo>
                    <a:pt x="44404" y="44851"/>
                    <a:pt x="37686" y="29240"/>
                    <a:pt x="32952" y="18044"/>
                  </a:cubicBezTo>
                  <a:cubicBezTo>
                    <a:pt x="30713" y="12670"/>
                    <a:pt x="28857" y="8255"/>
                    <a:pt x="27450" y="4800"/>
                  </a:cubicBezTo>
                  <a:cubicBezTo>
                    <a:pt x="26298" y="1793"/>
                    <a:pt x="25658" y="2"/>
                    <a:pt x="25786" y="2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1CE7BA1C-F680-4C13-8679-E3616890B336}"/>
                </a:ext>
              </a:extLst>
            </p:cNvPr>
            <p:cNvSpPr/>
            <p:nvPr/>
          </p:nvSpPr>
          <p:spPr>
            <a:xfrm>
              <a:off x="9160169" y="1869732"/>
              <a:ext cx="58374" cy="97121"/>
            </a:xfrm>
            <a:custGeom>
              <a:avLst/>
              <a:gdLst>
                <a:gd name="connsiteX0" fmla="*/ 0 w 58374"/>
                <a:gd name="connsiteY0" fmla="*/ 12028 h 97121"/>
                <a:gd name="connsiteX1" fmla="*/ 26295 w 58374"/>
                <a:gd name="connsiteY1" fmla="*/ 77991 h 97121"/>
                <a:gd name="connsiteX2" fmla="*/ 33397 w 58374"/>
                <a:gd name="connsiteY2" fmla="*/ 91234 h 97121"/>
                <a:gd name="connsiteX3" fmla="*/ 46641 w 58374"/>
                <a:gd name="connsiteY3" fmla="*/ 96992 h 97121"/>
                <a:gd name="connsiteX4" fmla="*/ 58349 w 58374"/>
                <a:gd name="connsiteY4" fmla="*/ 81765 h 97121"/>
                <a:gd name="connsiteX5" fmla="*/ 53423 w 58374"/>
                <a:gd name="connsiteY5" fmla="*/ 61740 h 97121"/>
                <a:gd name="connsiteX6" fmla="*/ 34549 w 58374"/>
                <a:gd name="connsiteY6" fmla="*/ 0 h 97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74" h="97121">
                  <a:moveTo>
                    <a:pt x="0" y="12028"/>
                  </a:moveTo>
                  <a:cubicBezTo>
                    <a:pt x="8765" y="34037"/>
                    <a:pt x="17530" y="55982"/>
                    <a:pt x="26295" y="77991"/>
                  </a:cubicBezTo>
                  <a:cubicBezTo>
                    <a:pt x="28151" y="82661"/>
                    <a:pt x="30070" y="87396"/>
                    <a:pt x="33397" y="91234"/>
                  </a:cubicBezTo>
                  <a:cubicBezTo>
                    <a:pt x="36660" y="95009"/>
                    <a:pt x="41650" y="97760"/>
                    <a:pt x="46641" y="96992"/>
                  </a:cubicBezTo>
                  <a:cubicBezTo>
                    <a:pt x="53486" y="95969"/>
                    <a:pt x="57965" y="88675"/>
                    <a:pt x="58349" y="81765"/>
                  </a:cubicBezTo>
                  <a:cubicBezTo>
                    <a:pt x="58669" y="74856"/>
                    <a:pt x="55982" y="68202"/>
                    <a:pt x="53423" y="61740"/>
                  </a:cubicBezTo>
                  <a:cubicBezTo>
                    <a:pt x="45553" y="41714"/>
                    <a:pt x="39219" y="21049"/>
                    <a:pt x="34549" y="0"/>
                  </a:cubicBezTo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11590BEE-2EFB-44B8-A9F5-DD5AD6B96AD9}"/>
                </a:ext>
              </a:extLst>
            </p:cNvPr>
            <p:cNvSpPr/>
            <p:nvPr/>
          </p:nvSpPr>
          <p:spPr>
            <a:xfrm>
              <a:off x="9160157" y="1869796"/>
              <a:ext cx="59311" cy="98067"/>
            </a:xfrm>
            <a:custGeom>
              <a:avLst/>
              <a:gdLst>
                <a:gd name="connsiteX0" fmla="*/ 34561 w 59311"/>
                <a:gd name="connsiteY0" fmla="*/ 0 h 98067"/>
                <a:gd name="connsiteX1" fmla="*/ 35201 w 59311"/>
                <a:gd name="connsiteY1" fmla="*/ 1983 h 98067"/>
                <a:gd name="connsiteX2" fmla="*/ 36736 w 59311"/>
                <a:gd name="connsiteY2" fmla="*/ 7805 h 98067"/>
                <a:gd name="connsiteX3" fmla="*/ 42878 w 59311"/>
                <a:gd name="connsiteY3" fmla="*/ 29110 h 98067"/>
                <a:gd name="connsiteX4" fmla="*/ 53754 w 59311"/>
                <a:gd name="connsiteY4" fmla="*/ 60140 h 98067"/>
                <a:gd name="connsiteX5" fmla="*/ 59257 w 59311"/>
                <a:gd name="connsiteY5" fmla="*/ 79014 h 98067"/>
                <a:gd name="connsiteX6" fmla="*/ 57273 w 59311"/>
                <a:gd name="connsiteY6" fmla="*/ 89507 h 98067"/>
                <a:gd name="connsiteX7" fmla="*/ 49340 w 59311"/>
                <a:gd name="connsiteY7" fmla="*/ 97248 h 98067"/>
                <a:gd name="connsiteX8" fmla="*/ 38271 w 59311"/>
                <a:gd name="connsiteY8" fmla="*/ 96353 h 98067"/>
                <a:gd name="connsiteX9" fmla="*/ 30530 w 59311"/>
                <a:gd name="connsiteY9" fmla="*/ 89059 h 98067"/>
                <a:gd name="connsiteX10" fmla="*/ 22597 w 59311"/>
                <a:gd name="connsiteY10" fmla="*/ 71145 h 98067"/>
                <a:gd name="connsiteX11" fmla="*/ 10569 w 59311"/>
                <a:gd name="connsiteY11" fmla="*/ 40499 h 98067"/>
                <a:gd name="connsiteX12" fmla="*/ 2635 w 59311"/>
                <a:gd name="connsiteY12" fmla="*/ 19770 h 98067"/>
                <a:gd name="connsiteX13" fmla="*/ 588 w 59311"/>
                <a:gd name="connsiteY13" fmla="*/ 14075 h 98067"/>
                <a:gd name="connsiteX14" fmla="*/ 12 w 59311"/>
                <a:gd name="connsiteY14" fmla="*/ 12028 h 98067"/>
                <a:gd name="connsiteX15" fmla="*/ 972 w 59311"/>
                <a:gd name="connsiteY15" fmla="*/ 13883 h 98067"/>
                <a:gd name="connsiteX16" fmla="*/ 3403 w 59311"/>
                <a:gd name="connsiteY16" fmla="*/ 19450 h 98067"/>
                <a:gd name="connsiteX17" fmla="*/ 11912 w 59311"/>
                <a:gd name="connsiteY17" fmla="*/ 39987 h 98067"/>
                <a:gd name="connsiteX18" fmla="*/ 24324 w 59311"/>
                <a:gd name="connsiteY18" fmla="*/ 70505 h 98067"/>
                <a:gd name="connsiteX19" fmla="*/ 32194 w 59311"/>
                <a:gd name="connsiteY19" fmla="*/ 88035 h 98067"/>
                <a:gd name="connsiteX20" fmla="*/ 39231 w 59311"/>
                <a:gd name="connsiteY20" fmla="*/ 94689 h 98067"/>
                <a:gd name="connsiteX21" fmla="*/ 48636 w 59311"/>
                <a:gd name="connsiteY21" fmla="*/ 95457 h 98067"/>
                <a:gd name="connsiteX22" fmla="*/ 55482 w 59311"/>
                <a:gd name="connsiteY22" fmla="*/ 88675 h 98067"/>
                <a:gd name="connsiteX23" fmla="*/ 57273 w 59311"/>
                <a:gd name="connsiteY23" fmla="*/ 79206 h 98067"/>
                <a:gd name="connsiteX24" fmla="*/ 52027 w 59311"/>
                <a:gd name="connsiteY24" fmla="*/ 60908 h 98067"/>
                <a:gd name="connsiteX25" fmla="*/ 41470 w 59311"/>
                <a:gd name="connsiteY25" fmla="*/ 29622 h 98067"/>
                <a:gd name="connsiteX26" fmla="*/ 35968 w 59311"/>
                <a:gd name="connsiteY26" fmla="*/ 8061 h 98067"/>
                <a:gd name="connsiteX27" fmla="*/ 34753 w 59311"/>
                <a:gd name="connsiteY27" fmla="*/ 2111 h 98067"/>
                <a:gd name="connsiteX28" fmla="*/ 34561 w 59311"/>
                <a:gd name="connsiteY28" fmla="*/ 0 h 9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9311" h="98067">
                  <a:moveTo>
                    <a:pt x="34561" y="0"/>
                  </a:moveTo>
                  <a:cubicBezTo>
                    <a:pt x="34625" y="0"/>
                    <a:pt x="34881" y="704"/>
                    <a:pt x="35201" y="1983"/>
                  </a:cubicBezTo>
                  <a:cubicBezTo>
                    <a:pt x="35584" y="3519"/>
                    <a:pt x="36160" y="5438"/>
                    <a:pt x="36736" y="7805"/>
                  </a:cubicBezTo>
                  <a:cubicBezTo>
                    <a:pt x="38079" y="12860"/>
                    <a:pt x="40063" y="20153"/>
                    <a:pt x="42878" y="29110"/>
                  </a:cubicBezTo>
                  <a:cubicBezTo>
                    <a:pt x="45629" y="38068"/>
                    <a:pt x="49212" y="48624"/>
                    <a:pt x="53754" y="60140"/>
                  </a:cubicBezTo>
                  <a:cubicBezTo>
                    <a:pt x="55930" y="65898"/>
                    <a:pt x="58809" y="71977"/>
                    <a:pt x="59257" y="79014"/>
                  </a:cubicBezTo>
                  <a:cubicBezTo>
                    <a:pt x="59513" y="82469"/>
                    <a:pt x="58873" y="86244"/>
                    <a:pt x="57273" y="89507"/>
                  </a:cubicBezTo>
                  <a:cubicBezTo>
                    <a:pt x="55674" y="92770"/>
                    <a:pt x="53051" y="95841"/>
                    <a:pt x="49340" y="97248"/>
                  </a:cubicBezTo>
                  <a:cubicBezTo>
                    <a:pt x="45693" y="98720"/>
                    <a:pt x="41534" y="98080"/>
                    <a:pt x="38271" y="96353"/>
                  </a:cubicBezTo>
                  <a:cubicBezTo>
                    <a:pt x="35009" y="94625"/>
                    <a:pt x="32385" y="91938"/>
                    <a:pt x="30530" y="89059"/>
                  </a:cubicBezTo>
                  <a:cubicBezTo>
                    <a:pt x="26819" y="83109"/>
                    <a:pt x="24964" y="76839"/>
                    <a:pt x="22597" y="71145"/>
                  </a:cubicBezTo>
                  <a:cubicBezTo>
                    <a:pt x="18118" y="59693"/>
                    <a:pt x="14023" y="49264"/>
                    <a:pt x="10569" y="40499"/>
                  </a:cubicBezTo>
                  <a:cubicBezTo>
                    <a:pt x="7306" y="31926"/>
                    <a:pt x="4619" y="24888"/>
                    <a:pt x="2635" y="19770"/>
                  </a:cubicBezTo>
                  <a:cubicBezTo>
                    <a:pt x="1803" y="17466"/>
                    <a:pt x="1100" y="15611"/>
                    <a:pt x="588" y="14075"/>
                  </a:cubicBezTo>
                  <a:cubicBezTo>
                    <a:pt x="140" y="12796"/>
                    <a:pt x="-52" y="12092"/>
                    <a:pt x="12" y="12028"/>
                  </a:cubicBezTo>
                  <a:cubicBezTo>
                    <a:pt x="76" y="12028"/>
                    <a:pt x="396" y="12668"/>
                    <a:pt x="972" y="13883"/>
                  </a:cubicBezTo>
                  <a:cubicBezTo>
                    <a:pt x="1611" y="15355"/>
                    <a:pt x="2379" y="17210"/>
                    <a:pt x="3403" y="19450"/>
                  </a:cubicBezTo>
                  <a:cubicBezTo>
                    <a:pt x="5514" y="24568"/>
                    <a:pt x="8393" y="31478"/>
                    <a:pt x="11912" y="39987"/>
                  </a:cubicBezTo>
                  <a:cubicBezTo>
                    <a:pt x="15495" y="48752"/>
                    <a:pt x="19653" y="59053"/>
                    <a:pt x="24324" y="70505"/>
                  </a:cubicBezTo>
                  <a:cubicBezTo>
                    <a:pt x="26755" y="76199"/>
                    <a:pt x="28675" y="82533"/>
                    <a:pt x="32194" y="88035"/>
                  </a:cubicBezTo>
                  <a:cubicBezTo>
                    <a:pt x="33985" y="90786"/>
                    <a:pt x="36288" y="93154"/>
                    <a:pt x="39231" y="94689"/>
                  </a:cubicBezTo>
                  <a:cubicBezTo>
                    <a:pt x="42110" y="96225"/>
                    <a:pt x="45629" y="96736"/>
                    <a:pt x="48636" y="95457"/>
                  </a:cubicBezTo>
                  <a:cubicBezTo>
                    <a:pt x="51707" y="94241"/>
                    <a:pt x="54074" y="91618"/>
                    <a:pt x="55482" y="88675"/>
                  </a:cubicBezTo>
                  <a:cubicBezTo>
                    <a:pt x="56953" y="85668"/>
                    <a:pt x="57529" y="82405"/>
                    <a:pt x="57273" y="79206"/>
                  </a:cubicBezTo>
                  <a:cubicBezTo>
                    <a:pt x="56889" y="72680"/>
                    <a:pt x="54202" y="66666"/>
                    <a:pt x="52027" y="60908"/>
                  </a:cubicBezTo>
                  <a:cubicBezTo>
                    <a:pt x="47548" y="49328"/>
                    <a:pt x="44094" y="38643"/>
                    <a:pt x="41470" y="29622"/>
                  </a:cubicBezTo>
                  <a:cubicBezTo>
                    <a:pt x="38847" y="20601"/>
                    <a:pt x="37056" y="13180"/>
                    <a:pt x="35968" y="8061"/>
                  </a:cubicBezTo>
                  <a:cubicBezTo>
                    <a:pt x="35392" y="5502"/>
                    <a:pt x="35009" y="3519"/>
                    <a:pt x="34753" y="2111"/>
                  </a:cubicBezTo>
                  <a:cubicBezTo>
                    <a:pt x="34561" y="704"/>
                    <a:pt x="34497" y="0"/>
                    <a:pt x="34561" y="0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A769AA94-9690-49D3-9470-C9769F2C449D}"/>
                </a:ext>
              </a:extLst>
            </p:cNvPr>
            <p:cNvSpPr/>
            <p:nvPr/>
          </p:nvSpPr>
          <p:spPr>
            <a:xfrm>
              <a:off x="9099390" y="2024625"/>
              <a:ext cx="162185" cy="287651"/>
            </a:xfrm>
            <a:custGeom>
              <a:avLst/>
              <a:gdLst>
                <a:gd name="connsiteX0" fmla="*/ 62890 w 162185"/>
                <a:gd name="connsiteY0" fmla="*/ 11836 h 287651"/>
                <a:gd name="connsiteX1" fmla="*/ 254 w 162185"/>
                <a:gd name="connsiteY1" fmla="*/ 198143 h 287651"/>
                <a:gd name="connsiteX2" fmla="*/ 38322 w 162185"/>
                <a:gd name="connsiteY2" fmla="*/ 285347 h 287651"/>
                <a:gd name="connsiteX3" fmla="*/ 121559 w 162185"/>
                <a:gd name="connsiteY3" fmla="*/ 214778 h 287651"/>
                <a:gd name="connsiteX4" fmla="*/ 121559 w 162185"/>
                <a:gd name="connsiteY4" fmla="*/ 152974 h 287651"/>
                <a:gd name="connsiteX5" fmla="*/ 162186 w 162185"/>
                <a:gd name="connsiteY5" fmla="*/ 0 h 2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185" h="287651">
                  <a:moveTo>
                    <a:pt x="62890" y="11836"/>
                  </a:moveTo>
                  <a:cubicBezTo>
                    <a:pt x="62890" y="11836"/>
                    <a:pt x="2622" y="189378"/>
                    <a:pt x="254" y="198143"/>
                  </a:cubicBezTo>
                  <a:cubicBezTo>
                    <a:pt x="-2113" y="206844"/>
                    <a:pt x="12155" y="270248"/>
                    <a:pt x="38322" y="285347"/>
                  </a:cubicBezTo>
                  <a:cubicBezTo>
                    <a:pt x="64489" y="300382"/>
                    <a:pt x="115225" y="237810"/>
                    <a:pt x="121559" y="214778"/>
                  </a:cubicBezTo>
                  <a:cubicBezTo>
                    <a:pt x="127893" y="191809"/>
                    <a:pt x="121559" y="152974"/>
                    <a:pt x="121559" y="152974"/>
                  </a:cubicBezTo>
                  <a:lnTo>
                    <a:pt x="162186" y="0"/>
                  </a:lnTo>
                </a:path>
              </a:pathLst>
            </a:custGeom>
            <a:solidFill>
              <a:srgbClr val="99655C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5A1455C5-8FAC-42FB-A306-C416465210AF}"/>
                </a:ext>
              </a:extLst>
            </p:cNvPr>
            <p:cNvSpPr/>
            <p:nvPr/>
          </p:nvSpPr>
          <p:spPr>
            <a:xfrm>
              <a:off x="9194043" y="1984313"/>
              <a:ext cx="26908" cy="24687"/>
            </a:xfrm>
            <a:custGeom>
              <a:avLst/>
              <a:gdLst>
                <a:gd name="connsiteX0" fmla="*/ 26905 w 26908"/>
                <a:gd name="connsiteY0" fmla="*/ 24573 h 24687"/>
                <a:gd name="connsiteX1" fmla="*/ 21211 w 26908"/>
                <a:gd name="connsiteY1" fmla="*/ 23806 h 24687"/>
                <a:gd name="connsiteX2" fmla="*/ 9247 w 26908"/>
                <a:gd name="connsiteY2" fmla="*/ 16896 h 24687"/>
                <a:gd name="connsiteX3" fmla="*/ 1314 w 26908"/>
                <a:gd name="connsiteY3" fmla="*/ 5572 h 24687"/>
                <a:gd name="connsiteX4" fmla="*/ 98 w 26908"/>
                <a:gd name="connsiteY4" fmla="*/ 6 h 24687"/>
                <a:gd name="connsiteX5" fmla="*/ 10591 w 26908"/>
                <a:gd name="connsiteY5" fmla="*/ 15488 h 24687"/>
                <a:gd name="connsiteX6" fmla="*/ 26905 w 26908"/>
                <a:gd name="connsiteY6" fmla="*/ 24573 h 2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908" h="24687">
                  <a:moveTo>
                    <a:pt x="26905" y="24573"/>
                  </a:moveTo>
                  <a:cubicBezTo>
                    <a:pt x="26905" y="24765"/>
                    <a:pt x="24666" y="24829"/>
                    <a:pt x="21211" y="23806"/>
                  </a:cubicBezTo>
                  <a:cubicBezTo>
                    <a:pt x="17820" y="22846"/>
                    <a:pt x="13278" y="20607"/>
                    <a:pt x="9247" y="16896"/>
                  </a:cubicBezTo>
                  <a:cubicBezTo>
                    <a:pt x="5216" y="13185"/>
                    <a:pt x="2593" y="8835"/>
                    <a:pt x="1314" y="5572"/>
                  </a:cubicBezTo>
                  <a:cubicBezTo>
                    <a:pt x="34" y="2245"/>
                    <a:pt x="-158" y="6"/>
                    <a:pt x="98" y="6"/>
                  </a:cubicBezTo>
                  <a:cubicBezTo>
                    <a:pt x="674" y="-250"/>
                    <a:pt x="2785" y="8451"/>
                    <a:pt x="10591" y="15488"/>
                  </a:cubicBezTo>
                  <a:cubicBezTo>
                    <a:pt x="18268" y="22654"/>
                    <a:pt x="27097" y="23934"/>
                    <a:pt x="26905" y="24573"/>
                  </a:cubicBezTo>
                  <a:close/>
                </a:path>
              </a:pathLst>
            </a:custGeom>
            <a:solidFill>
              <a:srgbClr val="744A45"/>
            </a:solidFill>
            <a:ln w="63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7" name="Slide Number Placeholder 66">
            <a:extLst>
              <a:ext uri="{FF2B5EF4-FFF2-40B4-BE49-F238E27FC236}">
                <a16:creationId xmlns:a16="http://schemas.microsoft.com/office/drawing/2014/main" id="{4ECF891A-60BE-471C-A691-47D224AD5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73660"/>
            <a:ext cx="395914" cy="3622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6E39CD-16F1-4381-8EB5-8BA4094A64D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94A4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B5230DF-80E3-4A80-8F71-3A1E31FDD42F}"/>
              </a:ext>
            </a:extLst>
          </p:cNvPr>
          <p:cNvSpPr txBox="1"/>
          <p:nvPr/>
        </p:nvSpPr>
        <p:spPr>
          <a:xfrm>
            <a:off x="431672" y="997852"/>
            <a:ext cx="5422706" cy="163205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4400" b="1">
                <a:solidFill>
                  <a:srgbClr val="45726D"/>
                </a:solidFill>
                <a:latin typeface="Georgia" panose="02040502050405020303" pitchFamily="18" charset="0"/>
              </a:rPr>
              <a:t>Result</a:t>
            </a:r>
            <a:endParaRPr lang="en-US" sz="4400">
              <a:solidFill>
                <a:srgbClr val="45726D"/>
              </a:solidFill>
              <a:latin typeface="Georgia" panose="02040502050405020303" pitchFamily="18" charset="0"/>
            </a:endParaRPr>
          </a:p>
        </p:txBody>
      </p:sp>
      <p:sp>
        <p:nvSpPr>
          <p:cNvPr id="251" name="Freeform: Shape 250">
            <a:extLst>
              <a:ext uri="{FF2B5EF4-FFF2-40B4-BE49-F238E27FC236}">
                <a16:creationId xmlns:a16="http://schemas.microsoft.com/office/drawing/2014/main" id="{1AEB0A94-F81E-4A30-97D6-1DF2C7C2341E}"/>
              </a:ext>
            </a:extLst>
          </p:cNvPr>
          <p:cNvSpPr/>
          <p:nvPr/>
        </p:nvSpPr>
        <p:spPr>
          <a:xfrm rot="10800000">
            <a:off x="10233" y="0"/>
            <a:ext cx="1082619" cy="504431"/>
          </a:xfrm>
          <a:custGeom>
            <a:avLst/>
            <a:gdLst>
              <a:gd name="connsiteX0" fmla="*/ 770214 w 770214"/>
              <a:gd name="connsiteY0" fmla="*/ 358870 h 358870"/>
              <a:gd name="connsiteX1" fmla="*/ 0 w 770214"/>
              <a:gd name="connsiteY1" fmla="*/ 358870 h 358870"/>
              <a:gd name="connsiteX2" fmla="*/ 4943 w 770214"/>
              <a:gd name="connsiteY2" fmla="*/ 309843 h 358870"/>
              <a:gd name="connsiteX3" fmla="*/ 385108 w 770214"/>
              <a:gd name="connsiteY3" fmla="*/ 0 h 358870"/>
              <a:gd name="connsiteX4" fmla="*/ 765272 w 770214"/>
              <a:gd name="connsiteY4" fmla="*/ 309843 h 35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0214" h="358870">
                <a:moveTo>
                  <a:pt x="770214" y="358870"/>
                </a:moveTo>
                <a:lnTo>
                  <a:pt x="0" y="358870"/>
                </a:lnTo>
                <a:lnTo>
                  <a:pt x="4943" y="309843"/>
                </a:lnTo>
                <a:cubicBezTo>
                  <a:pt x="41127" y="133016"/>
                  <a:pt x="197583" y="0"/>
                  <a:pt x="385108" y="0"/>
                </a:cubicBezTo>
                <a:cubicBezTo>
                  <a:pt x="572632" y="0"/>
                  <a:pt x="729088" y="133016"/>
                  <a:pt x="765272" y="309843"/>
                </a:cubicBezTo>
                <a:close/>
              </a:path>
            </a:pathLst>
          </a:custGeom>
          <a:solidFill>
            <a:srgbClr val="F7AB9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5" name="Graphic 254">
            <a:extLst>
              <a:ext uri="{FF2B5EF4-FFF2-40B4-BE49-F238E27FC236}">
                <a16:creationId xmlns:a16="http://schemas.microsoft.com/office/drawing/2014/main" id="{ED0CE5B1-C3B9-4016-A76D-80C15C9033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733" y="578728"/>
            <a:ext cx="253112" cy="253112"/>
          </a:xfrm>
          <a:prstGeom prst="rect">
            <a:avLst/>
          </a:prstGeom>
        </p:spPr>
      </p:pic>
      <p:sp>
        <p:nvSpPr>
          <p:cNvPr id="263" name="Freeform: Shape 262">
            <a:extLst>
              <a:ext uri="{FF2B5EF4-FFF2-40B4-BE49-F238E27FC236}">
                <a16:creationId xmlns:a16="http://schemas.microsoft.com/office/drawing/2014/main" id="{26A1C387-0E7B-4089-8618-C6D8B31D9E12}"/>
              </a:ext>
            </a:extLst>
          </p:cNvPr>
          <p:cNvSpPr/>
          <p:nvPr/>
        </p:nvSpPr>
        <p:spPr>
          <a:xfrm>
            <a:off x="1229649" y="2861984"/>
            <a:ext cx="978708" cy="1024382"/>
          </a:xfrm>
          <a:custGeom>
            <a:avLst/>
            <a:gdLst>
              <a:gd name="connsiteX0" fmla="*/ 7151 w 978708"/>
              <a:gd name="connsiteY0" fmla="*/ 0 h 1024382"/>
              <a:gd name="connsiteX1" fmla="*/ 971558 w 978708"/>
              <a:gd name="connsiteY1" fmla="*/ 0 h 1024382"/>
              <a:gd name="connsiteX2" fmla="*/ 978708 w 978708"/>
              <a:gd name="connsiteY2" fmla="*/ 35418 h 1024382"/>
              <a:gd name="connsiteX3" fmla="*/ 978708 w 978708"/>
              <a:gd name="connsiteY3" fmla="*/ 861261 h 1024382"/>
              <a:gd name="connsiteX4" fmla="*/ 815587 w 978708"/>
              <a:gd name="connsiteY4" fmla="*/ 1024382 h 1024382"/>
              <a:gd name="connsiteX5" fmla="*/ 163121 w 978708"/>
              <a:gd name="connsiteY5" fmla="*/ 1024382 h 1024382"/>
              <a:gd name="connsiteX6" fmla="*/ 0 w 978708"/>
              <a:gd name="connsiteY6" fmla="*/ 861261 h 1024382"/>
              <a:gd name="connsiteX7" fmla="*/ 0 w 978708"/>
              <a:gd name="connsiteY7" fmla="*/ 35418 h 1024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8708" h="1024382">
                <a:moveTo>
                  <a:pt x="7151" y="0"/>
                </a:moveTo>
                <a:lnTo>
                  <a:pt x="971558" y="0"/>
                </a:lnTo>
                <a:lnTo>
                  <a:pt x="978708" y="35418"/>
                </a:lnTo>
                <a:lnTo>
                  <a:pt x="978708" y="861261"/>
                </a:lnTo>
                <a:cubicBezTo>
                  <a:pt x="978708" y="951350"/>
                  <a:pt x="905676" y="1024382"/>
                  <a:pt x="815587" y="1024382"/>
                </a:cubicBezTo>
                <a:lnTo>
                  <a:pt x="163121" y="1024382"/>
                </a:lnTo>
                <a:cubicBezTo>
                  <a:pt x="73032" y="1024382"/>
                  <a:pt x="0" y="951350"/>
                  <a:pt x="0" y="861261"/>
                </a:cubicBezTo>
                <a:lnTo>
                  <a:pt x="0" y="35418"/>
                </a:ln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6A604C77-CA69-4E1F-A0DE-B66AC838CF44}"/>
              </a:ext>
            </a:extLst>
          </p:cNvPr>
          <p:cNvGrpSpPr/>
          <p:nvPr/>
        </p:nvGrpSpPr>
        <p:grpSpPr>
          <a:xfrm>
            <a:off x="1352941" y="3004843"/>
            <a:ext cx="732125" cy="738664"/>
            <a:chOff x="6276975" y="2886076"/>
            <a:chExt cx="355600" cy="358775"/>
          </a:xfrm>
          <a:solidFill>
            <a:schemeClr val="bg1"/>
          </a:solidFill>
        </p:grpSpPr>
        <p:sp>
          <p:nvSpPr>
            <p:cNvPr id="258" name="Freeform 116">
              <a:extLst>
                <a:ext uri="{FF2B5EF4-FFF2-40B4-BE49-F238E27FC236}">
                  <a16:creationId xmlns:a16="http://schemas.microsoft.com/office/drawing/2014/main" id="{52873A7F-F270-4412-A421-3476437C7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2970213"/>
              <a:ext cx="134938" cy="134938"/>
            </a:xfrm>
            <a:custGeom>
              <a:avLst/>
              <a:gdLst>
                <a:gd name="T0" fmla="*/ 13 w 36"/>
                <a:gd name="T1" fmla="*/ 21 h 36"/>
                <a:gd name="T2" fmla="*/ 14 w 36"/>
                <a:gd name="T3" fmla="*/ 14 h 36"/>
                <a:gd name="T4" fmla="*/ 21 w 36"/>
                <a:gd name="T5" fmla="*/ 13 h 36"/>
                <a:gd name="T6" fmla="*/ 36 w 36"/>
                <a:gd name="T7" fmla="*/ 20 h 36"/>
                <a:gd name="T8" fmla="*/ 36 w 36"/>
                <a:gd name="T9" fmla="*/ 18 h 36"/>
                <a:gd name="T10" fmla="*/ 18 w 36"/>
                <a:gd name="T11" fmla="*/ 0 h 36"/>
                <a:gd name="T12" fmla="*/ 0 w 36"/>
                <a:gd name="T13" fmla="*/ 18 h 36"/>
                <a:gd name="T14" fmla="*/ 18 w 36"/>
                <a:gd name="T15" fmla="*/ 36 h 36"/>
                <a:gd name="T16" fmla="*/ 20 w 36"/>
                <a:gd name="T17" fmla="*/ 36 h 36"/>
                <a:gd name="T18" fmla="*/ 13 w 36"/>
                <a:gd name="T19" fmla="*/ 2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3" y="21"/>
                  </a:moveTo>
                  <a:cubicBezTo>
                    <a:pt x="11" y="18"/>
                    <a:pt x="12" y="16"/>
                    <a:pt x="14" y="14"/>
                  </a:cubicBezTo>
                  <a:cubicBezTo>
                    <a:pt x="16" y="12"/>
                    <a:pt x="18" y="11"/>
                    <a:pt x="21" y="13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ubicBezTo>
                    <a:pt x="19" y="36"/>
                    <a:pt x="19" y="36"/>
                    <a:pt x="20" y="36"/>
                  </a:cubicBez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117">
              <a:extLst>
                <a:ext uri="{FF2B5EF4-FFF2-40B4-BE49-F238E27FC236}">
                  <a16:creationId xmlns:a16="http://schemas.microsoft.com/office/drawing/2014/main" id="{9E9BAF7A-35C6-41A9-AD81-318C95CC6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2886076"/>
              <a:ext cx="300038" cy="301625"/>
            </a:xfrm>
            <a:custGeom>
              <a:avLst/>
              <a:gdLst>
                <a:gd name="T0" fmla="*/ 46 w 80"/>
                <a:gd name="T1" fmla="*/ 65 h 80"/>
                <a:gd name="T2" fmla="*/ 40 w 80"/>
                <a:gd name="T3" fmla="*/ 66 h 80"/>
                <a:gd name="T4" fmla="*/ 14 w 80"/>
                <a:gd name="T5" fmla="*/ 40 h 80"/>
                <a:gd name="T6" fmla="*/ 40 w 80"/>
                <a:gd name="T7" fmla="*/ 14 h 80"/>
                <a:gd name="T8" fmla="*/ 66 w 80"/>
                <a:gd name="T9" fmla="*/ 40 h 80"/>
                <a:gd name="T10" fmla="*/ 65 w 80"/>
                <a:gd name="T11" fmla="*/ 46 h 80"/>
                <a:gd name="T12" fmla="*/ 78 w 80"/>
                <a:gd name="T13" fmla="*/ 52 h 80"/>
                <a:gd name="T14" fmla="*/ 80 w 80"/>
                <a:gd name="T15" fmla="*/ 40 h 80"/>
                <a:gd name="T16" fmla="*/ 40 w 80"/>
                <a:gd name="T17" fmla="*/ 0 h 80"/>
                <a:gd name="T18" fmla="*/ 0 w 80"/>
                <a:gd name="T19" fmla="*/ 40 h 80"/>
                <a:gd name="T20" fmla="*/ 40 w 80"/>
                <a:gd name="T21" fmla="*/ 80 h 80"/>
                <a:gd name="T22" fmla="*/ 52 w 80"/>
                <a:gd name="T23" fmla="*/ 78 h 80"/>
                <a:gd name="T24" fmla="*/ 46 w 80"/>
                <a:gd name="T25" fmla="*/ 6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0">
                  <a:moveTo>
                    <a:pt x="46" y="65"/>
                  </a:moveTo>
                  <a:cubicBezTo>
                    <a:pt x="44" y="66"/>
                    <a:pt x="42" y="66"/>
                    <a:pt x="40" y="66"/>
                  </a:cubicBezTo>
                  <a:cubicBezTo>
                    <a:pt x="26" y="66"/>
                    <a:pt x="14" y="54"/>
                    <a:pt x="14" y="40"/>
                  </a:cubicBezTo>
                  <a:cubicBezTo>
                    <a:pt x="14" y="26"/>
                    <a:pt x="26" y="14"/>
                    <a:pt x="40" y="14"/>
                  </a:cubicBezTo>
                  <a:cubicBezTo>
                    <a:pt x="54" y="14"/>
                    <a:pt x="66" y="26"/>
                    <a:pt x="66" y="40"/>
                  </a:cubicBezTo>
                  <a:cubicBezTo>
                    <a:pt x="66" y="42"/>
                    <a:pt x="66" y="44"/>
                    <a:pt x="65" y="46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9" y="48"/>
                    <a:pt x="80" y="44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44" y="80"/>
                    <a:pt x="48" y="79"/>
                    <a:pt x="52" y="78"/>
                  </a:cubicBezTo>
                  <a:lnTo>
                    <a:pt x="46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118">
              <a:extLst>
                <a:ext uri="{FF2B5EF4-FFF2-40B4-BE49-F238E27FC236}">
                  <a16:creationId xmlns:a16="http://schemas.microsoft.com/office/drawing/2014/main" id="{88154B5A-4855-4344-878B-2084D2F14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850" y="3030538"/>
              <a:ext cx="212725" cy="214313"/>
            </a:xfrm>
            <a:custGeom>
              <a:avLst/>
              <a:gdLst>
                <a:gd name="T0" fmla="*/ 56 w 57"/>
                <a:gd name="T1" fmla="*/ 27 h 57"/>
                <a:gd name="T2" fmla="*/ 3 w 57"/>
                <a:gd name="T3" fmla="*/ 0 h 57"/>
                <a:gd name="T4" fmla="*/ 1 w 57"/>
                <a:gd name="T5" fmla="*/ 1 h 57"/>
                <a:gd name="T6" fmla="*/ 0 w 57"/>
                <a:gd name="T7" fmla="*/ 3 h 57"/>
                <a:gd name="T8" fmla="*/ 27 w 57"/>
                <a:gd name="T9" fmla="*/ 56 h 57"/>
                <a:gd name="T10" fmla="*/ 29 w 57"/>
                <a:gd name="T11" fmla="*/ 57 h 57"/>
                <a:gd name="T12" fmla="*/ 29 w 57"/>
                <a:gd name="T13" fmla="*/ 57 h 57"/>
                <a:gd name="T14" fmla="*/ 31 w 57"/>
                <a:gd name="T15" fmla="*/ 56 h 57"/>
                <a:gd name="T16" fmla="*/ 36 w 57"/>
                <a:gd name="T17" fmla="*/ 36 h 57"/>
                <a:gd name="T18" fmla="*/ 56 w 57"/>
                <a:gd name="T19" fmla="*/ 31 h 57"/>
                <a:gd name="T20" fmla="*/ 57 w 57"/>
                <a:gd name="T21" fmla="*/ 29 h 57"/>
                <a:gd name="T22" fmla="*/ 56 w 57"/>
                <a:gd name="T23" fmla="*/ 2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7">
                  <a:moveTo>
                    <a:pt x="56" y="2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7"/>
                    <a:pt x="28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30" y="57"/>
                    <a:pt x="30" y="57"/>
                    <a:pt x="31" y="5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0"/>
                    <a:pt x="57" y="30"/>
                    <a:pt x="57" y="29"/>
                  </a:cubicBezTo>
                  <a:cubicBezTo>
                    <a:pt x="57" y="28"/>
                    <a:pt x="57" y="27"/>
                    <a:pt x="5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7" name="Group 276">
            <a:extLst>
              <a:ext uri="{FF2B5EF4-FFF2-40B4-BE49-F238E27FC236}">
                <a16:creationId xmlns:a16="http://schemas.microsoft.com/office/drawing/2014/main" id="{48C75098-3909-4515-A6A0-45888DBE8A7C}"/>
              </a:ext>
            </a:extLst>
          </p:cNvPr>
          <p:cNvGrpSpPr/>
          <p:nvPr/>
        </p:nvGrpSpPr>
        <p:grpSpPr>
          <a:xfrm>
            <a:off x="4054333" y="3429000"/>
            <a:ext cx="855417" cy="596949"/>
            <a:chOff x="3382299" y="4132242"/>
            <a:chExt cx="855417" cy="596949"/>
          </a:xfrm>
        </p:grpSpPr>
        <p:pic>
          <p:nvPicPr>
            <p:cNvPr id="269" name="Graphic 268">
              <a:extLst>
                <a:ext uri="{FF2B5EF4-FFF2-40B4-BE49-F238E27FC236}">
                  <a16:creationId xmlns:a16="http://schemas.microsoft.com/office/drawing/2014/main" id="{8519C468-1C38-4546-9836-59B1BD880F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382299" y="4132242"/>
              <a:ext cx="596949" cy="596949"/>
            </a:xfrm>
            <a:prstGeom prst="rect">
              <a:avLst/>
            </a:prstGeom>
          </p:spPr>
        </p:pic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1D832259-C86F-4703-A078-31BB047542DF}"/>
                </a:ext>
              </a:extLst>
            </p:cNvPr>
            <p:cNvSpPr txBox="1"/>
            <p:nvPr/>
          </p:nvSpPr>
          <p:spPr>
            <a:xfrm>
              <a:off x="3570546" y="4183751"/>
              <a:ext cx="667170" cy="37963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01</a:t>
              </a:r>
            </a:p>
          </p:txBody>
        </p:sp>
      </p:grpSp>
      <p:sp>
        <p:nvSpPr>
          <p:cNvPr id="280" name="TextBox 279">
            <a:extLst>
              <a:ext uri="{FF2B5EF4-FFF2-40B4-BE49-F238E27FC236}">
                <a16:creationId xmlns:a16="http://schemas.microsoft.com/office/drawing/2014/main" id="{31C11F0F-0B2B-4A1E-84AB-E89DEE0FADAF}"/>
              </a:ext>
            </a:extLst>
          </p:cNvPr>
          <p:cNvSpPr txBox="1"/>
          <p:nvPr/>
        </p:nvSpPr>
        <p:spPr>
          <a:xfrm>
            <a:off x="4229044" y="4291263"/>
            <a:ext cx="2082534" cy="87395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lvl="0">
              <a:defRPr/>
            </a:pP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The accuracy of LR model was 0.62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AF5390B0-B0B8-4DCB-9D43-2AD6BD6209FD}"/>
              </a:ext>
            </a:extLst>
          </p:cNvPr>
          <p:cNvGrpSpPr/>
          <p:nvPr/>
        </p:nvGrpSpPr>
        <p:grpSpPr>
          <a:xfrm>
            <a:off x="6843851" y="3433513"/>
            <a:ext cx="855417" cy="596949"/>
            <a:chOff x="5312699" y="4132242"/>
            <a:chExt cx="855417" cy="596949"/>
          </a:xfrm>
        </p:grpSpPr>
        <p:pic>
          <p:nvPicPr>
            <p:cNvPr id="271" name="Graphic 270">
              <a:extLst>
                <a:ext uri="{FF2B5EF4-FFF2-40B4-BE49-F238E27FC236}">
                  <a16:creationId xmlns:a16="http://schemas.microsoft.com/office/drawing/2014/main" id="{9511B312-CFDE-4514-BF8D-B36766B59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12699" y="4132242"/>
              <a:ext cx="596949" cy="596949"/>
            </a:xfrm>
            <a:prstGeom prst="rect">
              <a:avLst/>
            </a:prstGeom>
          </p:spPr>
        </p:pic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CDB919D4-12EF-4E56-B50B-56E6C6C1B3FE}"/>
                </a:ext>
              </a:extLst>
            </p:cNvPr>
            <p:cNvSpPr txBox="1"/>
            <p:nvPr/>
          </p:nvSpPr>
          <p:spPr>
            <a:xfrm>
              <a:off x="5500946" y="4183751"/>
              <a:ext cx="667170" cy="37963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i="1">
                  <a:solidFill>
                    <a:schemeClr val="bg1"/>
                  </a:solidFill>
                  <a:latin typeface="Georgia"/>
                </a:rPr>
                <a:t>02</a:t>
              </a:r>
              <a:endParaRPr kumimoji="0" lang="en-US" sz="36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</p:grpSp>
      <p:sp>
        <p:nvSpPr>
          <p:cNvPr id="281" name="TextBox 280">
            <a:extLst>
              <a:ext uri="{FF2B5EF4-FFF2-40B4-BE49-F238E27FC236}">
                <a16:creationId xmlns:a16="http://schemas.microsoft.com/office/drawing/2014/main" id="{4CF2A589-0509-4D8E-8177-727FCE439923}"/>
              </a:ext>
            </a:extLst>
          </p:cNvPr>
          <p:cNvSpPr txBox="1"/>
          <p:nvPr/>
        </p:nvSpPr>
        <p:spPr>
          <a:xfrm>
            <a:off x="6943978" y="4293871"/>
            <a:ext cx="2082534" cy="87395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lvl="0">
              <a:defRPr/>
            </a:pP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The accuracy of Naive-Bayes model was 0.56</a:t>
            </a:r>
            <a:endParaRPr lang="en-US" sz="140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7714CEC-3CDA-4ECD-A4BB-4A3B1048ED3A}"/>
              </a:ext>
            </a:extLst>
          </p:cNvPr>
          <p:cNvSpPr txBox="1"/>
          <p:nvPr/>
        </p:nvSpPr>
        <p:spPr>
          <a:xfrm>
            <a:off x="2975592" y="5337550"/>
            <a:ext cx="6259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  <a:latin typeface="Georgia" panose="02040502050405020303" pitchFamily="18" charset="0"/>
              </a:rPr>
              <a:t>LR model was found to be better than Naïve-Bayes</a:t>
            </a:r>
          </a:p>
        </p:txBody>
      </p:sp>
    </p:spTree>
    <p:extLst>
      <p:ext uri="{BB962C8B-B14F-4D97-AF65-F5344CB8AC3E}">
        <p14:creationId xmlns:p14="http://schemas.microsoft.com/office/powerpoint/2010/main" val="3058024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853229-5487-4E89-ADA8-3DE0F2FFD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90456"/>
            <a:ext cx="395914" cy="3622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6E39CD-16F1-4381-8EB5-8BA4094A64D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94A4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4046D859-98E7-46A7-97D5-D8C26147CFE7}"/>
              </a:ext>
            </a:extLst>
          </p:cNvPr>
          <p:cNvGrpSpPr/>
          <p:nvPr/>
        </p:nvGrpSpPr>
        <p:grpSpPr>
          <a:xfrm>
            <a:off x="7956249" y="1541514"/>
            <a:ext cx="4134316" cy="4642905"/>
            <a:chOff x="7956249" y="1541514"/>
            <a:chExt cx="4134316" cy="4642905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3F90A35-FCCA-4D2A-B6C5-47358BD245B6}"/>
                </a:ext>
              </a:extLst>
            </p:cNvPr>
            <p:cNvSpPr/>
            <p:nvPr/>
          </p:nvSpPr>
          <p:spPr>
            <a:xfrm>
              <a:off x="8073248" y="5018155"/>
              <a:ext cx="745959" cy="1062322"/>
            </a:xfrm>
            <a:custGeom>
              <a:avLst/>
              <a:gdLst>
                <a:gd name="connsiteX0" fmla="*/ 25254 w 745959"/>
                <a:gd name="connsiteY0" fmla="*/ 5656 h 1062322"/>
                <a:gd name="connsiteX1" fmla="*/ 34933 w 745959"/>
                <a:gd name="connsiteY1" fmla="*/ 164545 h 1062322"/>
                <a:gd name="connsiteX2" fmla="*/ 156922 w 745959"/>
                <a:gd name="connsiteY2" fmla="*/ 363659 h 1062322"/>
                <a:gd name="connsiteX3" fmla="*/ 143715 w 745959"/>
                <a:gd name="connsiteY3" fmla="*/ 400255 h 1062322"/>
                <a:gd name="connsiteX4" fmla="*/ 48039 w 745959"/>
                <a:gd name="connsiteY4" fmla="*/ 430702 h 1062322"/>
                <a:gd name="connsiteX5" fmla="*/ 111957 w 745959"/>
                <a:gd name="connsiteY5" fmla="*/ 522043 h 1062322"/>
                <a:gd name="connsiteX6" fmla="*/ 279415 w 745959"/>
                <a:gd name="connsiteY6" fmla="*/ 616206 h 1062322"/>
                <a:gd name="connsiteX7" fmla="*/ 281431 w 745959"/>
                <a:gd name="connsiteY7" fmla="*/ 642721 h 1062322"/>
                <a:gd name="connsiteX8" fmla="*/ 145428 w 745959"/>
                <a:gd name="connsiteY8" fmla="*/ 727911 h 1062322"/>
                <a:gd name="connsiteX9" fmla="*/ 325387 w 745959"/>
                <a:gd name="connsiteY9" fmla="*/ 846069 h 1062322"/>
                <a:gd name="connsiteX10" fmla="*/ 344845 w 745959"/>
                <a:gd name="connsiteY10" fmla="*/ 867745 h 1062322"/>
                <a:gd name="connsiteX11" fmla="*/ 262377 w 745959"/>
                <a:gd name="connsiteY11" fmla="*/ 884683 h 1062322"/>
                <a:gd name="connsiteX12" fmla="*/ 193518 w 745959"/>
                <a:gd name="connsiteY12" fmla="*/ 939830 h 1062322"/>
                <a:gd name="connsiteX13" fmla="*/ 510891 w 745959"/>
                <a:gd name="connsiteY13" fmla="*/ 1061718 h 1062322"/>
                <a:gd name="connsiteX14" fmla="*/ 611809 w 745959"/>
                <a:gd name="connsiteY14" fmla="*/ 1062323 h 1062322"/>
                <a:gd name="connsiteX15" fmla="*/ 664436 w 745959"/>
                <a:gd name="connsiteY15" fmla="*/ 975721 h 1062322"/>
                <a:gd name="connsiteX16" fmla="*/ 728858 w 745959"/>
                <a:gd name="connsiteY16" fmla="*/ 641814 h 1062322"/>
                <a:gd name="connsiteX17" fmla="*/ 645684 w 745959"/>
                <a:gd name="connsiteY17" fmla="*/ 671051 h 1062322"/>
                <a:gd name="connsiteX18" fmla="*/ 587714 w 745959"/>
                <a:gd name="connsiteY18" fmla="*/ 732045 h 1062322"/>
                <a:gd name="connsiteX19" fmla="*/ 579649 w 745959"/>
                <a:gd name="connsiteY19" fmla="*/ 704018 h 1062322"/>
                <a:gd name="connsiteX20" fmla="*/ 574608 w 745959"/>
                <a:gd name="connsiteY20" fmla="*/ 488773 h 1062322"/>
                <a:gd name="connsiteX21" fmla="*/ 430439 w 745959"/>
                <a:gd name="connsiteY21" fmla="*/ 559143 h 1062322"/>
                <a:gd name="connsiteX22" fmla="*/ 408965 w 745959"/>
                <a:gd name="connsiteY22" fmla="*/ 543416 h 1062322"/>
                <a:gd name="connsiteX23" fmla="*/ 417635 w 745959"/>
                <a:gd name="connsiteY23" fmla="*/ 351460 h 1062322"/>
                <a:gd name="connsiteX24" fmla="*/ 373981 w 745959"/>
                <a:gd name="connsiteY24" fmla="*/ 248929 h 1062322"/>
                <a:gd name="connsiteX25" fmla="*/ 297562 w 745959"/>
                <a:gd name="connsiteY25" fmla="*/ 314056 h 1062322"/>
                <a:gd name="connsiteX26" fmla="*/ 259453 w 745959"/>
                <a:gd name="connsiteY26" fmla="*/ 305890 h 1062322"/>
                <a:gd name="connsiteX27" fmla="*/ 155006 w 745959"/>
                <a:gd name="connsiteY27" fmla="*/ 96997 h 1062322"/>
                <a:gd name="connsiteX28" fmla="*/ 24145 w 745959"/>
                <a:gd name="connsiteY28" fmla="*/ 6060 h 1062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45959" h="1062322">
                  <a:moveTo>
                    <a:pt x="25254" y="5656"/>
                  </a:moveTo>
                  <a:cubicBezTo>
                    <a:pt x="25254" y="5656"/>
                    <a:pt x="-37555" y="31062"/>
                    <a:pt x="34933" y="164545"/>
                  </a:cubicBezTo>
                  <a:cubicBezTo>
                    <a:pt x="107420" y="297926"/>
                    <a:pt x="156922" y="363659"/>
                    <a:pt x="156922" y="363659"/>
                  </a:cubicBezTo>
                  <a:cubicBezTo>
                    <a:pt x="156922" y="363659"/>
                    <a:pt x="169927" y="394710"/>
                    <a:pt x="143715" y="400255"/>
                  </a:cubicBezTo>
                  <a:cubicBezTo>
                    <a:pt x="117401" y="405800"/>
                    <a:pt x="59028" y="398037"/>
                    <a:pt x="48039" y="430702"/>
                  </a:cubicBezTo>
                  <a:cubicBezTo>
                    <a:pt x="36747" y="464577"/>
                    <a:pt x="61851" y="495528"/>
                    <a:pt x="111957" y="522043"/>
                  </a:cubicBezTo>
                  <a:cubicBezTo>
                    <a:pt x="162063" y="548558"/>
                    <a:pt x="269736" y="610560"/>
                    <a:pt x="279415" y="616206"/>
                  </a:cubicBezTo>
                  <a:cubicBezTo>
                    <a:pt x="288992" y="621751"/>
                    <a:pt x="298772" y="636067"/>
                    <a:pt x="281431" y="642721"/>
                  </a:cubicBezTo>
                  <a:cubicBezTo>
                    <a:pt x="264090" y="649375"/>
                    <a:pt x="133633" y="666413"/>
                    <a:pt x="145428" y="727911"/>
                  </a:cubicBezTo>
                  <a:cubicBezTo>
                    <a:pt x="157224" y="789309"/>
                    <a:pt x="308954" y="840121"/>
                    <a:pt x="325387" y="846069"/>
                  </a:cubicBezTo>
                  <a:cubicBezTo>
                    <a:pt x="341821" y="851917"/>
                    <a:pt x="345954" y="858772"/>
                    <a:pt x="344845" y="867745"/>
                  </a:cubicBezTo>
                  <a:cubicBezTo>
                    <a:pt x="343736" y="876718"/>
                    <a:pt x="299377" y="878331"/>
                    <a:pt x="262377" y="884683"/>
                  </a:cubicBezTo>
                  <a:cubicBezTo>
                    <a:pt x="225477" y="891034"/>
                    <a:pt x="183739" y="904947"/>
                    <a:pt x="193518" y="939830"/>
                  </a:cubicBezTo>
                  <a:cubicBezTo>
                    <a:pt x="203298" y="974712"/>
                    <a:pt x="294235" y="1046192"/>
                    <a:pt x="510891" y="1061718"/>
                  </a:cubicBezTo>
                  <a:lnTo>
                    <a:pt x="611809" y="1062323"/>
                  </a:lnTo>
                  <a:lnTo>
                    <a:pt x="664436" y="975721"/>
                  </a:lnTo>
                  <a:cubicBezTo>
                    <a:pt x="765858" y="783563"/>
                    <a:pt x="753256" y="668631"/>
                    <a:pt x="728858" y="641814"/>
                  </a:cubicBezTo>
                  <a:cubicBezTo>
                    <a:pt x="704461" y="615097"/>
                    <a:pt x="670586" y="643124"/>
                    <a:pt x="645684" y="671051"/>
                  </a:cubicBezTo>
                  <a:cubicBezTo>
                    <a:pt x="620782" y="698977"/>
                    <a:pt x="595880" y="735876"/>
                    <a:pt x="587714" y="732045"/>
                  </a:cubicBezTo>
                  <a:cubicBezTo>
                    <a:pt x="579548" y="728214"/>
                    <a:pt x="575918" y="721157"/>
                    <a:pt x="579649" y="704018"/>
                  </a:cubicBezTo>
                  <a:cubicBezTo>
                    <a:pt x="583379" y="686879"/>
                    <a:pt x="620480" y="531318"/>
                    <a:pt x="574608" y="488773"/>
                  </a:cubicBezTo>
                  <a:cubicBezTo>
                    <a:pt x="528736" y="446228"/>
                    <a:pt x="445259" y="548053"/>
                    <a:pt x="430439" y="559143"/>
                  </a:cubicBezTo>
                  <a:cubicBezTo>
                    <a:pt x="415619" y="570334"/>
                    <a:pt x="408662" y="554405"/>
                    <a:pt x="408965" y="543416"/>
                  </a:cubicBezTo>
                  <a:cubicBezTo>
                    <a:pt x="409267" y="532225"/>
                    <a:pt x="413603" y="408018"/>
                    <a:pt x="417635" y="351460"/>
                  </a:cubicBezTo>
                  <a:cubicBezTo>
                    <a:pt x="421668" y="294901"/>
                    <a:pt x="408662" y="257195"/>
                    <a:pt x="373981" y="248929"/>
                  </a:cubicBezTo>
                  <a:cubicBezTo>
                    <a:pt x="340510" y="240964"/>
                    <a:pt x="316213" y="294599"/>
                    <a:pt x="297562" y="314056"/>
                  </a:cubicBezTo>
                  <a:cubicBezTo>
                    <a:pt x="278911" y="333414"/>
                    <a:pt x="259453" y="305890"/>
                    <a:pt x="259453" y="305890"/>
                  </a:cubicBezTo>
                  <a:cubicBezTo>
                    <a:pt x="259453" y="305890"/>
                    <a:pt x="229913" y="229068"/>
                    <a:pt x="155006" y="96997"/>
                  </a:cubicBezTo>
                  <a:cubicBezTo>
                    <a:pt x="80099" y="-35074"/>
                    <a:pt x="24145" y="6060"/>
                    <a:pt x="24145" y="6060"/>
                  </a:cubicBezTo>
                </a:path>
              </a:pathLst>
            </a:custGeom>
            <a:solidFill>
              <a:srgbClr val="809493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52FBE31-A62E-4766-AFF1-10C3FB7AF145}"/>
                </a:ext>
              </a:extLst>
            </p:cNvPr>
            <p:cNvSpPr/>
            <p:nvPr/>
          </p:nvSpPr>
          <p:spPr>
            <a:xfrm>
              <a:off x="8163227" y="5143582"/>
              <a:ext cx="529794" cy="960385"/>
            </a:xfrm>
            <a:custGeom>
              <a:avLst/>
              <a:gdLst>
                <a:gd name="connsiteX0" fmla="*/ 527678 w 529794"/>
                <a:gd name="connsiteY0" fmla="*/ 960386 h 960385"/>
                <a:gd name="connsiteX1" fmla="*/ 297209 w 529794"/>
                <a:gd name="connsiteY1" fmla="*/ 539473 h 960385"/>
                <a:gd name="connsiteX2" fmla="*/ 87509 w 529794"/>
                <a:gd name="connsiteY2" fmla="*/ 157678 h 960385"/>
                <a:gd name="connsiteX3" fmla="*/ 23289 w 529794"/>
                <a:gd name="connsiteY3" fmla="*/ 42343 h 960385"/>
                <a:gd name="connsiteX4" fmla="*/ 5847 w 529794"/>
                <a:gd name="connsiteY4" fmla="*/ 10989 h 960385"/>
                <a:gd name="connsiteX5" fmla="*/ 1411 w 529794"/>
                <a:gd name="connsiteY5" fmla="*/ 2823 h 960385"/>
                <a:gd name="connsiteX6" fmla="*/ 0 w 529794"/>
                <a:gd name="connsiteY6" fmla="*/ 0 h 960385"/>
                <a:gd name="connsiteX7" fmla="*/ 1714 w 529794"/>
                <a:gd name="connsiteY7" fmla="*/ 2722 h 960385"/>
                <a:gd name="connsiteX8" fmla="*/ 6452 w 529794"/>
                <a:gd name="connsiteY8" fmla="*/ 10787 h 960385"/>
                <a:gd name="connsiteX9" fmla="*/ 24398 w 529794"/>
                <a:gd name="connsiteY9" fmla="*/ 41839 h 960385"/>
                <a:gd name="connsiteX10" fmla="*/ 89526 w 529794"/>
                <a:gd name="connsiteY10" fmla="*/ 156771 h 960385"/>
                <a:gd name="connsiteX11" fmla="*/ 300133 w 529794"/>
                <a:gd name="connsiteY11" fmla="*/ 538163 h 960385"/>
                <a:gd name="connsiteX12" fmla="*/ 529795 w 529794"/>
                <a:gd name="connsiteY12" fmla="*/ 959579 h 96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9794" h="960385">
                  <a:moveTo>
                    <a:pt x="527678" y="960386"/>
                  </a:moveTo>
                  <a:cubicBezTo>
                    <a:pt x="473035" y="863198"/>
                    <a:pt x="378871" y="688784"/>
                    <a:pt x="297209" y="539473"/>
                  </a:cubicBezTo>
                  <a:cubicBezTo>
                    <a:pt x="215648" y="390163"/>
                    <a:pt x="141548" y="255169"/>
                    <a:pt x="87509" y="157678"/>
                  </a:cubicBezTo>
                  <a:cubicBezTo>
                    <a:pt x="60490" y="109084"/>
                    <a:pt x="38512" y="69665"/>
                    <a:pt x="23289" y="42343"/>
                  </a:cubicBezTo>
                  <a:cubicBezTo>
                    <a:pt x="15727" y="28834"/>
                    <a:pt x="9880" y="18248"/>
                    <a:pt x="5847" y="10989"/>
                  </a:cubicBezTo>
                  <a:cubicBezTo>
                    <a:pt x="3932" y="7460"/>
                    <a:pt x="2420" y="4738"/>
                    <a:pt x="1411" y="2823"/>
                  </a:cubicBezTo>
                  <a:cubicBezTo>
                    <a:pt x="403" y="1008"/>
                    <a:pt x="0" y="0"/>
                    <a:pt x="0" y="0"/>
                  </a:cubicBezTo>
                  <a:cubicBezTo>
                    <a:pt x="0" y="0"/>
                    <a:pt x="605" y="907"/>
                    <a:pt x="1714" y="2722"/>
                  </a:cubicBezTo>
                  <a:cubicBezTo>
                    <a:pt x="2823" y="4638"/>
                    <a:pt x="4436" y="7359"/>
                    <a:pt x="6452" y="10787"/>
                  </a:cubicBezTo>
                  <a:cubicBezTo>
                    <a:pt x="10586" y="18046"/>
                    <a:pt x="16635" y="28430"/>
                    <a:pt x="24398" y="41839"/>
                  </a:cubicBezTo>
                  <a:cubicBezTo>
                    <a:pt x="39924" y="68858"/>
                    <a:pt x="62204" y="108076"/>
                    <a:pt x="89526" y="156771"/>
                  </a:cubicBezTo>
                  <a:cubicBezTo>
                    <a:pt x="144169" y="253959"/>
                    <a:pt x="218471" y="388953"/>
                    <a:pt x="300133" y="538163"/>
                  </a:cubicBezTo>
                  <a:cubicBezTo>
                    <a:pt x="381795" y="687473"/>
                    <a:pt x="475656" y="862089"/>
                    <a:pt x="529795" y="959579"/>
                  </a:cubicBezTo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98416C5-10DA-46A6-BD83-F6B46B0AE96C}"/>
                </a:ext>
              </a:extLst>
            </p:cNvPr>
            <p:cNvSpPr/>
            <p:nvPr/>
          </p:nvSpPr>
          <p:spPr>
            <a:xfrm>
              <a:off x="8202543" y="5462934"/>
              <a:ext cx="173512" cy="64296"/>
            </a:xfrm>
            <a:custGeom>
              <a:avLst/>
              <a:gdLst>
                <a:gd name="connsiteX0" fmla="*/ 3 w 173512"/>
                <a:gd name="connsiteY0" fmla="*/ 38 h 64296"/>
                <a:gd name="connsiteX1" fmla="*/ 7060 w 173512"/>
                <a:gd name="connsiteY1" fmla="*/ 1852 h 64296"/>
                <a:gd name="connsiteX2" fmla="*/ 25913 w 173512"/>
                <a:gd name="connsiteY2" fmla="*/ 7902 h 64296"/>
                <a:gd name="connsiteX3" fmla="*/ 87412 w 173512"/>
                <a:gd name="connsiteY3" fmla="*/ 30484 h 64296"/>
                <a:gd name="connsiteX4" fmla="*/ 148305 w 173512"/>
                <a:gd name="connsiteY4" fmla="*/ 54278 h 64296"/>
                <a:gd name="connsiteX5" fmla="*/ 166856 w 173512"/>
                <a:gd name="connsiteY5" fmla="*/ 61335 h 64296"/>
                <a:gd name="connsiteX6" fmla="*/ 173510 w 173512"/>
                <a:gd name="connsiteY6" fmla="*/ 64258 h 64296"/>
                <a:gd name="connsiteX7" fmla="*/ 166452 w 173512"/>
                <a:gd name="connsiteY7" fmla="*/ 62545 h 64296"/>
                <a:gd name="connsiteX8" fmla="*/ 147600 w 173512"/>
                <a:gd name="connsiteY8" fmla="*/ 56395 h 64296"/>
                <a:gd name="connsiteX9" fmla="*/ 86303 w 173512"/>
                <a:gd name="connsiteY9" fmla="*/ 33408 h 64296"/>
                <a:gd name="connsiteX10" fmla="*/ 25207 w 173512"/>
                <a:gd name="connsiteY10" fmla="*/ 10019 h 64296"/>
                <a:gd name="connsiteX11" fmla="*/ 6657 w 173512"/>
                <a:gd name="connsiteY11" fmla="*/ 2962 h 64296"/>
                <a:gd name="connsiteX12" fmla="*/ 3 w 173512"/>
                <a:gd name="connsiteY12" fmla="*/ 38 h 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3512" h="64296">
                  <a:moveTo>
                    <a:pt x="3" y="38"/>
                  </a:moveTo>
                  <a:cubicBezTo>
                    <a:pt x="104" y="-164"/>
                    <a:pt x="2624" y="441"/>
                    <a:pt x="7060" y="1852"/>
                  </a:cubicBezTo>
                  <a:cubicBezTo>
                    <a:pt x="11597" y="3163"/>
                    <a:pt x="18049" y="5280"/>
                    <a:pt x="25913" y="7902"/>
                  </a:cubicBezTo>
                  <a:cubicBezTo>
                    <a:pt x="41842" y="13245"/>
                    <a:pt x="63518" y="21209"/>
                    <a:pt x="87412" y="30484"/>
                  </a:cubicBezTo>
                  <a:cubicBezTo>
                    <a:pt x="110902" y="39659"/>
                    <a:pt x="132074" y="47926"/>
                    <a:pt x="148305" y="54278"/>
                  </a:cubicBezTo>
                  <a:cubicBezTo>
                    <a:pt x="155665" y="57100"/>
                    <a:pt x="161815" y="59520"/>
                    <a:pt x="166856" y="61335"/>
                  </a:cubicBezTo>
                  <a:cubicBezTo>
                    <a:pt x="171191" y="62948"/>
                    <a:pt x="173610" y="64057"/>
                    <a:pt x="173510" y="64258"/>
                  </a:cubicBezTo>
                  <a:cubicBezTo>
                    <a:pt x="173409" y="64460"/>
                    <a:pt x="170888" y="63855"/>
                    <a:pt x="166452" y="62545"/>
                  </a:cubicBezTo>
                  <a:cubicBezTo>
                    <a:pt x="161916" y="61234"/>
                    <a:pt x="155463" y="59117"/>
                    <a:pt x="147600" y="56395"/>
                  </a:cubicBezTo>
                  <a:cubicBezTo>
                    <a:pt x="131771" y="50850"/>
                    <a:pt x="110096" y="42583"/>
                    <a:pt x="86303" y="33408"/>
                  </a:cubicBezTo>
                  <a:cubicBezTo>
                    <a:pt x="62812" y="24436"/>
                    <a:pt x="41540" y="16269"/>
                    <a:pt x="25207" y="10019"/>
                  </a:cubicBezTo>
                  <a:cubicBezTo>
                    <a:pt x="17848" y="7196"/>
                    <a:pt x="11698" y="4877"/>
                    <a:pt x="6657" y="2962"/>
                  </a:cubicBezTo>
                  <a:cubicBezTo>
                    <a:pt x="2322" y="1248"/>
                    <a:pt x="-98" y="239"/>
                    <a:pt x="3" y="38"/>
                  </a:cubicBezTo>
                  <a:close/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76C24B6F-72D7-4DE5-8EAD-96C50F7C80B8}"/>
                </a:ext>
              </a:extLst>
            </p:cNvPr>
            <p:cNvSpPr/>
            <p:nvPr/>
          </p:nvSpPr>
          <p:spPr>
            <a:xfrm>
              <a:off x="8382775" y="5318196"/>
              <a:ext cx="67612" cy="202443"/>
            </a:xfrm>
            <a:custGeom>
              <a:avLst/>
              <a:gdLst>
                <a:gd name="connsiteX0" fmla="*/ 32 w 67612"/>
                <a:gd name="connsiteY0" fmla="*/ 202443 h 202443"/>
                <a:gd name="connsiteX1" fmla="*/ 32294 w 67612"/>
                <a:gd name="connsiteY1" fmla="*/ 100718 h 202443"/>
                <a:gd name="connsiteX2" fmla="*/ 67580 w 67612"/>
                <a:gd name="connsiteY2" fmla="*/ 2 h 202443"/>
                <a:gd name="connsiteX3" fmla="*/ 35318 w 67612"/>
                <a:gd name="connsiteY3" fmla="*/ 101726 h 202443"/>
                <a:gd name="connsiteX4" fmla="*/ 32 w 67612"/>
                <a:gd name="connsiteY4" fmla="*/ 202443 h 202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12" h="202443">
                  <a:moveTo>
                    <a:pt x="32" y="202443"/>
                  </a:moveTo>
                  <a:cubicBezTo>
                    <a:pt x="-774" y="202140"/>
                    <a:pt x="13643" y="156571"/>
                    <a:pt x="32294" y="100718"/>
                  </a:cubicBezTo>
                  <a:cubicBezTo>
                    <a:pt x="50945" y="44764"/>
                    <a:pt x="66773" y="-301"/>
                    <a:pt x="67580" y="2"/>
                  </a:cubicBezTo>
                  <a:cubicBezTo>
                    <a:pt x="68386" y="304"/>
                    <a:pt x="53970" y="45874"/>
                    <a:pt x="35318" y="101726"/>
                  </a:cubicBezTo>
                  <a:cubicBezTo>
                    <a:pt x="16667" y="157579"/>
                    <a:pt x="940" y="202644"/>
                    <a:pt x="32" y="202443"/>
                  </a:cubicBezTo>
                  <a:close/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A04491A-F710-442B-9F13-BA27D071D2D9}"/>
                </a:ext>
              </a:extLst>
            </p:cNvPr>
            <p:cNvSpPr/>
            <p:nvPr/>
          </p:nvSpPr>
          <p:spPr>
            <a:xfrm>
              <a:off x="8497821" y="5596047"/>
              <a:ext cx="100960" cy="159499"/>
            </a:xfrm>
            <a:custGeom>
              <a:avLst/>
              <a:gdLst>
                <a:gd name="connsiteX0" fmla="*/ 19 w 100960"/>
                <a:gd name="connsiteY0" fmla="*/ 159496 h 159499"/>
                <a:gd name="connsiteX1" fmla="*/ 3951 w 100960"/>
                <a:gd name="connsiteY1" fmla="*/ 153145 h 159499"/>
                <a:gd name="connsiteX2" fmla="*/ 15444 w 100960"/>
                <a:gd name="connsiteY2" fmla="*/ 136510 h 159499"/>
                <a:gd name="connsiteX3" fmla="*/ 52343 w 100960"/>
                <a:gd name="connsiteY3" fmla="*/ 80960 h 159499"/>
                <a:gd name="connsiteX4" fmla="*/ 86823 w 100960"/>
                <a:gd name="connsiteY4" fmla="*/ 23796 h 159499"/>
                <a:gd name="connsiteX5" fmla="*/ 96904 w 100960"/>
                <a:gd name="connsiteY5" fmla="*/ 6254 h 159499"/>
                <a:gd name="connsiteX6" fmla="*/ 100937 w 100960"/>
                <a:gd name="connsiteY6" fmla="*/ 3 h 159499"/>
                <a:gd name="connsiteX7" fmla="*/ 98013 w 100960"/>
                <a:gd name="connsiteY7" fmla="*/ 6859 h 159499"/>
                <a:gd name="connsiteX8" fmla="*/ 88738 w 100960"/>
                <a:gd name="connsiteY8" fmla="*/ 24905 h 159499"/>
                <a:gd name="connsiteX9" fmla="*/ 55065 w 100960"/>
                <a:gd name="connsiteY9" fmla="*/ 82673 h 159499"/>
                <a:gd name="connsiteX10" fmla="*/ 17259 w 100960"/>
                <a:gd name="connsiteY10" fmla="*/ 137921 h 159499"/>
                <a:gd name="connsiteX11" fmla="*/ 4959 w 100960"/>
                <a:gd name="connsiteY11" fmla="*/ 154052 h 159499"/>
                <a:gd name="connsiteX12" fmla="*/ 19 w 100960"/>
                <a:gd name="connsiteY12" fmla="*/ 159496 h 15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960" h="159499">
                  <a:moveTo>
                    <a:pt x="19" y="159496"/>
                  </a:moveTo>
                  <a:cubicBezTo>
                    <a:pt x="-183" y="159395"/>
                    <a:pt x="1229" y="157077"/>
                    <a:pt x="3951" y="153145"/>
                  </a:cubicBezTo>
                  <a:cubicBezTo>
                    <a:pt x="7076" y="148709"/>
                    <a:pt x="10907" y="143063"/>
                    <a:pt x="15444" y="136510"/>
                  </a:cubicBezTo>
                  <a:cubicBezTo>
                    <a:pt x="25122" y="122395"/>
                    <a:pt x="38430" y="102938"/>
                    <a:pt x="52343" y="80960"/>
                  </a:cubicBezTo>
                  <a:cubicBezTo>
                    <a:pt x="66256" y="58981"/>
                    <a:pt x="78253" y="38616"/>
                    <a:pt x="86823" y="23796"/>
                  </a:cubicBezTo>
                  <a:cubicBezTo>
                    <a:pt x="90855" y="16840"/>
                    <a:pt x="94182" y="10992"/>
                    <a:pt x="96904" y="6254"/>
                  </a:cubicBezTo>
                  <a:cubicBezTo>
                    <a:pt x="99324" y="2120"/>
                    <a:pt x="100735" y="-98"/>
                    <a:pt x="100937" y="3"/>
                  </a:cubicBezTo>
                  <a:cubicBezTo>
                    <a:pt x="101139" y="104"/>
                    <a:pt x="100030" y="2524"/>
                    <a:pt x="98013" y="6859"/>
                  </a:cubicBezTo>
                  <a:cubicBezTo>
                    <a:pt x="95896" y="11194"/>
                    <a:pt x="92771" y="17344"/>
                    <a:pt x="88738" y="24905"/>
                  </a:cubicBezTo>
                  <a:cubicBezTo>
                    <a:pt x="80673" y="40028"/>
                    <a:pt x="68978" y="60594"/>
                    <a:pt x="55065" y="82673"/>
                  </a:cubicBezTo>
                  <a:cubicBezTo>
                    <a:pt x="41152" y="104752"/>
                    <a:pt x="27441" y="124109"/>
                    <a:pt x="17259" y="137921"/>
                  </a:cubicBezTo>
                  <a:cubicBezTo>
                    <a:pt x="12117" y="144777"/>
                    <a:pt x="7984" y="150322"/>
                    <a:pt x="4959" y="154052"/>
                  </a:cubicBezTo>
                  <a:cubicBezTo>
                    <a:pt x="1934" y="157581"/>
                    <a:pt x="221" y="159597"/>
                    <a:pt x="19" y="159496"/>
                  </a:cubicBezTo>
                  <a:close/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A01AE96-BC13-49C9-996B-4BC532E15A8B}"/>
                </a:ext>
              </a:extLst>
            </p:cNvPr>
            <p:cNvSpPr/>
            <p:nvPr/>
          </p:nvSpPr>
          <p:spPr>
            <a:xfrm>
              <a:off x="8323322" y="5739145"/>
              <a:ext cx="174016" cy="14146"/>
            </a:xfrm>
            <a:custGeom>
              <a:avLst/>
              <a:gdLst>
                <a:gd name="connsiteX0" fmla="*/ 3 w 174016"/>
                <a:gd name="connsiteY0" fmla="*/ 167 h 14146"/>
                <a:gd name="connsiteX1" fmla="*/ 6859 w 174016"/>
                <a:gd name="connsiteY1" fmla="*/ 66 h 14146"/>
                <a:gd name="connsiteX2" fmla="*/ 25510 w 174016"/>
                <a:gd name="connsiteY2" fmla="*/ 1075 h 14146"/>
                <a:gd name="connsiteX3" fmla="*/ 87109 w 174016"/>
                <a:gd name="connsiteY3" fmla="*/ 5511 h 14146"/>
                <a:gd name="connsiteX4" fmla="*/ 148608 w 174016"/>
                <a:gd name="connsiteY4" fmla="*/ 10854 h 14146"/>
                <a:gd name="connsiteX5" fmla="*/ 167259 w 174016"/>
                <a:gd name="connsiteY5" fmla="*/ 12870 h 14146"/>
                <a:gd name="connsiteX6" fmla="*/ 174014 w 174016"/>
                <a:gd name="connsiteY6" fmla="*/ 13979 h 14146"/>
                <a:gd name="connsiteX7" fmla="*/ 167158 w 174016"/>
                <a:gd name="connsiteY7" fmla="*/ 14080 h 14146"/>
                <a:gd name="connsiteX8" fmla="*/ 148507 w 174016"/>
                <a:gd name="connsiteY8" fmla="*/ 13072 h 14146"/>
                <a:gd name="connsiteX9" fmla="*/ 86908 w 174016"/>
                <a:gd name="connsiteY9" fmla="*/ 8636 h 14146"/>
                <a:gd name="connsiteX10" fmla="*/ 25409 w 174016"/>
                <a:gd name="connsiteY10" fmla="*/ 3293 h 14146"/>
                <a:gd name="connsiteX11" fmla="*/ 6758 w 174016"/>
                <a:gd name="connsiteY11" fmla="*/ 1276 h 14146"/>
                <a:gd name="connsiteX12" fmla="*/ 3 w 174016"/>
                <a:gd name="connsiteY12" fmla="*/ 167 h 1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016" h="14146">
                  <a:moveTo>
                    <a:pt x="3" y="167"/>
                  </a:moveTo>
                  <a:cubicBezTo>
                    <a:pt x="3" y="-35"/>
                    <a:pt x="2423" y="-35"/>
                    <a:pt x="6859" y="66"/>
                  </a:cubicBezTo>
                  <a:cubicBezTo>
                    <a:pt x="11899" y="369"/>
                    <a:pt x="18150" y="671"/>
                    <a:pt x="25510" y="1075"/>
                  </a:cubicBezTo>
                  <a:cubicBezTo>
                    <a:pt x="41237" y="2083"/>
                    <a:pt x="63014" y="3595"/>
                    <a:pt x="87109" y="5511"/>
                  </a:cubicBezTo>
                  <a:cubicBezTo>
                    <a:pt x="111104" y="7426"/>
                    <a:pt x="132880" y="9342"/>
                    <a:pt x="148608" y="10854"/>
                  </a:cubicBezTo>
                  <a:cubicBezTo>
                    <a:pt x="155967" y="11660"/>
                    <a:pt x="162117" y="12265"/>
                    <a:pt x="167259" y="12870"/>
                  </a:cubicBezTo>
                  <a:cubicBezTo>
                    <a:pt x="171695" y="13374"/>
                    <a:pt x="174115" y="13778"/>
                    <a:pt x="174014" y="13979"/>
                  </a:cubicBezTo>
                  <a:cubicBezTo>
                    <a:pt x="174014" y="14181"/>
                    <a:pt x="171594" y="14181"/>
                    <a:pt x="167158" y="14080"/>
                  </a:cubicBezTo>
                  <a:cubicBezTo>
                    <a:pt x="162117" y="13778"/>
                    <a:pt x="155867" y="13475"/>
                    <a:pt x="148507" y="13072"/>
                  </a:cubicBezTo>
                  <a:cubicBezTo>
                    <a:pt x="132779" y="12064"/>
                    <a:pt x="111003" y="10551"/>
                    <a:pt x="86908" y="8636"/>
                  </a:cubicBezTo>
                  <a:cubicBezTo>
                    <a:pt x="62913" y="6720"/>
                    <a:pt x="41137" y="4805"/>
                    <a:pt x="25409" y="3293"/>
                  </a:cubicBezTo>
                  <a:cubicBezTo>
                    <a:pt x="18049" y="2486"/>
                    <a:pt x="11899" y="1881"/>
                    <a:pt x="6758" y="1276"/>
                  </a:cubicBezTo>
                  <a:cubicBezTo>
                    <a:pt x="2322" y="772"/>
                    <a:pt x="-98" y="369"/>
                    <a:pt x="3" y="167"/>
                  </a:cubicBezTo>
                  <a:close/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CB8BFC5-02B1-470C-AAE4-5AEF3E5BA3B1}"/>
                </a:ext>
              </a:extLst>
            </p:cNvPr>
            <p:cNvSpPr/>
            <p:nvPr/>
          </p:nvSpPr>
          <p:spPr>
            <a:xfrm>
              <a:off x="8398434" y="5959446"/>
              <a:ext cx="223310" cy="16130"/>
            </a:xfrm>
            <a:custGeom>
              <a:avLst/>
              <a:gdLst>
                <a:gd name="connsiteX0" fmla="*/ 0 w 223310"/>
                <a:gd name="connsiteY0" fmla="*/ 151 h 16130"/>
                <a:gd name="connsiteX1" fmla="*/ 8771 w 223310"/>
                <a:gd name="connsiteY1" fmla="*/ 151 h 16130"/>
                <a:gd name="connsiteX2" fmla="*/ 32766 w 223310"/>
                <a:gd name="connsiteY2" fmla="*/ 1361 h 16130"/>
                <a:gd name="connsiteX3" fmla="*/ 111706 w 223310"/>
                <a:gd name="connsiteY3" fmla="*/ 6503 h 16130"/>
                <a:gd name="connsiteX4" fmla="*/ 190646 w 223310"/>
                <a:gd name="connsiteY4" fmla="*/ 12552 h 16130"/>
                <a:gd name="connsiteX5" fmla="*/ 214539 w 223310"/>
                <a:gd name="connsiteY5" fmla="*/ 14770 h 16130"/>
                <a:gd name="connsiteX6" fmla="*/ 223310 w 223310"/>
                <a:gd name="connsiteY6" fmla="*/ 15979 h 16130"/>
                <a:gd name="connsiteX7" fmla="*/ 214539 w 223310"/>
                <a:gd name="connsiteY7" fmla="*/ 15979 h 16130"/>
                <a:gd name="connsiteX8" fmla="*/ 190545 w 223310"/>
                <a:gd name="connsiteY8" fmla="*/ 14770 h 16130"/>
                <a:gd name="connsiteX9" fmla="*/ 111605 w 223310"/>
                <a:gd name="connsiteY9" fmla="*/ 9628 h 16130"/>
                <a:gd name="connsiteX10" fmla="*/ 32665 w 223310"/>
                <a:gd name="connsiteY10" fmla="*/ 3579 h 16130"/>
                <a:gd name="connsiteX11" fmla="*/ 8771 w 223310"/>
                <a:gd name="connsiteY11" fmla="*/ 1361 h 16130"/>
                <a:gd name="connsiteX12" fmla="*/ 0 w 223310"/>
                <a:gd name="connsiteY12" fmla="*/ 151 h 16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3310" h="16130">
                  <a:moveTo>
                    <a:pt x="0" y="151"/>
                  </a:moveTo>
                  <a:cubicBezTo>
                    <a:pt x="0" y="-50"/>
                    <a:pt x="3125" y="-50"/>
                    <a:pt x="8771" y="151"/>
                  </a:cubicBezTo>
                  <a:cubicBezTo>
                    <a:pt x="15022" y="454"/>
                    <a:pt x="23087" y="857"/>
                    <a:pt x="32766" y="1361"/>
                  </a:cubicBezTo>
                  <a:cubicBezTo>
                    <a:pt x="53030" y="2470"/>
                    <a:pt x="80956" y="4285"/>
                    <a:pt x="111706" y="6503"/>
                  </a:cubicBezTo>
                  <a:cubicBezTo>
                    <a:pt x="142556" y="8721"/>
                    <a:pt x="170482" y="10838"/>
                    <a:pt x="190646" y="12552"/>
                  </a:cubicBezTo>
                  <a:cubicBezTo>
                    <a:pt x="200324" y="13459"/>
                    <a:pt x="208289" y="14165"/>
                    <a:pt x="214539" y="14770"/>
                  </a:cubicBezTo>
                  <a:cubicBezTo>
                    <a:pt x="220185" y="15375"/>
                    <a:pt x="223310" y="15778"/>
                    <a:pt x="223310" y="15979"/>
                  </a:cubicBezTo>
                  <a:cubicBezTo>
                    <a:pt x="223310" y="16181"/>
                    <a:pt x="220185" y="16181"/>
                    <a:pt x="214539" y="15979"/>
                  </a:cubicBezTo>
                  <a:cubicBezTo>
                    <a:pt x="208289" y="15677"/>
                    <a:pt x="200223" y="15274"/>
                    <a:pt x="190545" y="14770"/>
                  </a:cubicBezTo>
                  <a:cubicBezTo>
                    <a:pt x="170280" y="13661"/>
                    <a:pt x="142354" y="11846"/>
                    <a:pt x="111605" y="9628"/>
                  </a:cubicBezTo>
                  <a:cubicBezTo>
                    <a:pt x="80755" y="7410"/>
                    <a:pt x="52929" y="5293"/>
                    <a:pt x="32665" y="3579"/>
                  </a:cubicBezTo>
                  <a:cubicBezTo>
                    <a:pt x="22986" y="2672"/>
                    <a:pt x="15022" y="1966"/>
                    <a:pt x="8771" y="1361"/>
                  </a:cubicBezTo>
                  <a:cubicBezTo>
                    <a:pt x="3125" y="756"/>
                    <a:pt x="0" y="353"/>
                    <a:pt x="0" y="151"/>
                  </a:cubicBezTo>
                  <a:close/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48838B6-753B-4EE1-8EB3-3E755B34FAF8}"/>
                </a:ext>
              </a:extLst>
            </p:cNvPr>
            <p:cNvSpPr/>
            <p:nvPr/>
          </p:nvSpPr>
          <p:spPr>
            <a:xfrm>
              <a:off x="8616486" y="5767538"/>
              <a:ext cx="122427" cy="205882"/>
            </a:xfrm>
            <a:custGeom>
              <a:avLst/>
              <a:gdLst>
                <a:gd name="connsiteX0" fmla="*/ 16 w 122427"/>
                <a:gd name="connsiteY0" fmla="*/ 205872 h 205882"/>
                <a:gd name="connsiteX1" fmla="*/ 4754 w 122427"/>
                <a:gd name="connsiteY1" fmla="*/ 197706 h 205882"/>
                <a:gd name="connsiteX2" fmla="*/ 18566 w 122427"/>
                <a:gd name="connsiteY2" fmla="*/ 176030 h 205882"/>
                <a:gd name="connsiteX3" fmla="*/ 63128 w 122427"/>
                <a:gd name="connsiteY3" fmla="*/ 104046 h 205882"/>
                <a:gd name="connsiteX4" fmla="*/ 105168 w 122427"/>
                <a:gd name="connsiteY4" fmla="*/ 30550 h 205882"/>
                <a:gd name="connsiteX5" fmla="*/ 117569 w 122427"/>
                <a:gd name="connsiteY5" fmla="*/ 8068 h 205882"/>
                <a:gd name="connsiteX6" fmla="*/ 122408 w 122427"/>
                <a:gd name="connsiteY6" fmla="*/ 3 h 205882"/>
                <a:gd name="connsiteX7" fmla="*/ 118577 w 122427"/>
                <a:gd name="connsiteY7" fmla="*/ 8673 h 205882"/>
                <a:gd name="connsiteX8" fmla="*/ 106983 w 122427"/>
                <a:gd name="connsiteY8" fmla="*/ 31659 h 205882"/>
                <a:gd name="connsiteX9" fmla="*/ 65648 w 122427"/>
                <a:gd name="connsiteY9" fmla="*/ 105760 h 205882"/>
                <a:gd name="connsiteX10" fmla="*/ 20280 w 122427"/>
                <a:gd name="connsiteY10" fmla="*/ 177441 h 205882"/>
                <a:gd name="connsiteX11" fmla="*/ 5561 w 122427"/>
                <a:gd name="connsiteY11" fmla="*/ 198512 h 205882"/>
                <a:gd name="connsiteX12" fmla="*/ 16 w 122427"/>
                <a:gd name="connsiteY12" fmla="*/ 205872 h 205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427" h="205882">
                  <a:moveTo>
                    <a:pt x="16" y="205872"/>
                  </a:moveTo>
                  <a:cubicBezTo>
                    <a:pt x="-186" y="205771"/>
                    <a:pt x="1528" y="202847"/>
                    <a:pt x="4754" y="197706"/>
                  </a:cubicBezTo>
                  <a:cubicBezTo>
                    <a:pt x="8283" y="192160"/>
                    <a:pt x="13021" y="184801"/>
                    <a:pt x="18566" y="176030"/>
                  </a:cubicBezTo>
                  <a:cubicBezTo>
                    <a:pt x="30261" y="157782"/>
                    <a:pt x="46291" y="132477"/>
                    <a:pt x="63128" y="104046"/>
                  </a:cubicBezTo>
                  <a:cubicBezTo>
                    <a:pt x="80065" y="75616"/>
                    <a:pt x="94683" y="49504"/>
                    <a:pt x="105168" y="30550"/>
                  </a:cubicBezTo>
                  <a:cubicBezTo>
                    <a:pt x="110209" y="21477"/>
                    <a:pt x="114343" y="13915"/>
                    <a:pt x="117569" y="8068"/>
                  </a:cubicBezTo>
                  <a:cubicBezTo>
                    <a:pt x="120493" y="2725"/>
                    <a:pt x="122207" y="-98"/>
                    <a:pt x="122408" y="3"/>
                  </a:cubicBezTo>
                  <a:cubicBezTo>
                    <a:pt x="122610" y="104"/>
                    <a:pt x="121198" y="3128"/>
                    <a:pt x="118577" y="8673"/>
                  </a:cubicBezTo>
                  <a:cubicBezTo>
                    <a:pt x="115956" y="14117"/>
                    <a:pt x="112024" y="21981"/>
                    <a:pt x="106983" y="31659"/>
                  </a:cubicBezTo>
                  <a:cubicBezTo>
                    <a:pt x="97002" y="50916"/>
                    <a:pt x="82585" y="77229"/>
                    <a:pt x="65648" y="105760"/>
                  </a:cubicBezTo>
                  <a:cubicBezTo>
                    <a:pt x="48711" y="134291"/>
                    <a:pt x="32378" y="159395"/>
                    <a:pt x="20280" y="177441"/>
                  </a:cubicBezTo>
                  <a:cubicBezTo>
                    <a:pt x="14130" y="186414"/>
                    <a:pt x="9190" y="193673"/>
                    <a:pt x="5561" y="198512"/>
                  </a:cubicBezTo>
                  <a:cubicBezTo>
                    <a:pt x="2234" y="203351"/>
                    <a:pt x="218" y="206073"/>
                    <a:pt x="16" y="205872"/>
                  </a:cubicBezTo>
                  <a:close/>
                </a:path>
              </a:pathLst>
            </a:custGeom>
            <a:solidFill>
              <a:srgbClr val="E0E0E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89C71B0-3F22-4B0A-9F70-40BDAB64C80A}"/>
                </a:ext>
              </a:extLst>
            </p:cNvPr>
            <p:cNvSpPr/>
            <p:nvPr/>
          </p:nvSpPr>
          <p:spPr>
            <a:xfrm rot="18900000">
              <a:off x="10052735" y="1885484"/>
              <a:ext cx="904524" cy="904524"/>
            </a:xfrm>
            <a:custGeom>
              <a:avLst/>
              <a:gdLst>
                <a:gd name="connsiteX0" fmla="*/ 904524 w 904524"/>
                <a:gd name="connsiteY0" fmla="*/ 452262 h 904524"/>
                <a:gd name="connsiteX1" fmla="*/ 452262 w 904524"/>
                <a:gd name="connsiteY1" fmla="*/ 904524 h 904524"/>
                <a:gd name="connsiteX2" fmla="*/ 0 w 904524"/>
                <a:gd name="connsiteY2" fmla="*/ 452262 h 904524"/>
                <a:gd name="connsiteX3" fmla="*/ 452262 w 904524"/>
                <a:gd name="connsiteY3" fmla="*/ 0 h 904524"/>
                <a:gd name="connsiteX4" fmla="*/ 904524 w 904524"/>
                <a:gd name="connsiteY4" fmla="*/ 452262 h 90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4524" h="904524">
                  <a:moveTo>
                    <a:pt x="904524" y="452262"/>
                  </a:moveTo>
                  <a:cubicBezTo>
                    <a:pt x="904524" y="702040"/>
                    <a:pt x="702040" y="904524"/>
                    <a:pt x="452262" y="904524"/>
                  </a:cubicBezTo>
                  <a:cubicBezTo>
                    <a:pt x="202485" y="904524"/>
                    <a:pt x="0" y="702040"/>
                    <a:pt x="0" y="452262"/>
                  </a:cubicBezTo>
                  <a:cubicBezTo>
                    <a:pt x="0" y="202485"/>
                    <a:pt x="202485" y="0"/>
                    <a:pt x="452262" y="0"/>
                  </a:cubicBezTo>
                  <a:cubicBezTo>
                    <a:pt x="702040" y="0"/>
                    <a:pt x="904524" y="202485"/>
                    <a:pt x="904524" y="452262"/>
                  </a:cubicBezTo>
                  <a:close/>
                </a:path>
              </a:pathLst>
            </a:custGeom>
            <a:solidFill>
              <a:srgbClr val="FF725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4A735DD-E330-4E0C-9562-159E369BE25B}"/>
                </a:ext>
              </a:extLst>
            </p:cNvPr>
            <p:cNvSpPr/>
            <p:nvPr/>
          </p:nvSpPr>
          <p:spPr>
            <a:xfrm>
              <a:off x="10128560" y="1961284"/>
              <a:ext cx="752903" cy="752903"/>
            </a:xfrm>
            <a:custGeom>
              <a:avLst/>
              <a:gdLst>
                <a:gd name="connsiteX0" fmla="*/ 0 w 752903"/>
                <a:gd name="connsiteY0" fmla="*/ 376452 h 752903"/>
                <a:gd name="connsiteX1" fmla="*/ 376452 w 752903"/>
                <a:gd name="connsiteY1" fmla="*/ 0 h 752903"/>
                <a:gd name="connsiteX2" fmla="*/ 752904 w 752903"/>
                <a:gd name="connsiteY2" fmla="*/ 376452 h 752903"/>
                <a:gd name="connsiteX3" fmla="*/ 376452 w 752903"/>
                <a:gd name="connsiteY3" fmla="*/ 752904 h 752903"/>
                <a:gd name="connsiteX4" fmla="*/ 0 w 752903"/>
                <a:gd name="connsiteY4" fmla="*/ 376452 h 752903"/>
                <a:gd name="connsiteX5" fmla="*/ 64422 w 752903"/>
                <a:gd name="connsiteY5" fmla="*/ 376452 h 752903"/>
                <a:gd name="connsiteX6" fmla="*/ 376452 w 752903"/>
                <a:gd name="connsiteY6" fmla="*/ 688481 h 752903"/>
                <a:gd name="connsiteX7" fmla="*/ 688481 w 752903"/>
                <a:gd name="connsiteY7" fmla="*/ 376452 h 752903"/>
                <a:gd name="connsiteX8" fmla="*/ 376452 w 752903"/>
                <a:gd name="connsiteY8" fmla="*/ 64422 h 752903"/>
                <a:gd name="connsiteX9" fmla="*/ 64422 w 752903"/>
                <a:gd name="connsiteY9" fmla="*/ 376452 h 75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2903" h="752903">
                  <a:moveTo>
                    <a:pt x="0" y="376452"/>
                  </a:moveTo>
                  <a:cubicBezTo>
                    <a:pt x="0" y="168869"/>
                    <a:pt x="168869" y="0"/>
                    <a:pt x="376452" y="0"/>
                  </a:cubicBezTo>
                  <a:cubicBezTo>
                    <a:pt x="584035" y="0"/>
                    <a:pt x="752904" y="168869"/>
                    <a:pt x="752904" y="376452"/>
                  </a:cubicBezTo>
                  <a:cubicBezTo>
                    <a:pt x="752904" y="584035"/>
                    <a:pt x="584035" y="752904"/>
                    <a:pt x="376452" y="752904"/>
                  </a:cubicBezTo>
                  <a:cubicBezTo>
                    <a:pt x="168869" y="752803"/>
                    <a:pt x="0" y="584035"/>
                    <a:pt x="0" y="376452"/>
                  </a:cubicBezTo>
                  <a:close/>
                  <a:moveTo>
                    <a:pt x="64422" y="376452"/>
                  </a:moveTo>
                  <a:cubicBezTo>
                    <a:pt x="64422" y="548446"/>
                    <a:pt x="204357" y="688481"/>
                    <a:pt x="376452" y="688481"/>
                  </a:cubicBezTo>
                  <a:cubicBezTo>
                    <a:pt x="548547" y="688481"/>
                    <a:pt x="688481" y="548547"/>
                    <a:pt x="688481" y="376452"/>
                  </a:cubicBezTo>
                  <a:cubicBezTo>
                    <a:pt x="688481" y="204458"/>
                    <a:pt x="548547" y="64422"/>
                    <a:pt x="376452" y="64422"/>
                  </a:cubicBezTo>
                  <a:cubicBezTo>
                    <a:pt x="204357" y="64422"/>
                    <a:pt x="64422" y="204458"/>
                    <a:pt x="64422" y="376452"/>
                  </a:cubicBezTo>
                  <a:close/>
                </a:path>
              </a:pathLst>
            </a:custGeom>
            <a:solidFill>
              <a:srgbClr val="F5F5F5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2BB755-608A-432C-A18B-FBF606B6B75E}"/>
                </a:ext>
              </a:extLst>
            </p:cNvPr>
            <p:cNvSpPr/>
            <p:nvPr/>
          </p:nvSpPr>
          <p:spPr>
            <a:xfrm>
              <a:off x="10368908" y="2189131"/>
              <a:ext cx="277247" cy="277247"/>
            </a:xfrm>
            <a:custGeom>
              <a:avLst/>
              <a:gdLst>
                <a:gd name="connsiteX0" fmla="*/ 0 w 277247"/>
                <a:gd name="connsiteY0" fmla="*/ 138624 h 277247"/>
                <a:gd name="connsiteX1" fmla="*/ 138624 w 277247"/>
                <a:gd name="connsiteY1" fmla="*/ 0 h 277247"/>
                <a:gd name="connsiteX2" fmla="*/ 277248 w 277247"/>
                <a:gd name="connsiteY2" fmla="*/ 138624 h 277247"/>
                <a:gd name="connsiteX3" fmla="*/ 138624 w 277247"/>
                <a:gd name="connsiteY3" fmla="*/ 277248 h 277247"/>
                <a:gd name="connsiteX4" fmla="*/ 0 w 277247"/>
                <a:gd name="connsiteY4" fmla="*/ 138624 h 277247"/>
                <a:gd name="connsiteX5" fmla="*/ 64422 w 277247"/>
                <a:gd name="connsiteY5" fmla="*/ 138624 h 277247"/>
                <a:gd name="connsiteX6" fmla="*/ 138624 w 277247"/>
                <a:gd name="connsiteY6" fmla="*/ 212825 h 277247"/>
                <a:gd name="connsiteX7" fmla="*/ 212825 w 277247"/>
                <a:gd name="connsiteY7" fmla="*/ 138624 h 277247"/>
                <a:gd name="connsiteX8" fmla="*/ 138624 w 277247"/>
                <a:gd name="connsiteY8" fmla="*/ 64422 h 277247"/>
                <a:gd name="connsiteX9" fmla="*/ 64422 w 277247"/>
                <a:gd name="connsiteY9" fmla="*/ 138624 h 27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247" h="277247">
                  <a:moveTo>
                    <a:pt x="0" y="138624"/>
                  </a:moveTo>
                  <a:cubicBezTo>
                    <a:pt x="0" y="62204"/>
                    <a:pt x="62204" y="0"/>
                    <a:pt x="138624" y="0"/>
                  </a:cubicBezTo>
                  <a:cubicBezTo>
                    <a:pt x="215043" y="0"/>
                    <a:pt x="277248" y="62204"/>
                    <a:pt x="277248" y="138624"/>
                  </a:cubicBezTo>
                  <a:cubicBezTo>
                    <a:pt x="277248" y="215043"/>
                    <a:pt x="215043" y="277248"/>
                    <a:pt x="138624" y="277248"/>
                  </a:cubicBezTo>
                  <a:cubicBezTo>
                    <a:pt x="62204" y="277248"/>
                    <a:pt x="0" y="215043"/>
                    <a:pt x="0" y="138624"/>
                  </a:cubicBezTo>
                  <a:close/>
                  <a:moveTo>
                    <a:pt x="64422" y="138624"/>
                  </a:moveTo>
                  <a:cubicBezTo>
                    <a:pt x="64422" y="179556"/>
                    <a:pt x="97692" y="212825"/>
                    <a:pt x="138624" y="212825"/>
                  </a:cubicBezTo>
                  <a:cubicBezTo>
                    <a:pt x="179556" y="212825"/>
                    <a:pt x="212825" y="179556"/>
                    <a:pt x="212825" y="138624"/>
                  </a:cubicBezTo>
                  <a:cubicBezTo>
                    <a:pt x="212825" y="97692"/>
                    <a:pt x="179556" y="64422"/>
                    <a:pt x="138624" y="64422"/>
                  </a:cubicBezTo>
                  <a:cubicBezTo>
                    <a:pt x="97692" y="64422"/>
                    <a:pt x="64422" y="97692"/>
                    <a:pt x="64422" y="138624"/>
                  </a:cubicBezTo>
                  <a:close/>
                </a:path>
              </a:pathLst>
            </a:custGeom>
            <a:solidFill>
              <a:srgbClr val="F5F5F5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2FC426B-CC12-4365-8213-132639E39C3C}"/>
                </a:ext>
              </a:extLst>
            </p:cNvPr>
            <p:cNvSpPr/>
            <p:nvPr/>
          </p:nvSpPr>
          <p:spPr>
            <a:xfrm>
              <a:off x="10507532" y="2327755"/>
              <a:ext cx="557116" cy="266359"/>
            </a:xfrm>
            <a:custGeom>
              <a:avLst/>
              <a:gdLst>
                <a:gd name="connsiteX0" fmla="*/ 0 w 557116"/>
                <a:gd name="connsiteY0" fmla="*/ 0 h 266359"/>
                <a:gd name="connsiteX1" fmla="*/ 175221 w 557116"/>
                <a:gd name="connsiteY1" fmla="*/ 0 h 266359"/>
                <a:gd name="connsiteX2" fmla="*/ 144673 w 557116"/>
                <a:gd name="connsiteY2" fmla="*/ 54038 h 266359"/>
                <a:gd name="connsiteX3" fmla="*/ 557116 w 557116"/>
                <a:gd name="connsiteY3" fmla="*/ 243071 h 266359"/>
                <a:gd name="connsiteX4" fmla="*/ 543204 w 557116"/>
                <a:gd name="connsiteY4" fmla="*/ 266359 h 266359"/>
                <a:gd name="connsiteX5" fmla="*/ 129349 w 557116"/>
                <a:gd name="connsiteY5" fmla="*/ 79444 h 266359"/>
                <a:gd name="connsiteX6" fmla="*/ 101019 w 557116"/>
                <a:gd name="connsiteY6" fmla="*/ 133180 h 266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7116" h="266359">
                  <a:moveTo>
                    <a:pt x="0" y="0"/>
                  </a:moveTo>
                  <a:lnTo>
                    <a:pt x="175221" y="0"/>
                  </a:lnTo>
                  <a:lnTo>
                    <a:pt x="144673" y="54038"/>
                  </a:lnTo>
                  <a:lnTo>
                    <a:pt x="557116" y="243071"/>
                  </a:lnTo>
                  <a:lnTo>
                    <a:pt x="543204" y="266359"/>
                  </a:lnTo>
                  <a:lnTo>
                    <a:pt x="129349" y="79444"/>
                  </a:lnTo>
                  <a:lnTo>
                    <a:pt x="101019" y="133180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C5D233F8-F836-4CD7-98DE-C46B79563692}"/>
                </a:ext>
              </a:extLst>
            </p:cNvPr>
            <p:cNvSpPr/>
            <p:nvPr/>
          </p:nvSpPr>
          <p:spPr>
            <a:xfrm>
              <a:off x="11050533" y="2542818"/>
              <a:ext cx="264848" cy="189314"/>
            </a:xfrm>
            <a:custGeom>
              <a:avLst/>
              <a:gdLst>
                <a:gd name="connsiteX0" fmla="*/ 14115 w 264848"/>
                <a:gd name="connsiteY0" fmla="*/ 28007 h 189314"/>
                <a:gd name="connsiteX1" fmla="*/ 18451 w 264848"/>
                <a:gd name="connsiteY1" fmla="*/ 23773 h 189314"/>
                <a:gd name="connsiteX2" fmla="*/ 100314 w 264848"/>
                <a:gd name="connsiteY2" fmla="*/ 3307 h 189314"/>
                <a:gd name="connsiteX3" fmla="*/ 264848 w 264848"/>
                <a:gd name="connsiteY3" fmla="*/ 51195 h 189314"/>
                <a:gd name="connsiteX4" fmla="*/ 173205 w 264848"/>
                <a:gd name="connsiteY4" fmla="*/ 91421 h 189314"/>
                <a:gd name="connsiteX5" fmla="*/ 210004 w 264848"/>
                <a:gd name="connsiteY5" fmla="*/ 189315 h 189314"/>
                <a:gd name="connsiteX6" fmla="*/ 55652 w 264848"/>
                <a:gd name="connsiteY6" fmla="*/ 134268 h 189314"/>
                <a:gd name="connsiteX7" fmla="*/ 102 w 264848"/>
                <a:gd name="connsiteY7" fmla="*/ 51195 h 189314"/>
                <a:gd name="connsiteX8" fmla="*/ 102 w 264848"/>
                <a:gd name="connsiteY8" fmla="*/ 51195 h 189314"/>
                <a:gd name="connsiteX9" fmla="*/ 14115 w 264848"/>
                <a:gd name="connsiteY9" fmla="*/ 28007 h 18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4848" h="189314">
                  <a:moveTo>
                    <a:pt x="14115" y="28007"/>
                  </a:moveTo>
                  <a:lnTo>
                    <a:pt x="18451" y="23773"/>
                  </a:lnTo>
                  <a:cubicBezTo>
                    <a:pt x="40025" y="2702"/>
                    <a:pt x="71380" y="-5061"/>
                    <a:pt x="100314" y="3307"/>
                  </a:cubicBezTo>
                  <a:lnTo>
                    <a:pt x="264848" y="51195"/>
                  </a:lnTo>
                  <a:lnTo>
                    <a:pt x="173205" y="91421"/>
                  </a:lnTo>
                  <a:lnTo>
                    <a:pt x="210004" y="189315"/>
                  </a:lnTo>
                  <a:lnTo>
                    <a:pt x="55652" y="134268"/>
                  </a:lnTo>
                  <a:cubicBezTo>
                    <a:pt x="20870" y="121868"/>
                    <a:pt x="-1713" y="88094"/>
                    <a:pt x="102" y="51195"/>
                  </a:cubicBezTo>
                  <a:lnTo>
                    <a:pt x="102" y="51195"/>
                  </a:lnTo>
                  <a:lnTo>
                    <a:pt x="14115" y="28007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3FF4940-E80C-4E62-984A-A0C7384C37FA}"/>
                </a:ext>
              </a:extLst>
            </p:cNvPr>
            <p:cNvSpPr/>
            <p:nvPr/>
          </p:nvSpPr>
          <p:spPr>
            <a:xfrm>
              <a:off x="8179156" y="3070476"/>
              <a:ext cx="623958" cy="624059"/>
            </a:xfrm>
            <a:custGeom>
              <a:avLst/>
              <a:gdLst>
                <a:gd name="connsiteX0" fmla="*/ 178648 w 623958"/>
                <a:gd name="connsiteY0" fmla="*/ 91038 h 624059"/>
                <a:gd name="connsiteX1" fmla="*/ 241256 w 623958"/>
                <a:gd name="connsiteY1" fmla="*/ 63817 h 624059"/>
                <a:gd name="connsiteX2" fmla="*/ 254160 w 623958"/>
                <a:gd name="connsiteY2" fmla="*/ 1815 h 624059"/>
                <a:gd name="connsiteX3" fmla="*/ 358910 w 623958"/>
                <a:gd name="connsiteY3" fmla="*/ 0 h 624059"/>
                <a:gd name="connsiteX4" fmla="*/ 373931 w 623958"/>
                <a:gd name="connsiteY4" fmla="*/ 61498 h 624059"/>
                <a:gd name="connsiteX5" fmla="*/ 437446 w 623958"/>
                <a:gd name="connsiteY5" fmla="*/ 86501 h 624059"/>
                <a:gd name="connsiteX6" fmla="*/ 490375 w 623958"/>
                <a:gd name="connsiteY6" fmla="*/ 51820 h 624059"/>
                <a:gd name="connsiteX7" fmla="*/ 565686 w 623958"/>
                <a:gd name="connsiteY7" fmla="*/ 124610 h 624059"/>
                <a:gd name="connsiteX8" fmla="*/ 532920 w 623958"/>
                <a:gd name="connsiteY8" fmla="*/ 178749 h 624059"/>
                <a:gd name="connsiteX9" fmla="*/ 560141 w 623958"/>
                <a:gd name="connsiteY9" fmla="*/ 241357 h 624059"/>
                <a:gd name="connsiteX10" fmla="*/ 622144 w 623958"/>
                <a:gd name="connsiteY10" fmla="*/ 254261 h 624059"/>
                <a:gd name="connsiteX11" fmla="*/ 623958 w 623958"/>
                <a:gd name="connsiteY11" fmla="*/ 359010 h 624059"/>
                <a:gd name="connsiteX12" fmla="*/ 562460 w 623958"/>
                <a:gd name="connsiteY12" fmla="*/ 374032 h 624059"/>
                <a:gd name="connsiteX13" fmla="*/ 537457 w 623958"/>
                <a:gd name="connsiteY13" fmla="*/ 437547 h 624059"/>
                <a:gd name="connsiteX14" fmla="*/ 572138 w 623958"/>
                <a:gd name="connsiteY14" fmla="*/ 490476 h 624059"/>
                <a:gd name="connsiteX15" fmla="*/ 499449 w 623958"/>
                <a:gd name="connsiteY15" fmla="*/ 565787 h 624059"/>
                <a:gd name="connsiteX16" fmla="*/ 445310 w 623958"/>
                <a:gd name="connsiteY16" fmla="*/ 533021 h 624059"/>
                <a:gd name="connsiteX17" fmla="*/ 382703 w 623958"/>
                <a:gd name="connsiteY17" fmla="*/ 560242 h 624059"/>
                <a:gd name="connsiteX18" fmla="*/ 369798 w 623958"/>
                <a:gd name="connsiteY18" fmla="*/ 622244 h 624059"/>
                <a:gd name="connsiteX19" fmla="*/ 265049 w 623958"/>
                <a:gd name="connsiteY19" fmla="*/ 624059 h 624059"/>
                <a:gd name="connsiteX20" fmla="*/ 250027 w 623958"/>
                <a:gd name="connsiteY20" fmla="*/ 562561 h 624059"/>
                <a:gd name="connsiteX21" fmla="*/ 186512 w 623958"/>
                <a:gd name="connsiteY21" fmla="*/ 537558 h 624059"/>
                <a:gd name="connsiteX22" fmla="*/ 133583 w 623958"/>
                <a:gd name="connsiteY22" fmla="*/ 572239 h 624059"/>
                <a:gd name="connsiteX23" fmla="*/ 58272 w 623958"/>
                <a:gd name="connsiteY23" fmla="*/ 499550 h 624059"/>
                <a:gd name="connsiteX24" fmla="*/ 91038 w 623958"/>
                <a:gd name="connsiteY24" fmla="*/ 445411 h 624059"/>
                <a:gd name="connsiteX25" fmla="*/ 63817 w 623958"/>
                <a:gd name="connsiteY25" fmla="*/ 382803 h 624059"/>
                <a:gd name="connsiteX26" fmla="*/ 1815 w 623958"/>
                <a:gd name="connsiteY26" fmla="*/ 369899 h 624059"/>
                <a:gd name="connsiteX27" fmla="*/ 0 w 623958"/>
                <a:gd name="connsiteY27" fmla="*/ 265150 h 624059"/>
                <a:gd name="connsiteX28" fmla="*/ 61499 w 623958"/>
                <a:gd name="connsiteY28" fmla="*/ 250027 h 624059"/>
                <a:gd name="connsiteX29" fmla="*/ 86501 w 623958"/>
                <a:gd name="connsiteY29" fmla="*/ 186512 h 624059"/>
                <a:gd name="connsiteX30" fmla="*/ 51820 w 623958"/>
                <a:gd name="connsiteY30" fmla="*/ 133583 h 624059"/>
                <a:gd name="connsiteX31" fmla="*/ 124509 w 623958"/>
                <a:gd name="connsiteY31" fmla="*/ 58272 h 624059"/>
                <a:gd name="connsiteX32" fmla="*/ 178648 w 623958"/>
                <a:gd name="connsiteY32" fmla="*/ 91038 h 624059"/>
                <a:gd name="connsiteX33" fmla="*/ 178648 w 623958"/>
                <a:gd name="connsiteY33" fmla="*/ 91038 h 624059"/>
                <a:gd name="connsiteX34" fmla="*/ 234501 w 623958"/>
                <a:gd name="connsiteY34" fmla="*/ 230468 h 624059"/>
                <a:gd name="connsiteX35" fmla="*/ 237324 w 623958"/>
                <a:gd name="connsiteY35" fmla="*/ 389356 h 624059"/>
                <a:gd name="connsiteX36" fmla="*/ 396212 w 623958"/>
                <a:gd name="connsiteY36" fmla="*/ 386534 h 624059"/>
                <a:gd name="connsiteX37" fmla="*/ 393389 w 623958"/>
                <a:gd name="connsiteY37" fmla="*/ 227646 h 624059"/>
                <a:gd name="connsiteX38" fmla="*/ 234501 w 623958"/>
                <a:gd name="connsiteY38" fmla="*/ 230468 h 62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23958" h="624059">
                  <a:moveTo>
                    <a:pt x="178648" y="91038"/>
                  </a:moveTo>
                  <a:cubicBezTo>
                    <a:pt x="198408" y="79041"/>
                    <a:pt x="219479" y="69967"/>
                    <a:pt x="241256" y="63817"/>
                  </a:cubicBezTo>
                  <a:lnTo>
                    <a:pt x="254160" y="1815"/>
                  </a:lnTo>
                  <a:lnTo>
                    <a:pt x="358910" y="0"/>
                  </a:lnTo>
                  <a:lnTo>
                    <a:pt x="373931" y="61498"/>
                  </a:lnTo>
                  <a:cubicBezTo>
                    <a:pt x="395910" y="66943"/>
                    <a:pt x="417283" y="75210"/>
                    <a:pt x="437446" y="86501"/>
                  </a:cubicBezTo>
                  <a:lnTo>
                    <a:pt x="490375" y="51820"/>
                  </a:lnTo>
                  <a:lnTo>
                    <a:pt x="565686" y="124610"/>
                  </a:lnTo>
                  <a:lnTo>
                    <a:pt x="532920" y="178749"/>
                  </a:lnTo>
                  <a:cubicBezTo>
                    <a:pt x="544918" y="198509"/>
                    <a:pt x="553991" y="219681"/>
                    <a:pt x="560141" y="241357"/>
                  </a:cubicBezTo>
                  <a:lnTo>
                    <a:pt x="622144" y="254261"/>
                  </a:lnTo>
                  <a:lnTo>
                    <a:pt x="623958" y="359010"/>
                  </a:lnTo>
                  <a:lnTo>
                    <a:pt x="562460" y="374032"/>
                  </a:lnTo>
                  <a:cubicBezTo>
                    <a:pt x="557016" y="396010"/>
                    <a:pt x="548749" y="417384"/>
                    <a:pt x="537457" y="437547"/>
                  </a:cubicBezTo>
                  <a:lnTo>
                    <a:pt x="572138" y="490476"/>
                  </a:lnTo>
                  <a:lnTo>
                    <a:pt x="499449" y="565787"/>
                  </a:lnTo>
                  <a:lnTo>
                    <a:pt x="445310" y="533021"/>
                  </a:lnTo>
                  <a:cubicBezTo>
                    <a:pt x="425550" y="545018"/>
                    <a:pt x="404479" y="554092"/>
                    <a:pt x="382703" y="560242"/>
                  </a:cubicBezTo>
                  <a:lnTo>
                    <a:pt x="369798" y="622244"/>
                  </a:lnTo>
                  <a:lnTo>
                    <a:pt x="265049" y="624059"/>
                  </a:lnTo>
                  <a:lnTo>
                    <a:pt x="250027" y="562561"/>
                  </a:lnTo>
                  <a:cubicBezTo>
                    <a:pt x="228049" y="557116"/>
                    <a:pt x="206676" y="548849"/>
                    <a:pt x="186512" y="537558"/>
                  </a:cubicBezTo>
                  <a:lnTo>
                    <a:pt x="133583" y="572239"/>
                  </a:lnTo>
                  <a:lnTo>
                    <a:pt x="58272" y="499550"/>
                  </a:lnTo>
                  <a:lnTo>
                    <a:pt x="91038" y="445411"/>
                  </a:lnTo>
                  <a:cubicBezTo>
                    <a:pt x="79041" y="425651"/>
                    <a:pt x="69967" y="404580"/>
                    <a:pt x="63817" y="382803"/>
                  </a:cubicBezTo>
                  <a:lnTo>
                    <a:pt x="1815" y="369899"/>
                  </a:lnTo>
                  <a:lnTo>
                    <a:pt x="0" y="265150"/>
                  </a:lnTo>
                  <a:lnTo>
                    <a:pt x="61499" y="250027"/>
                  </a:lnTo>
                  <a:cubicBezTo>
                    <a:pt x="66943" y="228049"/>
                    <a:pt x="75210" y="206675"/>
                    <a:pt x="86501" y="186512"/>
                  </a:cubicBezTo>
                  <a:lnTo>
                    <a:pt x="51820" y="133583"/>
                  </a:lnTo>
                  <a:lnTo>
                    <a:pt x="124509" y="58272"/>
                  </a:lnTo>
                  <a:lnTo>
                    <a:pt x="178648" y="91038"/>
                  </a:lnTo>
                  <a:lnTo>
                    <a:pt x="178648" y="91038"/>
                  </a:lnTo>
                  <a:close/>
                  <a:moveTo>
                    <a:pt x="234501" y="230468"/>
                  </a:moveTo>
                  <a:cubicBezTo>
                    <a:pt x="191452" y="275130"/>
                    <a:pt x="192662" y="346207"/>
                    <a:pt x="237324" y="389356"/>
                  </a:cubicBezTo>
                  <a:cubicBezTo>
                    <a:pt x="281986" y="432405"/>
                    <a:pt x="353062" y="431196"/>
                    <a:pt x="396212" y="386534"/>
                  </a:cubicBezTo>
                  <a:cubicBezTo>
                    <a:pt x="439261" y="341872"/>
                    <a:pt x="438051" y="270795"/>
                    <a:pt x="393389" y="227646"/>
                  </a:cubicBezTo>
                  <a:cubicBezTo>
                    <a:pt x="348626" y="184596"/>
                    <a:pt x="277550" y="185907"/>
                    <a:pt x="234501" y="230468"/>
                  </a:cubicBezTo>
                  <a:close/>
                </a:path>
              </a:pathLst>
            </a:custGeom>
            <a:solidFill>
              <a:srgbClr val="45726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E4EC7A9-F152-4A44-9AC2-107C3843AFA1}"/>
                </a:ext>
              </a:extLst>
            </p:cNvPr>
            <p:cNvSpPr/>
            <p:nvPr/>
          </p:nvSpPr>
          <p:spPr>
            <a:xfrm>
              <a:off x="8065132" y="3710363"/>
              <a:ext cx="373427" cy="373528"/>
            </a:xfrm>
            <a:custGeom>
              <a:avLst/>
              <a:gdLst>
                <a:gd name="connsiteX0" fmla="*/ 106866 w 373427"/>
                <a:gd name="connsiteY0" fmla="*/ 54542 h 373528"/>
                <a:gd name="connsiteX1" fmla="*/ 144370 w 373427"/>
                <a:gd name="connsiteY1" fmla="*/ 38210 h 373528"/>
                <a:gd name="connsiteX2" fmla="*/ 152133 w 373427"/>
                <a:gd name="connsiteY2" fmla="*/ 1109 h 373528"/>
                <a:gd name="connsiteX3" fmla="*/ 214842 w 373427"/>
                <a:gd name="connsiteY3" fmla="*/ 0 h 373528"/>
                <a:gd name="connsiteX4" fmla="*/ 223814 w 373427"/>
                <a:gd name="connsiteY4" fmla="*/ 36798 h 373528"/>
                <a:gd name="connsiteX5" fmla="*/ 261823 w 373427"/>
                <a:gd name="connsiteY5" fmla="*/ 51719 h 373528"/>
                <a:gd name="connsiteX6" fmla="*/ 293479 w 373427"/>
                <a:gd name="connsiteY6" fmla="*/ 30951 h 373528"/>
                <a:gd name="connsiteX7" fmla="*/ 338545 w 373427"/>
                <a:gd name="connsiteY7" fmla="*/ 74504 h 373528"/>
                <a:gd name="connsiteX8" fmla="*/ 318885 w 373427"/>
                <a:gd name="connsiteY8" fmla="*/ 106866 h 373528"/>
                <a:gd name="connsiteX9" fmla="*/ 335218 w 373427"/>
                <a:gd name="connsiteY9" fmla="*/ 144370 h 373528"/>
                <a:gd name="connsiteX10" fmla="*/ 372318 w 373427"/>
                <a:gd name="connsiteY10" fmla="*/ 152133 h 373528"/>
                <a:gd name="connsiteX11" fmla="*/ 373427 w 373427"/>
                <a:gd name="connsiteY11" fmla="*/ 214842 h 373528"/>
                <a:gd name="connsiteX12" fmla="*/ 336629 w 373427"/>
                <a:gd name="connsiteY12" fmla="*/ 223915 h 373528"/>
                <a:gd name="connsiteX13" fmla="*/ 321708 w 373427"/>
                <a:gd name="connsiteY13" fmla="*/ 261923 h 373528"/>
                <a:gd name="connsiteX14" fmla="*/ 342476 w 373427"/>
                <a:gd name="connsiteY14" fmla="*/ 293580 h 373528"/>
                <a:gd name="connsiteX15" fmla="*/ 298923 w 373427"/>
                <a:gd name="connsiteY15" fmla="*/ 338645 h 373528"/>
                <a:gd name="connsiteX16" fmla="*/ 266561 w 373427"/>
                <a:gd name="connsiteY16" fmla="*/ 318986 h 373528"/>
                <a:gd name="connsiteX17" fmla="*/ 229057 w 373427"/>
                <a:gd name="connsiteY17" fmla="*/ 335318 h 373528"/>
                <a:gd name="connsiteX18" fmla="*/ 221294 w 373427"/>
                <a:gd name="connsiteY18" fmla="*/ 372419 h 373528"/>
                <a:gd name="connsiteX19" fmla="*/ 158586 w 373427"/>
                <a:gd name="connsiteY19" fmla="*/ 373528 h 373528"/>
                <a:gd name="connsiteX20" fmla="*/ 149613 w 373427"/>
                <a:gd name="connsiteY20" fmla="*/ 336730 h 373528"/>
                <a:gd name="connsiteX21" fmla="*/ 111605 w 373427"/>
                <a:gd name="connsiteY21" fmla="*/ 321809 h 373528"/>
                <a:gd name="connsiteX22" fmla="*/ 79948 w 373427"/>
                <a:gd name="connsiteY22" fmla="*/ 342577 h 373528"/>
                <a:gd name="connsiteX23" fmla="*/ 34883 w 373427"/>
                <a:gd name="connsiteY23" fmla="*/ 299024 h 373528"/>
                <a:gd name="connsiteX24" fmla="*/ 54542 w 373427"/>
                <a:gd name="connsiteY24" fmla="*/ 266662 h 373528"/>
                <a:gd name="connsiteX25" fmla="*/ 38210 w 373427"/>
                <a:gd name="connsiteY25" fmla="*/ 229158 h 373528"/>
                <a:gd name="connsiteX26" fmla="*/ 1109 w 373427"/>
                <a:gd name="connsiteY26" fmla="*/ 221395 h 373528"/>
                <a:gd name="connsiteX27" fmla="*/ 0 w 373427"/>
                <a:gd name="connsiteY27" fmla="*/ 158686 h 373528"/>
                <a:gd name="connsiteX28" fmla="*/ 36798 w 373427"/>
                <a:gd name="connsiteY28" fmla="*/ 149613 h 373528"/>
                <a:gd name="connsiteX29" fmla="*/ 51719 w 373427"/>
                <a:gd name="connsiteY29" fmla="*/ 111605 h 373528"/>
                <a:gd name="connsiteX30" fmla="*/ 30951 w 373427"/>
                <a:gd name="connsiteY30" fmla="*/ 79948 h 373528"/>
                <a:gd name="connsiteX31" fmla="*/ 74504 w 373427"/>
                <a:gd name="connsiteY31" fmla="*/ 34883 h 373528"/>
                <a:gd name="connsiteX32" fmla="*/ 106866 w 373427"/>
                <a:gd name="connsiteY32" fmla="*/ 54542 h 373528"/>
                <a:gd name="connsiteX33" fmla="*/ 106866 w 373427"/>
                <a:gd name="connsiteY33" fmla="*/ 54542 h 373528"/>
                <a:gd name="connsiteX34" fmla="*/ 140237 w 373427"/>
                <a:gd name="connsiteY34" fmla="*/ 138120 h 373528"/>
                <a:gd name="connsiteX35" fmla="*/ 141951 w 373427"/>
                <a:gd name="connsiteY35" fmla="*/ 233190 h 373528"/>
                <a:gd name="connsiteX36" fmla="*/ 237022 w 373427"/>
                <a:gd name="connsiteY36" fmla="*/ 231476 h 373528"/>
                <a:gd name="connsiteX37" fmla="*/ 235308 w 373427"/>
                <a:gd name="connsiteY37" fmla="*/ 136406 h 373528"/>
                <a:gd name="connsiteX38" fmla="*/ 140237 w 373427"/>
                <a:gd name="connsiteY38" fmla="*/ 138120 h 37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73427" h="373528">
                  <a:moveTo>
                    <a:pt x="106866" y="54542"/>
                  </a:moveTo>
                  <a:cubicBezTo>
                    <a:pt x="118763" y="47384"/>
                    <a:pt x="131365" y="41940"/>
                    <a:pt x="144370" y="38210"/>
                  </a:cubicBezTo>
                  <a:lnTo>
                    <a:pt x="152133" y="1109"/>
                  </a:lnTo>
                  <a:lnTo>
                    <a:pt x="214842" y="0"/>
                  </a:lnTo>
                  <a:lnTo>
                    <a:pt x="223814" y="36798"/>
                  </a:lnTo>
                  <a:cubicBezTo>
                    <a:pt x="236921" y="40024"/>
                    <a:pt x="249724" y="45065"/>
                    <a:pt x="261823" y="51719"/>
                  </a:cubicBezTo>
                  <a:lnTo>
                    <a:pt x="293479" y="30951"/>
                  </a:lnTo>
                  <a:lnTo>
                    <a:pt x="338545" y="74504"/>
                  </a:lnTo>
                  <a:lnTo>
                    <a:pt x="318885" y="106866"/>
                  </a:lnTo>
                  <a:cubicBezTo>
                    <a:pt x="326043" y="118763"/>
                    <a:pt x="331487" y="131365"/>
                    <a:pt x="335218" y="144370"/>
                  </a:cubicBezTo>
                  <a:lnTo>
                    <a:pt x="372318" y="152133"/>
                  </a:lnTo>
                  <a:lnTo>
                    <a:pt x="373427" y="214842"/>
                  </a:lnTo>
                  <a:lnTo>
                    <a:pt x="336629" y="223915"/>
                  </a:lnTo>
                  <a:cubicBezTo>
                    <a:pt x="333403" y="237021"/>
                    <a:pt x="328362" y="249825"/>
                    <a:pt x="321708" y="261923"/>
                  </a:cubicBezTo>
                  <a:lnTo>
                    <a:pt x="342476" y="293580"/>
                  </a:lnTo>
                  <a:lnTo>
                    <a:pt x="298923" y="338645"/>
                  </a:lnTo>
                  <a:lnTo>
                    <a:pt x="266561" y="318986"/>
                  </a:lnTo>
                  <a:cubicBezTo>
                    <a:pt x="254665" y="326144"/>
                    <a:pt x="242062" y="331588"/>
                    <a:pt x="229057" y="335318"/>
                  </a:cubicBezTo>
                  <a:lnTo>
                    <a:pt x="221294" y="372419"/>
                  </a:lnTo>
                  <a:lnTo>
                    <a:pt x="158586" y="373528"/>
                  </a:lnTo>
                  <a:lnTo>
                    <a:pt x="149613" y="336730"/>
                  </a:lnTo>
                  <a:cubicBezTo>
                    <a:pt x="136507" y="333504"/>
                    <a:pt x="123703" y="328463"/>
                    <a:pt x="111605" y="321809"/>
                  </a:cubicBezTo>
                  <a:lnTo>
                    <a:pt x="79948" y="342577"/>
                  </a:lnTo>
                  <a:lnTo>
                    <a:pt x="34883" y="299024"/>
                  </a:lnTo>
                  <a:lnTo>
                    <a:pt x="54542" y="266662"/>
                  </a:lnTo>
                  <a:cubicBezTo>
                    <a:pt x="47384" y="254765"/>
                    <a:pt x="41940" y="242163"/>
                    <a:pt x="38210" y="229158"/>
                  </a:cubicBezTo>
                  <a:lnTo>
                    <a:pt x="1109" y="221395"/>
                  </a:lnTo>
                  <a:lnTo>
                    <a:pt x="0" y="158686"/>
                  </a:lnTo>
                  <a:lnTo>
                    <a:pt x="36798" y="149613"/>
                  </a:lnTo>
                  <a:cubicBezTo>
                    <a:pt x="40024" y="136507"/>
                    <a:pt x="45065" y="123703"/>
                    <a:pt x="51719" y="111605"/>
                  </a:cubicBezTo>
                  <a:lnTo>
                    <a:pt x="30951" y="79948"/>
                  </a:lnTo>
                  <a:lnTo>
                    <a:pt x="74504" y="34883"/>
                  </a:lnTo>
                  <a:lnTo>
                    <a:pt x="106866" y="54542"/>
                  </a:lnTo>
                  <a:lnTo>
                    <a:pt x="106866" y="54542"/>
                  </a:lnTo>
                  <a:close/>
                  <a:moveTo>
                    <a:pt x="140237" y="138120"/>
                  </a:moveTo>
                  <a:cubicBezTo>
                    <a:pt x="114428" y="164836"/>
                    <a:pt x="115234" y="207381"/>
                    <a:pt x="141951" y="233190"/>
                  </a:cubicBezTo>
                  <a:cubicBezTo>
                    <a:pt x="168667" y="259000"/>
                    <a:pt x="211212" y="258193"/>
                    <a:pt x="237022" y="231476"/>
                  </a:cubicBezTo>
                  <a:cubicBezTo>
                    <a:pt x="262831" y="204760"/>
                    <a:pt x="262024" y="162215"/>
                    <a:pt x="235308" y="136406"/>
                  </a:cubicBezTo>
                  <a:cubicBezTo>
                    <a:pt x="208591" y="110597"/>
                    <a:pt x="166046" y="111403"/>
                    <a:pt x="140237" y="138120"/>
                  </a:cubicBez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CDB6D905-3EAA-48F3-9950-0344C150E4DB}"/>
                </a:ext>
              </a:extLst>
            </p:cNvPr>
            <p:cNvSpPr/>
            <p:nvPr/>
          </p:nvSpPr>
          <p:spPr>
            <a:xfrm>
              <a:off x="8185432" y="3826737"/>
              <a:ext cx="137429" cy="137465"/>
            </a:xfrm>
            <a:custGeom>
              <a:avLst/>
              <a:gdLst>
                <a:gd name="connsiteX0" fmla="*/ 19937 w 137429"/>
                <a:gd name="connsiteY0" fmla="*/ 21746 h 137465"/>
                <a:gd name="connsiteX1" fmla="*/ 32438 w 137429"/>
                <a:gd name="connsiteY1" fmla="*/ 10757 h 137465"/>
                <a:gd name="connsiteX2" fmla="*/ 76294 w 137429"/>
                <a:gd name="connsiteY2" fmla="*/ 373 h 137465"/>
                <a:gd name="connsiteX3" fmla="*/ 106136 w 137429"/>
                <a:gd name="connsiteY3" fmla="*/ 10958 h 137465"/>
                <a:gd name="connsiteX4" fmla="*/ 130231 w 137429"/>
                <a:gd name="connsiteY4" fmla="*/ 38078 h 137465"/>
                <a:gd name="connsiteX5" fmla="*/ 136381 w 137429"/>
                <a:gd name="connsiteY5" fmla="*/ 56931 h 137465"/>
                <a:gd name="connsiteX6" fmla="*/ 136784 w 137429"/>
                <a:gd name="connsiteY6" fmla="*/ 77599 h 137465"/>
                <a:gd name="connsiteX7" fmla="*/ 118133 w 137429"/>
                <a:gd name="connsiteY7" fmla="*/ 116413 h 137465"/>
                <a:gd name="connsiteX8" fmla="*/ 80024 w 137429"/>
                <a:gd name="connsiteY8" fmla="*/ 136476 h 137465"/>
                <a:gd name="connsiteX9" fmla="*/ 59356 w 137429"/>
                <a:gd name="connsiteY9" fmla="*/ 136778 h 137465"/>
                <a:gd name="connsiteX10" fmla="*/ 40302 w 137429"/>
                <a:gd name="connsiteY10" fmla="*/ 131334 h 137465"/>
                <a:gd name="connsiteX11" fmla="*/ 12275 w 137429"/>
                <a:gd name="connsiteY11" fmla="*/ 108146 h 137465"/>
                <a:gd name="connsiteX12" fmla="*/ 681 w 137429"/>
                <a:gd name="connsiteY12" fmla="*/ 78708 h 137465"/>
                <a:gd name="connsiteX13" fmla="*/ 9553 w 137429"/>
                <a:gd name="connsiteY13" fmla="*/ 34550 h 137465"/>
                <a:gd name="connsiteX14" fmla="*/ 19937 w 137429"/>
                <a:gd name="connsiteY14" fmla="*/ 21746 h 137465"/>
                <a:gd name="connsiteX15" fmla="*/ 10662 w 137429"/>
                <a:gd name="connsiteY15" fmla="*/ 35356 h 137465"/>
                <a:gd name="connsiteX16" fmla="*/ 3201 w 137429"/>
                <a:gd name="connsiteY16" fmla="*/ 78405 h 137465"/>
                <a:gd name="connsiteX17" fmla="*/ 14795 w 137429"/>
                <a:gd name="connsiteY17" fmla="*/ 106432 h 137465"/>
                <a:gd name="connsiteX18" fmla="*/ 41613 w 137429"/>
                <a:gd name="connsiteY18" fmla="*/ 128209 h 137465"/>
                <a:gd name="connsiteX19" fmla="*/ 59760 w 137429"/>
                <a:gd name="connsiteY19" fmla="*/ 133250 h 137465"/>
                <a:gd name="connsiteX20" fmla="*/ 79318 w 137429"/>
                <a:gd name="connsiteY20" fmla="*/ 132847 h 137465"/>
                <a:gd name="connsiteX21" fmla="*/ 115310 w 137429"/>
                <a:gd name="connsiteY21" fmla="*/ 113893 h 137465"/>
                <a:gd name="connsiteX22" fmla="*/ 133054 w 137429"/>
                <a:gd name="connsiteY22" fmla="*/ 77296 h 137465"/>
                <a:gd name="connsiteX23" fmla="*/ 132751 w 137429"/>
                <a:gd name="connsiteY23" fmla="*/ 57738 h 137465"/>
                <a:gd name="connsiteX24" fmla="*/ 127106 w 137429"/>
                <a:gd name="connsiteY24" fmla="*/ 39792 h 137465"/>
                <a:gd name="connsiteX25" fmla="*/ 104422 w 137429"/>
                <a:gd name="connsiteY25" fmla="*/ 13781 h 137465"/>
                <a:gd name="connsiteX26" fmla="*/ 76092 w 137429"/>
                <a:gd name="connsiteY26" fmla="*/ 3195 h 137465"/>
                <a:gd name="connsiteX27" fmla="*/ 33346 w 137429"/>
                <a:gd name="connsiteY27" fmla="*/ 12168 h 137465"/>
                <a:gd name="connsiteX28" fmla="*/ 19937 w 137429"/>
                <a:gd name="connsiteY28" fmla="*/ 21746 h 137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7429" h="137465">
                  <a:moveTo>
                    <a:pt x="19937" y="21746"/>
                  </a:moveTo>
                  <a:cubicBezTo>
                    <a:pt x="19937" y="21746"/>
                    <a:pt x="23465" y="16806"/>
                    <a:pt x="32438" y="10757"/>
                  </a:cubicBezTo>
                  <a:cubicBezTo>
                    <a:pt x="41310" y="4909"/>
                    <a:pt x="56735" y="-1644"/>
                    <a:pt x="76294" y="373"/>
                  </a:cubicBezTo>
                  <a:cubicBezTo>
                    <a:pt x="85972" y="1482"/>
                    <a:pt x="96457" y="4607"/>
                    <a:pt x="106136" y="10958"/>
                  </a:cubicBezTo>
                  <a:cubicBezTo>
                    <a:pt x="115612" y="17310"/>
                    <a:pt x="124686" y="26383"/>
                    <a:pt x="130231" y="38078"/>
                  </a:cubicBezTo>
                  <a:cubicBezTo>
                    <a:pt x="133155" y="43825"/>
                    <a:pt x="135272" y="50277"/>
                    <a:pt x="136381" y="56931"/>
                  </a:cubicBezTo>
                  <a:cubicBezTo>
                    <a:pt x="137591" y="63585"/>
                    <a:pt x="137792" y="70642"/>
                    <a:pt x="136784" y="77599"/>
                  </a:cubicBezTo>
                  <a:cubicBezTo>
                    <a:pt x="135070" y="91612"/>
                    <a:pt x="128416" y="105525"/>
                    <a:pt x="118133" y="116413"/>
                  </a:cubicBezTo>
                  <a:cubicBezTo>
                    <a:pt x="107648" y="127100"/>
                    <a:pt x="94038" y="134258"/>
                    <a:pt x="80024" y="136476"/>
                  </a:cubicBezTo>
                  <a:cubicBezTo>
                    <a:pt x="73068" y="137686"/>
                    <a:pt x="66010" y="137787"/>
                    <a:pt x="59356" y="136778"/>
                  </a:cubicBezTo>
                  <a:cubicBezTo>
                    <a:pt x="52602" y="135871"/>
                    <a:pt x="46149" y="134056"/>
                    <a:pt x="40302" y="131334"/>
                  </a:cubicBezTo>
                  <a:cubicBezTo>
                    <a:pt x="28406" y="126092"/>
                    <a:pt x="19029" y="117522"/>
                    <a:pt x="12275" y="108146"/>
                  </a:cubicBezTo>
                  <a:cubicBezTo>
                    <a:pt x="5621" y="98770"/>
                    <a:pt x="2092" y="88285"/>
                    <a:pt x="681" y="78708"/>
                  </a:cubicBezTo>
                  <a:cubicBezTo>
                    <a:pt x="-2041" y="59250"/>
                    <a:pt x="3907" y="43522"/>
                    <a:pt x="9553" y="34550"/>
                  </a:cubicBezTo>
                  <a:cubicBezTo>
                    <a:pt x="15098" y="25375"/>
                    <a:pt x="19937" y="21746"/>
                    <a:pt x="19937" y="21746"/>
                  </a:cubicBezTo>
                  <a:cubicBezTo>
                    <a:pt x="20340" y="22048"/>
                    <a:pt x="15904" y="26182"/>
                    <a:pt x="10662" y="35356"/>
                  </a:cubicBezTo>
                  <a:cubicBezTo>
                    <a:pt x="5621" y="44430"/>
                    <a:pt x="277" y="59754"/>
                    <a:pt x="3201" y="78405"/>
                  </a:cubicBezTo>
                  <a:cubicBezTo>
                    <a:pt x="4713" y="87580"/>
                    <a:pt x="8242" y="97561"/>
                    <a:pt x="14795" y="106432"/>
                  </a:cubicBezTo>
                  <a:cubicBezTo>
                    <a:pt x="21247" y="115204"/>
                    <a:pt x="30321" y="123370"/>
                    <a:pt x="41613" y="128209"/>
                  </a:cubicBezTo>
                  <a:cubicBezTo>
                    <a:pt x="47158" y="130729"/>
                    <a:pt x="53307" y="132443"/>
                    <a:pt x="59760" y="133250"/>
                  </a:cubicBezTo>
                  <a:cubicBezTo>
                    <a:pt x="66111" y="134157"/>
                    <a:pt x="72765" y="134056"/>
                    <a:pt x="79318" y="132847"/>
                  </a:cubicBezTo>
                  <a:cubicBezTo>
                    <a:pt x="92525" y="130729"/>
                    <a:pt x="105329" y="123975"/>
                    <a:pt x="115310" y="113893"/>
                  </a:cubicBezTo>
                  <a:cubicBezTo>
                    <a:pt x="125089" y="103609"/>
                    <a:pt x="131340" y="90604"/>
                    <a:pt x="133054" y="77296"/>
                  </a:cubicBezTo>
                  <a:cubicBezTo>
                    <a:pt x="134062" y="70642"/>
                    <a:pt x="133860" y="63988"/>
                    <a:pt x="132751" y="57738"/>
                  </a:cubicBezTo>
                  <a:cubicBezTo>
                    <a:pt x="131743" y="51386"/>
                    <a:pt x="129828" y="45337"/>
                    <a:pt x="127106" y="39792"/>
                  </a:cubicBezTo>
                  <a:cubicBezTo>
                    <a:pt x="121863" y="28601"/>
                    <a:pt x="113394" y="19931"/>
                    <a:pt x="104422" y="13781"/>
                  </a:cubicBezTo>
                  <a:cubicBezTo>
                    <a:pt x="95348" y="7631"/>
                    <a:pt x="85266" y="4405"/>
                    <a:pt x="76092" y="3195"/>
                  </a:cubicBezTo>
                  <a:cubicBezTo>
                    <a:pt x="57340" y="877"/>
                    <a:pt x="42217" y="6724"/>
                    <a:pt x="33346" y="12168"/>
                  </a:cubicBezTo>
                  <a:cubicBezTo>
                    <a:pt x="24171" y="17512"/>
                    <a:pt x="20239" y="22048"/>
                    <a:pt x="19937" y="21746"/>
                  </a:cubicBezTo>
                  <a:close/>
                </a:path>
              </a:pathLst>
            </a:custGeom>
            <a:solidFill>
              <a:srgbClr val="EBEBE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9ED0CC2-8362-4AF3-9906-EB36B38E0D95}"/>
                </a:ext>
              </a:extLst>
            </p:cNvPr>
            <p:cNvSpPr/>
            <p:nvPr/>
          </p:nvSpPr>
          <p:spPr>
            <a:xfrm>
              <a:off x="8063720" y="3709254"/>
              <a:ext cx="376754" cy="376754"/>
            </a:xfrm>
            <a:custGeom>
              <a:avLst/>
              <a:gdLst>
                <a:gd name="connsiteX0" fmla="*/ 108177 w 376754"/>
                <a:gd name="connsiteY0" fmla="*/ 55651 h 376754"/>
                <a:gd name="connsiteX1" fmla="*/ 106060 w 376754"/>
                <a:gd name="connsiteY1" fmla="*/ 54542 h 376754"/>
                <a:gd name="connsiteX2" fmla="*/ 99809 w 376754"/>
                <a:gd name="connsiteY2" fmla="*/ 50913 h 376754"/>
                <a:gd name="connsiteX3" fmla="*/ 75411 w 376754"/>
                <a:gd name="connsiteY3" fmla="*/ 36496 h 376754"/>
                <a:gd name="connsiteX4" fmla="*/ 76218 w 376754"/>
                <a:gd name="connsiteY4" fmla="*/ 36395 h 376754"/>
                <a:gd name="connsiteX5" fmla="*/ 32967 w 376754"/>
                <a:gd name="connsiteY5" fmla="*/ 81763 h 376754"/>
                <a:gd name="connsiteX6" fmla="*/ 33068 w 376754"/>
                <a:gd name="connsiteY6" fmla="*/ 80553 h 376754"/>
                <a:gd name="connsiteX7" fmla="*/ 53937 w 376754"/>
                <a:gd name="connsiteY7" fmla="*/ 112109 h 376754"/>
                <a:gd name="connsiteX8" fmla="*/ 54341 w 376754"/>
                <a:gd name="connsiteY8" fmla="*/ 112714 h 376754"/>
                <a:gd name="connsiteX9" fmla="*/ 54038 w 376754"/>
                <a:gd name="connsiteY9" fmla="*/ 113319 h 376754"/>
                <a:gd name="connsiteX10" fmla="*/ 39319 w 376754"/>
                <a:gd name="connsiteY10" fmla="*/ 151125 h 376754"/>
                <a:gd name="connsiteX11" fmla="*/ 39117 w 376754"/>
                <a:gd name="connsiteY11" fmla="*/ 151831 h 376754"/>
                <a:gd name="connsiteX12" fmla="*/ 38411 w 376754"/>
                <a:gd name="connsiteY12" fmla="*/ 152033 h 376754"/>
                <a:gd name="connsiteX13" fmla="*/ 1613 w 376754"/>
                <a:gd name="connsiteY13" fmla="*/ 161207 h 376754"/>
                <a:gd name="connsiteX14" fmla="*/ 2621 w 376754"/>
                <a:gd name="connsiteY14" fmla="*/ 159896 h 376754"/>
                <a:gd name="connsiteX15" fmla="*/ 3831 w 376754"/>
                <a:gd name="connsiteY15" fmla="*/ 222605 h 376754"/>
                <a:gd name="connsiteX16" fmla="*/ 2621 w 376754"/>
                <a:gd name="connsiteY16" fmla="*/ 221193 h 376754"/>
                <a:gd name="connsiteX17" fmla="*/ 39722 w 376754"/>
                <a:gd name="connsiteY17" fmla="*/ 228855 h 376754"/>
                <a:gd name="connsiteX18" fmla="*/ 40629 w 376754"/>
                <a:gd name="connsiteY18" fmla="*/ 229057 h 376754"/>
                <a:gd name="connsiteX19" fmla="*/ 40932 w 376754"/>
                <a:gd name="connsiteY19" fmla="*/ 229964 h 376754"/>
                <a:gd name="connsiteX20" fmla="*/ 57063 w 376754"/>
                <a:gd name="connsiteY20" fmla="*/ 267065 h 376754"/>
                <a:gd name="connsiteX21" fmla="*/ 57567 w 376754"/>
                <a:gd name="connsiteY21" fmla="*/ 267972 h 376754"/>
                <a:gd name="connsiteX22" fmla="*/ 57063 w 376754"/>
                <a:gd name="connsiteY22" fmla="*/ 268880 h 376754"/>
                <a:gd name="connsiteX23" fmla="*/ 37504 w 376754"/>
                <a:gd name="connsiteY23" fmla="*/ 301242 h 376754"/>
                <a:gd name="connsiteX24" fmla="*/ 37202 w 376754"/>
                <a:gd name="connsiteY24" fmla="*/ 299125 h 376754"/>
                <a:gd name="connsiteX25" fmla="*/ 82368 w 376754"/>
                <a:gd name="connsiteY25" fmla="*/ 342577 h 376754"/>
                <a:gd name="connsiteX26" fmla="*/ 80150 w 376754"/>
                <a:gd name="connsiteY26" fmla="*/ 342376 h 376754"/>
                <a:gd name="connsiteX27" fmla="*/ 111806 w 376754"/>
                <a:gd name="connsiteY27" fmla="*/ 321607 h 376754"/>
                <a:gd name="connsiteX28" fmla="*/ 112714 w 376754"/>
                <a:gd name="connsiteY28" fmla="*/ 321002 h 376754"/>
                <a:gd name="connsiteX29" fmla="*/ 113722 w 376754"/>
                <a:gd name="connsiteY29" fmla="*/ 321506 h 376754"/>
                <a:gd name="connsiteX30" fmla="*/ 151327 w 376754"/>
                <a:gd name="connsiteY30" fmla="*/ 336226 h 376754"/>
                <a:gd name="connsiteX31" fmla="*/ 152436 w 376754"/>
                <a:gd name="connsiteY31" fmla="*/ 336528 h 376754"/>
                <a:gd name="connsiteX32" fmla="*/ 152738 w 376754"/>
                <a:gd name="connsiteY32" fmla="*/ 337637 h 376754"/>
                <a:gd name="connsiteX33" fmla="*/ 161812 w 376754"/>
                <a:gd name="connsiteY33" fmla="*/ 374435 h 376754"/>
                <a:gd name="connsiteX34" fmla="*/ 159896 w 376754"/>
                <a:gd name="connsiteY34" fmla="*/ 372822 h 376754"/>
                <a:gd name="connsiteX35" fmla="*/ 222605 w 376754"/>
                <a:gd name="connsiteY35" fmla="*/ 371713 h 376754"/>
                <a:gd name="connsiteX36" fmla="*/ 220790 w 376754"/>
                <a:gd name="connsiteY36" fmla="*/ 373226 h 376754"/>
                <a:gd name="connsiteX37" fmla="*/ 228452 w 376754"/>
                <a:gd name="connsiteY37" fmla="*/ 336125 h 376754"/>
                <a:gd name="connsiteX38" fmla="*/ 228654 w 376754"/>
                <a:gd name="connsiteY38" fmla="*/ 335016 h 376754"/>
                <a:gd name="connsiteX39" fmla="*/ 229763 w 376754"/>
                <a:gd name="connsiteY39" fmla="*/ 334713 h 376754"/>
                <a:gd name="connsiteX40" fmla="*/ 266763 w 376754"/>
                <a:gd name="connsiteY40" fmla="*/ 318684 h 376754"/>
                <a:gd name="connsiteX41" fmla="*/ 266763 w 376754"/>
                <a:gd name="connsiteY41" fmla="*/ 318684 h 376754"/>
                <a:gd name="connsiteX42" fmla="*/ 267771 w 376754"/>
                <a:gd name="connsiteY42" fmla="*/ 318079 h 376754"/>
                <a:gd name="connsiteX43" fmla="*/ 268779 w 376754"/>
                <a:gd name="connsiteY43" fmla="*/ 318684 h 376754"/>
                <a:gd name="connsiteX44" fmla="*/ 301141 w 376754"/>
                <a:gd name="connsiteY44" fmla="*/ 338343 h 376754"/>
                <a:gd name="connsiteX45" fmla="*/ 298722 w 376754"/>
                <a:gd name="connsiteY45" fmla="*/ 338645 h 376754"/>
                <a:gd name="connsiteX46" fmla="*/ 342275 w 376754"/>
                <a:gd name="connsiteY46" fmla="*/ 293580 h 376754"/>
                <a:gd name="connsiteX47" fmla="*/ 342073 w 376754"/>
                <a:gd name="connsiteY47" fmla="*/ 296000 h 376754"/>
                <a:gd name="connsiteX48" fmla="*/ 321305 w 376754"/>
                <a:gd name="connsiteY48" fmla="*/ 264343 h 376754"/>
                <a:gd name="connsiteX49" fmla="*/ 320700 w 376754"/>
                <a:gd name="connsiteY49" fmla="*/ 263335 h 376754"/>
                <a:gd name="connsiteX50" fmla="*/ 321305 w 376754"/>
                <a:gd name="connsiteY50" fmla="*/ 262327 h 376754"/>
                <a:gd name="connsiteX51" fmla="*/ 336125 w 376754"/>
                <a:gd name="connsiteY51" fmla="*/ 224823 h 376754"/>
                <a:gd name="connsiteX52" fmla="*/ 336427 w 376754"/>
                <a:gd name="connsiteY52" fmla="*/ 223714 h 376754"/>
                <a:gd name="connsiteX53" fmla="*/ 337536 w 376754"/>
                <a:gd name="connsiteY53" fmla="*/ 223411 h 376754"/>
                <a:gd name="connsiteX54" fmla="*/ 374335 w 376754"/>
                <a:gd name="connsiteY54" fmla="*/ 214438 h 376754"/>
                <a:gd name="connsiteX55" fmla="*/ 372923 w 376754"/>
                <a:gd name="connsiteY55" fmla="*/ 216253 h 376754"/>
                <a:gd name="connsiteX56" fmla="*/ 371915 w 376754"/>
                <a:gd name="connsiteY56" fmla="*/ 153545 h 376754"/>
                <a:gd name="connsiteX57" fmla="*/ 373327 w 376754"/>
                <a:gd name="connsiteY57" fmla="*/ 155259 h 376754"/>
                <a:gd name="connsiteX58" fmla="*/ 336226 w 376754"/>
                <a:gd name="connsiteY58" fmla="*/ 147496 h 376754"/>
                <a:gd name="connsiteX59" fmla="*/ 335218 w 376754"/>
                <a:gd name="connsiteY59" fmla="*/ 147294 h 376754"/>
                <a:gd name="connsiteX60" fmla="*/ 334915 w 376754"/>
                <a:gd name="connsiteY60" fmla="*/ 146286 h 376754"/>
                <a:gd name="connsiteX61" fmla="*/ 318885 w 376754"/>
                <a:gd name="connsiteY61" fmla="*/ 109185 h 376754"/>
                <a:gd name="connsiteX62" fmla="*/ 318381 w 376754"/>
                <a:gd name="connsiteY62" fmla="*/ 108278 h 376754"/>
                <a:gd name="connsiteX63" fmla="*/ 318885 w 376754"/>
                <a:gd name="connsiteY63" fmla="*/ 107370 h 376754"/>
                <a:gd name="connsiteX64" fmla="*/ 338545 w 376754"/>
                <a:gd name="connsiteY64" fmla="*/ 75008 h 376754"/>
                <a:gd name="connsiteX65" fmla="*/ 338847 w 376754"/>
                <a:gd name="connsiteY65" fmla="*/ 77024 h 376754"/>
                <a:gd name="connsiteX66" fmla="*/ 293882 w 376754"/>
                <a:gd name="connsiteY66" fmla="*/ 33371 h 376754"/>
                <a:gd name="connsiteX67" fmla="*/ 295697 w 376754"/>
                <a:gd name="connsiteY67" fmla="*/ 33572 h 376754"/>
                <a:gd name="connsiteX68" fmla="*/ 263940 w 376754"/>
                <a:gd name="connsiteY68" fmla="*/ 54240 h 376754"/>
                <a:gd name="connsiteX69" fmla="*/ 263234 w 376754"/>
                <a:gd name="connsiteY69" fmla="*/ 54542 h 376754"/>
                <a:gd name="connsiteX70" fmla="*/ 262528 w 376754"/>
                <a:gd name="connsiteY70" fmla="*/ 54139 h 376754"/>
                <a:gd name="connsiteX71" fmla="*/ 224823 w 376754"/>
                <a:gd name="connsiteY71" fmla="*/ 39218 h 376754"/>
                <a:gd name="connsiteX72" fmla="*/ 224117 w 376754"/>
                <a:gd name="connsiteY72" fmla="*/ 39016 h 376754"/>
                <a:gd name="connsiteX73" fmla="*/ 223915 w 376754"/>
                <a:gd name="connsiteY73" fmla="*/ 38311 h 376754"/>
                <a:gd name="connsiteX74" fmla="*/ 215043 w 376754"/>
                <a:gd name="connsiteY74" fmla="*/ 1512 h 376754"/>
                <a:gd name="connsiteX75" fmla="*/ 216152 w 376754"/>
                <a:gd name="connsiteY75" fmla="*/ 2420 h 376754"/>
                <a:gd name="connsiteX76" fmla="*/ 153444 w 376754"/>
                <a:gd name="connsiteY76" fmla="*/ 3226 h 376754"/>
                <a:gd name="connsiteX77" fmla="*/ 154251 w 376754"/>
                <a:gd name="connsiteY77" fmla="*/ 2520 h 376754"/>
                <a:gd name="connsiteX78" fmla="*/ 146286 w 376754"/>
                <a:gd name="connsiteY78" fmla="*/ 39520 h 376754"/>
                <a:gd name="connsiteX79" fmla="*/ 146185 w 376754"/>
                <a:gd name="connsiteY79" fmla="*/ 39924 h 376754"/>
                <a:gd name="connsiteX80" fmla="*/ 145782 w 376754"/>
                <a:gd name="connsiteY80" fmla="*/ 40024 h 376754"/>
                <a:gd name="connsiteX81" fmla="*/ 117150 w 376754"/>
                <a:gd name="connsiteY81" fmla="*/ 51014 h 376754"/>
                <a:gd name="connsiteX82" fmla="*/ 110395 w 376754"/>
                <a:gd name="connsiteY82" fmla="*/ 54542 h 376754"/>
                <a:gd name="connsiteX83" fmla="*/ 108177 w 376754"/>
                <a:gd name="connsiteY83" fmla="*/ 55651 h 376754"/>
                <a:gd name="connsiteX84" fmla="*/ 110294 w 376754"/>
                <a:gd name="connsiteY84" fmla="*/ 54240 h 376754"/>
                <a:gd name="connsiteX85" fmla="*/ 116948 w 376754"/>
                <a:gd name="connsiteY85" fmla="*/ 50409 h 376754"/>
                <a:gd name="connsiteX86" fmla="*/ 145580 w 376754"/>
                <a:gd name="connsiteY86" fmla="*/ 38714 h 376754"/>
                <a:gd name="connsiteX87" fmla="*/ 145177 w 376754"/>
                <a:gd name="connsiteY87" fmla="*/ 39218 h 376754"/>
                <a:gd name="connsiteX88" fmla="*/ 152637 w 376754"/>
                <a:gd name="connsiteY88" fmla="*/ 2117 h 376754"/>
                <a:gd name="connsiteX89" fmla="*/ 152738 w 376754"/>
                <a:gd name="connsiteY89" fmla="*/ 1411 h 376754"/>
                <a:gd name="connsiteX90" fmla="*/ 153444 w 376754"/>
                <a:gd name="connsiteY90" fmla="*/ 1411 h 376754"/>
                <a:gd name="connsiteX91" fmla="*/ 216152 w 376754"/>
                <a:gd name="connsiteY91" fmla="*/ 0 h 376754"/>
                <a:gd name="connsiteX92" fmla="*/ 217060 w 376754"/>
                <a:gd name="connsiteY92" fmla="*/ 0 h 376754"/>
                <a:gd name="connsiteX93" fmla="*/ 217261 w 376754"/>
                <a:gd name="connsiteY93" fmla="*/ 907 h 376754"/>
                <a:gd name="connsiteX94" fmla="*/ 226436 w 376754"/>
                <a:gd name="connsiteY94" fmla="*/ 37706 h 376754"/>
                <a:gd name="connsiteX95" fmla="*/ 225528 w 376754"/>
                <a:gd name="connsiteY95" fmla="*/ 36798 h 376754"/>
                <a:gd name="connsiteX96" fmla="*/ 263940 w 376754"/>
                <a:gd name="connsiteY96" fmla="*/ 51820 h 376754"/>
                <a:gd name="connsiteX97" fmla="*/ 262528 w 376754"/>
                <a:gd name="connsiteY97" fmla="*/ 51921 h 376754"/>
                <a:gd name="connsiteX98" fmla="*/ 294185 w 376754"/>
                <a:gd name="connsiteY98" fmla="*/ 31052 h 376754"/>
                <a:gd name="connsiteX99" fmla="*/ 295193 w 376754"/>
                <a:gd name="connsiteY99" fmla="*/ 30447 h 376754"/>
                <a:gd name="connsiteX100" fmla="*/ 296000 w 376754"/>
                <a:gd name="connsiteY100" fmla="*/ 31253 h 376754"/>
                <a:gd name="connsiteX101" fmla="*/ 341166 w 376754"/>
                <a:gd name="connsiteY101" fmla="*/ 74706 h 376754"/>
                <a:gd name="connsiteX102" fmla="*/ 342073 w 376754"/>
                <a:gd name="connsiteY102" fmla="*/ 75613 h 376754"/>
                <a:gd name="connsiteX103" fmla="*/ 341367 w 376754"/>
                <a:gd name="connsiteY103" fmla="*/ 76722 h 376754"/>
                <a:gd name="connsiteX104" fmla="*/ 321809 w 376754"/>
                <a:gd name="connsiteY104" fmla="*/ 109084 h 376754"/>
                <a:gd name="connsiteX105" fmla="*/ 321809 w 376754"/>
                <a:gd name="connsiteY105" fmla="*/ 107370 h 376754"/>
                <a:gd name="connsiteX106" fmla="*/ 338343 w 376754"/>
                <a:gd name="connsiteY106" fmla="*/ 145278 h 376754"/>
                <a:gd name="connsiteX107" fmla="*/ 337032 w 376754"/>
                <a:gd name="connsiteY107" fmla="*/ 144068 h 376754"/>
                <a:gd name="connsiteX108" fmla="*/ 374133 w 376754"/>
                <a:gd name="connsiteY108" fmla="*/ 151730 h 376754"/>
                <a:gd name="connsiteX109" fmla="*/ 375545 w 376754"/>
                <a:gd name="connsiteY109" fmla="*/ 152033 h 376754"/>
                <a:gd name="connsiteX110" fmla="*/ 375545 w 376754"/>
                <a:gd name="connsiteY110" fmla="*/ 153444 h 376754"/>
                <a:gd name="connsiteX111" fmla="*/ 376754 w 376754"/>
                <a:gd name="connsiteY111" fmla="*/ 216152 h 376754"/>
                <a:gd name="connsiteX112" fmla="*/ 376754 w 376754"/>
                <a:gd name="connsiteY112" fmla="*/ 217665 h 376754"/>
                <a:gd name="connsiteX113" fmla="*/ 375343 w 376754"/>
                <a:gd name="connsiteY113" fmla="*/ 217967 h 376754"/>
                <a:gd name="connsiteX114" fmla="*/ 338545 w 376754"/>
                <a:gd name="connsiteY114" fmla="*/ 227040 h 376754"/>
                <a:gd name="connsiteX115" fmla="*/ 339956 w 376754"/>
                <a:gd name="connsiteY115" fmla="*/ 225629 h 376754"/>
                <a:gd name="connsiteX116" fmla="*/ 324833 w 376754"/>
                <a:gd name="connsiteY116" fmla="*/ 264141 h 376754"/>
                <a:gd name="connsiteX117" fmla="*/ 324733 w 376754"/>
                <a:gd name="connsiteY117" fmla="*/ 262226 h 376754"/>
                <a:gd name="connsiteX118" fmla="*/ 345501 w 376754"/>
                <a:gd name="connsiteY118" fmla="*/ 293882 h 376754"/>
                <a:gd name="connsiteX119" fmla="*/ 346308 w 376754"/>
                <a:gd name="connsiteY119" fmla="*/ 295193 h 376754"/>
                <a:gd name="connsiteX120" fmla="*/ 345299 w 376754"/>
                <a:gd name="connsiteY120" fmla="*/ 296302 h 376754"/>
                <a:gd name="connsiteX121" fmla="*/ 301746 w 376754"/>
                <a:gd name="connsiteY121" fmla="*/ 341367 h 376754"/>
                <a:gd name="connsiteX122" fmla="*/ 300637 w 376754"/>
                <a:gd name="connsiteY122" fmla="*/ 342476 h 376754"/>
                <a:gd name="connsiteX123" fmla="*/ 299327 w 376754"/>
                <a:gd name="connsiteY123" fmla="*/ 341670 h 376754"/>
                <a:gd name="connsiteX124" fmla="*/ 266964 w 376754"/>
                <a:gd name="connsiteY124" fmla="*/ 322011 h 376754"/>
                <a:gd name="connsiteX125" fmla="*/ 268981 w 376754"/>
                <a:gd name="connsiteY125" fmla="*/ 322011 h 376754"/>
                <a:gd name="connsiteX126" fmla="*/ 268981 w 376754"/>
                <a:gd name="connsiteY126" fmla="*/ 322011 h 376754"/>
                <a:gd name="connsiteX127" fmla="*/ 231073 w 376754"/>
                <a:gd name="connsiteY127" fmla="*/ 338444 h 376754"/>
                <a:gd name="connsiteX128" fmla="*/ 232384 w 376754"/>
                <a:gd name="connsiteY128" fmla="*/ 337032 h 376754"/>
                <a:gd name="connsiteX129" fmla="*/ 224621 w 376754"/>
                <a:gd name="connsiteY129" fmla="*/ 374133 h 376754"/>
                <a:gd name="connsiteX130" fmla="*/ 224319 w 376754"/>
                <a:gd name="connsiteY130" fmla="*/ 375645 h 376754"/>
                <a:gd name="connsiteX131" fmla="*/ 222806 w 376754"/>
                <a:gd name="connsiteY131" fmla="*/ 375645 h 376754"/>
                <a:gd name="connsiteX132" fmla="*/ 160098 w 376754"/>
                <a:gd name="connsiteY132" fmla="*/ 376754 h 376754"/>
                <a:gd name="connsiteX133" fmla="*/ 158586 w 376754"/>
                <a:gd name="connsiteY133" fmla="*/ 376754 h 376754"/>
                <a:gd name="connsiteX134" fmla="*/ 158182 w 376754"/>
                <a:gd name="connsiteY134" fmla="*/ 375242 h 376754"/>
                <a:gd name="connsiteX135" fmla="*/ 149210 w 376754"/>
                <a:gd name="connsiteY135" fmla="*/ 338444 h 376754"/>
                <a:gd name="connsiteX136" fmla="*/ 150621 w 376754"/>
                <a:gd name="connsiteY136" fmla="*/ 339855 h 376754"/>
                <a:gd name="connsiteX137" fmla="*/ 112109 w 376754"/>
                <a:gd name="connsiteY137" fmla="*/ 324732 h 376754"/>
                <a:gd name="connsiteX138" fmla="*/ 114024 w 376754"/>
                <a:gd name="connsiteY138" fmla="*/ 324632 h 376754"/>
                <a:gd name="connsiteX139" fmla="*/ 82368 w 376754"/>
                <a:gd name="connsiteY139" fmla="*/ 345400 h 376754"/>
                <a:gd name="connsiteX140" fmla="*/ 81158 w 376754"/>
                <a:gd name="connsiteY140" fmla="*/ 346207 h 376754"/>
                <a:gd name="connsiteX141" fmla="*/ 80150 w 376754"/>
                <a:gd name="connsiteY141" fmla="*/ 345198 h 376754"/>
                <a:gd name="connsiteX142" fmla="*/ 35084 w 376754"/>
                <a:gd name="connsiteY142" fmla="*/ 301645 h 376754"/>
                <a:gd name="connsiteX143" fmla="*/ 34076 w 376754"/>
                <a:gd name="connsiteY143" fmla="*/ 300738 h 376754"/>
                <a:gd name="connsiteX144" fmla="*/ 34782 w 376754"/>
                <a:gd name="connsiteY144" fmla="*/ 299528 h 376754"/>
                <a:gd name="connsiteX145" fmla="*/ 54441 w 376754"/>
                <a:gd name="connsiteY145" fmla="*/ 267166 h 376754"/>
                <a:gd name="connsiteX146" fmla="*/ 54441 w 376754"/>
                <a:gd name="connsiteY146" fmla="*/ 268880 h 376754"/>
                <a:gd name="connsiteX147" fmla="*/ 38008 w 376754"/>
                <a:gd name="connsiteY147" fmla="*/ 230972 h 376754"/>
                <a:gd name="connsiteX148" fmla="*/ 39218 w 376754"/>
                <a:gd name="connsiteY148" fmla="*/ 232081 h 376754"/>
                <a:gd name="connsiteX149" fmla="*/ 2117 w 376754"/>
                <a:gd name="connsiteY149" fmla="*/ 224319 h 376754"/>
                <a:gd name="connsiteX150" fmla="*/ 907 w 376754"/>
                <a:gd name="connsiteY150" fmla="*/ 224117 h 376754"/>
                <a:gd name="connsiteX151" fmla="*/ 907 w 376754"/>
                <a:gd name="connsiteY151" fmla="*/ 222907 h 376754"/>
                <a:gd name="connsiteX152" fmla="*/ 0 w 376754"/>
                <a:gd name="connsiteY152" fmla="*/ 160199 h 376754"/>
                <a:gd name="connsiteX153" fmla="*/ 0 w 376754"/>
                <a:gd name="connsiteY153" fmla="*/ 159090 h 376754"/>
                <a:gd name="connsiteX154" fmla="*/ 1109 w 376754"/>
                <a:gd name="connsiteY154" fmla="*/ 158787 h 376754"/>
                <a:gd name="connsiteX155" fmla="*/ 37907 w 376754"/>
                <a:gd name="connsiteY155" fmla="*/ 149915 h 376754"/>
                <a:gd name="connsiteX156" fmla="*/ 37000 w 376754"/>
                <a:gd name="connsiteY156" fmla="*/ 150823 h 376754"/>
                <a:gd name="connsiteX157" fmla="*/ 52223 w 376754"/>
                <a:gd name="connsiteY157" fmla="*/ 112512 h 376754"/>
                <a:gd name="connsiteX158" fmla="*/ 52223 w 376754"/>
                <a:gd name="connsiteY158" fmla="*/ 113722 h 376754"/>
                <a:gd name="connsiteX159" fmla="*/ 31556 w 376754"/>
                <a:gd name="connsiteY159" fmla="*/ 81964 h 376754"/>
                <a:gd name="connsiteX160" fmla="*/ 31153 w 376754"/>
                <a:gd name="connsiteY160" fmla="*/ 81259 h 376754"/>
                <a:gd name="connsiteX161" fmla="*/ 31657 w 376754"/>
                <a:gd name="connsiteY161" fmla="*/ 80654 h 376754"/>
                <a:gd name="connsiteX162" fmla="*/ 75411 w 376754"/>
                <a:gd name="connsiteY162" fmla="*/ 35790 h 376754"/>
                <a:gd name="connsiteX163" fmla="*/ 75714 w 376754"/>
                <a:gd name="connsiteY163" fmla="*/ 35387 h 376754"/>
                <a:gd name="connsiteX164" fmla="*/ 76117 w 376754"/>
                <a:gd name="connsiteY164" fmla="*/ 35689 h 376754"/>
                <a:gd name="connsiteX165" fmla="*/ 100011 w 376754"/>
                <a:gd name="connsiteY165" fmla="*/ 50509 h 376754"/>
                <a:gd name="connsiteX166" fmla="*/ 106161 w 376754"/>
                <a:gd name="connsiteY166" fmla="*/ 54441 h 376754"/>
                <a:gd name="connsiteX167" fmla="*/ 108177 w 376754"/>
                <a:gd name="connsiteY167" fmla="*/ 55651 h 37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76754" h="376754">
                  <a:moveTo>
                    <a:pt x="108177" y="55651"/>
                  </a:moveTo>
                  <a:cubicBezTo>
                    <a:pt x="108177" y="55752"/>
                    <a:pt x="107471" y="55349"/>
                    <a:pt x="106060" y="54542"/>
                  </a:cubicBezTo>
                  <a:cubicBezTo>
                    <a:pt x="104548" y="53635"/>
                    <a:pt x="102531" y="52526"/>
                    <a:pt x="99809" y="50913"/>
                  </a:cubicBezTo>
                  <a:cubicBezTo>
                    <a:pt x="94163" y="47586"/>
                    <a:pt x="85997" y="42746"/>
                    <a:pt x="75411" y="36496"/>
                  </a:cubicBezTo>
                  <a:lnTo>
                    <a:pt x="76218" y="36395"/>
                  </a:lnTo>
                  <a:cubicBezTo>
                    <a:pt x="65128" y="47989"/>
                    <a:pt x="50610" y="63313"/>
                    <a:pt x="32967" y="81763"/>
                  </a:cubicBezTo>
                  <a:lnTo>
                    <a:pt x="33068" y="80553"/>
                  </a:lnTo>
                  <a:cubicBezTo>
                    <a:pt x="39420" y="90131"/>
                    <a:pt x="46477" y="100716"/>
                    <a:pt x="53937" y="112109"/>
                  </a:cubicBezTo>
                  <a:lnTo>
                    <a:pt x="54341" y="112714"/>
                  </a:lnTo>
                  <a:lnTo>
                    <a:pt x="54038" y="113319"/>
                  </a:lnTo>
                  <a:cubicBezTo>
                    <a:pt x="47888" y="124509"/>
                    <a:pt x="42747" y="137212"/>
                    <a:pt x="39319" y="151125"/>
                  </a:cubicBezTo>
                  <a:lnTo>
                    <a:pt x="39117" y="151831"/>
                  </a:lnTo>
                  <a:lnTo>
                    <a:pt x="38411" y="152033"/>
                  </a:lnTo>
                  <a:cubicBezTo>
                    <a:pt x="26918" y="154855"/>
                    <a:pt x="14518" y="157981"/>
                    <a:pt x="1613" y="161207"/>
                  </a:cubicBezTo>
                  <a:lnTo>
                    <a:pt x="2621" y="159896"/>
                  </a:lnTo>
                  <a:cubicBezTo>
                    <a:pt x="3025" y="179656"/>
                    <a:pt x="3428" y="200526"/>
                    <a:pt x="3831" y="222605"/>
                  </a:cubicBezTo>
                  <a:lnTo>
                    <a:pt x="2621" y="221193"/>
                  </a:lnTo>
                  <a:cubicBezTo>
                    <a:pt x="14114" y="223512"/>
                    <a:pt x="26717" y="226133"/>
                    <a:pt x="39722" y="228855"/>
                  </a:cubicBezTo>
                  <a:lnTo>
                    <a:pt x="40629" y="229057"/>
                  </a:lnTo>
                  <a:lnTo>
                    <a:pt x="40932" y="229964"/>
                  </a:lnTo>
                  <a:cubicBezTo>
                    <a:pt x="44360" y="242062"/>
                    <a:pt x="49804" y="254967"/>
                    <a:pt x="57063" y="267065"/>
                  </a:cubicBezTo>
                  <a:lnTo>
                    <a:pt x="57567" y="267972"/>
                  </a:lnTo>
                  <a:lnTo>
                    <a:pt x="57063" y="268880"/>
                  </a:lnTo>
                  <a:cubicBezTo>
                    <a:pt x="51014" y="278961"/>
                    <a:pt x="44259" y="290051"/>
                    <a:pt x="37504" y="301242"/>
                  </a:cubicBezTo>
                  <a:lnTo>
                    <a:pt x="37202" y="299125"/>
                  </a:lnTo>
                  <a:cubicBezTo>
                    <a:pt x="51417" y="312735"/>
                    <a:pt x="66640" y="327555"/>
                    <a:pt x="82368" y="342577"/>
                  </a:cubicBezTo>
                  <a:lnTo>
                    <a:pt x="80150" y="342376"/>
                  </a:lnTo>
                  <a:cubicBezTo>
                    <a:pt x="90030" y="335923"/>
                    <a:pt x="100817" y="328765"/>
                    <a:pt x="111806" y="321607"/>
                  </a:cubicBezTo>
                  <a:lnTo>
                    <a:pt x="112714" y="321002"/>
                  </a:lnTo>
                  <a:lnTo>
                    <a:pt x="113722" y="321506"/>
                  </a:lnTo>
                  <a:cubicBezTo>
                    <a:pt x="124812" y="327656"/>
                    <a:pt x="137716" y="332899"/>
                    <a:pt x="151327" y="336226"/>
                  </a:cubicBezTo>
                  <a:lnTo>
                    <a:pt x="152436" y="336528"/>
                  </a:lnTo>
                  <a:lnTo>
                    <a:pt x="152738" y="337637"/>
                  </a:lnTo>
                  <a:cubicBezTo>
                    <a:pt x="155561" y="349130"/>
                    <a:pt x="158686" y="361732"/>
                    <a:pt x="161812" y="374435"/>
                  </a:cubicBezTo>
                  <a:lnTo>
                    <a:pt x="159896" y="372822"/>
                  </a:lnTo>
                  <a:cubicBezTo>
                    <a:pt x="179757" y="372419"/>
                    <a:pt x="201030" y="372117"/>
                    <a:pt x="222605" y="371713"/>
                  </a:cubicBezTo>
                  <a:lnTo>
                    <a:pt x="220790" y="373226"/>
                  </a:lnTo>
                  <a:cubicBezTo>
                    <a:pt x="223210" y="361531"/>
                    <a:pt x="225831" y="348828"/>
                    <a:pt x="228452" y="336125"/>
                  </a:cubicBezTo>
                  <a:lnTo>
                    <a:pt x="228654" y="335016"/>
                  </a:lnTo>
                  <a:lnTo>
                    <a:pt x="229763" y="334713"/>
                  </a:lnTo>
                  <a:cubicBezTo>
                    <a:pt x="242062" y="331185"/>
                    <a:pt x="254866" y="325841"/>
                    <a:pt x="266763" y="318684"/>
                  </a:cubicBezTo>
                  <a:lnTo>
                    <a:pt x="266763" y="318684"/>
                  </a:lnTo>
                  <a:lnTo>
                    <a:pt x="267771" y="318079"/>
                  </a:lnTo>
                  <a:lnTo>
                    <a:pt x="268779" y="318684"/>
                  </a:lnTo>
                  <a:cubicBezTo>
                    <a:pt x="279667" y="325237"/>
                    <a:pt x="290455" y="331790"/>
                    <a:pt x="301141" y="338343"/>
                  </a:cubicBezTo>
                  <a:lnTo>
                    <a:pt x="298722" y="338645"/>
                  </a:lnTo>
                  <a:cubicBezTo>
                    <a:pt x="313441" y="323422"/>
                    <a:pt x="327959" y="308400"/>
                    <a:pt x="342275" y="293580"/>
                  </a:cubicBezTo>
                  <a:lnTo>
                    <a:pt x="342073" y="296000"/>
                  </a:lnTo>
                  <a:cubicBezTo>
                    <a:pt x="335117" y="285313"/>
                    <a:pt x="328160" y="274727"/>
                    <a:pt x="321305" y="264343"/>
                  </a:cubicBezTo>
                  <a:lnTo>
                    <a:pt x="320700" y="263335"/>
                  </a:lnTo>
                  <a:lnTo>
                    <a:pt x="321305" y="262327"/>
                  </a:lnTo>
                  <a:cubicBezTo>
                    <a:pt x="327959" y="250430"/>
                    <a:pt x="332899" y="237727"/>
                    <a:pt x="336125" y="224823"/>
                  </a:cubicBezTo>
                  <a:lnTo>
                    <a:pt x="336427" y="223714"/>
                  </a:lnTo>
                  <a:lnTo>
                    <a:pt x="337536" y="223411"/>
                  </a:lnTo>
                  <a:cubicBezTo>
                    <a:pt x="349937" y="220387"/>
                    <a:pt x="362237" y="217362"/>
                    <a:pt x="374335" y="214438"/>
                  </a:cubicBezTo>
                  <a:lnTo>
                    <a:pt x="372923" y="216253"/>
                  </a:lnTo>
                  <a:cubicBezTo>
                    <a:pt x="372621" y="194880"/>
                    <a:pt x="372218" y="173910"/>
                    <a:pt x="371915" y="153545"/>
                  </a:cubicBezTo>
                  <a:lnTo>
                    <a:pt x="373327" y="155259"/>
                  </a:lnTo>
                  <a:cubicBezTo>
                    <a:pt x="360724" y="152637"/>
                    <a:pt x="348425" y="150016"/>
                    <a:pt x="336226" y="147496"/>
                  </a:cubicBezTo>
                  <a:lnTo>
                    <a:pt x="335218" y="147294"/>
                  </a:lnTo>
                  <a:lnTo>
                    <a:pt x="334915" y="146286"/>
                  </a:lnTo>
                  <a:cubicBezTo>
                    <a:pt x="331185" y="132978"/>
                    <a:pt x="325640" y="120477"/>
                    <a:pt x="318885" y="109185"/>
                  </a:cubicBezTo>
                  <a:lnTo>
                    <a:pt x="318381" y="108278"/>
                  </a:lnTo>
                  <a:lnTo>
                    <a:pt x="318885" y="107370"/>
                  </a:lnTo>
                  <a:cubicBezTo>
                    <a:pt x="325640" y="96281"/>
                    <a:pt x="332193" y="85493"/>
                    <a:pt x="338545" y="75008"/>
                  </a:cubicBezTo>
                  <a:lnTo>
                    <a:pt x="338847" y="77024"/>
                  </a:lnTo>
                  <a:cubicBezTo>
                    <a:pt x="323019" y="61700"/>
                    <a:pt x="308098" y="47182"/>
                    <a:pt x="293882" y="33371"/>
                  </a:cubicBezTo>
                  <a:lnTo>
                    <a:pt x="295697" y="33572"/>
                  </a:lnTo>
                  <a:cubicBezTo>
                    <a:pt x="284506" y="40831"/>
                    <a:pt x="274021" y="47687"/>
                    <a:pt x="263940" y="54240"/>
                  </a:cubicBezTo>
                  <a:lnTo>
                    <a:pt x="263234" y="54542"/>
                  </a:lnTo>
                  <a:lnTo>
                    <a:pt x="262528" y="54139"/>
                  </a:lnTo>
                  <a:cubicBezTo>
                    <a:pt x="249926" y="47082"/>
                    <a:pt x="237223" y="42343"/>
                    <a:pt x="224823" y="39218"/>
                  </a:cubicBezTo>
                  <a:lnTo>
                    <a:pt x="224117" y="39016"/>
                  </a:lnTo>
                  <a:lnTo>
                    <a:pt x="223915" y="38311"/>
                  </a:lnTo>
                  <a:cubicBezTo>
                    <a:pt x="220689" y="24902"/>
                    <a:pt x="217765" y="12905"/>
                    <a:pt x="215043" y="1512"/>
                  </a:cubicBezTo>
                  <a:lnTo>
                    <a:pt x="216152" y="2420"/>
                  </a:lnTo>
                  <a:cubicBezTo>
                    <a:pt x="191855" y="2722"/>
                    <a:pt x="171188" y="3025"/>
                    <a:pt x="153444" y="3226"/>
                  </a:cubicBezTo>
                  <a:lnTo>
                    <a:pt x="154251" y="2520"/>
                  </a:lnTo>
                  <a:cubicBezTo>
                    <a:pt x="151024" y="17341"/>
                    <a:pt x="148504" y="29439"/>
                    <a:pt x="146286" y="39520"/>
                  </a:cubicBezTo>
                  <a:lnTo>
                    <a:pt x="146185" y="39924"/>
                  </a:lnTo>
                  <a:lnTo>
                    <a:pt x="145782" y="40024"/>
                  </a:lnTo>
                  <a:cubicBezTo>
                    <a:pt x="132474" y="43755"/>
                    <a:pt x="123199" y="48090"/>
                    <a:pt x="117150" y="51014"/>
                  </a:cubicBezTo>
                  <a:cubicBezTo>
                    <a:pt x="114226" y="52526"/>
                    <a:pt x="112008" y="53736"/>
                    <a:pt x="110395" y="54542"/>
                  </a:cubicBezTo>
                  <a:cubicBezTo>
                    <a:pt x="108984" y="55349"/>
                    <a:pt x="108177" y="55752"/>
                    <a:pt x="108177" y="55651"/>
                  </a:cubicBezTo>
                  <a:cubicBezTo>
                    <a:pt x="108177" y="55651"/>
                    <a:pt x="108883" y="55147"/>
                    <a:pt x="110294" y="54240"/>
                  </a:cubicBezTo>
                  <a:cubicBezTo>
                    <a:pt x="111706" y="53332"/>
                    <a:pt x="113924" y="52022"/>
                    <a:pt x="116948" y="50409"/>
                  </a:cubicBezTo>
                  <a:cubicBezTo>
                    <a:pt x="122896" y="47182"/>
                    <a:pt x="132272" y="42646"/>
                    <a:pt x="145580" y="38714"/>
                  </a:cubicBezTo>
                  <a:lnTo>
                    <a:pt x="145177" y="39218"/>
                  </a:lnTo>
                  <a:cubicBezTo>
                    <a:pt x="147193" y="29035"/>
                    <a:pt x="149714" y="16937"/>
                    <a:pt x="152637" y="2117"/>
                  </a:cubicBezTo>
                  <a:lnTo>
                    <a:pt x="152738" y="1411"/>
                  </a:lnTo>
                  <a:lnTo>
                    <a:pt x="153444" y="1411"/>
                  </a:lnTo>
                  <a:cubicBezTo>
                    <a:pt x="171188" y="1008"/>
                    <a:pt x="191855" y="605"/>
                    <a:pt x="216152" y="0"/>
                  </a:cubicBezTo>
                  <a:lnTo>
                    <a:pt x="217060" y="0"/>
                  </a:lnTo>
                  <a:lnTo>
                    <a:pt x="217261" y="907"/>
                  </a:lnTo>
                  <a:cubicBezTo>
                    <a:pt x="220084" y="12300"/>
                    <a:pt x="223109" y="24297"/>
                    <a:pt x="226436" y="37706"/>
                  </a:cubicBezTo>
                  <a:lnTo>
                    <a:pt x="225528" y="36798"/>
                  </a:lnTo>
                  <a:cubicBezTo>
                    <a:pt x="238130" y="39823"/>
                    <a:pt x="251035" y="44662"/>
                    <a:pt x="263940" y="51820"/>
                  </a:cubicBezTo>
                  <a:lnTo>
                    <a:pt x="262528" y="51921"/>
                  </a:lnTo>
                  <a:cubicBezTo>
                    <a:pt x="272610" y="45267"/>
                    <a:pt x="282994" y="38411"/>
                    <a:pt x="294185" y="31052"/>
                  </a:cubicBezTo>
                  <a:lnTo>
                    <a:pt x="295193" y="30447"/>
                  </a:lnTo>
                  <a:lnTo>
                    <a:pt x="296000" y="31253"/>
                  </a:lnTo>
                  <a:cubicBezTo>
                    <a:pt x="310316" y="44964"/>
                    <a:pt x="325337" y="59381"/>
                    <a:pt x="341166" y="74706"/>
                  </a:cubicBezTo>
                  <a:lnTo>
                    <a:pt x="342073" y="75613"/>
                  </a:lnTo>
                  <a:lnTo>
                    <a:pt x="341367" y="76722"/>
                  </a:lnTo>
                  <a:cubicBezTo>
                    <a:pt x="335016" y="87207"/>
                    <a:pt x="328463" y="97994"/>
                    <a:pt x="321809" y="109084"/>
                  </a:cubicBezTo>
                  <a:lnTo>
                    <a:pt x="321809" y="107370"/>
                  </a:lnTo>
                  <a:cubicBezTo>
                    <a:pt x="328765" y="118964"/>
                    <a:pt x="334411" y="131667"/>
                    <a:pt x="338343" y="145278"/>
                  </a:cubicBezTo>
                  <a:lnTo>
                    <a:pt x="337032" y="144068"/>
                  </a:lnTo>
                  <a:cubicBezTo>
                    <a:pt x="349130" y="146588"/>
                    <a:pt x="361531" y="149109"/>
                    <a:pt x="374133" y="151730"/>
                  </a:cubicBezTo>
                  <a:lnTo>
                    <a:pt x="375545" y="152033"/>
                  </a:lnTo>
                  <a:lnTo>
                    <a:pt x="375545" y="153444"/>
                  </a:lnTo>
                  <a:cubicBezTo>
                    <a:pt x="375948" y="173809"/>
                    <a:pt x="376351" y="194678"/>
                    <a:pt x="376754" y="216152"/>
                  </a:cubicBezTo>
                  <a:lnTo>
                    <a:pt x="376754" y="217665"/>
                  </a:lnTo>
                  <a:lnTo>
                    <a:pt x="375343" y="217967"/>
                  </a:lnTo>
                  <a:cubicBezTo>
                    <a:pt x="363245" y="220992"/>
                    <a:pt x="350945" y="223915"/>
                    <a:pt x="338545" y="227040"/>
                  </a:cubicBezTo>
                  <a:lnTo>
                    <a:pt x="339956" y="225629"/>
                  </a:lnTo>
                  <a:cubicBezTo>
                    <a:pt x="336730" y="238937"/>
                    <a:pt x="331689" y="251942"/>
                    <a:pt x="324833" y="264141"/>
                  </a:cubicBezTo>
                  <a:lnTo>
                    <a:pt x="324733" y="262226"/>
                  </a:lnTo>
                  <a:cubicBezTo>
                    <a:pt x="331588" y="272711"/>
                    <a:pt x="338545" y="283196"/>
                    <a:pt x="345501" y="293882"/>
                  </a:cubicBezTo>
                  <a:lnTo>
                    <a:pt x="346308" y="295193"/>
                  </a:lnTo>
                  <a:lnTo>
                    <a:pt x="345299" y="296302"/>
                  </a:lnTo>
                  <a:cubicBezTo>
                    <a:pt x="330983" y="311122"/>
                    <a:pt x="316466" y="326144"/>
                    <a:pt x="301746" y="341367"/>
                  </a:cubicBezTo>
                  <a:lnTo>
                    <a:pt x="300637" y="342476"/>
                  </a:lnTo>
                  <a:lnTo>
                    <a:pt x="299327" y="341670"/>
                  </a:lnTo>
                  <a:cubicBezTo>
                    <a:pt x="288640" y="335218"/>
                    <a:pt x="277853" y="328664"/>
                    <a:pt x="266964" y="322011"/>
                  </a:cubicBezTo>
                  <a:lnTo>
                    <a:pt x="268981" y="322011"/>
                  </a:lnTo>
                  <a:lnTo>
                    <a:pt x="268981" y="322011"/>
                  </a:lnTo>
                  <a:cubicBezTo>
                    <a:pt x="256782" y="329370"/>
                    <a:pt x="243675" y="334915"/>
                    <a:pt x="231073" y="338444"/>
                  </a:cubicBezTo>
                  <a:lnTo>
                    <a:pt x="232384" y="337032"/>
                  </a:lnTo>
                  <a:cubicBezTo>
                    <a:pt x="229763" y="349735"/>
                    <a:pt x="227141" y="362438"/>
                    <a:pt x="224621" y="374133"/>
                  </a:cubicBezTo>
                  <a:lnTo>
                    <a:pt x="224319" y="375645"/>
                  </a:lnTo>
                  <a:lnTo>
                    <a:pt x="222806" y="375645"/>
                  </a:lnTo>
                  <a:cubicBezTo>
                    <a:pt x="201231" y="376049"/>
                    <a:pt x="179959" y="376351"/>
                    <a:pt x="160098" y="376754"/>
                  </a:cubicBezTo>
                  <a:lnTo>
                    <a:pt x="158586" y="376754"/>
                  </a:lnTo>
                  <a:lnTo>
                    <a:pt x="158182" y="375242"/>
                  </a:lnTo>
                  <a:cubicBezTo>
                    <a:pt x="155057" y="362539"/>
                    <a:pt x="152033" y="349937"/>
                    <a:pt x="149210" y="338444"/>
                  </a:cubicBezTo>
                  <a:lnTo>
                    <a:pt x="150621" y="339855"/>
                  </a:lnTo>
                  <a:cubicBezTo>
                    <a:pt x="136708" y="336427"/>
                    <a:pt x="123501" y="330983"/>
                    <a:pt x="112109" y="324732"/>
                  </a:cubicBezTo>
                  <a:lnTo>
                    <a:pt x="114024" y="324632"/>
                  </a:lnTo>
                  <a:cubicBezTo>
                    <a:pt x="103035" y="331790"/>
                    <a:pt x="92248" y="338948"/>
                    <a:pt x="82368" y="345400"/>
                  </a:cubicBezTo>
                  <a:lnTo>
                    <a:pt x="81158" y="346207"/>
                  </a:lnTo>
                  <a:lnTo>
                    <a:pt x="80150" y="345198"/>
                  </a:lnTo>
                  <a:cubicBezTo>
                    <a:pt x="64523" y="330076"/>
                    <a:pt x="49300" y="315256"/>
                    <a:pt x="35084" y="301645"/>
                  </a:cubicBezTo>
                  <a:lnTo>
                    <a:pt x="34076" y="300738"/>
                  </a:lnTo>
                  <a:lnTo>
                    <a:pt x="34782" y="299528"/>
                  </a:lnTo>
                  <a:cubicBezTo>
                    <a:pt x="41638" y="288237"/>
                    <a:pt x="48392" y="277248"/>
                    <a:pt x="54441" y="267166"/>
                  </a:cubicBezTo>
                  <a:lnTo>
                    <a:pt x="54441" y="268880"/>
                  </a:lnTo>
                  <a:cubicBezTo>
                    <a:pt x="46981" y="256479"/>
                    <a:pt x="41537" y="243373"/>
                    <a:pt x="38008" y="230972"/>
                  </a:cubicBezTo>
                  <a:lnTo>
                    <a:pt x="39218" y="232081"/>
                  </a:lnTo>
                  <a:cubicBezTo>
                    <a:pt x="26212" y="229359"/>
                    <a:pt x="13610" y="226738"/>
                    <a:pt x="2117" y="224319"/>
                  </a:cubicBezTo>
                  <a:lnTo>
                    <a:pt x="907" y="224117"/>
                  </a:lnTo>
                  <a:lnTo>
                    <a:pt x="907" y="222907"/>
                  </a:lnTo>
                  <a:cubicBezTo>
                    <a:pt x="605" y="200929"/>
                    <a:pt x="202" y="179959"/>
                    <a:pt x="0" y="160199"/>
                  </a:cubicBezTo>
                  <a:lnTo>
                    <a:pt x="0" y="159090"/>
                  </a:lnTo>
                  <a:lnTo>
                    <a:pt x="1109" y="158787"/>
                  </a:lnTo>
                  <a:cubicBezTo>
                    <a:pt x="14014" y="155662"/>
                    <a:pt x="26414" y="152637"/>
                    <a:pt x="37907" y="149915"/>
                  </a:cubicBezTo>
                  <a:lnTo>
                    <a:pt x="37000" y="150823"/>
                  </a:lnTo>
                  <a:cubicBezTo>
                    <a:pt x="40529" y="136708"/>
                    <a:pt x="45872" y="123804"/>
                    <a:pt x="52223" y="112512"/>
                  </a:cubicBezTo>
                  <a:lnTo>
                    <a:pt x="52223" y="113722"/>
                  </a:lnTo>
                  <a:cubicBezTo>
                    <a:pt x="44763" y="102229"/>
                    <a:pt x="37806" y="91542"/>
                    <a:pt x="31556" y="81964"/>
                  </a:cubicBezTo>
                  <a:lnTo>
                    <a:pt x="31153" y="81259"/>
                  </a:lnTo>
                  <a:lnTo>
                    <a:pt x="31657" y="80654"/>
                  </a:lnTo>
                  <a:cubicBezTo>
                    <a:pt x="49501" y="62406"/>
                    <a:pt x="64221" y="47283"/>
                    <a:pt x="75411" y="35790"/>
                  </a:cubicBezTo>
                  <a:lnTo>
                    <a:pt x="75714" y="35387"/>
                  </a:lnTo>
                  <a:lnTo>
                    <a:pt x="76117" y="35689"/>
                  </a:lnTo>
                  <a:cubicBezTo>
                    <a:pt x="86501" y="42142"/>
                    <a:pt x="94466" y="47082"/>
                    <a:pt x="100011" y="50509"/>
                  </a:cubicBezTo>
                  <a:cubicBezTo>
                    <a:pt x="102632" y="52123"/>
                    <a:pt x="104648" y="53433"/>
                    <a:pt x="106161" y="54441"/>
                  </a:cubicBezTo>
                  <a:cubicBezTo>
                    <a:pt x="107572" y="55147"/>
                    <a:pt x="108177" y="55651"/>
                    <a:pt x="108177" y="55651"/>
                  </a:cubicBezTo>
                  <a:close/>
                </a:path>
              </a:pathLst>
            </a:custGeom>
            <a:solidFill>
              <a:srgbClr val="EBEBE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6238AEF-BECF-4F61-AA17-669B20AE02E7}"/>
                </a:ext>
              </a:extLst>
            </p:cNvPr>
            <p:cNvSpPr/>
            <p:nvPr/>
          </p:nvSpPr>
          <p:spPr>
            <a:xfrm>
              <a:off x="11740427" y="3474249"/>
              <a:ext cx="160803" cy="165441"/>
            </a:xfrm>
            <a:custGeom>
              <a:avLst/>
              <a:gdLst>
                <a:gd name="connsiteX0" fmla="*/ 0 w 160803"/>
                <a:gd name="connsiteY0" fmla="*/ 165441 h 165441"/>
                <a:gd name="connsiteX1" fmla="*/ 1210 w 160803"/>
                <a:gd name="connsiteY1" fmla="*/ 0 h 165441"/>
                <a:gd name="connsiteX2" fmla="*/ 160804 w 160803"/>
                <a:gd name="connsiteY2" fmla="*/ 38613 h 165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803" h="165441">
                  <a:moveTo>
                    <a:pt x="0" y="165441"/>
                  </a:moveTo>
                  <a:lnTo>
                    <a:pt x="1210" y="0"/>
                  </a:lnTo>
                  <a:lnTo>
                    <a:pt x="160804" y="38613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426333F-E7F5-4D0A-9E68-0D73E2F8A8D1}"/>
                </a:ext>
              </a:extLst>
            </p:cNvPr>
            <p:cNvSpPr/>
            <p:nvPr/>
          </p:nvSpPr>
          <p:spPr>
            <a:xfrm rot="19304948">
              <a:off x="11878885" y="3518804"/>
              <a:ext cx="93255" cy="377153"/>
            </a:xfrm>
            <a:custGeom>
              <a:avLst/>
              <a:gdLst>
                <a:gd name="connsiteX0" fmla="*/ 0 w 93255"/>
                <a:gd name="connsiteY0" fmla="*/ 0 h 377153"/>
                <a:gd name="connsiteX1" fmla="*/ 93255 w 93255"/>
                <a:gd name="connsiteY1" fmla="*/ 0 h 377153"/>
                <a:gd name="connsiteX2" fmla="*/ 93255 w 93255"/>
                <a:gd name="connsiteY2" fmla="*/ 377154 h 377153"/>
                <a:gd name="connsiteX3" fmla="*/ 0 w 93255"/>
                <a:gd name="connsiteY3" fmla="*/ 377154 h 377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55" h="377153">
                  <a:moveTo>
                    <a:pt x="0" y="0"/>
                  </a:moveTo>
                  <a:lnTo>
                    <a:pt x="93255" y="0"/>
                  </a:lnTo>
                  <a:lnTo>
                    <a:pt x="93255" y="377154"/>
                  </a:lnTo>
                  <a:lnTo>
                    <a:pt x="0" y="377154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10972D4-1920-4910-B1E8-D38A91EC332A}"/>
                </a:ext>
              </a:extLst>
            </p:cNvPr>
            <p:cNvSpPr/>
            <p:nvPr/>
          </p:nvSpPr>
          <p:spPr>
            <a:xfrm>
              <a:off x="11531836" y="3709859"/>
              <a:ext cx="340963" cy="335015"/>
            </a:xfrm>
            <a:custGeom>
              <a:avLst/>
              <a:gdLst>
                <a:gd name="connsiteX0" fmla="*/ 0 w 340963"/>
                <a:gd name="connsiteY0" fmla="*/ 335016 h 335015"/>
                <a:gd name="connsiteX1" fmla="*/ 22381 w 340963"/>
                <a:gd name="connsiteY1" fmla="*/ 0 h 335015"/>
                <a:gd name="connsiteX2" fmla="*/ 340964 w 340963"/>
                <a:gd name="connsiteY2" fmla="*/ 97390 h 335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0963" h="335015">
                  <a:moveTo>
                    <a:pt x="0" y="335016"/>
                  </a:moveTo>
                  <a:lnTo>
                    <a:pt x="22381" y="0"/>
                  </a:lnTo>
                  <a:lnTo>
                    <a:pt x="340964" y="97390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42ADDDD1-9ED8-42B0-B2BC-4203AF93AFCB}"/>
                </a:ext>
              </a:extLst>
            </p:cNvPr>
            <p:cNvSpPr/>
            <p:nvPr/>
          </p:nvSpPr>
          <p:spPr>
            <a:xfrm rot="19507942">
              <a:off x="11804412" y="3821820"/>
              <a:ext cx="189340" cy="765529"/>
            </a:xfrm>
            <a:custGeom>
              <a:avLst/>
              <a:gdLst>
                <a:gd name="connsiteX0" fmla="*/ 0 w 189340"/>
                <a:gd name="connsiteY0" fmla="*/ 0 h 765529"/>
                <a:gd name="connsiteX1" fmla="*/ 189341 w 189340"/>
                <a:gd name="connsiteY1" fmla="*/ 0 h 765529"/>
                <a:gd name="connsiteX2" fmla="*/ 189341 w 189340"/>
                <a:gd name="connsiteY2" fmla="*/ 765529 h 765529"/>
                <a:gd name="connsiteX3" fmla="*/ 0 w 189340"/>
                <a:gd name="connsiteY3" fmla="*/ 765529 h 765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340" h="765529">
                  <a:moveTo>
                    <a:pt x="0" y="0"/>
                  </a:moveTo>
                  <a:lnTo>
                    <a:pt x="189341" y="0"/>
                  </a:lnTo>
                  <a:lnTo>
                    <a:pt x="189341" y="765529"/>
                  </a:lnTo>
                  <a:lnTo>
                    <a:pt x="0" y="765529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1E8E4EB-285B-4C98-9666-2415BBD06F73}"/>
                </a:ext>
              </a:extLst>
            </p:cNvPr>
            <p:cNvSpPr/>
            <p:nvPr/>
          </p:nvSpPr>
          <p:spPr>
            <a:xfrm>
              <a:off x="11214604" y="5648877"/>
              <a:ext cx="103080" cy="233998"/>
            </a:xfrm>
            <a:custGeom>
              <a:avLst/>
              <a:gdLst>
                <a:gd name="connsiteX0" fmla="*/ 45026 w 103080"/>
                <a:gd name="connsiteY0" fmla="*/ 102 h 233998"/>
                <a:gd name="connsiteX1" fmla="*/ 91805 w 103080"/>
                <a:gd name="connsiteY1" fmla="*/ 44865 h 233998"/>
                <a:gd name="connsiteX2" fmla="*/ 102996 w 103080"/>
                <a:gd name="connsiteY2" fmla="*/ 109892 h 233998"/>
                <a:gd name="connsiteX3" fmla="*/ 58132 w 103080"/>
                <a:gd name="connsiteY3" fmla="*/ 233998 h 233998"/>
                <a:gd name="connsiteX4" fmla="*/ 2077 w 103080"/>
                <a:gd name="connsiteY4" fmla="*/ 124208 h 233998"/>
                <a:gd name="connsiteX5" fmla="*/ 45026 w 103080"/>
                <a:gd name="connsiteY5" fmla="*/ 102 h 23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080" h="233998">
                  <a:moveTo>
                    <a:pt x="45026" y="102"/>
                  </a:moveTo>
                  <a:cubicBezTo>
                    <a:pt x="66096" y="7159"/>
                    <a:pt x="82529" y="24701"/>
                    <a:pt x="91805" y="44865"/>
                  </a:cubicBezTo>
                  <a:cubicBezTo>
                    <a:pt x="101080" y="65028"/>
                    <a:pt x="103601" y="87712"/>
                    <a:pt x="102996" y="109892"/>
                  </a:cubicBezTo>
                  <a:cubicBezTo>
                    <a:pt x="101786" y="152840"/>
                    <a:pt x="81219" y="197805"/>
                    <a:pt x="58132" y="233998"/>
                  </a:cubicBezTo>
                  <a:cubicBezTo>
                    <a:pt x="19720" y="205769"/>
                    <a:pt x="6816" y="151933"/>
                    <a:pt x="2077" y="124208"/>
                  </a:cubicBezTo>
                  <a:cubicBezTo>
                    <a:pt x="-5484" y="80453"/>
                    <a:pt x="7320" y="-3326"/>
                    <a:pt x="45026" y="102"/>
                  </a:cubicBezTo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AB0828B6-B5D7-4871-B97B-6F44D73B0F6E}"/>
                </a:ext>
              </a:extLst>
            </p:cNvPr>
            <p:cNvSpPr/>
            <p:nvPr/>
          </p:nvSpPr>
          <p:spPr>
            <a:xfrm>
              <a:off x="11317304" y="5853434"/>
              <a:ext cx="124181" cy="97986"/>
            </a:xfrm>
            <a:custGeom>
              <a:avLst/>
              <a:gdLst>
                <a:gd name="connsiteX0" fmla="*/ 3017 w 124181"/>
                <a:gd name="connsiteY0" fmla="*/ 96082 h 97986"/>
                <a:gd name="connsiteX1" fmla="*/ 20055 w 124181"/>
                <a:gd name="connsiteY1" fmla="*/ 27325 h 97986"/>
                <a:gd name="connsiteX2" fmla="*/ 87099 w 124181"/>
                <a:gd name="connsiteY2" fmla="*/ 3 h 97986"/>
                <a:gd name="connsiteX3" fmla="*/ 118453 w 124181"/>
                <a:gd name="connsiteY3" fmla="*/ 10992 h 97986"/>
                <a:gd name="connsiteX4" fmla="*/ 121477 w 124181"/>
                <a:gd name="connsiteY4" fmla="*/ 41439 h 97986"/>
                <a:gd name="connsiteX5" fmla="*/ 100810 w 124181"/>
                <a:gd name="connsiteY5" fmla="*/ 65534 h 97986"/>
                <a:gd name="connsiteX6" fmla="*/ 3017 w 124181"/>
                <a:gd name="connsiteY6" fmla="*/ 96082 h 97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81" h="97986">
                  <a:moveTo>
                    <a:pt x="3017" y="96082"/>
                  </a:moveTo>
                  <a:cubicBezTo>
                    <a:pt x="-4746" y="72491"/>
                    <a:pt x="3017" y="45371"/>
                    <a:pt x="20055" y="27325"/>
                  </a:cubicBezTo>
                  <a:cubicBezTo>
                    <a:pt x="37093" y="9379"/>
                    <a:pt x="62298" y="205"/>
                    <a:pt x="87099" y="3"/>
                  </a:cubicBezTo>
                  <a:cubicBezTo>
                    <a:pt x="98592" y="-98"/>
                    <a:pt x="111194" y="2221"/>
                    <a:pt x="118453" y="10992"/>
                  </a:cubicBezTo>
                  <a:cubicBezTo>
                    <a:pt x="125308" y="19259"/>
                    <a:pt x="125611" y="31559"/>
                    <a:pt x="121477" y="41439"/>
                  </a:cubicBezTo>
                  <a:cubicBezTo>
                    <a:pt x="117344" y="51319"/>
                    <a:pt x="109379" y="59082"/>
                    <a:pt x="100810" y="65534"/>
                  </a:cubicBezTo>
                  <a:cubicBezTo>
                    <a:pt x="71472" y="87714"/>
                    <a:pt x="39009" y="103643"/>
                    <a:pt x="3017" y="96082"/>
                  </a:cubicBezTo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CECE6C8-8ACA-49B7-8D9C-045C2594A2E1}"/>
                </a:ext>
              </a:extLst>
            </p:cNvPr>
            <p:cNvSpPr/>
            <p:nvPr/>
          </p:nvSpPr>
          <p:spPr>
            <a:xfrm>
              <a:off x="11285361" y="5897065"/>
              <a:ext cx="99891" cy="186739"/>
            </a:xfrm>
            <a:custGeom>
              <a:avLst/>
              <a:gdLst>
                <a:gd name="connsiteX0" fmla="*/ 77 w 99891"/>
                <a:gd name="connsiteY0" fmla="*/ 186739 h 186739"/>
                <a:gd name="connsiteX1" fmla="*/ 581 w 99891"/>
                <a:gd name="connsiteY1" fmla="*/ 177868 h 186739"/>
                <a:gd name="connsiteX2" fmla="*/ 2900 w 99891"/>
                <a:gd name="connsiteY2" fmla="*/ 153873 h 186739"/>
                <a:gd name="connsiteX3" fmla="*/ 20846 w 99891"/>
                <a:gd name="connsiteY3" fmla="*/ 76345 h 186739"/>
                <a:gd name="connsiteX4" fmla="*/ 70145 w 99891"/>
                <a:gd name="connsiteY4" fmla="*/ 14241 h 186739"/>
                <a:gd name="connsiteX5" fmla="*/ 91418 w 99891"/>
                <a:gd name="connsiteY5" fmla="*/ 2647 h 186739"/>
                <a:gd name="connsiteX6" fmla="*/ 97668 w 99891"/>
                <a:gd name="connsiteY6" fmla="*/ 530 h 186739"/>
                <a:gd name="connsiteX7" fmla="*/ 99886 w 99891"/>
                <a:gd name="connsiteY7" fmla="*/ 26 h 186739"/>
                <a:gd name="connsiteX8" fmla="*/ 71456 w 99891"/>
                <a:gd name="connsiteY8" fmla="*/ 16056 h 186739"/>
                <a:gd name="connsiteX9" fmla="*/ 23769 w 99891"/>
                <a:gd name="connsiteY9" fmla="*/ 77655 h 186739"/>
                <a:gd name="connsiteX10" fmla="*/ 5118 w 99891"/>
                <a:gd name="connsiteY10" fmla="*/ 154175 h 186739"/>
                <a:gd name="connsiteX11" fmla="*/ 1791 w 99891"/>
                <a:gd name="connsiteY11" fmla="*/ 178069 h 186739"/>
                <a:gd name="connsiteX12" fmla="*/ 77 w 99891"/>
                <a:gd name="connsiteY12" fmla="*/ 186739 h 18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891" h="186739">
                  <a:moveTo>
                    <a:pt x="77" y="186739"/>
                  </a:moveTo>
                  <a:cubicBezTo>
                    <a:pt x="-124" y="186739"/>
                    <a:pt x="77" y="183614"/>
                    <a:pt x="581" y="177868"/>
                  </a:cubicBezTo>
                  <a:cubicBezTo>
                    <a:pt x="1186" y="171617"/>
                    <a:pt x="1993" y="163551"/>
                    <a:pt x="2900" y="153873"/>
                  </a:cubicBezTo>
                  <a:cubicBezTo>
                    <a:pt x="5219" y="133810"/>
                    <a:pt x="7840" y="105077"/>
                    <a:pt x="20846" y="76345"/>
                  </a:cubicBezTo>
                  <a:cubicBezTo>
                    <a:pt x="33649" y="47712"/>
                    <a:pt x="53107" y="25734"/>
                    <a:pt x="70145" y="14241"/>
                  </a:cubicBezTo>
                  <a:cubicBezTo>
                    <a:pt x="78614" y="8393"/>
                    <a:pt x="86075" y="4663"/>
                    <a:pt x="91418" y="2647"/>
                  </a:cubicBezTo>
                  <a:cubicBezTo>
                    <a:pt x="94039" y="1538"/>
                    <a:pt x="96257" y="933"/>
                    <a:pt x="97668" y="530"/>
                  </a:cubicBezTo>
                  <a:cubicBezTo>
                    <a:pt x="99080" y="127"/>
                    <a:pt x="99886" y="-75"/>
                    <a:pt x="99886" y="26"/>
                  </a:cubicBezTo>
                  <a:cubicBezTo>
                    <a:pt x="100189" y="732"/>
                    <a:pt x="87688" y="4058"/>
                    <a:pt x="71456" y="16056"/>
                  </a:cubicBezTo>
                  <a:cubicBezTo>
                    <a:pt x="55124" y="27851"/>
                    <a:pt x="36371" y="49527"/>
                    <a:pt x="23769" y="77655"/>
                  </a:cubicBezTo>
                  <a:cubicBezTo>
                    <a:pt x="10965" y="105783"/>
                    <a:pt x="7941" y="134113"/>
                    <a:pt x="5118" y="154175"/>
                  </a:cubicBezTo>
                  <a:cubicBezTo>
                    <a:pt x="3808" y="164257"/>
                    <a:pt x="2698" y="172423"/>
                    <a:pt x="1791" y="178069"/>
                  </a:cubicBezTo>
                  <a:cubicBezTo>
                    <a:pt x="884" y="183614"/>
                    <a:pt x="279" y="186739"/>
                    <a:pt x="77" y="18673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C4375E0D-4C7D-487F-B01B-97D8E44DC6C9}"/>
                </a:ext>
              </a:extLst>
            </p:cNvPr>
            <p:cNvSpPr/>
            <p:nvPr/>
          </p:nvSpPr>
          <p:spPr>
            <a:xfrm>
              <a:off x="11255435" y="5713704"/>
              <a:ext cx="30507" cy="376552"/>
            </a:xfrm>
            <a:custGeom>
              <a:avLst/>
              <a:gdLst>
                <a:gd name="connsiteX0" fmla="*/ 60 w 30507"/>
                <a:gd name="connsiteY0" fmla="*/ 0 h 376552"/>
                <a:gd name="connsiteX1" fmla="*/ 867 w 30507"/>
                <a:gd name="connsiteY1" fmla="*/ 3730 h 376552"/>
                <a:gd name="connsiteX2" fmla="*/ 2480 w 30507"/>
                <a:gd name="connsiteY2" fmla="*/ 14619 h 376552"/>
                <a:gd name="connsiteX3" fmla="*/ 7521 w 30507"/>
                <a:gd name="connsiteY3" fmla="*/ 54845 h 376552"/>
                <a:gd name="connsiteX4" fmla="*/ 20526 w 30507"/>
                <a:gd name="connsiteY4" fmla="*/ 187823 h 376552"/>
                <a:gd name="connsiteX5" fmla="*/ 28894 w 30507"/>
                <a:gd name="connsiteY5" fmla="*/ 321204 h 376552"/>
                <a:gd name="connsiteX6" fmla="*/ 30306 w 30507"/>
                <a:gd name="connsiteY6" fmla="*/ 361733 h 376552"/>
                <a:gd name="connsiteX7" fmla="*/ 30507 w 30507"/>
                <a:gd name="connsiteY7" fmla="*/ 372722 h 376552"/>
                <a:gd name="connsiteX8" fmla="*/ 30406 w 30507"/>
                <a:gd name="connsiteY8" fmla="*/ 376553 h 376552"/>
                <a:gd name="connsiteX9" fmla="*/ 29902 w 30507"/>
                <a:gd name="connsiteY9" fmla="*/ 372722 h 376552"/>
                <a:gd name="connsiteX10" fmla="*/ 29096 w 30507"/>
                <a:gd name="connsiteY10" fmla="*/ 361733 h 376552"/>
                <a:gd name="connsiteX11" fmla="*/ 26676 w 30507"/>
                <a:gd name="connsiteY11" fmla="*/ 321305 h 376552"/>
                <a:gd name="connsiteX12" fmla="*/ 17401 w 30507"/>
                <a:gd name="connsiteY12" fmla="*/ 188024 h 376552"/>
                <a:gd name="connsiteX13" fmla="*/ 5303 w 30507"/>
                <a:gd name="connsiteY13" fmla="*/ 54946 h 376552"/>
                <a:gd name="connsiteX14" fmla="*/ 1270 w 30507"/>
                <a:gd name="connsiteY14" fmla="*/ 14619 h 376552"/>
                <a:gd name="connsiteX15" fmla="*/ 262 w 30507"/>
                <a:gd name="connsiteY15" fmla="*/ 3630 h 376552"/>
                <a:gd name="connsiteX16" fmla="*/ 60 w 30507"/>
                <a:gd name="connsiteY16" fmla="*/ 0 h 37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507" h="376552">
                  <a:moveTo>
                    <a:pt x="60" y="0"/>
                  </a:moveTo>
                  <a:cubicBezTo>
                    <a:pt x="161" y="0"/>
                    <a:pt x="463" y="1311"/>
                    <a:pt x="867" y="3730"/>
                  </a:cubicBezTo>
                  <a:cubicBezTo>
                    <a:pt x="1270" y="6553"/>
                    <a:pt x="1774" y="10183"/>
                    <a:pt x="2480" y="14619"/>
                  </a:cubicBezTo>
                  <a:cubicBezTo>
                    <a:pt x="3791" y="24095"/>
                    <a:pt x="5504" y="37806"/>
                    <a:pt x="7521" y="54845"/>
                  </a:cubicBezTo>
                  <a:cubicBezTo>
                    <a:pt x="11553" y="88820"/>
                    <a:pt x="16393" y="135801"/>
                    <a:pt x="20526" y="187823"/>
                  </a:cubicBezTo>
                  <a:cubicBezTo>
                    <a:pt x="24660" y="239844"/>
                    <a:pt x="27382" y="287027"/>
                    <a:pt x="28894" y="321204"/>
                  </a:cubicBezTo>
                  <a:cubicBezTo>
                    <a:pt x="29600" y="338343"/>
                    <a:pt x="30104" y="352155"/>
                    <a:pt x="30306" y="361733"/>
                  </a:cubicBezTo>
                  <a:cubicBezTo>
                    <a:pt x="30406" y="366269"/>
                    <a:pt x="30406" y="369899"/>
                    <a:pt x="30507" y="372722"/>
                  </a:cubicBezTo>
                  <a:cubicBezTo>
                    <a:pt x="30507" y="375242"/>
                    <a:pt x="30507" y="376553"/>
                    <a:pt x="30406" y="376553"/>
                  </a:cubicBezTo>
                  <a:cubicBezTo>
                    <a:pt x="30306" y="376553"/>
                    <a:pt x="30104" y="375242"/>
                    <a:pt x="29902" y="372722"/>
                  </a:cubicBezTo>
                  <a:cubicBezTo>
                    <a:pt x="29701" y="369899"/>
                    <a:pt x="29499" y="366269"/>
                    <a:pt x="29096" y="361733"/>
                  </a:cubicBezTo>
                  <a:cubicBezTo>
                    <a:pt x="28491" y="351752"/>
                    <a:pt x="27684" y="338040"/>
                    <a:pt x="26676" y="321305"/>
                  </a:cubicBezTo>
                  <a:cubicBezTo>
                    <a:pt x="24660" y="287128"/>
                    <a:pt x="21534" y="240046"/>
                    <a:pt x="17401" y="188024"/>
                  </a:cubicBezTo>
                  <a:cubicBezTo>
                    <a:pt x="13267" y="136002"/>
                    <a:pt x="8731" y="89022"/>
                    <a:pt x="5303" y="54946"/>
                  </a:cubicBezTo>
                  <a:cubicBezTo>
                    <a:pt x="3589" y="38210"/>
                    <a:pt x="2278" y="24599"/>
                    <a:pt x="1270" y="14619"/>
                  </a:cubicBezTo>
                  <a:cubicBezTo>
                    <a:pt x="867" y="10082"/>
                    <a:pt x="564" y="6452"/>
                    <a:pt x="262" y="3630"/>
                  </a:cubicBezTo>
                  <a:cubicBezTo>
                    <a:pt x="-41" y="1311"/>
                    <a:pt x="-41" y="0"/>
                    <a:pt x="60" y="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A1B133F-095B-4BD5-A3B6-20075A022A93}"/>
                </a:ext>
              </a:extLst>
            </p:cNvPr>
            <p:cNvSpPr/>
            <p:nvPr/>
          </p:nvSpPr>
          <p:spPr>
            <a:xfrm>
              <a:off x="11117488" y="5863619"/>
              <a:ext cx="143048" cy="121160"/>
            </a:xfrm>
            <a:custGeom>
              <a:avLst/>
              <a:gdLst>
                <a:gd name="connsiteX0" fmla="*/ 143049 w 143048"/>
                <a:gd name="connsiteY0" fmla="*/ 117049 h 121160"/>
                <a:gd name="connsiteX1" fmla="*/ 43038 w 143048"/>
                <a:gd name="connsiteY1" fmla="*/ 4134 h 121160"/>
                <a:gd name="connsiteX2" fmla="*/ 5534 w 143048"/>
                <a:gd name="connsiteY2" fmla="*/ 6755 h 121160"/>
                <a:gd name="connsiteX3" fmla="*/ 5836 w 143048"/>
                <a:gd name="connsiteY3" fmla="*/ 44259 h 121160"/>
                <a:gd name="connsiteX4" fmla="*/ 142444 w 143048"/>
                <a:gd name="connsiteY4" fmla="*/ 120578 h 12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048" h="121160">
                  <a:moveTo>
                    <a:pt x="143049" y="117049"/>
                  </a:moveTo>
                  <a:cubicBezTo>
                    <a:pt x="130547" y="66338"/>
                    <a:pt x="91934" y="22684"/>
                    <a:pt x="43038" y="4134"/>
                  </a:cubicBezTo>
                  <a:cubicBezTo>
                    <a:pt x="30637" y="-605"/>
                    <a:pt x="14607" y="-3024"/>
                    <a:pt x="5534" y="6755"/>
                  </a:cubicBezTo>
                  <a:cubicBezTo>
                    <a:pt x="-3540" y="16534"/>
                    <a:pt x="-11" y="32363"/>
                    <a:pt x="5836" y="44259"/>
                  </a:cubicBezTo>
                  <a:cubicBezTo>
                    <a:pt x="30234" y="94063"/>
                    <a:pt x="87196" y="125921"/>
                    <a:pt x="142444" y="120578"/>
                  </a:cubicBezTo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8570196-5DFD-4887-9D96-62DD3D3D827B}"/>
                </a:ext>
              </a:extLst>
            </p:cNvPr>
            <p:cNvSpPr/>
            <p:nvPr/>
          </p:nvSpPr>
          <p:spPr>
            <a:xfrm>
              <a:off x="11169795" y="5907550"/>
              <a:ext cx="115178" cy="161736"/>
            </a:xfrm>
            <a:custGeom>
              <a:avLst/>
              <a:gdLst>
                <a:gd name="connsiteX0" fmla="*/ 6 w 115178"/>
                <a:gd name="connsiteY0" fmla="*/ 25 h 161736"/>
                <a:gd name="connsiteX1" fmla="*/ 7870 w 115178"/>
                <a:gd name="connsiteY1" fmla="*/ 2647 h 161736"/>
                <a:gd name="connsiteX2" fmla="*/ 16842 w 115178"/>
                <a:gd name="connsiteY2" fmla="*/ 6478 h 161736"/>
                <a:gd name="connsiteX3" fmla="*/ 28336 w 115178"/>
                <a:gd name="connsiteY3" fmla="*/ 12426 h 161736"/>
                <a:gd name="connsiteX4" fmla="*/ 41643 w 115178"/>
                <a:gd name="connsiteY4" fmla="*/ 20794 h 161736"/>
                <a:gd name="connsiteX5" fmla="*/ 55959 w 115178"/>
                <a:gd name="connsiteY5" fmla="*/ 31783 h 161736"/>
                <a:gd name="connsiteX6" fmla="*/ 83987 w 115178"/>
                <a:gd name="connsiteY6" fmla="*/ 62129 h 161736"/>
                <a:gd name="connsiteX7" fmla="*/ 103848 w 115178"/>
                <a:gd name="connsiteY7" fmla="*/ 98423 h 161736"/>
                <a:gd name="connsiteX8" fmla="*/ 109493 w 115178"/>
                <a:gd name="connsiteY8" fmla="*/ 115562 h 161736"/>
                <a:gd name="connsiteX9" fmla="*/ 112921 w 115178"/>
                <a:gd name="connsiteY9" fmla="*/ 130886 h 161736"/>
                <a:gd name="connsiteX10" fmla="*/ 114635 w 115178"/>
                <a:gd name="connsiteY10" fmla="*/ 143690 h 161736"/>
                <a:gd name="connsiteX11" fmla="*/ 115139 w 115178"/>
                <a:gd name="connsiteY11" fmla="*/ 153469 h 161736"/>
                <a:gd name="connsiteX12" fmla="*/ 114938 w 115178"/>
                <a:gd name="connsiteY12" fmla="*/ 161736 h 161736"/>
                <a:gd name="connsiteX13" fmla="*/ 110804 w 115178"/>
                <a:gd name="connsiteY13" fmla="*/ 131290 h 161736"/>
                <a:gd name="connsiteX14" fmla="*/ 107074 w 115178"/>
                <a:gd name="connsiteY14" fmla="*/ 116268 h 161736"/>
                <a:gd name="connsiteX15" fmla="*/ 101226 w 115178"/>
                <a:gd name="connsiteY15" fmla="*/ 99532 h 161736"/>
                <a:gd name="connsiteX16" fmla="*/ 81567 w 115178"/>
                <a:gd name="connsiteY16" fmla="*/ 64045 h 161736"/>
                <a:gd name="connsiteX17" fmla="*/ 54145 w 115178"/>
                <a:gd name="connsiteY17" fmla="*/ 34001 h 161736"/>
                <a:gd name="connsiteX18" fmla="*/ 40232 w 115178"/>
                <a:gd name="connsiteY18" fmla="*/ 23012 h 161736"/>
                <a:gd name="connsiteX19" fmla="*/ 27327 w 115178"/>
                <a:gd name="connsiteY19" fmla="*/ 14442 h 161736"/>
                <a:gd name="connsiteX20" fmla="*/ 6 w 115178"/>
                <a:gd name="connsiteY20" fmla="*/ 25 h 16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5178" h="161736">
                  <a:moveTo>
                    <a:pt x="6" y="25"/>
                  </a:moveTo>
                  <a:cubicBezTo>
                    <a:pt x="107" y="-176"/>
                    <a:pt x="2829" y="832"/>
                    <a:pt x="7870" y="2647"/>
                  </a:cubicBezTo>
                  <a:cubicBezTo>
                    <a:pt x="10390" y="3554"/>
                    <a:pt x="13415" y="4764"/>
                    <a:pt x="16842" y="6478"/>
                  </a:cubicBezTo>
                  <a:cubicBezTo>
                    <a:pt x="20270" y="8192"/>
                    <a:pt x="24303" y="9805"/>
                    <a:pt x="28336" y="12426"/>
                  </a:cubicBezTo>
                  <a:cubicBezTo>
                    <a:pt x="32469" y="14846"/>
                    <a:pt x="37107" y="17467"/>
                    <a:pt x="41643" y="20794"/>
                  </a:cubicBezTo>
                  <a:cubicBezTo>
                    <a:pt x="46382" y="23919"/>
                    <a:pt x="51020" y="27750"/>
                    <a:pt x="55959" y="31783"/>
                  </a:cubicBezTo>
                  <a:cubicBezTo>
                    <a:pt x="65537" y="40151"/>
                    <a:pt x="75317" y="50232"/>
                    <a:pt x="83987" y="62129"/>
                  </a:cubicBezTo>
                  <a:cubicBezTo>
                    <a:pt x="92556" y="74126"/>
                    <a:pt x="99008" y="86628"/>
                    <a:pt x="103848" y="98423"/>
                  </a:cubicBezTo>
                  <a:cubicBezTo>
                    <a:pt x="106066" y="104371"/>
                    <a:pt x="108183" y="110017"/>
                    <a:pt x="109493" y="115562"/>
                  </a:cubicBezTo>
                  <a:cubicBezTo>
                    <a:pt x="111207" y="121006"/>
                    <a:pt x="112014" y="126148"/>
                    <a:pt x="112921" y="130886"/>
                  </a:cubicBezTo>
                  <a:cubicBezTo>
                    <a:pt x="114030" y="135625"/>
                    <a:pt x="114131" y="139960"/>
                    <a:pt x="114635" y="143690"/>
                  </a:cubicBezTo>
                  <a:cubicBezTo>
                    <a:pt x="115139" y="147521"/>
                    <a:pt x="115139" y="150747"/>
                    <a:pt x="115139" y="153469"/>
                  </a:cubicBezTo>
                  <a:cubicBezTo>
                    <a:pt x="115240" y="158813"/>
                    <a:pt x="115139" y="161736"/>
                    <a:pt x="114938" y="161736"/>
                  </a:cubicBezTo>
                  <a:cubicBezTo>
                    <a:pt x="114232" y="161736"/>
                    <a:pt x="114433" y="149840"/>
                    <a:pt x="110804" y="131290"/>
                  </a:cubicBezTo>
                  <a:cubicBezTo>
                    <a:pt x="109796" y="126652"/>
                    <a:pt x="108788" y="121510"/>
                    <a:pt x="107074" y="116268"/>
                  </a:cubicBezTo>
                  <a:cubicBezTo>
                    <a:pt x="105662" y="110824"/>
                    <a:pt x="103444" y="105379"/>
                    <a:pt x="101226" y="99532"/>
                  </a:cubicBezTo>
                  <a:cubicBezTo>
                    <a:pt x="96387" y="88039"/>
                    <a:pt x="89935" y="75840"/>
                    <a:pt x="81567" y="64045"/>
                  </a:cubicBezTo>
                  <a:cubicBezTo>
                    <a:pt x="73099" y="52350"/>
                    <a:pt x="63521" y="42369"/>
                    <a:pt x="54145" y="34001"/>
                  </a:cubicBezTo>
                  <a:cubicBezTo>
                    <a:pt x="49406" y="29968"/>
                    <a:pt x="44870" y="26137"/>
                    <a:pt x="40232" y="23012"/>
                  </a:cubicBezTo>
                  <a:cubicBezTo>
                    <a:pt x="35796" y="19584"/>
                    <a:pt x="31360" y="16963"/>
                    <a:pt x="27327" y="14442"/>
                  </a:cubicBezTo>
                  <a:cubicBezTo>
                    <a:pt x="10894" y="4663"/>
                    <a:pt x="-296" y="731"/>
                    <a:pt x="6" y="25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1EA04C8-6D33-4E76-8821-9D12B25D64FC}"/>
                </a:ext>
              </a:extLst>
            </p:cNvPr>
            <p:cNvSpPr/>
            <p:nvPr/>
          </p:nvSpPr>
          <p:spPr>
            <a:xfrm>
              <a:off x="11326975" y="2588569"/>
              <a:ext cx="630511" cy="650674"/>
            </a:xfrm>
            <a:custGeom>
              <a:avLst/>
              <a:gdLst>
                <a:gd name="connsiteX0" fmla="*/ 32261 w 630511"/>
                <a:gd name="connsiteY0" fmla="*/ 650675 h 650674"/>
                <a:gd name="connsiteX1" fmla="*/ 150117 w 630511"/>
                <a:gd name="connsiteY1" fmla="*/ 583833 h 650674"/>
                <a:gd name="connsiteX2" fmla="*/ 315256 w 630511"/>
                <a:gd name="connsiteY2" fmla="*/ 630511 h 650674"/>
                <a:gd name="connsiteX3" fmla="*/ 630511 w 630511"/>
                <a:gd name="connsiteY3" fmla="*/ 315256 h 650674"/>
                <a:gd name="connsiteX4" fmla="*/ 315256 w 630511"/>
                <a:gd name="connsiteY4" fmla="*/ 0 h 650674"/>
                <a:gd name="connsiteX5" fmla="*/ 0 w 630511"/>
                <a:gd name="connsiteY5" fmla="*/ 315256 h 650674"/>
                <a:gd name="connsiteX6" fmla="*/ 66035 w 630511"/>
                <a:gd name="connsiteY6" fmla="*/ 508220 h 650674"/>
                <a:gd name="connsiteX7" fmla="*/ 65934 w 630511"/>
                <a:gd name="connsiteY7" fmla="*/ 508119 h 650674"/>
                <a:gd name="connsiteX8" fmla="*/ 32261 w 630511"/>
                <a:gd name="connsiteY8" fmla="*/ 650675 h 65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0511" h="650674">
                  <a:moveTo>
                    <a:pt x="32261" y="650675"/>
                  </a:moveTo>
                  <a:lnTo>
                    <a:pt x="150117" y="583833"/>
                  </a:lnTo>
                  <a:cubicBezTo>
                    <a:pt x="198106" y="613373"/>
                    <a:pt x="254664" y="630511"/>
                    <a:pt x="315256" y="630511"/>
                  </a:cubicBezTo>
                  <a:cubicBezTo>
                    <a:pt x="489367" y="630511"/>
                    <a:pt x="630511" y="489367"/>
                    <a:pt x="630511" y="315256"/>
                  </a:cubicBezTo>
                  <a:cubicBezTo>
                    <a:pt x="630511" y="141144"/>
                    <a:pt x="489367" y="0"/>
                    <a:pt x="315256" y="0"/>
                  </a:cubicBezTo>
                  <a:cubicBezTo>
                    <a:pt x="141144" y="0"/>
                    <a:pt x="0" y="141144"/>
                    <a:pt x="0" y="315256"/>
                  </a:cubicBezTo>
                  <a:cubicBezTo>
                    <a:pt x="0" y="387945"/>
                    <a:pt x="24700" y="454888"/>
                    <a:pt x="66035" y="508220"/>
                  </a:cubicBezTo>
                  <a:lnTo>
                    <a:pt x="65934" y="508119"/>
                  </a:lnTo>
                  <a:lnTo>
                    <a:pt x="32261" y="650675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A447BE6-6FE0-4396-89E2-4E281CBDFEC3}"/>
                </a:ext>
              </a:extLst>
            </p:cNvPr>
            <p:cNvSpPr/>
            <p:nvPr/>
          </p:nvSpPr>
          <p:spPr>
            <a:xfrm>
              <a:off x="11324981" y="2586086"/>
              <a:ext cx="634425" cy="653158"/>
            </a:xfrm>
            <a:custGeom>
              <a:avLst/>
              <a:gdLst>
                <a:gd name="connsiteX0" fmla="*/ 34256 w 634425"/>
                <a:gd name="connsiteY0" fmla="*/ 653158 h 653158"/>
                <a:gd name="connsiteX1" fmla="*/ 66518 w 634425"/>
                <a:gd name="connsiteY1" fmla="*/ 510199 h 653158"/>
                <a:gd name="connsiteX2" fmla="*/ 66921 w 634425"/>
                <a:gd name="connsiteY2" fmla="*/ 508183 h 653158"/>
                <a:gd name="connsiteX3" fmla="*/ 68534 w 634425"/>
                <a:gd name="connsiteY3" fmla="*/ 509393 h 653158"/>
                <a:gd name="connsiteX4" fmla="*/ 68635 w 634425"/>
                <a:gd name="connsiteY4" fmla="*/ 509494 h 653158"/>
                <a:gd name="connsiteX5" fmla="*/ 66820 w 634425"/>
                <a:gd name="connsiteY5" fmla="*/ 511308 h 653158"/>
                <a:gd name="connsiteX6" fmla="*/ 2801 w 634425"/>
                <a:gd name="connsiteY6" fmla="*/ 359881 h 653158"/>
                <a:gd name="connsiteX7" fmla="*/ 281 w 634425"/>
                <a:gd name="connsiteY7" fmla="*/ 309876 h 653158"/>
                <a:gd name="connsiteX8" fmla="*/ 1692 w 634425"/>
                <a:gd name="connsiteY8" fmla="*/ 283663 h 653158"/>
                <a:gd name="connsiteX9" fmla="*/ 5725 w 634425"/>
                <a:gd name="connsiteY9" fmla="*/ 256946 h 653158"/>
                <a:gd name="connsiteX10" fmla="*/ 47463 w 634425"/>
                <a:gd name="connsiteY10" fmla="*/ 150483 h 653158"/>
                <a:gd name="connsiteX11" fmla="*/ 132351 w 634425"/>
                <a:gd name="connsiteY11" fmla="*/ 59445 h 653158"/>
                <a:gd name="connsiteX12" fmla="*/ 254441 w 634425"/>
                <a:gd name="connsiteY12" fmla="*/ 6012 h 653158"/>
                <a:gd name="connsiteX13" fmla="*/ 394980 w 634425"/>
                <a:gd name="connsiteY13" fmla="*/ 9742 h 653158"/>
                <a:gd name="connsiteX14" fmla="*/ 524934 w 634425"/>
                <a:gd name="connsiteY14" fmla="*/ 77492 h 653158"/>
                <a:gd name="connsiteX15" fmla="*/ 611839 w 634425"/>
                <a:gd name="connsiteY15" fmla="*/ 199279 h 653158"/>
                <a:gd name="connsiteX16" fmla="*/ 633615 w 634425"/>
                <a:gd name="connsiteY16" fmla="*/ 340927 h 653158"/>
                <a:gd name="connsiteX17" fmla="*/ 595204 w 634425"/>
                <a:gd name="connsiteY17" fmla="*/ 470881 h 653158"/>
                <a:gd name="connsiteX18" fmla="*/ 513138 w 634425"/>
                <a:gd name="connsiteY18" fmla="*/ 566960 h 653158"/>
                <a:gd name="connsiteX19" fmla="*/ 410708 w 634425"/>
                <a:gd name="connsiteY19" fmla="*/ 620796 h 653158"/>
                <a:gd name="connsiteX20" fmla="*/ 307975 w 634425"/>
                <a:gd name="connsiteY20" fmla="*/ 634507 h 653158"/>
                <a:gd name="connsiteX21" fmla="*/ 151406 w 634425"/>
                <a:gd name="connsiteY21" fmla="*/ 587224 h 653158"/>
                <a:gd name="connsiteX22" fmla="*/ 152716 w 634425"/>
                <a:gd name="connsiteY22" fmla="*/ 587224 h 653158"/>
                <a:gd name="connsiteX23" fmla="*/ 34256 w 634425"/>
                <a:gd name="connsiteY23" fmla="*/ 653158 h 653158"/>
                <a:gd name="connsiteX24" fmla="*/ 151507 w 634425"/>
                <a:gd name="connsiteY24" fmla="*/ 585208 h 653158"/>
                <a:gd name="connsiteX25" fmla="*/ 152112 w 634425"/>
                <a:gd name="connsiteY25" fmla="*/ 584804 h 653158"/>
                <a:gd name="connsiteX26" fmla="*/ 152716 w 634425"/>
                <a:gd name="connsiteY26" fmla="*/ 585208 h 653158"/>
                <a:gd name="connsiteX27" fmla="*/ 308076 w 634425"/>
                <a:gd name="connsiteY27" fmla="*/ 630979 h 653158"/>
                <a:gd name="connsiteX28" fmla="*/ 409498 w 634425"/>
                <a:gd name="connsiteY28" fmla="*/ 617066 h 653158"/>
                <a:gd name="connsiteX29" fmla="*/ 510416 w 634425"/>
                <a:gd name="connsiteY29" fmla="*/ 563633 h 653158"/>
                <a:gd name="connsiteX30" fmla="*/ 591070 w 634425"/>
                <a:gd name="connsiteY30" fmla="*/ 468764 h 653158"/>
                <a:gd name="connsiteX31" fmla="*/ 628675 w 634425"/>
                <a:gd name="connsiteY31" fmla="*/ 340726 h 653158"/>
                <a:gd name="connsiteX32" fmla="*/ 607100 w 634425"/>
                <a:gd name="connsiteY32" fmla="*/ 201396 h 653158"/>
                <a:gd name="connsiteX33" fmla="*/ 521607 w 634425"/>
                <a:gd name="connsiteY33" fmla="*/ 81625 h 653158"/>
                <a:gd name="connsiteX34" fmla="*/ 393771 w 634425"/>
                <a:gd name="connsiteY34" fmla="*/ 14985 h 653158"/>
                <a:gd name="connsiteX35" fmla="*/ 255449 w 634425"/>
                <a:gd name="connsiteY35" fmla="*/ 11154 h 653158"/>
                <a:gd name="connsiteX36" fmla="*/ 135174 w 634425"/>
                <a:gd name="connsiteY36" fmla="*/ 63579 h 653158"/>
                <a:gd name="connsiteX37" fmla="*/ 51294 w 634425"/>
                <a:gd name="connsiteY37" fmla="*/ 153004 h 653158"/>
                <a:gd name="connsiteX38" fmla="*/ 9758 w 634425"/>
                <a:gd name="connsiteY38" fmla="*/ 257854 h 653158"/>
                <a:gd name="connsiteX39" fmla="*/ 5725 w 634425"/>
                <a:gd name="connsiteY39" fmla="*/ 284167 h 653158"/>
                <a:gd name="connsiteX40" fmla="*/ 4213 w 634425"/>
                <a:gd name="connsiteY40" fmla="*/ 310077 h 653158"/>
                <a:gd name="connsiteX41" fmla="*/ 6531 w 634425"/>
                <a:gd name="connsiteY41" fmla="*/ 359478 h 653158"/>
                <a:gd name="connsiteX42" fmla="*/ 68937 w 634425"/>
                <a:gd name="connsiteY42" fmla="*/ 509796 h 653158"/>
                <a:gd name="connsiteX43" fmla="*/ 75188 w 634425"/>
                <a:gd name="connsiteY43" fmla="*/ 517862 h 653158"/>
                <a:gd name="connsiteX44" fmla="*/ 67123 w 634425"/>
                <a:gd name="connsiteY44" fmla="*/ 511611 h 653158"/>
                <a:gd name="connsiteX45" fmla="*/ 67022 w 634425"/>
                <a:gd name="connsiteY45" fmla="*/ 511510 h 653158"/>
                <a:gd name="connsiteX46" fmla="*/ 69038 w 634425"/>
                <a:gd name="connsiteY46" fmla="*/ 510804 h 653158"/>
                <a:gd name="connsiteX47" fmla="*/ 34256 w 634425"/>
                <a:gd name="connsiteY47" fmla="*/ 653158 h 653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34425" h="653158">
                  <a:moveTo>
                    <a:pt x="34256" y="653158"/>
                  </a:moveTo>
                  <a:cubicBezTo>
                    <a:pt x="36273" y="644085"/>
                    <a:pt x="46253" y="600330"/>
                    <a:pt x="66518" y="510199"/>
                  </a:cubicBezTo>
                  <a:lnTo>
                    <a:pt x="66921" y="508183"/>
                  </a:lnTo>
                  <a:lnTo>
                    <a:pt x="68534" y="509393"/>
                  </a:lnTo>
                  <a:lnTo>
                    <a:pt x="68635" y="509494"/>
                  </a:lnTo>
                  <a:lnTo>
                    <a:pt x="66820" y="511308"/>
                  </a:lnTo>
                  <a:cubicBezTo>
                    <a:pt x="38894" y="475619"/>
                    <a:pt x="11572" y="424303"/>
                    <a:pt x="2801" y="359881"/>
                  </a:cubicBezTo>
                  <a:cubicBezTo>
                    <a:pt x="785" y="343851"/>
                    <a:pt x="-627" y="327115"/>
                    <a:pt x="281" y="309876"/>
                  </a:cubicBezTo>
                  <a:cubicBezTo>
                    <a:pt x="785" y="301306"/>
                    <a:pt x="987" y="292535"/>
                    <a:pt x="1692" y="283663"/>
                  </a:cubicBezTo>
                  <a:cubicBezTo>
                    <a:pt x="3003" y="274892"/>
                    <a:pt x="4313" y="266020"/>
                    <a:pt x="5725" y="256946"/>
                  </a:cubicBezTo>
                  <a:cubicBezTo>
                    <a:pt x="12782" y="221156"/>
                    <a:pt x="26292" y="184560"/>
                    <a:pt x="47463" y="150483"/>
                  </a:cubicBezTo>
                  <a:cubicBezTo>
                    <a:pt x="68534" y="116407"/>
                    <a:pt x="97166" y="84851"/>
                    <a:pt x="132351" y="59445"/>
                  </a:cubicBezTo>
                  <a:cubicBezTo>
                    <a:pt x="167436" y="34140"/>
                    <a:pt x="209174" y="14985"/>
                    <a:pt x="254441" y="6012"/>
                  </a:cubicBezTo>
                  <a:cubicBezTo>
                    <a:pt x="299607" y="-2860"/>
                    <a:pt x="348100" y="-2154"/>
                    <a:pt x="394980" y="9742"/>
                  </a:cubicBezTo>
                  <a:cubicBezTo>
                    <a:pt x="441760" y="21740"/>
                    <a:pt x="487430" y="44020"/>
                    <a:pt x="524934" y="77492"/>
                  </a:cubicBezTo>
                  <a:cubicBezTo>
                    <a:pt x="563346" y="111366"/>
                    <a:pt x="593994" y="153105"/>
                    <a:pt x="611839" y="199279"/>
                  </a:cubicBezTo>
                  <a:cubicBezTo>
                    <a:pt x="630087" y="245151"/>
                    <a:pt x="636942" y="294148"/>
                    <a:pt x="633615" y="340927"/>
                  </a:cubicBezTo>
                  <a:cubicBezTo>
                    <a:pt x="630187" y="387707"/>
                    <a:pt x="616779" y="432469"/>
                    <a:pt x="595204" y="470881"/>
                  </a:cubicBezTo>
                  <a:cubicBezTo>
                    <a:pt x="573730" y="509393"/>
                    <a:pt x="545098" y="541856"/>
                    <a:pt x="513138" y="566960"/>
                  </a:cubicBezTo>
                  <a:cubicBezTo>
                    <a:pt x="481079" y="592063"/>
                    <a:pt x="445792" y="609807"/>
                    <a:pt x="410708" y="620796"/>
                  </a:cubicBezTo>
                  <a:cubicBezTo>
                    <a:pt x="375422" y="631684"/>
                    <a:pt x="340338" y="634608"/>
                    <a:pt x="307975" y="634507"/>
                  </a:cubicBezTo>
                  <a:cubicBezTo>
                    <a:pt x="242747" y="632592"/>
                    <a:pt x="189112" y="610714"/>
                    <a:pt x="151406" y="587224"/>
                  </a:cubicBezTo>
                  <a:lnTo>
                    <a:pt x="152716" y="587224"/>
                  </a:lnTo>
                  <a:cubicBezTo>
                    <a:pt x="77910" y="628962"/>
                    <a:pt x="42019" y="648924"/>
                    <a:pt x="34256" y="653158"/>
                  </a:cubicBezTo>
                  <a:cubicBezTo>
                    <a:pt x="41918" y="648723"/>
                    <a:pt x="77406" y="628156"/>
                    <a:pt x="151507" y="585208"/>
                  </a:cubicBezTo>
                  <a:lnTo>
                    <a:pt x="152112" y="584804"/>
                  </a:lnTo>
                  <a:lnTo>
                    <a:pt x="152716" y="585208"/>
                  </a:lnTo>
                  <a:cubicBezTo>
                    <a:pt x="190321" y="608194"/>
                    <a:pt x="243553" y="629466"/>
                    <a:pt x="308076" y="630979"/>
                  </a:cubicBezTo>
                  <a:cubicBezTo>
                    <a:pt x="340136" y="630979"/>
                    <a:pt x="374716" y="627954"/>
                    <a:pt x="409498" y="617066"/>
                  </a:cubicBezTo>
                  <a:cubicBezTo>
                    <a:pt x="444179" y="606077"/>
                    <a:pt x="478861" y="588535"/>
                    <a:pt x="510416" y="563633"/>
                  </a:cubicBezTo>
                  <a:cubicBezTo>
                    <a:pt x="541871" y="538832"/>
                    <a:pt x="570000" y="506772"/>
                    <a:pt x="591070" y="468764"/>
                  </a:cubicBezTo>
                  <a:cubicBezTo>
                    <a:pt x="612343" y="430856"/>
                    <a:pt x="625449" y="386799"/>
                    <a:pt x="628675" y="340726"/>
                  </a:cubicBezTo>
                  <a:cubicBezTo>
                    <a:pt x="632002" y="294652"/>
                    <a:pt x="625046" y="246562"/>
                    <a:pt x="607100" y="201396"/>
                  </a:cubicBezTo>
                  <a:cubicBezTo>
                    <a:pt x="589558" y="156028"/>
                    <a:pt x="559313" y="114996"/>
                    <a:pt x="521607" y="81625"/>
                  </a:cubicBezTo>
                  <a:cubicBezTo>
                    <a:pt x="484708" y="48759"/>
                    <a:pt x="439743" y="26780"/>
                    <a:pt x="393771" y="14985"/>
                  </a:cubicBezTo>
                  <a:cubicBezTo>
                    <a:pt x="347697" y="3290"/>
                    <a:pt x="299910" y="2483"/>
                    <a:pt x="255449" y="11154"/>
                  </a:cubicBezTo>
                  <a:cubicBezTo>
                    <a:pt x="210888" y="19925"/>
                    <a:pt x="169856" y="38778"/>
                    <a:pt x="135174" y="63579"/>
                  </a:cubicBezTo>
                  <a:cubicBezTo>
                    <a:pt x="100493" y="88481"/>
                    <a:pt x="72164" y="119532"/>
                    <a:pt x="51294" y="153004"/>
                  </a:cubicBezTo>
                  <a:cubicBezTo>
                    <a:pt x="30324" y="186576"/>
                    <a:pt x="16815" y="222568"/>
                    <a:pt x="9758" y="257854"/>
                  </a:cubicBezTo>
                  <a:cubicBezTo>
                    <a:pt x="8346" y="266726"/>
                    <a:pt x="7036" y="275497"/>
                    <a:pt x="5725" y="284167"/>
                  </a:cubicBezTo>
                  <a:cubicBezTo>
                    <a:pt x="4918" y="292837"/>
                    <a:pt x="4717" y="301508"/>
                    <a:pt x="4213" y="310077"/>
                  </a:cubicBezTo>
                  <a:cubicBezTo>
                    <a:pt x="3305" y="327115"/>
                    <a:pt x="4515" y="343649"/>
                    <a:pt x="6531" y="359478"/>
                  </a:cubicBezTo>
                  <a:cubicBezTo>
                    <a:pt x="14899" y="423194"/>
                    <a:pt x="41515" y="474208"/>
                    <a:pt x="68937" y="509796"/>
                  </a:cubicBezTo>
                  <a:lnTo>
                    <a:pt x="75188" y="517862"/>
                  </a:lnTo>
                  <a:lnTo>
                    <a:pt x="67123" y="511611"/>
                  </a:lnTo>
                  <a:lnTo>
                    <a:pt x="67022" y="511510"/>
                  </a:lnTo>
                  <a:lnTo>
                    <a:pt x="69038" y="510804"/>
                  </a:lnTo>
                  <a:cubicBezTo>
                    <a:pt x="47161" y="600532"/>
                    <a:pt x="36474" y="644186"/>
                    <a:pt x="34256" y="65315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7556156-0E9B-437D-B927-52AD17963F25}"/>
                </a:ext>
              </a:extLst>
            </p:cNvPr>
            <p:cNvSpPr/>
            <p:nvPr/>
          </p:nvSpPr>
          <p:spPr>
            <a:xfrm>
              <a:off x="11590713" y="2782030"/>
              <a:ext cx="155668" cy="220898"/>
            </a:xfrm>
            <a:custGeom>
              <a:avLst/>
              <a:gdLst>
                <a:gd name="connsiteX0" fmla="*/ 101 w 155668"/>
                <a:gd name="connsiteY0" fmla="*/ 92860 h 220898"/>
                <a:gd name="connsiteX1" fmla="*/ 18550 w 155668"/>
                <a:gd name="connsiteY1" fmla="*/ 92860 h 220898"/>
                <a:gd name="connsiteX2" fmla="*/ 58776 w 155668"/>
                <a:gd name="connsiteY2" fmla="*/ 36806 h 220898"/>
                <a:gd name="connsiteX3" fmla="*/ 58776 w 155668"/>
                <a:gd name="connsiteY3" fmla="*/ 8 h 220898"/>
                <a:gd name="connsiteX4" fmla="*/ 83880 w 155668"/>
                <a:gd name="connsiteY4" fmla="*/ 46484 h 220898"/>
                <a:gd name="connsiteX5" fmla="*/ 84182 w 155668"/>
                <a:gd name="connsiteY5" fmla="*/ 82375 h 220898"/>
                <a:gd name="connsiteX6" fmla="*/ 149713 w 155668"/>
                <a:gd name="connsiteY6" fmla="*/ 87819 h 220898"/>
                <a:gd name="connsiteX7" fmla="*/ 155662 w 155668"/>
                <a:gd name="connsiteY7" fmla="*/ 184402 h 220898"/>
                <a:gd name="connsiteX8" fmla="*/ 130659 w 155668"/>
                <a:gd name="connsiteY8" fmla="*/ 219991 h 220898"/>
                <a:gd name="connsiteX9" fmla="*/ 124106 w 155668"/>
                <a:gd name="connsiteY9" fmla="*/ 220898 h 220898"/>
                <a:gd name="connsiteX10" fmla="*/ 31858 w 155668"/>
                <a:gd name="connsiteY10" fmla="*/ 208599 h 220898"/>
                <a:gd name="connsiteX11" fmla="*/ 0 w 155668"/>
                <a:gd name="connsiteY11" fmla="*/ 208599 h 220898"/>
                <a:gd name="connsiteX12" fmla="*/ 0 w 155668"/>
                <a:gd name="connsiteY12" fmla="*/ 92860 h 22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5668" h="220898">
                  <a:moveTo>
                    <a:pt x="101" y="92860"/>
                  </a:moveTo>
                  <a:lnTo>
                    <a:pt x="18550" y="92860"/>
                  </a:lnTo>
                  <a:lnTo>
                    <a:pt x="58776" y="36806"/>
                  </a:lnTo>
                  <a:lnTo>
                    <a:pt x="58776" y="8"/>
                  </a:lnTo>
                  <a:cubicBezTo>
                    <a:pt x="58776" y="8"/>
                    <a:pt x="87308" y="-1706"/>
                    <a:pt x="83880" y="46484"/>
                  </a:cubicBezTo>
                  <a:cubicBezTo>
                    <a:pt x="80553" y="94675"/>
                    <a:pt x="84182" y="82375"/>
                    <a:pt x="84182" y="82375"/>
                  </a:cubicBezTo>
                  <a:cubicBezTo>
                    <a:pt x="84182" y="82375"/>
                    <a:pt x="144673" y="82577"/>
                    <a:pt x="149713" y="87819"/>
                  </a:cubicBezTo>
                  <a:cubicBezTo>
                    <a:pt x="153343" y="91650"/>
                    <a:pt x="155057" y="151738"/>
                    <a:pt x="155662" y="184402"/>
                  </a:cubicBezTo>
                  <a:cubicBezTo>
                    <a:pt x="155964" y="200836"/>
                    <a:pt x="145883" y="216059"/>
                    <a:pt x="130659" y="219991"/>
                  </a:cubicBezTo>
                  <a:cubicBezTo>
                    <a:pt x="128441" y="220495"/>
                    <a:pt x="126324" y="220898"/>
                    <a:pt x="124106" y="220898"/>
                  </a:cubicBezTo>
                  <a:cubicBezTo>
                    <a:pt x="108983" y="220898"/>
                    <a:pt x="31858" y="208599"/>
                    <a:pt x="31858" y="208599"/>
                  </a:cubicBezTo>
                  <a:lnTo>
                    <a:pt x="0" y="208599"/>
                  </a:lnTo>
                  <a:lnTo>
                    <a:pt x="0" y="92860"/>
                  </a:lnTo>
                  <a:close/>
                </a:path>
              </a:pathLst>
            </a:custGeom>
            <a:solidFill>
              <a:srgbClr val="FF725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CD7AD6A-D941-47CD-B5B5-81FF5E9E9B35}"/>
                </a:ext>
              </a:extLst>
            </p:cNvPr>
            <p:cNvSpPr/>
            <p:nvPr/>
          </p:nvSpPr>
          <p:spPr>
            <a:xfrm>
              <a:off x="11537986" y="2864808"/>
              <a:ext cx="42948" cy="126122"/>
            </a:xfrm>
            <a:custGeom>
              <a:avLst/>
              <a:gdLst>
                <a:gd name="connsiteX0" fmla="*/ 0 w 42948"/>
                <a:gd name="connsiteY0" fmla="*/ 0 h 126122"/>
                <a:gd name="connsiteX1" fmla="*/ 11392 w 42948"/>
                <a:gd name="connsiteY1" fmla="*/ 126123 h 126122"/>
                <a:gd name="connsiteX2" fmla="*/ 42948 w 42948"/>
                <a:gd name="connsiteY2" fmla="*/ 126123 h 126122"/>
                <a:gd name="connsiteX3" fmla="*/ 42948 w 42948"/>
                <a:gd name="connsiteY3" fmla="*/ 2520 h 126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48" h="126122">
                  <a:moveTo>
                    <a:pt x="0" y="0"/>
                  </a:moveTo>
                  <a:lnTo>
                    <a:pt x="11392" y="126123"/>
                  </a:lnTo>
                  <a:lnTo>
                    <a:pt x="42948" y="126123"/>
                  </a:lnTo>
                  <a:lnTo>
                    <a:pt x="42948" y="2520"/>
                  </a:lnTo>
                  <a:close/>
                </a:path>
              </a:pathLst>
            </a:custGeom>
            <a:solidFill>
              <a:srgbClr val="FF725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A39C1DA-C50A-4729-89A5-AA8426CE9B23}"/>
                </a:ext>
              </a:extLst>
            </p:cNvPr>
            <p:cNvSpPr/>
            <p:nvPr/>
          </p:nvSpPr>
          <p:spPr>
            <a:xfrm>
              <a:off x="8643420" y="3430898"/>
              <a:ext cx="790508" cy="1096696"/>
            </a:xfrm>
            <a:custGeom>
              <a:avLst/>
              <a:gdLst>
                <a:gd name="connsiteX0" fmla="*/ 409117 w 790508"/>
                <a:gd name="connsiteY0" fmla="*/ 0 h 1096696"/>
                <a:gd name="connsiteX1" fmla="*/ 257790 w 790508"/>
                <a:gd name="connsiteY1" fmla="*/ 55450 h 1096696"/>
                <a:gd name="connsiteX2" fmla="*/ 178043 w 790508"/>
                <a:gd name="connsiteY2" fmla="*/ 223411 h 1096696"/>
                <a:gd name="connsiteX3" fmla="*/ 87207 w 790508"/>
                <a:gd name="connsiteY3" fmla="*/ 608130 h 1096696"/>
                <a:gd name="connsiteX4" fmla="*/ 0 w 790508"/>
                <a:gd name="connsiteY4" fmla="*/ 919857 h 1096696"/>
                <a:gd name="connsiteX5" fmla="*/ 610046 w 790508"/>
                <a:gd name="connsiteY5" fmla="*/ 1096187 h 1096696"/>
                <a:gd name="connsiteX6" fmla="*/ 638476 w 790508"/>
                <a:gd name="connsiteY6" fmla="*/ 828819 h 1096696"/>
                <a:gd name="connsiteX7" fmla="*/ 790509 w 790508"/>
                <a:gd name="connsiteY7" fmla="*/ 247910 h 1096696"/>
                <a:gd name="connsiteX8" fmla="*/ 674468 w 790508"/>
                <a:gd name="connsiteY8" fmla="*/ 17441 h 1096696"/>
                <a:gd name="connsiteX9" fmla="*/ 634746 w 790508"/>
                <a:gd name="connsiteY9" fmla="*/ 12098 h 1096696"/>
                <a:gd name="connsiteX10" fmla="*/ 409117 w 790508"/>
                <a:gd name="connsiteY10" fmla="*/ 0 h 109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0508" h="1096696">
                  <a:moveTo>
                    <a:pt x="409117" y="0"/>
                  </a:moveTo>
                  <a:lnTo>
                    <a:pt x="257790" y="55450"/>
                  </a:lnTo>
                  <a:lnTo>
                    <a:pt x="178043" y="223411"/>
                  </a:lnTo>
                  <a:cubicBezTo>
                    <a:pt x="174313" y="258092"/>
                    <a:pt x="87207" y="608130"/>
                    <a:pt x="87207" y="608130"/>
                  </a:cubicBezTo>
                  <a:lnTo>
                    <a:pt x="0" y="919857"/>
                  </a:lnTo>
                  <a:cubicBezTo>
                    <a:pt x="166953" y="996176"/>
                    <a:pt x="388348" y="1105058"/>
                    <a:pt x="610046" y="1096187"/>
                  </a:cubicBezTo>
                  <a:lnTo>
                    <a:pt x="638476" y="828819"/>
                  </a:lnTo>
                  <a:lnTo>
                    <a:pt x="790509" y="247910"/>
                  </a:lnTo>
                  <a:lnTo>
                    <a:pt x="674468" y="17441"/>
                  </a:lnTo>
                  <a:lnTo>
                    <a:pt x="634746" y="12098"/>
                  </a:lnTo>
                  <a:lnTo>
                    <a:pt x="409117" y="0"/>
                  </a:lnTo>
                  <a:close/>
                </a:path>
              </a:pathLst>
            </a:custGeom>
            <a:solidFill>
              <a:srgbClr val="FF725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70CC294-B418-4FBB-8B73-DF4A1A7D4D88}"/>
                </a:ext>
              </a:extLst>
            </p:cNvPr>
            <p:cNvSpPr/>
            <p:nvPr/>
          </p:nvSpPr>
          <p:spPr>
            <a:xfrm>
              <a:off x="8033475" y="5603410"/>
              <a:ext cx="315659" cy="449645"/>
            </a:xfrm>
            <a:custGeom>
              <a:avLst/>
              <a:gdLst>
                <a:gd name="connsiteX0" fmla="*/ 315659 w 315659"/>
                <a:gd name="connsiteY0" fmla="*/ 105657 h 449645"/>
                <a:gd name="connsiteX1" fmla="*/ 201735 w 315659"/>
                <a:gd name="connsiteY1" fmla="*/ 254362 h 449645"/>
                <a:gd name="connsiteX2" fmla="*/ 296201 w 315659"/>
                <a:gd name="connsiteY2" fmla="*/ 449645 h 449645"/>
                <a:gd name="connsiteX3" fmla="*/ 0 w 315659"/>
                <a:gd name="connsiteY3" fmla="*/ 238937 h 449645"/>
                <a:gd name="connsiteX4" fmla="*/ 168062 w 315659"/>
                <a:gd name="connsiteY4" fmla="*/ 0 h 449645"/>
                <a:gd name="connsiteX5" fmla="*/ 315659 w 315659"/>
                <a:gd name="connsiteY5" fmla="*/ 105657 h 449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659" h="449645">
                  <a:moveTo>
                    <a:pt x="315659" y="105657"/>
                  </a:moveTo>
                  <a:lnTo>
                    <a:pt x="201735" y="254362"/>
                  </a:lnTo>
                  <a:cubicBezTo>
                    <a:pt x="201735" y="254362"/>
                    <a:pt x="314550" y="420106"/>
                    <a:pt x="296201" y="449645"/>
                  </a:cubicBezTo>
                  <a:lnTo>
                    <a:pt x="0" y="238937"/>
                  </a:lnTo>
                  <a:lnTo>
                    <a:pt x="168062" y="0"/>
                  </a:lnTo>
                  <a:lnTo>
                    <a:pt x="315659" y="105657"/>
                  </a:ln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FF4A7E8A-AB4B-4CF1-9C0D-368C090F0272}"/>
                </a:ext>
              </a:extLst>
            </p:cNvPr>
            <p:cNvSpPr/>
            <p:nvPr/>
          </p:nvSpPr>
          <p:spPr>
            <a:xfrm>
              <a:off x="8133632" y="5778937"/>
              <a:ext cx="28240" cy="27517"/>
            </a:xfrm>
            <a:custGeom>
              <a:avLst/>
              <a:gdLst>
                <a:gd name="connsiteX0" fmla="*/ 19110 w 28240"/>
                <a:gd name="connsiteY0" fmla="*/ 803 h 27517"/>
                <a:gd name="connsiteX1" fmla="*/ 963 w 28240"/>
                <a:gd name="connsiteY1" fmla="*/ 8667 h 27517"/>
                <a:gd name="connsiteX2" fmla="*/ 8625 w 28240"/>
                <a:gd name="connsiteY2" fmla="*/ 26713 h 27517"/>
                <a:gd name="connsiteX3" fmla="*/ 27781 w 28240"/>
                <a:gd name="connsiteY3" fmla="*/ 18244 h 27517"/>
                <a:gd name="connsiteX4" fmla="*/ 17800 w 28240"/>
                <a:gd name="connsiteY4" fmla="*/ 299 h 2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40" h="27517">
                  <a:moveTo>
                    <a:pt x="19110" y="803"/>
                  </a:moveTo>
                  <a:cubicBezTo>
                    <a:pt x="12255" y="-1717"/>
                    <a:pt x="3685" y="1912"/>
                    <a:pt x="963" y="8667"/>
                  </a:cubicBezTo>
                  <a:cubicBezTo>
                    <a:pt x="-1860" y="15421"/>
                    <a:pt x="1770" y="24092"/>
                    <a:pt x="8625" y="26713"/>
                  </a:cubicBezTo>
                  <a:cubicBezTo>
                    <a:pt x="15380" y="29334"/>
                    <a:pt x="25865" y="25301"/>
                    <a:pt x="27781" y="18244"/>
                  </a:cubicBezTo>
                  <a:cubicBezTo>
                    <a:pt x="29797" y="11187"/>
                    <a:pt x="24958" y="1206"/>
                    <a:pt x="17800" y="299"/>
                  </a:cubicBezTo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8DAD338F-3A05-45DC-9A69-BC06D5B04905}"/>
                </a:ext>
              </a:extLst>
            </p:cNvPr>
            <p:cNvSpPr/>
            <p:nvPr/>
          </p:nvSpPr>
          <p:spPr>
            <a:xfrm>
              <a:off x="8033475" y="5818957"/>
              <a:ext cx="299441" cy="233896"/>
            </a:xfrm>
            <a:custGeom>
              <a:avLst/>
              <a:gdLst>
                <a:gd name="connsiteX0" fmla="*/ 0 w 299441"/>
                <a:gd name="connsiteY0" fmla="*/ 23390 h 233896"/>
                <a:gd name="connsiteX1" fmla="*/ 17845 w 299441"/>
                <a:gd name="connsiteY1" fmla="*/ 0 h 233896"/>
                <a:gd name="connsiteX2" fmla="*/ 295092 w 299441"/>
                <a:gd name="connsiteY2" fmla="*/ 210608 h 233896"/>
                <a:gd name="connsiteX3" fmla="*/ 296100 w 299441"/>
                <a:gd name="connsiteY3" fmla="*/ 233896 h 233896"/>
                <a:gd name="connsiteX4" fmla="*/ 0 w 299441"/>
                <a:gd name="connsiteY4" fmla="*/ 23390 h 23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441" h="233896">
                  <a:moveTo>
                    <a:pt x="0" y="23390"/>
                  </a:moveTo>
                  <a:lnTo>
                    <a:pt x="17845" y="0"/>
                  </a:lnTo>
                  <a:lnTo>
                    <a:pt x="295092" y="210608"/>
                  </a:lnTo>
                  <a:cubicBezTo>
                    <a:pt x="295092" y="210608"/>
                    <a:pt x="304166" y="225730"/>
                    <a:pt x="296100" y="233896"/>
                  </a:cubicBezTo>
                  <a:lnTo>
                    <a:pt x="0" y="23390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4FCED01-B71D-4909-B3E4-97EE09B8FE95}"/>
                </a:ext>
              </a:extLst>
            </p:cNvPr>
            <p:cNvSpPr/>
            <p:nvPr/>
          </p:nvSpPr>
          <p:spPr>
            <a:xfrm>
              <a:off x="8202345" y="5849759"/>
              <a:ext cx="38840" cy="10104"/>
            </a:xfrm>
            <a:custGeom>
              <a:avLst/>
              <a:gdLst>
                <a:gd name="connsiteX0" fmla="*/ 38712 w 38840"/>
                <a:gd name="connsiteY0" fmla="*/ 9828 h 10104"/>
                <a:gd name="connsiteX1" fmla="*/ 19557 w 38840"/>
                <a:gd name="connsiteY1" fmla="*/ 6299 h 10104"/>
                <a:gd name="connsiteX2" fmla="*/ 99 w 38840"/>
                <a:gd name="connsiteY2" fmla="*/ 7711 h 10104"/>
                <a:gd name="connsiteX3" fmla="*/ 19860 w 38840"/>
                <a:gd name="connsiteY3" fmla="*/ 49 h 10104"/>
                <a:gd name="connsiteX4" fmla="*/ 38712 w 38840"/>
                <a:gd name="connsiteY4" fmla="*/ 9828 h 1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40" h="10104">
                  <a:moveTo>
                    <a:pt x="38712" y="9828"/>
                  </a:moveTo>
                  <a:cubicBezTo>
                    <a:pt x="37604" y="11240"/>
                    <a:pt x="29941" y="6804"/>
                    <a:pt x="19557" y="6299"/>
                  </a:cubicBezTo>
                  <a:cubicBezTo>
                    <a:pt x="9173" y="5594"/>
                    <a:pt x="1007" y="9324"/>
                    <a:pt x="99" y="7711"/>
                  </a:cubicBezTo>
                  <a:cubicBezTo>
                    <a:pt x="-1010" y="6501"/>
                    <a:pt x="7257" y="-657"/>
                    <a:pt x="19860" y="49"/>
                  </a:cubicBezTo>
                  <a:cubicBezTo>
                    <a:pt x="32462" y="755"/>
                    <a:pt x="39922" y="8719"/>
                    <a:pt x="38712" y="982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BFE7144-44CD-4964-AF48-F71D50739BA2}"/>
                </a:ext>
              </a:extLst>
            </p:cNvPr>
            <p:cNvSpPr/>
            <p:nvPr/>
          </p:nvSpPr>
          <p:spPr>
            <a:xfrm>
              <a:off x="8228093" y="5889838"/>
              <a:ext cx="34919" cy="14046"/>
            </a:xfrm>
            <a:custGeom>
              <a:avLst/>
              <a:gdLst>
                <a:gd name="connsiteX0" fmla="*/ 34842 w 34919"/>
                <a:gd name="connsiteY0" fmla="*/ 4732 h 14046"/>
                <a:gd name="connsiteX1" fmla="*/ 16897 w 34919"/>
                <a:gd name="connsiteY1" fmla="*/ 6950 h 14046"/>
                <a:gd name="connsiteX2" fmla="*/ 262 w 34919"/>
                <a:gd name="connsiteY2" fmla="*/ 13906 h 14046"/>
                <a:gd name="connsiteX3" fmla="*/ 15384 w 34919"/>
                <a:gd name="connsiteY3" fmla="*/ 901 h 14046"/>
                <a:gd name="connsiteX4" fmla="*/ 34842 w 34919"/>
                <a:gd name="connsiteY4" fmla="*/ 4732 h 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19" h="14046">
                  <a:moveTo>
                    <a:pt x="34842" y="4732"/>
                  </a:moveTo>
                  <a:cubicBezTo>
                    <a:pt x="34136" y="6345"/>
                    <a:pt x="26172" y="4329"/>
                    <a:pt x="16897" y="6950"/>
                  </a:cubicBezTo>
                  <a:cubicBezTo>
                    <a:pt x="7521" y="9269"/>
                    <a:pt x="1572" y="15015"/>
                    <a:pt x="262" y="13906"/>
                  </a:cubicBezTo>
                  <a:cubicBezTo>
                    <a:pt x="-1251" y="13201"/>
                    <a:pt x="3790" y="4026"/>
                    <a:pt x="15384" y="901"/>
                  </a:cubicBezTo>
                  <a:cubicBezTo>
                    <a:pt x="26878" y="-2124"/>
                    <a:pt x="35850" y="3321"/>
                    <a:pt x="34842" y="4732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AFB42FA-8B85-4AA9-A1D0-670AE505ADB4}"/>
                </a:ext>
              </a:extLst>
            </p:cNvPr>
            <p:cNvSpPr/>
            <p:nvPr/>
          </p:nvSpPr>
          <p:spPr>
            <a:xfrm>
              <a:off x="8253801" y="5926137"/>
              <a:ext cx="29402" cy="18229"/>
            </a:xfrm>
            <a:custGeom>
              <a:avLst/>
              <a:gdLst>
                <a:gd name="connsiteX0" fmla="*/ 364 w 29402"/>
                <a:gd name="connsiteY0" fmla="*/ 18136 h 18229"/>
                <a:gd name="connsiteX1" fmla="*/ 11252 w 29402"/>
                <a:gd name="connsiteY1" fmla="*/ 3618 h 18229"/>
                <a:gd name="connsiteX2" fmla="*/ 29399 w 29402"/>
                <a:gd name="connsiteY2" fmla="*/ 1602 h 18229"/>
                <a:gd name="connsiteX3" fmla="*/ 14377 w 29402"/>
                <a:gd name="connsiteY3" fmla="*/ 8961 h 18229"/>
                <a:gd name="connsiteX4" fmla="*/ 364 w 29402"/>
                <a:gd name="connsiteY4" fmla="*/ 18136 h 1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02" h="18229">
                  <a:moveTo>
                    <a:pt x="364" y="18136"/>
                  </a:moveTo>
                  <a:cubicBezTo>
                    <a:pt x="-1149" y="17531"/>
                    <a:pt x="1977" y="8861"/>
                    <a:pt x="11252" y="3618"/>
                  </a:cubicBezTo>
                  <a:cubicBezTo>
                    <a:pt x="20527" y="-1725"/>
                    <a:pt x="29601" y="-11"/>
                    <a:pt x="29399" y="1602"/>
                  </a:cubicBezTo>
                  <a:cubicBezTo>
                    <a:pt x="29399" y="3416"/>
                    <a:pt x="21938" y="4525"/>
                    <a:pt x="14377" y="8961"/>
                  </a:cubicBezTo>
                  <a:cubicBezTo>
                    <a:pt x="6614" y="13196"/>
                    <a:pt x="1876" y="19043"/>
                    <a:pt x="364" y="1813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B877748-6D9E-42AA-BDA3-AC8FA37D1094}"/>
                </a:ext>
              </a:extLst>
            </p:cNvPr>
            <p:cNvSpPr/>
            <p:nvPr/>
          </p:nvSpPr>
          <p:spPr>
            <a:xfrm>
              <a:off x="8231278" y="5801613"/>
              <a:ext cx="32295" cy="21358"/>
            </a:xfrm>
            <a:custGeom>
              <a:avLst/>
              <a:gdLst>
                <a:gd name="connsiteX0" fmla="*/ 31960 w 32295"/>
                <a:gd name="connsiteY0" fmla="*/ 21276 h 21358"/>
                <a:gd name="connsiteX1" fmla="*/ 16636 w 32295"/>
                <a:gd name="connsiteY1" fmla="*/ 10186 h 21358"/>
                <a:gd name="connsiteX2" fmla="*/ 1 w 32295"/>
                <a:gd name="connsiteY2" fmla="*/ 1214 h 21358"/>
                <a:gd name="connsiteX3" fmla="*/ 19963 w 32295"/>
                <a:gd name="connsiteY3" fmla="*/ 4944 h 21358"/>
                <a:gd name="connsiteX4" fmla="*/ 31960 w 32295"/>
                <a:gd name="connsiteY4" fmla="*/ 21276 h 2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95" h="21358">
                  <a:moveTo>
                    <a:pt x="31960" y="21276"/>
                  </a:moveTo>
                  <a:cubicBezTo>
                    <a:pt x="30448" y="22184"/>
                    <a:pt x="25205" y="15429"/>
                    <a:pt x="16636" y="10186"/>
                  </a:cubicBezTo>
                  <a:cubicBezTo>
                    <a:pt x="8167" y="4742"/>
                    <a:pt x="-100" y="3028"/>
                    <a:pt x="1" y="1214"/>
                  </a:cubicBezTo>
                  <a:cubicBezTo>
                    <a:pt x="-100" y="-400"/>
                    <a:pt x="9881" y="-1408"/>
                    <a:pt x="19963" y="4944"/>
                  </a:cubicBezTo>
                  <a:cubicBezTo>
                    <a:pt x="29944" y="11195"/>
                    <a:pt x="33472" y="20571"/>
                    <a:pt x="31960" y="2127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B755B95-BC70-4746-9C4F-B57E8E944756}"/>
                </a:ext>
              </a:extLst>
            </p:cNvPr>
            <p:cNvSpPr/>
            <p:nvPr/>
          </p:nvSpPr>
          <p:spPr>
            <a:xfrm>
              <a:off x="8132478" y="5678015"/>
              <a:ext cx="164836" cy="129449"/>
            </a:xfrm>
            <a:custGeom>
              <a:avLst/>
              <a:gdLst>
                <a:gd name="connsiteX0" fmla="*/ 164836 w 164836"/>
                <a:gd name="connsiteY0" fmla="*/ 102935 h 129449"/>
                <a:gd name="connsiteX1" fmla="*/ 144572 w 164836"/>
                <a:gd name="connsiteY1" fmla="*/ 129450 h 129449"/>
                <a:gd name="connsiteX2" fmla="*/ 0 w 164836"/>
                <a:gd name="connsiteY2" fmla="*/ 24599 h 129449"/>
                <a:gd name="connsiteX3" fmla="*/ 17139 w 164836"/>
                <a:gd name="connsiteY3" fmla="*/ 0 h 129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836" h="129449">
                  <a:moveTo>
                    <a:pt x="164836" y="102935"/>
                  </a:moveTo>
                  <a:lnTo>
                    <a:pt x="144572" y="129450"/>
                  </a:lnTo>
                  <a:lnTo>
                    <a:pt x="0" y="24599"/>
                  </a:lnTo>
                  <a:lnTo>
                    <a:pt x="17139" y="0"/>
                  </a:lnTo>
                  <a:close/>
                </a:path>
              </a:pathLst>
            </a:custGeom>
            <a:solidFill>
              <a:srgbClr val="00000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9B1FDC1-A43C-4487-9CCF-1B3356E24D50}"/>
                </a:ext>
              </a:extLst>
            </p:cNvPr>
            <p:cNvSpPr/>
            <p:nvPr/>
          </p:nvSpPr>
          <p:spPr>
            <a:xfrm>
              <a:off x="8251359" y="5740062"/>
              <a:ext cx="34394" cy="53087"/>
            </a:xfrm>
            <a:custGeom>
              <a:avLst/>
              <a:gdLst>
                <a:gd name="connsiteX0" fmla="*/ 34361 w 34394"/>
                <a:gd name="connsiteY0" fmla="*/ 52381 h 53087"/>
                <a:gd name="connsiteX1" fmla="*/ 19541 w 34394"/>
                <a:gd name="connsiteY1" fmla="*/ 41795 h 53087"/>
                <a:gd name="connsiteX2" fmla="*/ 7443 w 34394"/>
                <a:gd name="connsiteY2" fmla="*/ 25966 h 53087"/>
                <a:gd name="connsiteX3" fmla="*/ 2099 w 34394"/>
                <a:gd name="connsiteY3" fmla="*/ 15381 h 53087"/>
                <a:gd name="connsiteX4" fmla="*/ 83 w 34394"/>
                <a:gd name="connsiteY4" fmla="*/ 8727 h 53087"/>
                <a:gd name="connsiteX5" fmla="*/ 4922 w 34394"/>
                <a:gd name="connsiteY5" fmla="*/ 561 h 53087"/>
                <a:gd name="connsiteX6" fmla="*/ 13593 w 34394"/>
                <a:gd name="connsiteY6" fmla="*/ 1770 h 53087"/>
                <a:gd name="connsiteX7" fmla="*/ 18633 w 34394"/>
                <a:gd name="connsiteY7" fmla="*/ 6509 h 53087"/>
                <a:gd name="connsiteX8" fmla="*/ 25590 w 34394"/>
                <a:gd name="connsiteY8" fmla="*/ 16187 h 53087"/>
                <a:gd name="connsiteX9" fmla="*/ 32849 w 34394"/>
                <a:gd name="connsiteY9" fmla="*/ 34838 h 53087"/>
                <a:gd name="connsiteX10" fmla="*/ 33050 w 34394"/>
                <a:gd name="connsiteY10" fmla="*/ 53086 h 53087"/>
                <a:gd name="connsiteX11" fmla="*/ 28715 w 34394"/>
                <a:gd name="connsiteY11" fmla="*/ 35947 h 53087"/>
                <a:gd name="connsiteX12" fmla="*/ 20751 w 34394"/>
                <a:gd name="connsiteY12" fmla="*/ 19111 h 53087"/>
                <a:gd name="connsiteX13" fmla="*/ 14097 w 34394"/>
                <a:gd name="connsiteY13" fmla="*/ 10440 h 53087"/>
                <a:gd name="connsiteX14" fmla="*/ 7140 w 34394"/>
                <a:gd name="connsiteY14" fmla="*/ 6307 h 53087"/>
                <a:gd name="connsiteX15" fmla="*/ 6334 w 34394"/>
                <a:gd name="connsiteY15" fmla="*/ 8223 h 53087"/>
                <a:gd name="connsiteX16" fmla="*/ 7846 w 34394"/>
                <a:gd name="connsiteY16" fmla="*/ 13062 h 53087"/>
                <a:gd name="connsiteX17" fmla="*/ 12484 w 34394"/>
                <a:gd name="connsiteY17" fmla="*/ 23144 h 53087"/>
                <a:gd name="connsiteX18" fmla="*/ 22868 w 34394"/>
                <a:gd name="connsiteY18" fmla="*/ 38871 h 53087"/>
                <a:gd name="connsiteX19" fmla="*/ 34361 w 34394"/>
                <a:gd name="connsiteY19" fmla="*/ 52381 h 5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394" h="53087">
                  <a:moveTo>
                    <a:pt x="34361" y="52381"/>
                  </a:moveTo>
                  <a:cubicBezTo>
                    <a:pt x="33958" y="52985"/>
                    <a:pt x="27606" y="49860"/>
                    <a:pt x="19541" y="41795"/>
                  </a:cubicBezTo>
                  <a:cubicBezTo>
                    <a:pt x="15508" y="37762"/>
                    <a:pt x="11274" y="32520"/>
                    <a:pt x="7443" y="25966"/>
                  </a:cubicBezTo>
                  <a:cubicBezTo>
                    <a:pt x="5527" y="22740"/>
                    <a:pt x="3712" y="19212"/>
                    <a:pt x="2099" y="15381"/>
                  </a:cubicBezTo>
                  <a:cubicBezTo>
                    <a:pt x="1394" y="13566"/>
                    <a:pt x="385" y="11449"/>
                    <a:pt x="83" y="8727"/>
                  </a:cubicBezTo>
                  <a:cubicBezTo>
                    <a:pt x="-421" y="6105"/>
                    <a:pt x="1394" y="1569"/>
                    <a:pt x="4922" y="561"/>
                  </a:cubicBezTo>
                  <a:cubicBezTo>
                    <a:pt x="8048" y="-649"/>
                    <a:pt x="11475" y="258"/>
                    <a:pt x="13593" y="1770"/>
                  </a:cubicBezTo>
                  <a:cubicBezTo>
                    <a:pt x="15810" y="3283"/>
                    <a:pt x="17323" y="4997"/>
                    <a:pt x="18633" y="6509"/>
                  </a:cubicBezTo>
                  <a:cubicBezTo>
                    <a:pt x="21355" y="9634"/>
                    <a:pt x="23674" y="12961"/>
                    <a:pt x="25590" y="16187"/>
                  </a:cubicBezTo>
                  <a:cubicBezTo>
                    <a:pt x="29421" y="22740"/>
                    <a:pt x="31740" y="29293"/>
                    <a:pt x="32849" y="34838"/>
                  </a:cubicBezTo>
                  <a:cubicBezTo>
                    <a:pt x="35167" y="46130"/>
                    <a:pt x="33655" y="53187"/>
                    <a:pt x="33050" y="53086"/>
                  </a:cubicBezTo>
                  <a:cubicBezTo>
                    <a:pt x="32042" y="53086"/>
                    <a:pt x="31941" y="46231"/>
                    <a:pt x="28715" y="35947"/>
                  </a:cubicBezTo>
                  <a:cubicBezTo>
                    <a:pt x="27102" y="30906"/>
                    <a:pt x="24582" y="24958"/>
                    <a:pt x="20751" y="19111"/>
                  </a:cubicBezTo>
                  <a:cubicBezTo>
                    <a:pt x="18835" y="16187"/>
                    <a:pt x="16617" y="13263"/>
                    <a:pt x="14097" y="10440"/>
                  </a:cubicBezTo>
                  <a:cubicBezTo>
                    <a:pt x="11576" y="7416"/>
                    <a:pt x="8854" y="5501"/>
                    <a:pt x="7140" y="6307"/>
                  </a:cubicBezTo>
                  <a:cubicBezTo>
                    <a:pt x="6434" y="6609"/>
                    <a:pt x="6233" y="6811"/>
                    <a:pt x="6334" y="8223"/>
                  </a:cubicBezTo>
                  <a:cubicBezTo>
                    <a:pt x="6434" y="9533"/>
                    <a:pt x="7140" y="11247"/>
                    <a:pt x="7846" y="13062"/>
                  </a:cubicBezTo>
                  <a:cubicBezTo>
                    <a:pt x="9257" y="16591"/>
                    <a:pt x="10870" y="20018"/>
                    <a:pt x="12484" y="23144"/>
                  </a:cubicBezTo>
                  <a:cubicBezTo>
                    <a:pt x="15810" y="29394"/>
                    <a:pt x="19541" y="34637"/>
                    <a:pt x="22868" y="38871"/>
                  </a:cubicBezTo>
                  <a:cubicBezTo>
                    <a:pt x="29622" y="47239"/>
                    <a:pt x="34865" y="51574"/>
                    <a:pt x="34361" y="5238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BE3F4A4-CF1C-42D1-96A0-142556FC2D70}"/>
                </a:ext>
              </a:extLst>
            </p:cNvPr>
            <p:cNvSpPr/>
            <p:nvPr/>
          </p:nvSpPr>
          <p:spPr>
            <a:xfrm>
              <a:off x="8282080" y="5752371"/>
              <a:ext cx="48489" cy="40794"/>
            </a:xfrm>
            <a:custGeom>
              <a:avLst/>
              <a:gdLst>
                <a:gd name="connsiteX0" fmla="*/ 212 w 48489"/>
                <a:gd name="connsiteY0" fmla="*/ 40777 h 40794"/>
                <a:gd name="connsiteX1" fmla="*/ 6463 w 48489"/>
                <a:gd name="connsiteY1" fmla="*/ 23638 h 40794"/>
                <a:gd name="connsiteX2" fmla="*/ 20073 w 48489"/>
                <a:gd name="connsiteY2" fmla="*/ 8818 h 40794"/>
                <a:gd name="connsiteX3" fmla="*/ 30256 w 48489"/>
                <a:gd name="connsiteY3" fmla="*/ 2467 h 40794"/>
                <a:gd name="connsiteX4" fmla="*/ 45076 w 48489"/>
                <a:gd name="connsiteY4" fmla="*/ 1660 h 40794"/>
                <a:gd name="connsiteX5" fmla="*/ 48302 w 48489"/>
                <a:gd name="connsiteY5" fmla="*/ 10229 h 40794"/>
                <a:gd name="connsiteX6" fmla="*/ 45983 w 48489"/>
                <a:gd name="connsiteY6" fmla="*/ 16783 h 40794"/>
                <a:gd name="connsiteX7" fmla="*/ 38926 w 48489"/>
                <a:gd name="connsiteY7" fmla="*/ 26763 h 40794"/>
                <a:gd name="connsiteX8" fmla="*/ 21686 w 48489"/>
                <a:gd name="connsiteY8" fmla="*/ 37551 h 40794"/>
                <a:gd name="connsiteX9" fmla="*/ 3438 w 48489"/>
                <a:gd name="connsiteY9" fmla="*/ 37954 h 40794"/>
                <a:gd name="connsiteX10" fmla="*/ 20174 w 48489"/>
                <a:gd name="connsiteY10" fmla="*/ 33417 h 40794"/>
                <a:gd name="connsiteX11" fmla="*/ 34793 w 48489"/>
                <a:gd name="connsiteY11" fmla="*/ 22832 h 40794"/>
                <a:gd name="connsiteX12" fmla="*/ 40640 w 48489"/>
                <a:gd name="connsiteY12" fmla="*/ 14061 h 40794"/>
                <a:gd name="connsiteX13" fmla="*/ 41648 w 48489"/>
                <a:gd name="connsiteY13" fmla="*/ 6701 h 40794"/>
                <a:gd name="connsiteX14" fmla="*/ 32978 w 48489"/>
                <a:gd name="connsiteY14" fmla="*/ 7911 h 40794"/>
                <a:gd name="connsiteX15" fmla="*/ 23602 w 48489"/>
                <a:gd name="connsiteY15" fmla="*/ 13355 h 40794"/>
                <a:gd name="connsiteX16" fmla="*/ 10193 w 48489"/>
                <a:gd name="connsiteY16" fmla="*/ 26158 h 40794"/>
                <a:gd name="connsiteX17" fmla="*/ 212 w 48489"/>
                <a:gd name="connsiteY17" fmla="*/ 40777 h 4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489" h="40794">
                  <a:moveTo>
                    <a:pt x="212" y="40777"/>
                  </a:moveTo>
                  <a:cubicBezTo>
                    <a:pt x="-493" y="40676"/>
                    <a:pt x="313" y="33417"/>
                    <a:pt x="6463" y="23638"/>
                  </a:cubicBezTo>
                  <a:cubicBezTo>
                    <a:pt x="9487" y="18799"/>
                    <a:pt x="14024" y="13556"/>
                    <a:pt x="20073" y="8818"/>
                  </a:cubicBezTo>
                  <a:cubicBezTo>
                    <a:pt x="23098" y="6499"/>
                    <a:pt x="26526" y="4281"/>
                    <a:pt x="30256" y="2467"/>
                  </a:cubicBezTo>
                  <a:cubicBezTo>
                    <a:pt x="34087" y="753"/>
                    <a:pt x="38926" y="-1667"/>
                    <a:pt x="45076" y="1660"/>
                  </a:cubicBezTo>
                  <a:cubicBezTo>
                    <a:pt x="48100" y="3676"/>
                    <a:pt x="48907" y="7608"/>
                    <a:pt x="48302" y="10229"/>
                  </a:cubicBezTo>
                  <a:cubicBezTo>
                    <a:pt x="47899" y="12951"/>
                    <a:pt x="46790" y="14766"/>
                    <a:pt x="45983" y="16783"/>
                  </a:cubicBezTo>
                  <a:cubicBezTo>
                    <a:pt x="44068" y="20614"/>
                    <a:pt x="41547" y="23941"/>
                    <a:pt x="38926" y="26763"/>
                  </a:cubicBezTo>
                  <a:cubicBezTo>
                    <a:pt x="33482" y="32409"/>
                    <a:pt x="27231" y="35837"/>
                    <a:pt x="21686" y="37551"/>
                  </a:cubicBezTo>
                  <a:cubicBezTo>
                    <a:pt x="10395" y="41080"/>
                    <a:pt x="3136" y="38559"/>
                    <a:pt x="3438" y="37954"/>
                  </a:cubicBezTo>
                  <a:cubicBezTo>
                    <a:pt x="3438" y="36845"/>
                    <a:pt x="10496" y="37652"/>
                    <a:pt x="20174" y="33417"/>
                  </a:cubicBezTo>
                  <a:cubicBezTo>
                    <a:pt x="24912" y="31300"/>
                    <a:pt x="30256" y="27873"/>
                    <a:pt x="34793" y="22832"/>
                  </a:cubicBezTo>
                  <a:cubicBezTo>
                    <a:pt x="37011" y="20311"/>
                    <a:pt x="39027" y="17387"/>
                    <a:pt x="40640" y="14061"/>
                  </a:cubicBezTo>
                  <a:cubicBezTo>
                    <a:pt x="42455" y="10532"/>
                    <a:pt x="43060" y="7205"/>
                    <a:pt x="41648" y="6701"/>
                  </a:cubicBezTo>
                  <a:cubicBezTo>
                    <a:pt x="40237" y="5592"/>
                    <a:pt x="36002" y="6197"/>
                    <a:pt x="32978" y="7911"/>
                  </a:cubicBezTo>
                  <a:cubicBezTo>
                    <a:pt x="29550" y="9524"/>
                    <a:pt x="26425" y="11338"/>
                    <a:pt x="23602" y="13355"/>
                  </a:cubicBezTo>
                  <a:cubicBezTo>
                    <a:pt x="17956" y="17387"/>
                    <a:pt x="13520" y="21924"/>
                    <a:pt x="10193" y="26158"/>
                  </a:cubicBezTo>
                  <a:cubicBezTo>
                    <a:pt x="3438" y="34627"/>
                    <a:pt x="1220" y="41180"/>
                    <a:pt x="212" y="4077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2C62988-A355-47B4-B1EB-960B4864ABC1}"/>
                </a:ext>
              </a:extLst>
            </p:cNvPr>
            <p:cNvSpPr/>
            <p:nvPr/>
          </p:nvSpPr>
          <p:spPr>
            <a:xfrm>
              <a:off x="9011806" y="5808876"/>
              <a:ext cx="363345" cy="270996"/>
            </a:xfrm>
            <a:custGeom>
              <a:avLst/>
              <a:gdLst>
                <a:gd name="connsiteX0" fmla="*/ 238131 w 363345"/>
                <a:gd name="connsiteY0" fmla="*/ 0 h 270996"/>
                <a:gd name="connsiteX1" fmla="*/ 172398 w 363345"/>
                <a:gd name="connsiteY1" fmla="*/ 165240 h 270996"/>
                <a:gd name="connsiteX2" fmla="*/ 363346 w 363345"/>
                <a:gd name="connsiteY2" fmla="*/ 268073 h 270996"/>
                <a:gd name="connsiteX3" fmla="*/ 0 w 363345"/>
                <a:gd name="connsiteY3" fmla="*/ 270997 h 270996"/>
                <a:gd name="connsiteX4" fmla="*/ 56659 w 363345"/>
                <a:gd name="connsiteY4" fmla="*/ 1008 h 270996"/>
                <a:gd name="connsiteX5" fmla="*/ 238131 w 363345"/>
                <a:gd name="connsiteY5" fmla="*/ 0 h 27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345" h="270996">
                  <a:moveTo>
                    <a:pt x="238131" y="0"/>
                  </a:moveTo>
                  <a:lnTo>
                    <a:pt x="172398" y="165240"/>
                  </a:lnTo>
                  <a:cubicBezTo>
                    <a:pt x="172398" y="165240"/>
                    <a:pt x="360926" y="233392"/>
                    <a:pt x="363346" y="268073"/>
                  </a:cubicBezTo>
                  <a:lnTo>
                    <a:pt x="0" y="270997"/>
                  </a:lnTo>
                  <a:lnTo>
                    <a:pt x="56659" y="1008"/>
                  </a:lnTo>
                  <a:lnTo>
                    <a:pt x="238131" y="0"/>
                  </a:ln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E726157-D992-4E3F-B462-A87C7FC77BB4}"/>
                </a:ext>
              </a:extLst>
            </p:cNvPr>
            <p:cNvSpPr/>
            <p:nvPr/>
          </p:nvSpPr>
          <p:spPr>
            <a:xfrm>
              <a:off x="9061359" y="5958579"/>
              <a:ext cx="28256" cy="28213"/>
            </a:xfrm>
            <a:custGeom>
              <a:avLst/>
              <a:gdLst>
                <a:gd name="connsiteX0" fmla="*/ 10434 w 28256"/>
                <a:gd name="connsiteY0" fmla="*/ 615 h 28213"/>
                <a:gd name="connsiteX1" fmla="*/ 352 w 28256"/>
                <a:gd name="connsiteY1" fmla="*/ 17653 h 28213"/>
                <a:gd name="connsiteX2" fmla="*/ 17088 w 28256"/>
                <a:gd name="connsiteY2" fmla="*/ 27836 h 28213"/>
                <a:gd name="connsiteX3" fmla="*/ 27673 w 28256"/>
                <a:gd name="connsiteY3" fmla="*/ 9789 h 28213"/>
                <a:gd name="connsiteX4" fmla="*/ 9022 w 28256"/>
                <a:gd name="connsiteY4" fmla="*/ 1119 h 2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56" h="28213">
                  <a:moveTo>
                    <a:pt x="10434" y="615"/>
                  </a:moveTo>
                  <a:cubicBezTo>
                    <a:pt x="3376" y="2631"/>
                    <a:pt x="-1362" y="10495"/>
                    <a:pt x="352" y="17653"/>
                  </a:cubicBezTo>
                  <a:cubicBezTo>
                    <a:pt x="2066" y="24710"/>
                    <a:pt x="10030" y="29650"/>
                    <a:pt x="17088" y="27836"/>
                  </a:cubicBezTo>
                  <a:cubicBezTo>
                    <a:pt x="24145" y="26021"/>
                    <a:pt x="30194" y="16645"/>
                    <a:pt x="27673" y="9789"/>
                  </a:cubicBezTo>
                  <a:cubicBezTo>
                    <a:pt x="25153" y="2934"/>
                    <a:pt x="15474" y="-2409"/>
                    <a:pt x="9022" y="1119"/>
                  </a:cubicBezTo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69DDA34-C96D-46F6-9768-939234014ABE}"/>
                </a:ext>
              </a:extLst>
            </p:cNvPr>
            <p:cNvSpPr/>
            <p:nvPr/>
          </p:nvSpPr>
          <p:spPr>
            <a:xfrm>
              <a:off x="9011806" y="6050535"/>
              <a:ext cx="363573" cy="29337"/>
            </a:xfrm>
            <a:custGeom>
              <a:avLst/>
              <a:gdLst>
                <a:gd name="connsiteX0" fmla="*/ 0 w 363573"/>
                <a:gd name="connsiteY0" fmla="*/ 29338 h 29337"/>
                <a:gd name="connsiteX1" fmla="*/ 6150 w 363573"/>
                <a:gd name="connsiteY1" fmla="*/ 0 h 29337"/>
                <a:gd name="connsiteX2" fmla="*/ 348929 w 363573"/>
                <a:gd name="connsiteY2" fmla="*/ 8065 h 29337"/>
                <a:gd name="connsiteX3" fmla="*/ 363446 w 363573"/>
                <a:gd name="connsiteY3" fmla="*/ 26414 h 29337"/>
                <a:gd name="connsiteX4" fmla="*/ 0 w 363573"/>
                <a:gd name="connsiteY4" fmla="*/ 29338 h 2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3573" h="29337">
                  <a:moveTo>
                    <a:pt x="0" y="29338"/>
                  </a:moveTo>
                  <a:lnTo>
                    <a:pt x="6150" y="0"/>
                  </a:lnTo>
                  <a:lnTo>
                    <a:pt x="348929" y="8065"/>
                  </a:lnTo>
                  <a:cubicBezTo>
                    <a:pt x="348929" y="8065"/>
                    <a:pt x="365160" y="15022"/>
                    <a:pt x="363446" y="26414"/>
                  </a:cubicBezTo>
                  <a:lnTo>
                    <a:pt x="0" y="29338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84058D6-958B-4E02-BDD1-00C69C1B7BFC}"/>
                </a:ext>
              </a:extLst>
            </p:cNvPr>
            <p:cNvSpPr/>
            <p:nvPr/>
          </p:nvSpPr>
          <p:spPr>
            <a:xfrm>
              <a:off x="9157142" y="5970555"/>
              <a:ext cx="33020" cy="22760"/>
            </a:xfrm>
            <a:custGeom>
              <a:avLst/>
              <a:gdLst>
                <a:gd name="connsiteX0" fmla="*/ 33010 w 33020"/>
                <a:gd name="connsiteY0" fmla="*/ 1645 h 22760"/>
                <a:gd name="connsiteX1" fmla="*/ 15367 w 33020"/>
                <a:gd name="connsiteY1" fmla="*/ 10113 h 22760"/>
                <a:gd name="connsiteX2" fmla="*/ 446 w 33020"/>
                <a:gd name="connsiteY2" fmla="*/ 22715 h 22760"/>
                <a:gd name="connsiteX3" fmla="*/ 12040 w 33020"/>
                <a:gd name="connsiteY3" fmla="*/ 4972 h 22760"/>
                <a:gd name="connsiteX4" fmla="*/ 33010 w 33020"/>
                <a:gd name="connsiteY4" fmla="*/ 1645 h 2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20" h="22760">
                  <a:moveTo>
                    <a:pt x="33010" y="1645"/>
                  </a:moveTo>
                  <a:cubicBezTo>
                    <a:pt x="33010" y="3459"/>
                    <a:pt x="24138" y="4266"/>
                    <a:pt x="15367" y="10113"/>
                  </a:cubicBezTo>
                  <a:cubicBezTo>
                    <a:pt x="6495" y="15658"/>
                    <a:pt x="2059" y="23421"/>
                    <a:pt x="446" y="22715"/>
                  </a:cubicBezTo>
                  <a:cubicBezTo>
                    <a:pt x="-1167" y="22413"/>
                    <a:pt x="1353" y="11726"/>
                    <a:pt x="12040" y="4972"/>
                  </a:cubicBezTo>
                  <a:cubicBezTo>
                    <a:pt x="22626" y="-2086"/>
                    <a:pt x="33413" y="-69"/>
                    <a:pt x="33010" y="1645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49C483-14DB-4C07-AA07-5ABC71E1E819}"/>
                </a:ext>
              </a:extLst>
            </p:cNvPr>
            <p:cNvSpPr/>
            <p:nvPr/>
          </p:nvSpPr>
          <p:spPr>
            <a:xfrm>
              <a:off x="9204464" y="5986904"/>
              <a:ext cx="23913" cy="28452"/>
            </a:xfrm>
            <a:custGeom>
              <a:avLst/>
              <a:gdLst>
                <a:gd name="connsiteX0" fmla="*/ 23898 w 23913"/>
                <a:gd name="connsiteY0" fmla="*/ 721 h 28452"/>
                <a:gd name="connsiteX1" fmla="*/ 10691 w 23913"/>
                <a:gd name="connsiteY1" fmla="*/ 13021 h 28452"/>
                <a:gd name="connsiteX2" fmla="*/ 1315 w 23913"/>
                <a:gd name="connsiteY2" fmla="*/ 28446 h 28452"/>
                <a:gd name="connsiteX3" fmla="*/ 5952 w 23913"/>
                <a:gd name="connsiteY3" fmla="*/ 9089 h 28452"/>
                <a:gd name="connsiteX4" fmla="*/ 23898 w 23913"/>
                <a:gd name="connsiteY4" fmla="*/ 721 h 28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3" h="28452">
                  <a:moveTo>
                    <a:pt x="23898" y="721"/>
                  </a:moveTo>
                  <a:cubicBezTo>
                    <a:pt x="24301" y="2435"/>
                    <a:pt x="16639" y="5560"/>
                    <a:pt x="10691" y="13021"/>
                  </a:cubicBezTo>
                  <a:cubicBezTo>
                    <a:pt x="4541" y="20380"/>
                    <a:pt x="3029" y="28547"/>
                    <a:pt x="1315" y="28446"/>
                  </a:cubicBezTo>
                  <a:cubicBezTo>
                    <a:pt x="-399" y="28748"/>
                    <a:pt x="-1710" y="18364"/>
                    <a:pt x="5952" y="9089"/>
                  </a:cubicBezTo>
                  <a:cubicBezTo>
                    <a:pt x="13413" y="-186"/>
                    <a:pt x="23898" y="-993"/>
                    <a:pt x="23898" y="72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27AD52D-6DB4-4EEF-892C-A215F27D0C31}"/>
                </a:ext>
              </a:extLst>
            </p:cNvPr>
            <p:cNvSpPr/>
            <p:nvPr/>
          </p:nvSpPr>
          <p:spPr>
            <a:xfrm>
              <a:off x="9248253" y="6002333"/>
              <a:ext cx="16124" cy="30773"/>
            </a:xfrm>
            <a:custGeom>
              <a:avLst/>
              <a:gdLst>
                <a:gd name="connsiteX0" fmla="*/ 2188 w 16124"/>
                <a:gd name="connsiteY0" fmla="*/ 30761 h 30773"/>
                <a:gd name="connsiteX1" fmla="*/ 2491 w 16124"/>
                <a:gd name="connsiteY1" fmla="*/ 12513 h 30773"/>
                <a:gd name="connsiteX2" fmla="*/ 16000 w 16124"/>
                <a:gd name="connsiteY2" fmla="*/ 314 h 30773"/>
                <a:gd name="connsiteX3" fmla="*/ 8136 w 16124"/>
                <a:gd name="connsiteY3" fmla="*/ 15134 h 30773"/>
                <a:gd name="connsiteX4" fmla="*/ 2188 w 16124"/>
                <a:gd name="connsiteY4" fmla="*/ 30761 h 30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24" h="30773">
                  <a:moveTo>
                    <a:pt x="2188" y="30761"/>
                  </a:moveTo>
                  <a:cubicBezTo>
                    <a:pt x="575" y="31164"/>
                    <a:pt x="-1945" y="22292"/>
                    <a:pt x="2491" y="12513"/>
                  </a:cubicBezTo>
                  <a:cubicBezTo>
                    <a:pt x="6927" y="2733"/>
                    <a:pt x="15194" y="-1198"/>
                    <a:pt x="16000" y="314"/>
                  </a:cubicBezTo>
                  <a:cubicBezTo>
                    <a:pt x="17008" y="1726"/>
                    <a:pt x="11665" y="7069"/>
                    <a:pt x="8136" y="15134"/>
                  </a:cubicBezTo>
                  <a:cubicBezTo>
                    <a:pt x="4305" y="22998"/>
                    <a:pt x="3902" y="30559"/>
                    <a:pt x="2188" y="3076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D1E14A8-328F-41CA-85EC-B55AEC9332F1}"/>
                </a:ext>
              </a:extLst>
            </p:cNvPr>
            <p:cNvSpPr/>
            <p:nvPr/>
          </p:nvSpPr>
          <p:spPr>
            <a:xfrm>
              <a:off x="9166370" y="5932196"/>
              <a:ext cx="37849" cy="9131"/>
            </a:xfrm>
            <a:custGeom>
              <a:avLst/>
              <a:gdLst>
                <a:gd name="connsiteX0" fmla="*/ 37796 w 37849"/>
                <a:gd name="connsiteY0" fmla="*/ 6230 h 9131"/>
                <a:gd name="connsiteX1" fmla="*/ 18842 w 37849"/>
                <a:gd name="connsiteY1" fmla="*/ 6230 h 9131"/>
                <a:gd name="connsiteX2" fmla="*/ 90 w 37849"/>
                <a:gd name="connsiteY2" fmla="*/ 8750 h 9131"/>
                <a:gd name="connsiteX3" fmla="*/ 18439 w 37849"/>
                <a:gd name="connsiteY3" fmla="*/ 80 h 9131"/>
                <a:gd name="connsiteX4" fmla="*/ 37796 w 37849"/>
                <a:gd name="connsiteY4" fmla="*/ 6230 h 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49" h="9131">
                  <a:moveTo>
                    <a:pt x="37796" y="6230"/>
                  </a:moveTo>
                  <a:cubicBezTo>
                    <a:pt x="37090" y="7843"/>
                    <a:pt x="28924" y="5423"/>
                    <a:pt x="18842" y="6230"/>
                  </a:cubicBezTo>
                  <a:cubicBezTo>
                    <a:pt x="8760" y="6835"/>
                    <a:pt x="997" y="10262"/>
                    <a:pt x="90" y="8750"/>
                  </a:cubicBezTo>
                  <a:cubicBezTo>
                    <a:pt x="-918" y="7439"/>
                    <a:pt x="6643" y="886"/>
                    <a:pt x="18439" y="80"/>
                  </a:cubicBezTo>
                  <a:cubicBezTo>
                    <a:pt x="30234" y="-727"/>
                    <a:pt x="38602" y="4818"/>
                    <a:pt x="37796" y="623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C793A16B-C64A-47EB-A914-297B9B51285A}"/>
                </a:ext>
              </a:extLst>
            </p:cNvPr>
            <p:cNvSpPr/>
            <p:nvPr/>
          </p:nvSpPr>
          <p:spPr>
            <a:xfrm>
              <a:off x="9152234" y="5887802"/>
              <a:ext cx="55460" cy="30404"/>
            </a:xfrm>
            <a:custGeom>
              <a:avLst/>
              <a:gdLst>
                <a:gd name="connsiteX0" fmla="*/ 55460 w 55460"/>
                <a:gd name="connsiteY0" fmla="*/ 28948 h 30404"/>
                <a:gd name="connsiteX1" fmla="*/ 37212 w 55460"/>
                <a:gd name="connsiteY1" fmla="*/ 29048 h 30404"/>
                <a:gd name="connsiteX2" fmla="*/ 18158 w 55460"/>
                <a:gd name="connsiteY2" fmla="*/ 23302 h 30404"/>
                <a:gd name="connsiteX3" fmla="*/ 7673 w 55460"/>
                <a:gd name="connsiteY3" fmla="*/ 17858 h 30404"/>
                <a:gd name="connsiteX4" fmla="*/ 2128 w 55460"/>
                <a:gd name="connsiteY4" fmla="*/ 13623 h 30404"/>
                <a:gd name="connsiteX5" fmla="*/ 1221 w 55460"/>
                <a:gd name="connsiteY5" fmla="*/ 4146 h 30404"/>
                <a:gd name="connsiteX6" fmla="*/ 8983 w 55460"/>
                <a:gd name="connsiteY6" fmla="*/ 13 h 30404"/>
                <a:gd name="connsiteX7" fmla="*/ 15839 w 55460"/>
                <a:gd name="connsiteY7" fmla="*/ 921 h 30404"/>
                <a:gd name="connsiteX8" fmla="*/ 27231 w 55460"/>
                <a:gd name="connsiteY8" fmla="*/ 4751 h 30404"/>
                <a:gd name="connsiteX9" fmla="*/ 44068 w 55460"/>
                <a:gd name="connsiteY9" fmla="*/ 15640 h 30404"/>
                <a:gd name="connsiteX10" fmla="*/ 54855 w 55460"/>
                <a:gd name="connsiteY10" fmla="*/ 30359 h 30404"/>
                <a:gd name="connsiteX11" fmla="*/ 41245 w 55460"/>
                <a:gd name="connsiteY11" fmla="*/ 19068 h 30404"/>
                <a:gd name="connsiteX12" fmla="*/ 24913 w 55460"/>
                <a:gd name="connsiteY12" fmla="*/ 10095 h 30404"/>
                <a:gd name="connsiteX13" fmla="*/ 14428 w 55460"/>
                <a:gd name="connsiteY13" fmla="*/ 6969 h 30404"/>
                <a:gd name="connsiteX14" fmla="*/ 6362 w 55460"/>
                <a:gd name="connsiteY14" fmla="*/ 7675 h 30404"/>
                <a:gd name="connsiteX15" fmla="*/ 6765 w 55460"/>
                <a:gd name="connsiteY15" fmla="*/ 9692 h 30404"/>
                <a:gd name="connsiteX16" fmla="*/ 10798 w 55460"/>
                <a:gd name="connsiteY16" fmla="*/ 12817 h 30404"/>
                <a:gd name="connsiteX17" fmla="*/ 20477 w 55460"/>
                <a:gd name="connsiteY17" fmla="*/ 18261 h 30404"/>
                <a:gd name="connsiteX18" fmla="*/ 38120 w 55460"/>
                <a:gd name="connsiteY18" fmla="*/ 24814 h 30404"/>
                <a:gd name="connsiteX19" fmla="*/ 55460 w 55460"/>
                <a:gd name="connsiteY19" fmla="*/ 28948 h 3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5460" h="30404">
                  <a:moveTo>
                    <a:pt x="55460" y="28948"/>
                  </a:moveTo>
                  <a:cubicBezTo>
                    <a:pt x="55460" y="29653"/>
                    <a:pt x="48504" y="30863"/>
                    <a:pt x="37212" y="29048"/>
                  </a:cubicBezTo>
                  <a:cubicBezTo>
                    <a:pt x="31667" y="28141"/>
                    <a:pt x="25013" y="26326"/>
                    <a:pt x="18158" y="23302"/>
                  </a:cubicBezTo>
                  <a:cubicBezTo>
                    <a:pt x="14730" y="21790"/>
                    <a:pt x="11201" y="19975"/>
                    <a:pt x="7673" y="17858"/>
                  </a:cubicBezTo>
                  <a:cubicBezTo>
                    <a:pt x="5959" y="16749"/>
                    <a:pt x="4043" y="15741"/>
                    <a:pt x="2128" y="13623"/>
                  </a:cubicBezTo>
                  <a:cubicBezTo>
                    <a:pt x="112" y="11809"/>
                    <a:pt x="-997" y="7070"/>
                    <a:pt x="1221" y="4146"/>
                  </a:cubicBezTo>
                  <a:cubicBezTo>
                    <a:pt x="3035" y="1324"/>
                    <a:pt x="6362" y="114"/>
                    <a:pt x="8983" y="13"/>
                  </a:cubicBezTo>
                  <a:cubicBezTo>
                    <a:pt x="11705" y="-88"/>
                    <a:pt x="13823" y="416"/>
                    <a:pt x="15839" y="921"/>
                  </a:cubicBezTo>
                  <a:cubicBezTo>
                    <a:pt x="19872" y="1828"/>
                    <a:pt x="23703" y="3139"/>
                    <a:pt x="27231" y="4751"/>
                  </a:cubicBezTo>
                  <a:cubicBezTo>
                    <a:pt x="34188" y="7877"/>
                    <a:pt x="39833" y="11809"/>
                    <a:pt x="44068" y="15640"/>
                  </a:cubicBezTo>
                  <a:cubicBezTo>
                    <a:pt x="52536" y="23403"/>
                    <a:pt x="55460" y="29956"/>
                    <a:pt x="54855" y="30359"/>
                  </a:cubicBezTo>
                  <a:cubicBezTo>
                    <a:pt x="54049" y="30964"/>
                    <a:pt x="49915" y="25419"/>
                    <a:pt x="41245" y="19068"/>
                  </a:cubicBezTo>
                  <a:cubicBezTo>
                    <a:pt x="36910" y="15942"/>
                    <a:pt x="31466" y="12615"/>
                    <a:pt x="24913" y="10095"/>
                  </a:cubicBezTo>
                  <a:cubicBezTo>
                    <a:pt x="21686" y="8784"/>
                    <a:pt x="18158" y="7776"/>
                    <a:pt x="14428" y="6969"/>
                  </a:cubicBezTo>
                  <a:cubicBezTo>
                    <a:pt x="10597" y="5961"/>
                    <a:pt x="7270" y="5961"/>
                    <a:pt x="6362" y="7675"/>
                  </a:cubicBezTo>
                  <a:cubicBezTo>
                    <a:pt x="6060" y="8381"/>
                    <a:pt x="5959" y="8582"/>
                    <a:pt x="6765" y="9692"/>
                  </a:cubicBezTo>
                  <a:cubicBezTo>
                    <a:pt x="7572" y="10700"/>
                    <a:pt x="9185" y="11708"/>
                    <a:pt x="10798" y="12817"/>
                  </a:cubicBezTo>
                  <a:cubicBezTo>
                    <a:pt x="14024" y="14934"/>
                    <a:pt x="17250" y="16648"/>
                    <a:pt x="20477" y="18261"/>
                  </a:cubicBezTo>
                  <a:cubicBezTo>
                    <a:pt x="26828" y="21386"/>
                    <a:pt x="32877" y="23504"/>
                    <a:pt x="38120" y="24814"/>
                  </a:cubicBezTo>
                  <a:cubicBezTo>
                    <a:pt x="48605" y="27536"/>
                    <a:pt x="55460" y="27940"/>
                    <a:pt x="55460" y="2894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F889D890-E9DA-4AAD-9983-5CF2BF1801DD}"/>
                </a:ext>
              </a:extLst>
            </p:cNvPr>
            <p:cNvSpPr/>
            <p:nvPr/>
          </p:nvSpPr>
          <p:spPr>
            <a:xfrm>
              <a:off x="9202170" y="5858871"/>
              <a:ext cx="28549" cy="57889"/>
            </a:xfrm>
            <a:custGeom>
              <a:avLst/>
              <a:gdLst>
                <a:gd name="connsiteX0" fmla="*/ 5020 w 28549"/>
                <a:gd name="connsiteY0" fmla="*/ 57880 h 57889"/>
                <a:gd name="connsiteX1" fmla="*/ 80 w 28549"/>
                <a:gd name="connsiteY1" fmla="*/ 40337 h 57889"/>
                <a:gd name="connsiteX2" fmla="*/ 2399 w 28549"/>
                <a:gd name="connsiteY2" fmla="*/ 20375 h 57889"/>
                <a:gd name="connsiteX3" fmla="*/ 6936 w 28549"/>
                <a:gd name="connsiteY3" fmla="*/ 9286 h 57889"/>
                <a:gd name="connsiteX4" fmla="*/ 18429 w 28549"/>
                <a:gd name="connsiteY4" fmla="*/ 10 h 57889"/>
                <a:gd name="connsiteX5" fmla="*/ 26091 w 28549"/>
                <a:gd name="connsiteY5" fmla="*/ 5051 h 57889"/>
                <a:gd name="connsiteX6" fmla="*/ 28007 w 28549"/>
                <a:gd name="connsiteY6" fmla="*/ 11705 h 57889"/>
                <a:gd name="connsiteX7" fmla="*/ 28108 w 28549"/>
                <a:gd name="connsiteY7" fmla="*/ 24005 h 57889"/>
                <a:gd name="connsiteX8" fmla="*/ 20445 w 28549"/>
                <a:gd name="connsiteY8" fmla="*/ 42858 h 57889"/>
                <a:gd name="connsiteX9" fmla="*/ 5928 w 28549"/>
                <a:gd name="connsiteY9" fmla="*/ 53948 h 57889"/>
                <a:gd name="connsiteX10" fmla="*/ 16816 w 28549"/>
                <a:gd name="connsiteY10" fmla="*/ 40539 h 57889"/>
                <a:gd name="connsiteX11" fmla="*/ 22462 w 28549"/>
                <a:gd name="connsiteY11" fmla="*/ 23400 h 57889"/>
                <a:gd name="connsiteX12" fmla="*/ 22059 w 28549"/>
                <a:gd name="connsiteY12" fmla="*/ 12915 h 57889"/>
                <a:gd name="connsiteX13" fmla="*/ 18530 w 28549"/>
                <a:gd name="connsiteY13" fmla="*/ 6362 h 57889"/>
                <a:gd name="connsiteX14" fmla="*/ 12178 w 28549"/>
                <a:gd name="connsiteY14" fmla="*/ 12411 h 57889"/>
                <a:gd name="connsiteX15" fmla="*/ 7743 w 28549"/>
                <a:gd name="connsiteY15" fmla="*/ 22291 h 57889"/>
                <a:gd name="connsiteX16" fmla="*/ 4315 w 28549"/>
                <a:gd name="connsiteY16" fmla="*/ 40438 h 57889"/>
                <a:gd name="connsiteX17" fmla="*/ 5020 w 28549"/>
                <a:gd name="connsiteY17" fmla="*/ 57880 h 57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49" h="57889">
                  <a:moveTo>
                    <a:pt x="5020" y="57880"/>
                  </a:moveTo>
                  <a:cubicBezTo>
                    <a:pt x="4416" y="58182"/>
                    <a:pt x="786" y="51830"/>
                    <a:pt x="80" y="40337"/>
                  </a:cubicBezTo>
                  <a:cubicBezTo>
                    <a:pt x="-222" y="34591"/>
                    <a:pt x="282" y="27735"/>
                    <a:pt x="2399" y="20375"/>
                  </a:cubicBezTo>
                  <a:cubicBezTo>
                    <a:pt x="3508" y="16746"/>
                    <a:pt x="5020" y="13016"/>
                    <a:pt x="6936" y="9286"/>
                  </a:cubicBezTo>
                  <a:cubicBezTo>
                    <a:pt x="9053" y="5656"/>
                    <a:pt x="11574" y="817"/>
                    <a:pt x="18429" y="10"/>
                  </a:cubicBezTo>
                  <a:cubicBezTo>
                    <a:pt x="22059" y="-191"/>
                    <a:pt x="25083" y="2632"/>
                    <a:pt x="26091" y="5051"/>
                  </a:cubicBezTo>
                  <a:cubicBezTo>
                    <a:pt x="27301" y="7471"/>
                    <a:pt x="27604" y="9588"/>
                    <a:pt x="28007" y="11705"/>
                  </a:cubicBezTo>
                  <a:cubicBezTo>
                    <a:pt x="28713" y="15940"/>
                    <a:pt x="28713" y="20073"/>
                    <a:pt x="28108" y="24005"/>
                  </a:cubicBezTo>
                  <a:cubicBezTo>
                    <a:pt x="26999" y="31768"/>
                    <a:pt x="23873" y="38220"/>
                    <a:pt x="20445" y="42858"/>
                  </a:cubicBezTo>
                  <a:cubicBezTo>
                    <a:pt x="13388" y="52334"/>
                    <a:pt x="6029" y="54552"/>
                    <a:pt x="5928" y="53948"/>
                  </a:cubicBezTo>
                  <a:cubicBezTo>
                    <a:pt x="5323" y="53040"/>
                    <a:pt x="11473" y="49612"/>
                    <a:pt x="16816" y="40539"/>
                  </a:cubicBezTo>
                  <a:cubicBezTo>
                    <a:pt x="19437" y="36103"/>
                    <a:pt x="21756" y="30155"/>
                    <a:pt x="22462" y="23400"/>
                  </a:cubicBezTo>
                  <a:cubicBezTo>
                    <a:pt x="22764" y="20073"/>
                    <a:pt x="22663" y="16443"/>
                    <a:pt x="22059" y="12915"/>
                  </a:cubicBezTo>
                  <a:cubicBezTo>
                    <a:pt x="21454" y="9084"/>
                    <a:pt x="19941" y="5958"/>
                    <a:pt x="18530" y="6362"/>
                  </a:cubicBezTo>
                  <a:cubicBezTo>
                    <a:pt x="16715" y="6362"/>
                    <a:pt x="13691" y="9286"/>
                    <a:pt x="12178" y="12411"/>
                  </a:cubicBezTo>
                  <a:cubicBezTo>
                    <a:pt x="10364" y="15637"/>
                    <a:pt x="8852" y="19065"/>
                    <a:pt x="7743" y="22291"/>
                  </a:cubicBezTo>
                  <a:cubicBezTo>
                    <a:pt x="5525" y="28844"/>
                    <a:pt x="4617" y="35196"/>
                    <a:pt x="4315" y="40438"/>
                  </a:cubicBezTo>
                  <a:cubicBezTo>
                    <a:pt x="4012" y="50923"/>
                    <a:pt x="5928" y="57577"/>
                    <a:pt x="5020" y="5788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EE70955-64B8-4599-9591-7F171E497481}"/>
                </a:ext>
              </a:extLst>
            </p:cNvPr>
            <p:cNvSpPr/>
            <p:nvPr/>
          </p:nvSpPr>
          <p:spPr>
            <a:xfrm>
              <a:off x="9363155" y="2760664"/>
              <a:ext cx="429078" cy="859064"/>
            </a:xfrm>
            <a:custGeom>
              <a:avLst/>
              <a:gdLst>
                <a:gd name="connsiteX0" fmla="*/ 311828 w 429078"/>
                <a:gd name="connsiteY0" fmla="*/ 70471 h 859064"/>
                <a:gd name="connsiteX1" fmla="*/ 255975 w 429078"/>
                <a:gd name="connsiteY1" fmla="*/ 450351 h 859064"/>
                <a:gd name="connsiteX2" fmla="*/ 0 w 429078"/>
                <a:gd name="connsiteY2" fmla="*/ 695639 h 859064"/>
                <a:gd name="connsiteX3" fmla="*/ 94768 w 429078"/>
                <a:gd name="connsiteY3" fmla="*/ 859064 h 859064"/>
                <a:gd name="connsiteX4" fmla="*/ 385324 w 429078"/>
                <a:gd name="connsiteY4" fmla="*/ 587765 h 859064"/>
                <a:gd name="connsiteX5" fmla="*/ 428978 w 429078"/>
                <a:gd name="connsiteY5" fmla="*/ 520520 h 859064"/>
                <a:gd name="connsiteX6" fmla="*/ 429078 w 429078"/>
                <a:gd name="connsiteY6" fmla="*/ 127836 h 859064"/>
                <a:gd name="connsiteX7" fmla="*/ 427163 w 429078"/>
                <a:gd name="connsiteY7" fmla="*/ 0 h 859064"/>
                <a:gd name="connsiteX8" fmla="*/ 311828 w 429078"/>
                <a:gd name="connsiteY8" fmla="*/ 70471 h 85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9078" h="859064">
                  <a:moveTo>
                    <a:pt x="311828" y="70471"/>
                  </a:moveTo>
                  <a:lnTo>
                    <a:pt x="255975" y="450351"/>
                  </a:lnTo>
                  <a:lnTo>
                    <a:pt x="0" y="695639"/>
                  </a:lnTo>
                  <a:lnTo>
                    <a:pt x="94768" y="859064"/>
                  </a:lnTo>
                  <a:lnTo>
                    <a:pt x="385324" y="587765"/>
                  </a:lnTo>
                  <a:cubicBezTo>
                    <a:pt x="407302" y="571130"/>
                    <a:pt x="422727" y="547337"/>
                    <a:pt x="428978" y="520520"/>
                  </a:cubicBezTo>
                  <a:lnTo>
                    <a:pt x="429078" y="127836"/>
                  </a:lnTo>
                  <a:lnTo>
                    <a:pt x="427163" y="0"/>
                  </a:lnTo>
                  <a:lnTo>
                    <a:pt x="311828" y="70471"/>
                  </a:ln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7F076E0B-0443-4654-A522-98588995B560}"/>
                </a:ext>
              </a:extLst>
            </p:cNvPr>
            <p:cNvSpPr/>
            <p:nvPr/>
          </p:nvSpPr>
          <p:spPr>
            <a:xfrm>
              <a:off x="8121186" y="4321215"/>
              <a:ext cx="934072" cy="1499556"/>
            </a:xfrm>
            <a:custGeom>
              <a:avLst/>
              <a:gdLst>
                <a:gd name="connsiteX0" fmla="*/ 529190 w 934072"/>
                <a:gd name="connsiteY0" fmla="*/ 0 h 1499556"/>
                <a:gd name="connsiteX1" fmla="*/ 384215 w 934072"/>
                <a:gd name="connsiteY1" fmla="*/ 728909 h 1499556"/>
                <a:gd name="connsiteX2" fmla="*/ 0 w 934072"/>
                <a:gd name="connsiteY2" fmla="*/ 1354077 h 1499556"/>
                <a:gd name="connsiteX3" fmla="*/ 199719 w 934072"/>
                <a:gd name="connsiteY3" fmla="*/ 1499557 h 1499556"/>
                <a:gd name="connsiteX4" fmla="*/ 674468 w 934072"/>
                <a:gd name="connsiteY4" fmla="*/ 880942 h 1499556"/>
                <a:gd name="connsiteX5" fmla="*/ 934072 w 934072"/>
                <a:gd name="connsiteY5" fmla="*/ 94667 h 1499556"/>
                <a:gd name="connsiteX6" fmla="*/ 529190 w 934072"/>
                <a:gd name="connsiteY6" fmla="*/ 0 h 149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4072" h="1499556">
                  <a:moveTo>
                    <a:pt x="529190" y="0"/>
                  </a:moveTo>
                  <a:cubicBezTo>
                    <a:pt x="521730" y="14921"/>
                    <a:pt x="384215" y="728909"/>
                    <a:pt x="384215" y="728909"/>
                  </a:cubicBezTo>
                  <a:lnTo>
                    <a:pt x="0" y="1354077"/>
                  </a:lnTo>
                  <a:lnTo>
                    <a:pt x="199719" y="1499557"/>
                  </a:lnTo>
                  <a:lnTo>
                    <a:pt x="674468" y="880942"/>
                  </a:lnTo>
                  <a:lnTo>
                    <a:pt x="934072" y="94667"/>
                  </a:lnTo>
                  <a:lnTo>
                    <a:pt x="529190" y="0"/>
                  </a:ln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2ED7458-0537-417D-8797-446EC1FC8AE6}"/>
                </a:ext>
              </a:extLst>
            </p:cNvPr>
            <p:cNvSpPr/>
            <p:nvPr/>
          </p:nvSpPr>
          <p:spPr>
            <a:xfrm>
              <a:off x="8896975" y="4372834"/>
              <a:ext cx="576508" cy="1551578"/>
            </a:xfrm>
            <a:custGeom>
              <a:avLst/>
              <a:gdLst>
                <a:gd name="connsiteX0" fmla="*/ 275130 w 576508"/>
                <a:gd name="connsiteY0" fmla="*/ 22583 h 1551578"/>
                <a:gd name="connsiteX1" fmla="*/ 576473 w 576508"/>
                <a:gd name="connsiteY1" fmla="*/ 688078 h 1551578"/>
                <a:gd name="connsiteX2" fmla="*/ 351147 w 576508"/>
                <a:gd name="connsiteY2" fmla="*/ 1551578 h 1551578"/>
                <a:gd name="connsiteX3" fmla="*/ 125417 w 576508"/>
                <a:gd name="connsiteY3" fmla="*/ 1510042 h 1551578"/>
                <a:gd name="connsiteX4" fmla="*/ 265250 w 576508"/>
                <a:gd name="connsiteY4" fmla="*/ 711266 h 1551578"/>
                <a:gd name="connsiteX5" fmla="*/ 0 w 576508"/>
                <a:gd name="connsiteY5" fmla="*/ 338847 h 1551578"/>
                <a:gd name="connsiteX6" fmla="*/ 86602 w 576508"/>
                <a:gd name="connsiteY6" fmla="*/ 0 h 1551578"/>
                <a:gd name="connsiteX7" fmla="*/ 275130 w 576508"/>
                <a:gd name="connsiteY7" fmla="*/ 22583 h 1551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6508" h="1551578">
                  <a:moveTo>
                    <a:pt x="275130" y="22583"/>
                  </a:moveTo>
                  <a:cubicBezTo>
                    <a:pt x="286321" y="30044"/>
                    <a:pt x="580204" y="643315"/>
                    <a:pt x="576473" y="688078"/>
                  </a:cubicBezTo>
                  <a:cubicBezTo>
                    <a:pt x="572743" y="732841"/>
                    <a:pt x="351147" y="1551578"/>
                    <a:pt x="351147" y="1551578"/>
                  </a:cubicBezTo>
                  <a:lnTo>
                    <a:pt x="125417" y="1510042"/>
                  </a:lnTo>
                  <a:lnTo>
                    <a:pt x="265250" y="711266"/>
                  </a:lnTo>
                  <a:lnTo>
                    <a:pt x="0" y="338847"/>
                  </a:lnTo>
                  <a:lnTo>
                    <a:pt x="86602" y="0"/>
                  </a:lnTo>
                  <a:lnTo>
                    <a:pt x="275130" y="22583"/>
                  </a:ln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9A91BFC3-AFB8-4A73-A8EC-2EC992D90847}"/>
                </a:ext>
              </a:extLst>
            </p:cNvPr>
            <p:cNvSpPr/>
            <p:nvPr/>
          </p:nvSpPr>
          <p:spPr>
            <a:xfrm>
              <a:off x="9307100" y="3320906"/>
              <a:ext cx="311928" cy="367579"/>
            </a:xfrm>
            <a:custGeom>
              <a:avLst/>
              <a:gdLst>
                <a:gd name="connsiteX0" fmla="*/ 172902 w 311928"/>
                <a:gd name="connsiteY0" fmla="*/ 0 h 367579"/>
                <a:gd name="connsiteX1" fmla="*/ 27221 w 311928"/>
                <a:gd name="connsiteY1" fmla="*/ 120981 h 367579"/>
                <a:gd name="connsiteX2" fmla="*/ 0 w 311928"/>
                <a:gd name="connsiteY2" fmla="*/ 125215 h 367579"/>
                <a:gd name="connsiteX3" fmla="*/ 109689 w 311928"/>
                <a:gd name="connsiteY3" fmla="*/ 367580 h 367579"/>
                <a:gd name="connsiteX4" fmla="*/ 311929 w 311928"/>
                <a:gd name="connsiteY4" fmla="*/ 204256 h 36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928" h="367579">
                  <a:moveTo>
                    <a:pt x="172902" y="0"/>
                  </a:moveTo>
                  <a:lnTo>
                    <a:pt x="27221" y="120981"/>
                  </a:lnTo>
                  <a:lnTo>
                    <a:pt x="0" y="125215"/>
                  </a:lnTo>
                  <a:lnTo>
                    <a:pt x="109689" y="367580"/>
                  </a:lnTo>
                  <a:lnTo>
                    <a:pt x="311929" y="204256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71619E4-1EFF-4B44-8DFD-837DF569D0A7}"/>
                </a:ext>
              </a:extLst>
            </p:cNvPr>
            <p:cNvSpPr/>
            <p:nvPr/>
          </p:nvSpPr>
          <p:spPr>
            <a:xfrm>
              <a:off x="8643420" y="3430898"/>
              <a:ext cx="791920" cy="1096696"/>
            </a:xfrm>
            <a:custGeom>
              <a:avLst/>
              <a:gdLst>
                <a:gd name="connsiteX0" fmla="*/ 409117 w 791920"/>
                <a:gd name="connsiteY0" fmla="*/ 0 h 1096696"/>
                <a:gd name="connsiteX1" fmla="*/ 257790 w 791920"/>
                <a:gd name="connsiteY1" fmla="*/ 55450 h 1096696"/>
                <a:gd name="connsiteX2" fmla="*/ 178043 w 791920"/>
                <a:gd name="connsiteY2" fmla="*/ 223411 h 1096696"/>
                <a:gd name="connsiteX3" fmla="*/ 87207 w 791920"/>
                <a:gd name="connsiteY3" fmla="*/ 608130 h 1096696"/>
                <a:gd name="connsiteX4" fmla="*/ 0 w 791920"/>
                <a:gd name="connsiteY4" fmla="*/ 919857 h 1096696"/>
                <a:gd name="connsiteX5" fmla="*/ 610046 w 791920"/>
                <a:gd name="connsiteY5" fmla="*/ 1096187 h 1096696"/>
                <a:gd name="connsiteX6" fmla="*/ 638476 w 791920"/>
                <a:gd name="connsiteY6" fmla="*/ 828819 h 1096696"/>
                <a:gd name="connsiteX7" fmla="*/ 791920 w 791920"/>
                <a:gd name="connsiteY7" fmla="*/ 242466 h 1096696"/>
                <a:gd name="connsiteX8" fmla="*/ 674468 w 791920"/>
                <a:gd name="connsiteY8" fmla="*/ 17240 h 1096696"/>
                <a:gd name="connsiteX9" fmla="*/ 634746 w 791920"/>
                <a:gd name="connsiteY9" fmla="*/ 11896 h 1096696"/>
                <a:gd name="connsiteX10" fmla="*/ 409117 w 791920"/>
                <a:gd name="connsiteY10" fmla="*/ 0 h 109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1920" h="1096696">
                  <a:moveTo>
                    <a:pt x="409117" y="0"/>
                  </a:moveTo>
                  <a:lnTo>
                    <a:pt x="257790" y="55450"/>
                  </a:lnTo>
                  <a:lnTo>
                    <a:pt x="178043" y="223411"/>
                  </a:lnTo>
                  <a:cubicBezTo>
                    <a:pt x="174313" y="258092"/>
                    <a:pt x="87207" y="608130"/>
                    <a:pt x="87207" y="608130"/>
                  </a:cubicBezTo>
                  <a:lnTo>
                    <a:pt x="0" y="919857"/>
                  </a:lnTo>
                  <a:cubicBezTo>
                    <a:pt x="166953" y="996176"/>
                    <a:pt x="388348" y="1105058"/>
                    <a:pt x="610046" y="1096187"/>
                  </a:cubicBezTo>
                  <a:lnTo>
                    <a:pt x="638476" y="828819"/>
                  </a:lnTo>
                  <a:lnTo>
                    <a:pt x="791920" y="242466"/>
                  </a:lnTo>
                  <a:lnTo>
                    <a:pt x="674468" y="17240"/>
                  </a:lnTo>
                  <a:lnTo>
                    <a:pt x="634746" y="11896"/>
                  </a:lnTo>
                  <a:lnTo>
                    <a:pt x="409117" y="0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F897AED-16EE-4EBB-ACA1-227ABC345A0A}"/>
                </a:ext>
              </a:extLst>
            </p:cNvPr>
            <p:cNvSpPr/>
            <p:nvPr/>
          </p:nvSpPr>
          <p:spPr>
            <a:xfrm>
              <a:off x="9055158" y="2914062"/>
              <a:ext cx="372688" cy="634319"/>
            </a:xfrm>
            <a:custGeom>
              <a:avLst/>
              <a:gdLst>
                <a:gd name="connsiteX0" fmla="*/ 219379 w 372688"/>
                <a:gd name="connsiteY0" fmla="*/ 562606 h 634319"/>
                <a:gd name="connsiteX1" fmla="*/ 226637 w 372688"/>
                <a:gd name="connsiteY1" fmla="*/ 508467 h 634319"/>
                <a:gd name="connsiteX2" fmla="*/ 341468 w 372688"/>
                <a:gd name="connsiteY2" fmla="*/ 419244 h 634319"/>
                <a:gd name="connsiteX3" fmla="*/ 371613 w 372688"/>
                <a:gd name="connsiteY3" fmla="*/ 195631 h 634319"/>
                <a:gd name="connsiteX4" fmla="*/ 229763 w 372688"/>
                <a:gd name="connsiteY4" fmla="*/ 3171 h 634319"/>
                <a:gd name="connsiteX5" fmla="*/ 220790 w 372688"/>
                <a:gd name="connsiteY5" fmla="*/ 1457 h 634319"/>
                <a:gd name="connsiteX6" fmla="*/ 46981 w 372688"/>
                <a:gd name="connsiteY6" fmla="*/ 162261 h 634319"/>
                <a:gd name="connsiteX7" fmla="*/ 0 w 372688"/>
                <a:gd name="connsiteY7" fmla="*/ 520465 h 634319"/>
                <a:gd name="connsiteX8" fmla="*/ 143463 w 372688"/>
                <a:gd name="connsiteY8" fmla="*/ 627331 h 634319"/>
                <a:gd name="connsiteX9" fmla="*/ 219379 w 372688"/>
                <a:gd name="connsiteY9" fmla="*/ 562606 h 63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2688" h="634319">
                  <a:moveTo>
                    <a:pt x="219379" y="562606"/>
                  </a:moveTo>
                  <a:cubicBezTo>
                    <a:pt x="223008" y="534680"/>
                    <a:pt x="226133" y="511290"/>
                    <a:pt x="226637" y="508467"/>
                  </a:cubicBezTo>
                  <a:cubicBezTo>
                    <a:pt x="226637" y="508467"/>
                    <a:pt x="322414" y="511996"/>
                    <a:pt x="341468" y="419244"/>
                  </a:cubicBezTo>
                  <a:cubicBezTo>
                    <a:pt x="350743" y="374481"/>
                    <a:pt x="362237" y="280620"/>
                    <a:pt x="371613" y="195631"/>
                  </a:cubicBezTo>
                  <a:cubicBezTo>
                    <a:pt x="381694" y="104291"/>
                    <a:pt x="319893" y="20612"/>
                    <a:pt x="229763" y="3171"/>
                  </a:cubicBezTo>
                  <a:lnTo>
                    <a:pt x="220790" y="1457"/>
                  </a:lnTo>
                  <a:cubicBezTo>
                    <a:pt x="122997" y="-11548"/>
                    <a:pt x="57264" y="64165"/>
                    <a:pt x="46981" y="162261"/>
                  </a:cubicBezTo>
                  <a:lnTo>
                    <a:pt x="0" y="520465"/>
                  </a:lnTo>
                  <a:cubicBezTo>
                    <a:pt x="0" y="520465"/>
                    <a:pt x="90635" y="601320"/>
                    <a:pt x="143463" y="627331"/>
                  </a:cubicBezTo>
                  <a:cubicBezTo>
                    <a:pt x="211817" y="660903"/>
                    <a:pt x="219379" y="562606"/>
                    <a:pt x="219379" y="562606"/>
                  </a:cubicBez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B889423-5115-4D9A-9181-DCD1703C00FC}"/>
                </a:ext>
              </a:extLst>
            </p:cNvPr>
            <p:cNvSpPr/>
            <p:nvPr/>
          </p:nvSpPr>
          <p:spPr>
            <a:xfrm>
              <a:off x="9167670" y="3363350"/>
              <a:ext cx="114528" cy="81964"/>
            </a:xfrm>
            <a:custGeom>
              <a:avLst/>
              <a:gdLst>
                <a:gd name="connsiteX0" fmla="*/ 114528 w 114528"/>
                <a:gd name="connsiteY0" fmla="*/ 57869 h 81964"/>
                <a:gd name="connsiteX1" fmla="*/ 0 w 114528"/>
                <a:gd name="connsiteY1" fmla="*/ 0 h 81964"/>
                <a:gd name="connsiteX2" fmla="*/ 110092 w 114528"/>
                <a:gd name="connsiteY2" fmla="*/ 81964 h 81964"/>
                <a:gd name="connsiteX3" fmla="*/ 114528 w 114528"/>
                <a:gd name="connsiteY3" fmla="*/ 57869 h 8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28" h="81964">
                  <a:moveTo>
                    <a:pt x="114528" y="57869"/>
                  </a:moveTo>
                  <a:cubicBezTo>
                    <a:pt x="114528" y="57869"/>
                    <a:pt x="54845" y="51316"/>
                    <a:pt x="0" y="0"/>
                  </a:cubicBezTo>
                  <a:cubicBezTo>
                    <a:pt x="0" y="0"/>
                    <a:pt x="15727" y="72387"/>
                    <a:pt x="110092" y="81964"/>
                  </a:cubicBezTo>
                  <a:lnTo>
                    <a:pt x="114528" y="57869"/>
                  </a:ln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CB0DE7D-94EB-4B65-8908-DD8F3014CCA9}"/>
                </a:ext>
              </a:extLst>
            </p:cNvPr>
            <p:cNvSpPr/>
            <p:nvPr/>
          </p:nvSpPr>
          <p:spPr>
            <a:xfrm>
              <a:off x="9339751" y="3143330"/>
              <a:ext cx="64492" cy="14334"/>
            </a:xfrm>
            <a:custGeom>
              <a:avLst/>
              <a:gdLst>
                <a:gd name="connsiteX0" fmla="*/ 64235 w 64492"/>
                <a:gd name="connsiteY0" fmla="*/ 9917 h 14334"/>
                <a:gd name="connsiteX1" fmla="*/ 32276 w 64492"/>
                <a:gd name="connsiteY1" fmla="*/ 7296 h 14334"/>
                <a:gd name="connsiteX2" fmla="*/ 216 w 64492"/>
                <a:gd name="connsiteY2" fmla="*/ 14151 h 14334"/>
                <a:gd name="connsiteX3" fmla="*/ 6668 w 64492"/>
                <a:gd name="connsiteY3" fmla="*/ 7497 h 14334"/>
                <a:gd name="connsiteX4" fmla="*/ 32276 w 64492"/>
                <a:gd name="connsiteY4" fmla="*/ 137 h 14334"/>
                <a:gd name="connsiteX5" fmla="*/ 57783 w 64492"/>
                <a:gd name="connsiteY5" fmla="*/ 4069 h 14334"/>
                <a:gd name="connsiteX6" fmla="*/ 64235 w 64492"/>
                <a:gd name="connsiteY6" fmla="*/ 9917 h 1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492" h="14334">
                  <a:moveTo>
                    <a:pt x="64235" y="9917"/>
                  </a:moveTo>
                  <a:cubicBezTo>
                    <a:pt x="62319" y="11530"/>
                    <a:pt x="49717" y="6086"/>
                    <a:pt x="32276" y="7296"/>
                  </a:cubicBezTo>
                  <a:cubicBezTo>
                    <a:pt x="14834" y="8405"/>
                    <a:pt x="2232" y="15562"/>
                    <a:pt x="216" y="14151"/>
                  </a:cubicBezTo>
                  <a:cubicBezTo>
                    <a:pt x="-691" y="13546"/>
                    <a:pt x="1224" y="10723"/>
                    <a:pt x="6668" y="7497"/>
                  </a:cubicBezTo>
                  <a:cubicBezTo>
                    <a:pt x="12112" y="4271"/>
                    <a:pt x="21388" y="944"/>
                    <a:pt x="32276" y="137"/>
                  </a:cubicBezTo>
                  <a:cubicBezTo>
                    <a:pt x="43164" y="-568"/>
                    <a:pt x="52439" y="1549"/>
                    <a:pt x="57783" y="4069"/>
                  </a:cubicBezTo>
                  <a:cubicBezTo>
                    <a:pt x="63328" y="6590"/>
                    <a:pt x="65243" y="9211"/>
                    <a:pt x="64235" y="991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0C368485-62BC-4B9A-9A49-4FE817A10F50}"/>
                </a:ext>
              </a:extLst>
            </p:cNvPr>
            <p:cNvSpPr/>
            <p:nvPr/>
          </p:nvSpPr>
          <p:spPr>
            <a:xfrm>
              <a:off x="9198747" y="3113447"/>
              <a:ext cx="59614" cy="27517"/>
            </a:xfrm>
            <a:custGeom>
              <a:avLst/>
              <a:gdLst>
                <a:gd name="connsiteX0" fmla="*/ 59054 w 59614"/>
                <a:gd name="connsiteY0" fmla="*/ 27500 h 27517"/>
                <a:gd name="connsiteX1" fmla="*/ 31632 w 59614"/>
                <a:gd name="connsiteY1" fmla="*/ 11067 h 27517"/>
                <a:gd name="connsiteX2" fmla="*/ 76 w 59614"/>
                <a:gd name="connsiteY2" fmla="*/ 3001 h 27517"/>
                <a:gd name="connsiteX3" fmla="*/ 8746 w 59614"/>
                <a:gd name="connsiteY3" fmla="*/ 77 h 27517"/>
                <a:gd name="connsiteX4" fmla="*/ 34757 w 59614"/>
                <a:gd name="connsiteY4" fmla="*/ 4917 h 27517"/>
                <a:gd name="connsiteX5" fmla="*/ 55828 w 59614"/>
                <a:gd name="connsiteY5" fmla="*/ 19636 h 27517"/>
                <a:gd name="connsiteX6" fmla="*/ 59054 w 59614"/>
                <a:gd name="connsiteY6" fmla="*/ 27500 h 2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614" h="27517">
                  <a:moveTo>
                    <a:pt x="59054" y="27500"/>
                  </a:moveTo>
                  <a:cubicBezTo>
                    <a:pt x="56634" y="28004"/>
                    <a:pt x="47762" y="17720"/>
                    <a:pt x="31632" y="11067"/>
                  </a:cubicBezTo>
                  <a:cubicBezTo>
                    <a:pt x="15602" y="4312"/>
                    <a:pt x="1185" y="5017"/>
                    <a:pt x="76" y="3001"/>
                  </a:cubicBezTo>
                  <a:cubicBezTo>
                    <a:pt x="-529" y="2094"/>
                    <a:pt x="2495" y="481"/>
                    <a:pt x="8746" y="77"/>
                  </a:cubicBezTo>
                  <a:cubicBezTo>
                    <a:pt x="14997" y="-326"/>
                    <a:pt x="24776" y="783"/>
                    <a:pt x="34757" y="4917"/>
                  </a:cubicBezTo>
                  <a:cubicBezTo>
                    <a:pt x="44839" y="9050"/>
                    <a:pt x="52098" y="15099"/>
                    <a:pt x="55828" y="19636"/>
                  </a:cubicBezTo>
                  <a:cubicBezTo>
                    <a:pt x="59659" y="24274"/>
                    <a:pt x="60264" y="27298"/>
                    <a:pt x="59054" y="2750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634CB954-A0C6-4826-AEB7-3ABA83B5A71A}"/>
                </a:ext>
              </a:extLst>
            </p:cNvPr>
            <p:cNvSpPr/>
            <p:nvPr/>
          </p:nvSpPr>
          <p:spPr>
            <a:xfrm>
              <a:off x="9228234" y="3153644"/>
              <a:ext cx="20900" cy="19953"/>
            </a:xfrm>
            <a:custGeom>
              <a:avLst/>
              <a:gdLst>
                <a:gd name="connsiteX0" fmla="*/ 20795 w 20900"/>
                <a:gd name="connsiteY0" fmla="*/ 11399 h 19953"/>
                <a:gd name="connsiteX1" fmla="*/ 8899 w 20900"/>
                <a:gd name="connsiteY1" fmla="*/ 19868 h 19953"/>
                <a:gd name="connsiteX2" fmla="*/ 128 w 20900"/>
                <a:gd name="connsiteY2" fmla="*/ 8576 h 19953"/>
                <a:gd name="connsiteX3" fmla="*/ 12024 w 20900"/>
                <a:gd name="connsiteY3" fmla="*/ 107 h 19953"/>
                <a:gd name="connsiteX4" fmla="*/ 20795 w 20900"/>
                <a:gd name="connsiteY4" fmla="*/ 11399 h 19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0" h="19953">
                  <a:moveTo>
                    <a:pt x="20795" y="11399"/>
                  </a:moveTo>
                  <a:cubicBezTo>
                    <a:pt x="19989" y="16843"/>
                    <a:pt x="14645" y="20573"/>
                    <a:pt x="8899" y="19868"/>
                  </a:cubicBezTo>
                  <a:cubicBezTo>
                    <a:pt x="3253" y="19061"/>
                    <a:pt x="-780" y="14020"/>
                    <a:pt x="128" y="8576"/>
                  </a:cubicBezTo>
                  <a:cubicBezTo>
                    <a:pt x="934" y="3132"/>
                    <a:pt x="6278" y="-699"/>
                    <a:pt x="12024" y="107"/>
                  </a:cubicBezTo>
                  <a:cubicBezTo>
                    <a:pt x="17670" y="914"/>
                    <a:pt x="21602" y="5955"/>
                    <a:pt x="20795" y="1139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DFB4FD4-8152-4312-B579-8D1C50F33D75}"/>
                </a:ext>
              </a:extLst>
            </p:cNvPr>
            <p:cNvSpPr/>
            <p:nvPr/>
          </p:nvSpPr>
          <p:spPr>
            <a:xfrm>
              <a:off x="9369074" y="3178870"/>
              <a:ext cx="20927" cy="19931"/>
            </a:xfrm>
            <a:custGeom>
              <a:avLst/>
              <a:gdLst>
                <a:gd name="connsiteX0" fmla="*/ 20798 w 20927"/>
                <a:gd name="connsiteY0" fmla="*/ 11377 h 19931"/>
                <a:gd name="connsiteX1" fmla="*/ 8901 w 20927"/>
                <a:gd name="connsiteY1" fmla="*/ 19846 h 19931"/>
                <a:gd name="connsiteX2" fmla="*/ 130 w 20927"/>
                <a:gd name="connsiteY2" fmla="*/ 8554 h 19931"/>
                <a:gd name="connsiteX3" fmla="*/ 12027 w 20927"/>
                <a:gd name="connsiteY3" fmla="*/ 86 h 19931"/>
                <a:gd name="connsiteX4" fmla="*/ 20798 w 20927"/>
                <a:gd name="connsiteY4" fmla="*/ 11377 h 1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7" h="19931">
                  <a:moveTo>
                    <a:pt x="20798" y="11377"/>
                  </a:moveTo>
                  <a:cubicBezTo>
                    <a:pt x="19991" y="16821"/>
                    <a:pt x="14648" y="20552"/>
                    <a:pt x="8901" y="19846"/>
                  </a:cubicBezTo>
                  <a:cubicBezTo>
                    <a:pt x="3155" y="19039"/>
                    <a:pt x="-777" y="13998"/>
                    <a:pt x="130" y="8554"/>
                  </a:cubicBezTo>
                  <a:cubicBezTo>
                    <a:pt x="937" y="3110"/>
                    <a:pt x="6280" y="-620"/>
                    <a:pt x="12027" y="86"/>
                  </a:cubicBezTo>
                  <a:cubicBezTo>
                    <a:pt x="17773" y="892"/>
                    <a:pt x="21705" y="5933"/>
                    <a:pt x="20798" y="1137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555F3A3-0FC0-4759-9DF7-50439CA570E4}"/>
                </a:ext>
              </a:extLst>
            </p:cNvPr>
            <p:cNvSpPr/>
            <p:nvPr/>
          </p:nvSpPr>
          <p:spPr>
            <a:xfrm>
              <a:off x="9288549" y="3122596"/>
              <a:ext cx="38582" cy="125225"/>
            </a:xfrm>
            <a:custGeom>
              <a:avLst/>
              <a:gdLst>
                <a:gd name="connsiteX0" fmla="*/ 1 w 38582"/>
                <a:gd name="connsiteY0" fmla="*/ 120277 h 125225"/>
                <a:gd name="connsiteX1" fmla="*/ 23995 w 38582"/>
                <a:gd name="connsiteY1" fmla="*/ 120579 h 125225"/>
                <a:gd name="connsiteX2" fmla="*/ 32363 w 38582"/>
                <a:gd name="connsiteY2" fmla="*/ 118462 h 125225"/>
                <a:gd name="connsiteX3" fmla="*/ 32061 w 38582"/>
                <a:gd name="connsiteY3" fmla="*/ 107171 h 125225"/>
                <a:gd name="connsiteX4" fmla="*/ 26617 w 38582"/>
                <a:gd name="connsiteY4" fmla="*/ 77329 h 125225"/>
                <a:gd name="connsiteX5" fmla="*/ 16434 w 38582"/>
                <a:gd name="connsiteY5" fmla="*/ 2 h 125225"/>
                <a:gd name="connsiteX6" fmla="*/ 32766 w 38582"/>
                <a:gd name="connsiteY6" fmla="*/ 76321 h 125225"/>
                <a:gd name="connsiteX7" fmla="*/ 37706 w 38582"/>
                <a:gd name="connsiteY7" fmla="*/ 106263 h 125225"/>
                <a:gd name="connsiteX8" fmla="*/ 36799 w 38582"/>
                <a:gd name="connsiteY8" fmla="*/ 120983 h 125225"/>
                <a:gd name="connsiteX9" fmla="*/ 29742 w 38582"/>
                <a:gd name="connsiteY9" fmla="*/ 125116 h 125225"/>
                <a:gd name="connsiteX10" fmla="*/ 23390 w 38582"/>
                <a:gd name="connsiteY10" fmla="*/ 124814 h 125225"/>
                <a:gd name="connsiteX11" fmla="*/ 1 w 38582"/>
                <a:gd name="connsiteY11" fmla="*/ 120277 h 12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82" h="125225">
                  <a:moveTo>
                    <a:pt x="1" y="120277"/>
                  </a:moveTo>
                  <a:cubicBezTo>
                    <a:pt x="102" y="119470"/>
                    <a:pt x="9276" y="119672"/>
                    <a:pt x="23995" y="120579"/>
                  </a:cubicBezTo>
                  <a:cubicBezTo>
                    <a:pt x="27726" y="120882"/>
                    <a:pt x="31355" y="120882"/>
                    <a:pt x="32363" y="118462"/>
                  </a:cubicBezTo>
                  <a:cubicBezTo>
                    <a:pt x="33775" y="116043"/>
                    <a:pt x="32968" y="111808"/>
                    <a:pt x="32061" y="107171"/>
                  </a:cubicBezTo>
                  <a:cubicBezTo>
                    <a:pt x="30347" y="97694"/>
                    <a:pt x="28532" y="87713"/>
                    <a:pt x="26617" y="77329"/>
                  </a:cubicBezTo>
                  <a:cubicBezTo>
                    <a:pt x="19257" y="34885"/>
                    <a:pt x="14720" y="304"/>
                    <a:pt x="16434" y="2"/>
                  </a:cubicBezTo>
                  <a:cubicBezTo>
                    <a:pt x="18148" y="-300"/>
                    <a:pt x="25508" y="33877"/>
                    <a:pt x="32766" y="76321"/>
                  </a:cubicBezTo>
                  <a:cubicBezTo>
                    <a:pt x="34480" y="86806"/>
                    <a:pt x="36093" y="96686"/>
                    <a:pt x="37706" y="106263"/>
                  </a:cubicBezTo>
                  <a:cubicBezTo>
                    <a:pt x="38311" y="110699"/>
                    <a:pt x="39723" y="115841"/>
                    <a:pt x="36799" y="120983"/>
                  </a:cubicBezTo>
                  <a:cubicBezTo>
                    <a:pt x="35287" y="123503"/>
                    <a:pt x="32262" y="125015"/>
                    <a:pt x="29742" y="125116"/>
                  </a:cubicBezTo>
                  <a:cubicBezTo>
                    <a:pt x="27221" y="125419"/>
                    <a:pt x="25205" y="125015"/>
                    <a:pt x="23390" y="124814"/>
                  </a:cubicBezTo>
                  <a:cubicBezTo>
                    <a:pt x="8873" y="122797"/>
                    <a:pt x="-100" y="121084"/>
                    <a:pt x="1" y="12027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F0CD020-7961-4801-B7A3-1EE12241861B}"/>
                </a:ext>
              </a:extLst>
            </p:cNvPr>
            <p:cNvSpPr/>
            <p:nvPr/>
          </p:nvSpPr>
          <p:spPr>
            <a:xfrm>
              <a:off x="9203780" y="3053820"/>
              <a:ext cx="58856" cy="16718"/>
            </a:xfrm>
            <a:custGeom>
              <a:avLst/>
              <a:gdLst>
                <a:gd name="connsiteX0" fmla="*/ 58658 w 58856"/>
                <a:gd name="connsiteY0" fmla="*/ 15446 h 16718"/>
                <a:gd name="connsiteX1" fmla="*/ 29320 w 58856"/>
                <a:gd name="connsiteY1" fmla="*/ 13631 h 16718"/>
                <a:gd name="connsiteX2" fmla="*/ 83 w 58856"/>
                <a:gd name="connsiteY2" fmla="*/ 10909 h 16718"/>
                <a:gd name="connsiteX3" fmla="*/ 7745 w 58856"/>
                <a:gd name="connsiteY3" fmla="*/ 3751 h 16718"/>
                <a:gd name="connsiteX4" fmla="*/ 30530 w 58856"/>
                <a:gd name="connsiteY4" fmla="*/ 122 h 16718"/>
                <a:gd name="connsiteX5" fmla="*/ 52407 w 58856"/>
                <a:gd name="connsiteY5" fmla="*/ 7179 h 16718"/>
                <a:gd name="connsiteX6" fmla="*/ 58658 w 58856"/>
                <a:gd name="connsiteY6" fmla="*/ 15446 h 1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856" h="16718">
                  <a:moveTo>
                    <a:pt x="58658" y="15446"/>
                  </a:moveTo>
                  <a:cubicBezTo>
                    <a:pt x="56742" y="18773"/>
                    <a:pt x="44443" y="14640"/>
                    <a:pt x="29320" y="13631"/>
                  </a:cubicBezTo>
                  <a:cubicBezTo>
                    <a:pt x="14197" y="12321"/>
                    <a:pt x="1393" y="14438"/>
                    <a:pt x="83" y="10909"/>
                  </a:cubicBezTo>
                  <a:cubicBezTo>
                    <a:pt x="-522" y="9195"/>
                    <a:pt x="2200" y="6272"/>
                    <a:pt x="7745" y="3751"/>
                  </a:cubicBezTo>
                  <a:cubicBezTo>
                    <a:pt x="13189" y="1231"/>
                    <a:pt x="21456" y="-483"/>
                    <a:pt x="30530" y="122"/>
                  </a:cubicBezTo>
                  <a:cubicBezTo>
                    <a:pt x="39603" y="828"/>
                    <a:pt x="47467" y="3852"/>
                    <a:pt x="52407" y="7179"/>
                  </a:cubicBezTo>
                  <a:cubicBezTo>
                    <a:pt x="57347" y="10506"/>
                    <a:pt x="59565" y="13833"/>
                    <a:pt x="58658" y="1544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2E059DD-0B58-4996-AEC9-229242336CBB}"/>
                </a:ext>
              </a:extLst>
            </p:cNvPr>
            <p:cNvSpPr/>
            <p:nvPr/>
          </p:nvSpPr>
          <p:spPr>
            <a:xfrm>
              <a:off x="9350897" y="3099792"/>
              <a:ext cx="57395" cy="16945"/>
            </a:xfrm>
            <a:custGeom>
              <a:avLst/>
              <a:gdLst>
                <a:gd name="connsiteX0" fmla="*/ 57223 w 57395"/>
                <a:gd name="connsiteY0" fmla="*/ 16153 h 16945"/>
                <a:gd name="connsiteX1" fmla="*/ 28590 w 57395"/>
                <a:gd name="connsiteY1" fmla="*/ 12019 h 16945"/>
                <a:gd name="connsiteX2" fmla="*/ 59 w 57395"/>
                <a:gd name="connsiteY2" fmla="*/ 7079 h 16945"/>
                <a:gd name="connsiteX3" fmla="*/ 7721 w 57395"/>
                <a:gd name="connsiteY3" fmla="*/ 1736 h 16945"/>
                <a:gd name="connsiteX4" fmla="*/ 30103 w 57395"/>
                <a:gd name="connsiteY4" fmla="*/ 728 h 16945"/>
                <a:gd name="connsiteX5" fmla="*/ 51274 w 57395"/>
                <a:gd name="connsiteY5" fmla="*/ 8692 h 16945"/>
                <a:gd name="connsiteX6" fmla="*/ 57223 w 57395"/>
                <a:gd name="connsiteY6" fmla="*/ 16153 h 16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395" h="16945">
                  <a:moveTo>
                    <a:pt x="57223" y="16153"/>
                  </a:moveTo>
                  <a:cubicBezTo>
                    <a:pt x="55206" y="18774"/>
                    <a:pt x="43411" y="14237"/>
                    <a:pt x="28590" y="12019"/>
                  </a:cubicBezTo>
                  <a:cubicBezTo>
                    <a:pt x="13871" y="9499"/>
                    <a:pt x="1269" y="10205"/>
                    <a:pt x="59" y="7079"/>
                  </a:cubicBezTo>
                  <a:cubicBezTo>
                    <a:pt x="-445" y="5567"/>
                    <a:pt x="2277" y="3349"/>
                    <a:pt x="7721" y="1736"/>
                  </a:cubicBezTo>
                  <a:cubicBezTo>
                    <a:pt x="13165" y="123"/>
                    <a:pt x="21231" y="-684"/>
                    <a:pt x="30103" y="728"/>
                  </a:cubicBezTo>
                  <a:cubicBezTo>
                    <a:pt x="38975" y="2139"/>
                    <a:pt x="46536" y="5466"/>
                    <a:pt x="51274" y="8692"/>
                  </a:cubicBezTo>
                  <a:cubicBezTo>
                    <a:pt x="56013" y="11919"/>
                    <a:pt x="58029" y="14943"/>
                    <a:pt x="57223" y="16153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96C915A3-D121-470B-8C58-EEA84B58CF45}"/>
                </a:ext>
              </a:extLst>
            </p:cNvPr>
            <p:cNvSpPr/>
            <p:nvPr/>
          </p:nvSpPr>
          <p:spPr>
            <a:xfrm>
              <a:off x="9024939" y="3138469"/>
              <a:ext cx="71554" cy="100559"/>
            </a:xfrm>
            <a:custGeom>
              <a:avLst/>
              <a:gdLst>
                <a:gd name="connsiteX0" fmla="*/ 71554 w 71554"/>
                <a:gd name="connsiteY0" fmla="*/ 8023 h 100559"/>
                <a:gd name="connsiteX1" fmla="*/ 1083 w 71554"/>
                <a:gd name="connsiteY1" fmla="*/ 40688 h 100559"/>
                <a:gd name="connsiteX2" fmla="*/ 57541 w 71554"/>
                <a:gd name="connsiteY2" fmla="*/ 99868 h 100559"/>
                <a:gd name="connsiteX3" fmla="*/ 71554 w 71554"/>
                <a:gd name="connsiteY3" fmla="*/ 8023 h 100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554" h="100559">
                  <a:moveTo>
                    <a:pt x="71554" y="8023"/>
                  </a:moveTo>
                  <a:cubicBezTo>
                    <a:pt x="70143" y="7015"/>
                    <a:pt x="11366" y="-23230"/>
                    <a:pt x="1083" y="40688"/>
                  </a:cubicBezTo>
                  <a:cubicBezTo>
                    <a:pt x="-9201" y="104606"/>
                    <a:pt x="57137" y="101683"/>
                    <a:pt x="57541" y="99868"/>
                  </a:cubicBezTo>
                  <a:cubicBezTo>
                    <a:pt x="57944" y="98154"/>
                    <a:pt x="71554" y="8023"/>
                    <a:pt x="71554" y="8023"/>
                  </a:cubicBezTo>
                  <a:close/>
                </a:path>
              </a:pathLst>
            </a:custGeom>
            <a:solidFill>
              <a:srgbClr val="FFD6B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84AAAC08-9ECE-4B30-8262-2F71B19F9407}"/>
                </a:ext>
              </a:extLst>
            </p:cNvPr>
            <p:cNvSpPr/>
            <p:nvPr/>
          </p:nvSpPr>
          <p:spPr>
            <a:xfrm>
              <a:off x="9041634" y="3158560"/>
              <a:ext cx="28047" cy="56725"/>
            </a:xfrm>
            <a:custGeom>
              <a:avLst/>
              <a:gdLst>
                <a:gd name="connsiteX0" fmla="*/ 25219 w 28047"/>
                <a:gd name="connsiteY0" fmla="*/ 52556 h 56725"/>
                <a:gd name="connsiteX1" fmla="*/ 21993 w 28047"/>
                <a:gd name="connsiteY1" fmla="*/ 53766 h 56725"/>
                <a:gd name="connsiteX2" fmla="*/ 13625 w 28047"/>
                <a:gd name="connsiteY2" fmla="*/ 52556 h 56725"/>
                <a:gd name="connsiteX3" fmla="*/ 4854 w 28047"/>
                <a:gd name="connsiteY3" fmla="*/ 25738 h 56725"/>
                <a:gd name="connsiteX4" fmla="*/ 10499 w 28047"/>
                <a:gd name="connsiteY4" fmla="*/ 10313 h 56725"/>
                <a:gd name="connsiteX5" fmla="*/ 20279 w 28047"/>
                <a:gd name="connsiteY5" fmla="*/ 3155 h 56725"/>
                <a:gd name="connsiteX6" fmla="*/ 26328 w 28047"/>
                <a:gd name="connsiteY6" fmla="*/ 7289 h 56725"/>
                <a:gd name="connsiteX7" fmla="*/ 26630 w 28047"/>
                <a:gd name="connsiteY7" fmla="*/ 10616 h 56725"/>
                <a:gd name="connsiteX8" fmla="*/ 28042 w 28047"/>
                <a:gd name="connsiteY8" fmla="*/ 7087 h 56725"/>
                <a:gd name="connsiteX9" fmla="*/ 26126 w 28047"/>
                <a:gd name="connsiteY9" fmla="*/ 2651 h 56725"/>
                <a:gd name="connsiteX10" fmla="*/ 20279 w 28047"/>
                <a:gd name="connsiteY10" fmla="*/ 30 h 56725"/>
                <a:gd name="connsiteX11" fmla="*/ 7072 w 28047"/>
                <a:gd name="connsiteY11" fmla="*/ 8095 h 56725"/>
                <a:gd name="connsiteX12" fmla="*/ 317 w 28047"/>
                <a:gd name="connsiteY12" fmla="*/ 25335 h 56725"/>
                <a:gd name="connsiteX13" fmla="*/ 12113 w 28047"/>
                <a:gd name="connsiteY13" fmla="*/ 55580 h 56725"/>
                <a:gd name="connsiteX14" fmla="*/ 22598 w 28047"/>
                <a:gd name="connsiteY14" fmla="*/ 55479 h 56725"/>
                <a:gd name="connsiteX15" fmla="*/ 25219 w 28047"/>
                <a:gd name="connsiteY15" fmla="*/ 52556 h 5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047" h="56725">
                  <a:moveTo>
                    <a:pt x="25219" y="52556"/>
                  </a:moveTo>
                  <a:cubicBezTo>
                    <a:pt x="25017" y="52354"/>
                    <a:pt x="24009" y="53161"/>
                    <a:pt x="21993" y="53766"/>
                  </a:cubicBezTo>
                  <a:cubicBezTo>
                    <a:pt x="19976" y="54270"/>
                    <a:pt x="16750" y="54370"/>
                    <a:pt x="13625" y="52556"/>
                  </a:cubicBezTo>
                  <a:cubicBezTo>
                    <a:pt x="7273" y="49027"/>
                    <a:pt x="3341" y="37332"/>
                    <a:pt x="4854" y="25738"/>
                  </a:cubicBezTo>
                  <a:cubicBezTo>
                    <a:pt x="5660" y="19891"/>
                    <a:pt x="7777" y="14548"/>
                    <a:pt x="10499" y="10313"/>
                  </a:cubicBezTo>
                  <a:cubicBezTo>
                    <a:pt x="13222" y="5978"/>
                    <a:pt x="16750" y="3155"/>
                    <a:pt x="20279" y="3155"/>
                  </a:cubicBezTo>
                  <a:cubicBezTo>
                    <a:pt x="23807" y="2954"/>
                    <a:pt x="25824" y="5373"/>
                    <a:pt x="26328" y="7289"/>
                  </a:cubicBezTo>
                  <a:cubicBezTo>
                    <a:pt x="26933" y="9204"/>
                    <a:pt x="26328" y="10414"/>
                    <a:pt x="26630" y="10616"/>
                  </a:cubicBezTo>
                  <a:cubicBezTo>
                    <a:pt x="26832" y="10817"/>
                    <a:pt x="28143" y="9809"/>
                    <a:pt x="28042" y="7087"/>
                  </a:cubicBezTo>
                  <a:cubicBezTo>
                    <a:pt x="27941" y="5777"/>
                    <a:pt x="27437" y="4163"/>
                    <a:pt x="26126" y="2651"/>
                  </a:cubicBezTo>
                  <a:cubicBezTo>
                    <a:pt x="24816" y="1139"/>
                    <a:pt x="22598" y="131"/>
                    <a:pt x="20279" y="30"/>
                  </a:cubicBezTo>
                  <a:cubicBezTo>
                    <a:pt x="15339" y="-373"/>
                    <a:pt x="10096" y="3357"/>
                    <a:pt x="7072" y="8095"/>
                  </a:cubicBezTo>
                  <a:cubicBezTo>
                    <a:pt x="3745" y="12733"/>
                    <a:pt x="1224" y="18782"/>
                    <a:pt x="317" y="25335"/>
                  </a:cubicBezTo>
                  <a:cubicBezTo>
                    <a:pt x="-1296" y="38240"/>
                    <a:pt x="3341" y="51346"/>
                    <a:pt x="12113" y="55580"/>
                  </a:cubicBezTo>
                  <a:cubicBezTo>
                    <a:pt x="16448" y="57496"/>
                    <a:pt x="20380" y="56689"/>
                    <a:pt x="22598" y="55479"/>
                  </a:cubicBezTo>
                  <a:cubicBezTo>
                    <a:pt x="24816" y="54068"/>
                    <a:pt x="25420" y="52657"/>
                    <a:pt x="25219" y="52556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4B0E6F65-D594-47D0-9B86-A5CCE5B063F0}"/>
                </a:ext>
              </a:extLst>
            </p:cNvPr>
            <p:cNvSpPr/>
            <p:nvPr/>
          </p:nvSpPr>
          <p:spPr>
            <a:xfrm>
              <a:off x="9238742" y="3240149"/>
              <a:ext cx="29389" cy="45544"/>
            </a:xfrm>
            <a:custGeom>
              <a:avLst/>
              <a:gdLst>
                <a:gd name="connsiteX0" fmla="*/ 29342 w 29389"/>
                <a:gd name="connsiteY0" fmla="*/ 45370 h 45544"/>
                <a:gd name="connsiteX1" fmla="*/ 10691 w 29389"/>
                <a:gd name="connsiteY1" fmla="*/ 25711 h 45544"/>
                <a:gd name="connsiteX2" fmla="*/ 3835 w 29389"/>
                <a:gd name="connsiteY2" fmla="*/ 7866 h 45544"/>
                <a:gd name="connsiteX3" fmla="*/ 710 w 29389"/>
                <a:gd name="connsiteY3" fmla="*/ 2 h 45544"/>
                <a:gd name="connsiteX4" fmla="*/ 206 w 29389"/>
                <a:gd name="connsiteY4" fmla="*/ 8471 h 45544"/>
                <a:gd name="connsiteX5" fmla="*/ 6255 w 29389"/>
                <a:gd name="connsiteY5" fmla="*/ 28231 h 45544"/>
                <a:gd name="connsiteX6" fmla="*/ 21175 w 29389"/>
                <a:gd name="connsiteY6" fmla="*/ 42749 h 45544"/>
                <a:gd name="connsiteX7" fmla="*/ 29342 w 29389"/>
                <a:gd name="connsiteY7" fmla="*/ 45370 h 4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89" h="45544">
                  <a:moveTo>
                    <a:pt x="29342" y="45370"/>
                  </a:moveTo>
                  <a:cubicBezTo>
                    <a:pt x="30249" y="43858"/>
                    <a:pt x="18050" y="38615"/>
                    <a:pt x="10691" y="25711"/>
                  </a:cubicBezTo>
                  <a:cubicBezTo>
                    <a:pt x="6960" y="19359"/>
                    <a:pt x="5146" y="12705"/>
                    <a:pt x="3835" y="7866"/>
                  </a:cubicBezTo>
                  <a:cubicBezTo>
                    <a:pt x="2524" y="3027"/>
                    <a:pt x="1415" y="-99"/>
                    <a:pt x="710" y="2"/>
                  </a:cubicBezTo>
                  <a:cubicBezTo>
                    <a:pt x="4" y="103"/>
                    <a:pt x="-198" y="3329"/>
                    <a:pt x="206" y="8471"/>
                  </a:cubicBezTo>
                  <a:cubicBezTo>
                    <a:pt x="710" y="13613"/>
                    <a:pt x="2020" y="21073"/>
                    <a:pt x="6255" y="28231"/>
                  </a:cubicBezTo>
                  <a:cubicBezTo>
                    <a:pt x="10388" y="35490"/>
                    <a:pt x="16538" y="40228"/>
                    <a:pt x="21175" y="42749"/>
                  </a:cubicBezTo>
                  <a:cubicBezTo>
                    <a:pt x="25813" y="45370"/>
                    <a:pt x="29140" y="45874"/>
                    <a:pt x="29342" y="4537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C46B2D09-5F65-43F6-A4FF-980716ADE0DA}"/>
                </a:ext>
              </a:extLst>
            </p:cNvPr>
            <p:cNvSpPr/>
            <p:nvPr/>
          </p:nvSpPr>
          <p:spPr>
            <a:xfrm>
              <a:off x="9017505" y="2858578"/>
              <a:ext cx="543889" cy="317856"/>
            </a:xfrm>
            <a:custGeom>
              <a:avLst/>
              <a:gdLst>
                <a:gd name="connsiteX0" fmla="*/ 543755 w 543889"/>
                <a:gd name="connsiteY0" fmla="*/ 181754 h 317856"/>
                <a:gd name="connsiteX1" fmla="*/ 537706 w 543889"/>
                <a:gd name="connsiteY1" fmla="*/ 172075 h 317856"/>
                <a:gd name="connsiteX2" fmla="*/ 514216 w 543889"/>
                <a:gd name="connsiteY2" fmla="*/ 165320 h 317856"/>
                <a:gd name="connsiteX3" fmla="*/ 446265 w 543889"/>
                <a:gd name="connsiteY3" fmla="*/ 135579 h 317856"/>
                <a:gd name="connsiteX4" fmla="*/ 418238 w 543889"/>
                <a:gd name="connsiteY4" fmla="*/ 91925 h 317856"/>
                <a:gd name="connsiteX5" fmla="*/ 349279 w 543889"/>
                <a:gd name="connsiteY5" fmla="*/ 23975 h 317856"/>
                <a:gd name="connsiteX6" fmla="*/ 234246 w 543889"/>
                <a:gd name="connsiteY6" fmla="*/ 1089 h 317856"/>
                <a:gd name="connsiteX7" fmla="*/ 159742 w 543889"/>
                <a:gd name="connsiteY7" fmla="*/ 61579 h 317856"/>
                <a:gd name="connsiteX8" fmla="*/ 92497 w 543889"/>
                <a:gd name="connsiteY8" fmla="*/ 47163 h 317856"/>
                <a:gd name="connsiteX9" fmla="*/ 91993 w 543889"/>
                <a:gd name="connsiteY9" fmla="*/ 46860 h 317856"/>
                <a:gd name="connsiteX10" fmla="*/ 38661 w 543889"/>
                <a:gd name="connsiteY10" fmla="*/ 101705 h 317856"/>
                <a:gd name="connsiteX11" fmla="*/ 5996 w 543889"/>
                <a:gd name="connsiteY11" fmla="*/ 173890 h 317856"/>
                <a:gd name="connsiteX12" fmla="*/ 451 w 543889"/>
                <a:gd name="connsiteY12" fmla="*/ 188811 h 317856"/>
                <a:gd name="connsiteX13" fmla="*/ 10835 w 543889"/>
                <a:gd name="connsiteY13" fmla="*/ 194860 h 317856"/>
                <a:gd name="connsiteX14" fmla="*/ 23034 w 543889"/>
                <a:gd name="connsiteY14" fmla="*/ 191029 h 317856"/>
                <a:gd name="connsiteX15" fmla="*/ 12347 w 543889"/>
                <a:gd name="connsiteY15" fmla="*/ 209882 h 317856"/>
                <a:gd name="connsiteX16" fmla="*/ 39568 w 543889"/>
                <a:gd name="connsiteY16" fmla="*/ 211293 h 317856"/>
                <a:gd name="connsiteX17" fmla="*/ 49246 w 543889"/>
                <a:gd name="connsiteY17" fmla="*/ 280050 h 317856"/>
                <a:gd name="connsiteX18" fmla="*/ 74753 w 543889"/>
                <a:gd name="connsiteY18" fmla="*/ 289628 h 317856"/>
                <a:gd name="connsiteX19" fmla="*/ 99756 w 543889"/>
                <a:gd name="connsiteY19" fmla="*/ 309792 h 317856"/>
                <a:gd name="connsiteX20" fmla="*/ 119314 w 543889"/>
                <a:gd name="connsiteY20" fmla="*/ 285999 h 317856"/>
                <a:gd name="connsiteX21" fmla="*/ 153491 w 543889"/>
                <a:gd name="connsiteY21" fmla="*/ 133160 h 317856"/>
                <a:gd name="connsiteX22" fmla="*/ 192911 w 543889"/>
                <a:gd name="connsiteY22" fmla="*/ 111282 h 317856"/>
                <a:gd name="connsiteX23" fmla="*/ 191701 w 543889"/>
                <a:gd name="connsiteY23" fmla="*/ 112190 h 317856"/>
                <a:gd name="connsiteX24" fmla="*/ 273061 w 543889"/>
                <a:gd name="connsiteY24" fmla="*/ 116021 h 317856"/>
                <a:gd name="connsiteX25" fmla="*/ 312682 w 543889"/>
                <a:gd name="connsiteY25" fmla="*/ 166833 h 317856"/>
                <a:gd name="connsiteX26" fmla="*/ 411785 w 543889"/>
                <a:gd name="connsiteY26" fmla="*/ 227726 h 317856"/>
                <a:gd name="connsiteX27" fmla="*/ 401704 w 543889"/>
                <a:gd name="connsiteY27" fmla="*/ 317857 h 317856"/>
                <a:gd name="connsiteX28" fmla="*/ 428924 w 543889"/>
                <a:gd name="connsiteY28" fmla="*/ 278236 h 317856"/>
                <a:gd name="connsiteX29" fmla="*/ 428924 w 543889"/>
                <a:gd name="connsiteY29" fmla="*/ 278437 h 317856"/>
                <a:gd name="connsiteX30" fmla="*/ 434772 w 543889"/>
                <a:gd name="connsiteY30" fmla="*/ 269666 h 317856"/>
                <a:gd name="connsiteX31" fmla="*/ 435377 w 543889"/>
                <a:gd name="connsiteY31" fmla="*/ 268759 h 317856"/>
                <a:gd name="connsiteX32" fmla="*/ 435377 w 543889"/>
                <a:gd name="connsiteY32" fmla="*/ 268658 h 317856"/>
                <a:gd name="connsiteX33" fmla="*/ 444551 w 543889"/>
                <a:gd name="connsiteY33" fmla="*/ 254544 h 317856"/>
                <a:gd name="connsiteX34" fmla="*/ 444753 w 543889"/>
                <a:gd name="connsiteY34" fmla="*/ 254846 h 317856"/>
                <a:gd name="connsiteX35" fmla="*/ 471469 w 543889"/>
                <a:gd name="connsiteY35" fmla="*/ 235691 h 317856"/>
                <a:gd name="connsiteX36" fmla="*/ 464412 w 543889"/>
                <a:gd name="connsiteY36" fmla="*/ 226718 h 317856"/>
                <a:gd name="connsiteX37" fmla="*/ 488507 w 543889"/>
                <a:gd name="connsiteY37" fmla="*/ 236094 h 317856"/>
                <a:gd name="connsiteX38" fmla="*/ 505344 w 543889"/>
                <a:gd name="connsiteY38" fmla="*/ 217544 h 317856"/>
                <a:gd name="connsiteX39" fmla="*/ 496674 w 543889"/>
                <a:gd name="connsiteY39" fmla="*/ 202320 h 317856"/>
                <a:gd name="connsiteX40" fmla="*/ 530952 w 543889"/>
                <a:gd name="connsiteY40" fmla="*/ 198893 h 317856"/>
                <a:gd name="connsiteX41" fmla="*/ 543755 w 543889"/>
                <a:gd name="connsiteY41" fmla="*/ 181754 h 3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43889" h="317856">
                  <a:moveTo>
                    <a:pt x="543755" y="181754"/>
                  </a:moveTo>
                  <a:cubicBezTo>
                    <a:pt x="543150" y="177822"/>
                    <a:pt x="540832" y="174394"/>
                    <a:pt x="537706" y="172075"/>
                  </a:cubicBezTo>
                  <a:cubicBezTo>
                    <a:pt x="530851" y="166833"/>
                    <a:pt x="522382" y="166429"/>
                    <a:pt x="514216" y="165320"/>
                  </a:cubicBezTo>
                  <a:cubicBezTo>
                    <a:pt x="489415" y="161993"/>
                    <a:pt x="465622" y="151508"/>
                    <a:pt x="446265" y="135579"/>
                  </a:cubicBezTo>
                  <a:cubicBezTo>
                    <a:pt x="438099" y="120255"/>
                    <a:pt x="428723" y="105737"/>
                    <a:pt x="418238" y="91925"/>
                  </a:cubicBezTo>
                  <a:cubicBezTo>
                    <a:pt x="393336" y="59261"/>
                    <a:pt x="372366" y="36577"/>
                    <a:pt x="349279" y="23975"/>
                  </a:cubicBezTo>
                  <a:cubicBezTo>
                    <a:pt x="319538" y="7642"/>
                    <a:pt x="267818" y="-3649"/>
                    <a:pt x="234246" y="1089"/>
                  </a:cubicBezTo>
                  <a:cubicBezTo>
                    <a:pt x="200674" y="5727"/>
                    <a:pt x="168211" y="28713"/>
                    <a:pt x="159742" y="61579"/>
                  </a:cubicBezTo>
                  <a:cubicBezTo>
                    <a:pt x="143309" y="43936"/>
                    <a:pt x="115887" y="40811"/>
                    <a:pt x="92497" y="47163"/>
                  </a:cubicBezTo>
                  <a:lnTo>
                    <a:pt x="91993" y="46860"/>
                  </a:lnTo>
                  <a:cubicBezTo>
                    <a:pt x="66184" y="52707"/>
                    <a:pt x="48944" y="77307"/>
                    <a:pt x="38661" y="101705"/>
                  </a:cubicBezTo>
                  <a:cubicBezTo>
                    <a:pt x="28377" y="126102"/>
                    <a:pt x="22026" y="152819"/>
                    <a:pt x="5996" y="173890"/>
                  </a:cubicBezTo>
                  <a:cubicBezTo>
                    <a:pt x="2669" y="178326"/>
                    <a:pt x="-1364" y="183568"/>
                    <a:pt x="451" y="188811"/>
                  </a:cubicBezTo>
                  <a:cubicBezTo>
                    <a:pt x="1862" y="192844"/>
                    <a:pt x="6500" y="194961"/>
                    <a:pt x="10835" y="194860"/>
                  </a:cubicBezTo>
                  <a:cubicBezTo>
                    <a:pt x="15069" y="194759"/>
                    <a:pt x="19102" y="192844"/>
                    <a:pt x="23034" y="191029"/>
                  </a:cubicBezTo>
                  <a:cubicBezTo>
                    <a:pt x="19505" y="197280"/>
                    <a:pt x="15977" y="203631"/>
                    <a:pt x="12347" y="209882"/>
                  </a:cubicBezTo>
                  <a:cubicBezTo>
                    <a:pt x="21118" y="212503"/>
                    <a:pt x="30494" y="212906"/>
                    <a:pt x="39568" y="211293"/>
                  </a:cubicBezTo>
                  <a:cubicBezTo>
                    <a:pt x="41988" y="235590"/>
                    <a:pt x="45113" y="263315"/>
                    <a:pt x="49246" y="280050"/>
                  </a:cubicBezTo>
                  <a:cubicBezTo>
                    <a:pt x="59631" y="281260"/>
                    <a:pt x="69007" y="283075"/>
                    <a:pt x="74753" y="289628"/>
                  </a:cubicBezTo>
                  <a:cubicBezTo>
                    <a:pt x="82516" y="298500"/>
                    <a:pt x="84633" y="313623"/>
                    <a:pt x="99756" y="309792"/>
                  </a:cubicBezTo>
                  <a:cubicBezTo>
                    <a:pt x="107418" y="307775"/>
                    <a:pt x="115987" y="293258"/>
                    <a:pt x="119314" y="285999"/>
                  </a:cubicBezTo>
                  <a:cubicBezTo>
                    <a:pt x="141494" y="238312"/>
                    <a:pt x="153189" y="185786"/>
                    <a:pt x="153491" y="133160"/>
                  </a:cubicBezTo>
                  <a:cubicBezTo>
                    <a:pt x="165085" y="123481"/>
                    <a:pt x="178494" y="115920"/>
                    <a:pt x="192911" y="111282"/>
                  </a:cubicBezTo>
                  <a:lnTo>
                    <a:pt x="191701" y="112190"/>
                  </a:lnTo>
                  <a:cubicBezTo>
                    <a:pt x="218922" y="106241"/>
                    <a:pt x="249671" y="100797"/>
                    <a:pt x="273061" y="116021"/>
                  </a:cubicBezTo>
                  <a:cubicBezTo>
                    <a:pt x="291208" y="127816"/>
                    <a:pt x="300181" y="149190"/>
                    <a:pt x="312682" y="166833"/>
                  </a:cubicBezTo>
                  <a:cubicBezTo>
                    <a:pt x="336374" y="200304"/>
                    <a:pt x="371257" y="221072"/>
                    <a:pt x="411785" y="227726"/>
                  </a:cubicBezTo>
                  <a:cubicBezTo>
                    <a:pt x="410072" y="254241"/>
                    <a:pt x="403418" y="291241"/>
                    <a:pt x="401704" y="317857"/>
                  </a:cubicBezTo>
                  <a:lnTo>
                    <a:pt x="428924" y="278236"/>
                  </a:lnTo>
                  <a:lnTo>
                    <a:pt x="428924" y="278437"/>
                  </a:lnTo>
                  <a:cubicBezTo>
                    <a:pt x="431142" y="275514"/>
                    <a:pt x="432957" y="272590"/>
                    <a:pt x="434772" y="269666"/>
                  </a:cubicBezTo>
                  <a:lnTo>
                    <a:pt x="435377" y="268759"/>
                  </a:lnTo>
                  <a:lnTo>
                    <a:pt x="435377" y="268658"/>
                  </a:lnTo>
                  <a:cubicBezTo>
                    <a:pt x="438300" y="263920"/>
                    <a:pt x="441023" y="259181"/>
                    <a:pt x="444551" y="254544"/>
                  </a:cubicBezTo>
                  <a:cubicBezTo>
                    <a:pt x="444652" y="254644"/>
                    <a:pt x="444652" y="254745"/>
                    <a:pt x="444753" y="254846"/>
                  </a:cubicBezTo>
                  <a:cubicBezTo>
                    <a:pt x="457557" y="269162"/>
                    <a:pt x="480845" y="252326"/>
                    <a:pt x="471469" y="235691"/>
                  </a:cubicBezTo>
                  <a:cubicBezTo>
                    <a:pt x="469554" y="232364"/>
                    <a:pt x="467235" y="229339"/>
                    <a:pt x="464412" y="226718"/>
                  </a:cubicBezTo>
                  <a:cubicBezTo>
                    <a:pt x="470259" y="233675"/>
                    <a:pt x="479636" y="237707"/>
                    <a:pt x="488507" y="236094"/>
                  </a:cubicBezTo>
                  <a:cubicBezTo>
                    <a:pt x="497379" y="234481"/>
                    <a:pt x="505041" y="226617"/>
                    <a:pt x="505344" y="217544"/>
                  </a:cubicBezTo>
                  <a:cubicBezTo>
                    <a:pt x="505546" y="211394"/>
                    <a:pt x="501815" y="205446"/>
                    <a:pt x="496674" y="202320"/>
                  </a:cubicBezTo>
                  <a:cubicBezTo>
                    <a:pt x="508066" y="204538"/>
                    <a:pt x="520265" y="203429"/>
                    <a:pt x="530952" y="198893"/>
                  </a:cubicBezTo>
                  <a:cubicBezTo>
                    <a:pt x="537807" y="195666"/>
                    <a:pt x="544965" y="190323"/>
                    <a:pt x="543755" y="181754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7233B7A-AEBE-4226-9604-D56C3A6E4180}"/>
                </a:ext>
              </a:extLst>
            </p:cNvPr>
            <p:cNvSpPr/>
            <p:nvPr/>
          </p:nvSpPr>
          <p:spPr>
            <a:xfrm>
              <a:off x="9049814" y="2934372"/>
              <a:ext cx="155567" cy="153358"/>
            </a:xfrm>
            <a:custGeom>
              <a:avLst/>
              <a:gdLst>
                <a:gd name="connsiteX0" fmla="*/ 155561 w 155567"/>
                <a:gd name="connsiteY0" fmla="*/ 0 h 153358"/>
                <a:gd name="connsiteX1" fmla="*/ 145177 w 155567"/>
                <a:gd name="connsiteY1" fmla="*/ 7460 h 153358"/>
                <a:gd name="connsiteX2" fmla="*/ 127131 w 155567"/>
                <a:gd name="connsiteY2" fmla="*/ 36899 h 153358"/>
                <a:gd name="connsiteX3" fmla="*/ 121888 w 155567"/>
                <a:gd name="connsiteY3" fmla="*/ 60389 h 153358"/>
                <a:gd name="connsiteX4" fmla="*/ 119973 w 155567"/>
                <a:gd name="connsiteY4" fmla="*/ 88114 h 153358"/>
                <a:gd name="connsiteX5" fmla="*/ 117049 w 155567"/>
                <a:gd name="connsiteY5" fmla="*/ 118964 h 153358"/>
                <a:gd name="connsiteX6" fmla="*/ 113016 w 155567"/>
                <a:gd name="connsiteY6" fmla="*/ 134893 h 153358"/>
                <a:gd name="connsiteX7" fmla="*/ 104548 w 155567"/>
                <a:gd name="connsiteY7" fmla="*/ 149815 h 153358"/>
                <a:gd name="connsiteX8" fmla="*/ 90836 w 155567"/>
                <a:gd name="connsiteY8" fmla="*/ 152738 h 153358"/>
                <a:gd name="connsiteX9" fmla="*/ 79747 w 155567"/>
                <a:gd name="connsiteY9" fmla="*/ 144572 h 153358"/>
                <a:gd name="connsiteX10" fmla="*/ 73496 w 155567"/>
                <a:gd name="connsiteY10" fmla="*/ 119670 h 153358"/>
                <a:gd name="connsiteX11" fmla="*/ 75411 w 155567"/>
                <a:gd name="connsiteY11" fmla="*/ 120174 h 153358"/>
                <a:gd name="connsiteX12" fmla="*/ 61700 w 155567"/>
                <a:gd name="connsiteY12" fmla="*/ 138422 h 153358"/>
                <a:gd name="connsiteX13" fmla="*/ 42343 w 155567"/>
                <a:gd name="connsiteY13" fmla="*/ 146185 h 153358"/>
                <a:gd name="connsiteX14" fmla="*/ 32866 w 155567"/>
                <a:gd name="connsiteY14" fmla="*/ 143362 h 153358"/>
                <a:gd name="connsiteX15" fmla="*/ 27019 w 155567"/>
                <a:gd name="connsiteY15" fmla="*/ 136103 h 153358"/>
                <a:gd name="connsiteX16" fmla="*/ 26011 w 155567"/>
                <a:gd name="connsiteY16" fmla="*/ 127534 h 153358"/>
                <a:gd name="connsiteX17" fmla="*/ 29842 w 155567"/>
                <a:gd name="connsiteY17" fmla="*/ 120577 h 153358"/>
                <a:gd name="connsiteX18" fmla="*/ 30749 w 155567"/>
                <a:gd name="connsiteY18" fmla="*/ 121586 h 153358"/>
                <a:gd name="connsiteX19" fmla="*/ 8872 w 155567"/>
                <a:gd name="connsiteY19" fmla="*/ 134289 h 153358"/>
                <a:gd name="connsiteX20" fmla="*/ 2319 w 155567"/>
                <a:gd name="connsiteY20" fmla="*/ 136002 h 153358"/>
                <a:gd name="connsiteX21" fmla="*/ 0 w 155567"/>
                <a:gd name="connsiteY21" fmla="*/ 136305 h 153358"/>
                <a:gd name="connsiteX22" fmla="*/ 2218 w 155567"/>
                <a:gd name="connsiteY22" fmla="*/ 135700 h 153358"/>
                <a:gd name="connsiteX23" fmla="*/ 8570 w 155567"/>
                <a:gd name="connsiteY23" fmla="*/ 133684 h 153358"/>
                <a:gd name="connsiteX24" fmla="*/ 29842 w 155567"/>
                <a:gd name="connsiteY24" fmla="*/ 120678 h 153358"/>
                <a:gd name="connsiteX25" fmla="*/ 30749 w 155567"/>
                <a:gd name="connsiteY25" fmla="*/ 121686 h 153358"/>
                <a:gd name="connsiteX26" fmla="*/ 28430 w 155567"/>
                <a:gd name="connsiteY26" fmla="*/ 135498 h 153358"/>
                <a:gd name="connsiteX27" fmla="*/ 33673 w 155567"/>
                <a:gd name="connsiteY27" fmla="*/ 141951 h 153358"/>
                <a:gd name="connsiteX28" fmla="*/ 42242 w 155567"/>
                <a:gd name="connsiteY28" fmla="*/ 144370 h 153358"/>
                <a:gd name="connsiteX29" fmla="*/ 60289 w 155567"/>
                <a:gd name="connsiteY29" fmla="*/ 136910 h 153358"/>
                <a:gd name="connsiteX30" fmla="*/ 73496 w 155567"/>
                <a:gd name="connsiteY30" fmla="*/ 118964 h 153358"/>
                <a:gd name="connsiteX31" fmla="*/ 75210 w 155567"/>
                <a:gd name="connsiteY31" fmla="*/ 116141 h 153358"/>
                <a:gd name="connsiteX32" fmla="*/ 75411 w 155567"/>
                <a:gd name="connsiteY32" fmla="*/ 119468 h 153358"/>
                <a:gd name="connsiteX33" fmla="*/ 81360 w 155567"/>
                <a:gd name="connsiteY33" fmla="*/ 143261 h 153358"/>
                <a:gd name="connsiteX34" fmla="*/ 91341 w 155567"/>
                <a:gd name="connsiteY34" fmla="*/ 150520 h 153358"/>
                <a:gd name="connsiteX35" fmla="*/ 103035 w 155567"/>
                <a:gd name="connsiteY35" fmla="*/ 148101 h 153358"/>
                <a:gd name="connsiteX36" fmla="*/ 110899 w 155567"/>
                <a:gd name="connsiteY36" fmla="*/ 134087 h 153358"/>
                <a:gd name="connsiteX37" fmla="*/ 114932 w 155567"/>
                <a:gd name="connsiteY37" fmla="*/ 118460 h 153358"/>
                <a:gd name="connsiteX38" fmla="*/ 117956 w 155567"/>
                <a:gd name="connsiteY38" fmla="*/ 87913 h 153358"/>
                <a:gd name="connsiteX39" fmla="*/ 120174 w 155567"/>
                <a:gd name="connsiteY39" fmla="*/ 59986 h 153358"/>
                <a:gd name="connsiteX40" fmla="*/ 125719 w 155567"/>
                <a:gd name="connsiteY40" fmla="*/ 36193 h 153358"/>
                <a:gd name="connsiteX41" fmla="*/ 144673 w 155567"/>
                <a:gd name="connsiteY41" fmla="*/ 6654 h 153358"/>
                <a:gd name="connsiteX42" fmla="*/ 155561 w 155567"/>
                <a:gd name="connsiteY42" fmla="*/ 0 h 15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5567" h="153358">
                  <a:moveTo>
                    <a:pt x="155561" y="0"/>
                  </a:moveTo>
                  <a:cubicBezTo>
                    <a:pt x="155763" y="302"/>
                    <a:pt x="151327" y="2016"/>
                    <a:pt x="145177" y="7460"/>
                  </a:cubicBezTo>
                  <a:cubicBezTo>
                    <a:pt x="139027" y="12905"/>
                    <a:pt x="131667" y="22785"/>
                    <a:pt x="127131" y="36899"/>
                  </a:cubicBezTo>
                  <a:cubicBezTo>
                    <a:pt x="124812" y="43855"/>
                    <a:pt x="122896" y="51820"/>
                    <a:pt x="121888" y="60389"/>
                  </a:cubicBezTo>
                  <a:cubicBezTo>
                    <a:pt x="120779" y="69060"/>
                    <a:pt x="120376" y="78335"/>
                    <a:pt x="119973" y="88114"/>
                  </a:cubicBezTo>
                  <a:cubicBezTo>
                    <a:pt x="119469" y="97894"/>
                    <a:pt x="118964" y="108278"/>
                    <a:pt x="117049" y="118964"/>
                  </a:cubicBezTo>
                  <a:cubicBezTo>
                    <a:pt x="116142" y="124308"/>
                    <a:pt x="114831" y="129651"/>
                    <a:pt x="113016" y="134893"/>
                  </a:cubicBezTo>
                  <a:cubicBezTo>
                    <a:pt x="111202" y="140136"/>
                    <a:pt x="109084" y="145681"/>
                    <a:pt x="104548" y="149815"/>
                  </a:cubicBezTo>
                  <a:cubicBezTo>
                    <a:pt x="100918" y="153142"/>
                    <a:pt x="95373" y="154150"/>
                    <a:pt x="90836" y="152738"/>
                  </a:cubicBezTo>
                  <a:cubicBezTo>
                    <a:pt x="86300" y="151327"/>
                    <a:pt x="82368" y="148403"/>
                    <a:pt x="79747" y="144572"/>
                  </a:cubicBezTo>
                  <a:cubicBezTo>
                    <a:pt x="74504" y="136809"/>
                    <a:pt x="74101" y="127736"/>
                    <a:pt x="73496" y="119670"/>
                  </a:cubicBezTo>
                  <a:lnTo>
                    <a:pt x="75411" y="120174"/>
                  </a:lnTo>
                  <a:cubicBezTo>
                    <a:pt x="71379" y="126828"/>
                    <a:pt x="67245" y="133482"/>
                    <a:pt x="61700" y="138422"/>
                  </a:cubicBezTo>
                  <a:cubicBezTo>
                    <a:pt x="56256" y="143463"/>
                    <a:pt x="49098" y="146387"/>
                    <a:pt x="42343" y="146185"/>
                  </a:cubicBezTo>
                  <a:cubicBezTo>
                    <a:pt x="38915" y="146084"/>
                    <a:pt x="35589" y="145177"/>
                    <a:pt x="32866" y="143362"/>
                  </a:cubicBezTo>
                  <a:cubicBezTo>
                    <a:pt x="30044" y="141547"/>
                    <a:pt x="28229" y="138825"/>
                    <a:pt x="27019" y="136103"/>
                  </a:cubicBezTo>
                  <a:cubicBezTo>
                    <a:pt x="25910" y="133281"/>
                    <a:pt x="25507" y="130357"/>
                    <a:pt x="26011" y="127534"/>
                  </a:cubicBezTo>
                  <a:cubicBezTo>
                    <a:pt x="26515" y="124812"/>
                    <a:pt x="27926" y="122291"/>
                    <a:pt x="29842" y="120577"/>
                  </a:cubicBezTo>
                  <a:lnTo>
                    <a:pt x="30749" y="121586"/>
                  </a:lnTo>
                  <a:cubicBezTo>
                    <a:pt x="22583" y="128945"/>
                    <a:pt x="14417" y="132474"/>
                    <a:pt x="8872" y="134289"/>
                  </a:cubicBezTo>
                  <a:cubicBezTo>
                    <a:pt x="6049" y="135196"/>
                    <a:pt x="3831" y="135700"/>
                    <a:pt x="2319" y="136002"/>
                  </a:cubicBezTo>
                  <a:cubicBezTo>
                    <a:pt x="807" y="136305"/>
                    <a:pt x="0" y="136305"/>
                    <a:pt x="0" y="136305"/>
                  </a:cubicBezTo>
                  <a:cubicBezTo>
                    <a:pt x="0" y="136204"/>
                    <a:pt x="706" y="136002"/>
                    <a:pt x="2218" y="135700"/>
                  </a:cubicBezTo>
                  <a:cubicBezTo>
                    <a:pt x="3730" y="135297"/>
                    <a:pt x="5847" y="134692"/>
                    <a:pt x="8570" y="133684"/>
                  </a:cubicBezTo>
                  <a:cubicBezTo>
                    <a:pt x="14014" y="131667"/>
                    <a:pt x="21877" y="128038"/>
                    <a:pt x="29842" y="120678"/>
                  </a:cubicBezTo>
                  <a:lnTo>
                    <a:pt x="30749" y="121686"/>
                  </a:lnTo>
                  <a:cubicBezTo>
                    <a:pt x="27221" y="124610"/>
                    <a:pt x="26313" y="130458"/>
                    <a:pt x="28430" y="135498"/>
                  </a:cubicBezTo>
                  <a:cubicBezTo>
                    <a:pt x="29539" y="138019"/>
                    <a:pt x="31253" y="140438"/>
                    <a:pt x="33673" y="141951"/>
                  </a:cubicBezTo>
                  <a:cubicBezTo>
                    <a:pt x="36093" y="143564"/>
                    <a:pt x="39117" y="144370"/>
                    <a:pt x="42242" y="144370"/>
                  </a:cubicBezTo>
                  <a:cubicBezTo>
                    <a:pt x="48493" y="144471"/>
                    <a:pt x="55147" y="141749"/>
                    <a:pt x="60289" y="136910"/>
                  </a:cubicBezTo>
                  <a:cubicBezTo>
                    <a:pt x="65531" y="132172"/>
                    <a:pt x="69564" y="125719"/>
                    <a:pt x="73496" y="118964"/>
                  </a:cubicBezTo>
                  <a:lnTo>
                    <a:pt x="75210" y="116141"/>
                  </a:lnTo>
                  <a:lnTo>
                    <a:pt x="75411" y="119468"/>
                  </a:lnTo>
                  <a:cubicBezTo>
                    <a:pt x="76016" y="127534"/>
                    <a:pt x="76520" y="136305"/>
                    <a:pt x="81360" y="143261"/>
                  </a:cubicBezTo>
                  <a:cubicBezTo>
                    <a:pt x="83779" y="146588"/>
                    <a:pt x="87308" y="149310"/>
                    <a:pt x="91341" y="150520"/>
                  </a:cubicBezTo>
                  <a:cubicBezTo>
                    <a:pt x="95373" y="151831"/>
                    <a:pt x="99809" y="150924"/>
                    <a:pt x="103035" y="148101"/>
                  </a:cubicBezTo>
                  <a:cubicBezTo>
                    <a:pt x="107068" y="144572"/>
                    <a:pt x="109084" y="139229"/>
                    <a:pt x="110899" y="134087"/>
                  </a:cubicBezTo>
                  <a:cubicBezTo>
                    <a:pt x="112613" y="128945"/>
                    <a:pt x="113924" y="123703"/>
                    <a:pt x="114932" y="118460"/>
                  </a:cubicBezTo>
                  <a:cubicBezTo>
                    <a:pt x="116847" y="107975"/>
                    <a:pt x="117351" y="97692"/>
                    <a:pt x="117956" y="87913"/>
                  </a:cubicBezTo>
                  <a:cubicBezTo>
                    <a:pt x="118460" y="78133"/>
                    <a:pt x="118964" y="68757"/>
                    <a:pt x="120174" y="59986"/>
                  </a:cubicBezTo>
                  <a:cubicBezTo>
                    <a:pt x="121283" y="51215"/>
                    <a:pt x="123300" y="43251"/>
                    <a:pt x="125719" y="36193"/>
                  </a:cubicBezTo>
                  <a:cubicBezTo>
                    <a:pt x="130558" y="21978"/>
                    <a:pt x="138321" y="11997"/>
                    <a:pt x="144673" y="6654"/>
                  </a:cubicBezTo>
                  <a:cubicBezTo>
                    <a:pt x="151125" y="1512"/>
                    <a:pt x="155561" y="0"/>
                    <a:pt x="155561" y="0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526931B3-0AE3-4797-AD23-BBDC05C530A3}"/>
                </a:ext>
              </a:extLst>
            </p:cNvPr>
            <p:cNvSpPr/>
            <p:nvPr/>
          </p:nvSpPr>
          <p:spPr>
            <a:xfrm>
              <a:off x="9209711" y="2887808"/>
              <a:ext cx="274727" cy="182410"/>
            </a:xfrm>
            <a:custGeom>
              <a:avLst/>
              <a:gdLst>
                <a:gd name="connsiteX0" fmla="*/ 274727 w 274727"/>
                <a:gd name="connsiteY0" fmla="*/ 172183 h 182410"/>
                <a:gd name="connsiteX1" fmla="*/ 273921 w 274727"/>
                <a:gd name="connsiteY1" fmla="*/ 172687 h 182410"/>
                <a:gd name="connsiteX2" fmla="*/ 271400 w 274727"/>
                <a:gd name="connsiteY2" fmla="*/ 174099 h 182410"/>
                <a:gd name="connsiteX3" fmla="*/ 267166 w 274727"/>
                <a:gd name="connsiteY3" fmla="*/ 176216 h 182410"/>
                <a:gd name="connsiteX4" fmla="*/ 261117 w 274727"/>
                <a:gd name="connsiteY4" fmla="*/ 178535 h 182410"/>
                <a:gd name="connsiteX5" fmla="*/ 220185 w 274727"/>
                <a:gd name="connsiteY5" fmla="*/ 180954 h 182410"/>
                <a:gd name="connsiteX6" fmla="*/ 166147 w 274727"/>
                <a:gd name="connsiteY6" fmla="*/ 153330 h 182410"/>
                <a:gd name="connsiteX7" fmla="*/ 124207 w 274727"/>
                <a:gd name="connsiteY7" fmla="*/ 91529 h 182410"/>
                <a:gd name="connsiteX8" fmla="*/ 109689 w 274727"/>
                <a:gd name="connsiteY8" fmla="*/ 55638 h 182410"/>
                <a:gd name="connsiteX9" fmla="*/ 92147 w 274727"/>
                <a:gd name="connsiteY9" fmla="*/ 24586 h 182410"/>
                <a:gd name="connsiteX10" fmla="*/ 67044 w 274727"/>
                <a:gd name="connsiteY10" fmla="*/ 5028 h 182410"/>
                <a:gd name="connsiteX11" fmla="*/ 53030 w 274727"/>
                <a:gd name="connsiteY11" fmla="*/ 1701 h 182410"/>
                <a:gd name="connsiteX12" fmla="*/ 39722 w 274727"/>
                <a:gd name="connsiteY12" fmla="*/ 2709 h 182410"/>
                <a:gd name="connsiteX13" fmla="*/ 18752 w 274727"/>
                <a:gd name="connsiteY13" fmla="*/ 12186 h 182410"/>
                <a:gd name="connsiteX14" fmla="*/ 6553 w 274727"/>
                <a:gd name="connsiteY14" fmla="*/ 24687 h 182410"/>
                <a:gd name="connsiteX15" fmla="*/ 0 w 274727"/>
                <a:gd name="connsiteY15" fmla="*/ 38197 h 182410"/>
                <a:gd name="connsiteX16" fmla="*/ 202 w 274727"/>
                <a:gd name="connsiteY16" fmla="*/ 37189 h 182410"/>
                <a:gd name="connsiteX17" fmla="*/ 1008 w 274727"/>
                <a:gd name="connsiteY17" fmla="*/ 34366 h 182410"/>
                <a:gd name="connsiteX18" fmla="*/ 5847 w 274727"/>
                <a:gd name="connsiteY18" fmla="*/ 24183 h 182410"/>
                <a:gd name="connsiteX19" fmla="*/ 18046 w 274727"/>
                <a:gd name="connsiteY19" fmla="*/ 11178 h 182410"/>
                <a:gd name="connsiteX20" fmla="*/ 39420 w 274727"/>
                <a:gd name="connsiteY20" fmla="*/ 1197 h 182410"/>
                <a:gd name="connsiteX21" fmla="*/ 53232 w 274727"/>
                <a:gd name="connsiteY21" fmla="*/ 88 h 182410"/>
                <a:gd name="connsiteX22" fmla="*/ 67850 w 274727"/>
                <a:gd name="connsiteY22" fmla="*/ 3415 h 182410"/>
                <a:gd name="connsiteX23" fmla="*/ 93760 w 274727"/>
                <a:gd name="connsiteY23" fmla="*/ 23377 h 182410"/>
                <a:gd name="connsiteX24" fmla="*/ 111706 w 274727"/>
                <a:gd name="connsiteY24" fmla="*/ 54832 h 182410"/>
                <a:gd name="connsiteX25" fmla="*/ 126223 w 274727"/>
                <a:gd name="connsiteY25" fmla="*/ 90723 h 182410"/>
                <a:gd name="connsiteX26" fmla="*/ 167558 w 274727"/>
                <a:gd name="connsiteY26" fmla="*/ 151919 h 182410"/>
                <a:gd name="connsiteX27" fmla="*/ 220487 w 274727"/>
                <a:gd name="connsiteY27" fmla="*/ 179442 h 182410"/>
                <a:gd name="connsiteX28" fmla="*/ 260915 w 274727"/>
                <a:gd name="connsiteY28" fmla="*/ 177728 h 182410"/>
                <a:gd name="connsiteX29" fmla="*/ 274727 w 274727"/>
                <a:gd name="connsiteY29" fmla="*/ 172183 h 18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74727" h="182410">
                  <a:moveTo>
                    <a:pt x="274727" y="172183"/>
                  </a:moveTo>
                  <a:cubicBezTo>
                    <a:pt x="274727" y="172183"/>
                    <a:pt x="274425" y="172385"/>
                    <a:pt x="273921" y="172687"/>
                  </a:cubicBezTo>
                  <a:cubicBezTo>
                    <a:pt x="273215" y="173090"/>
                    <a:pt x="272408" y="173494"/>
                    <a:pt x="271400" y="174099"/>
                  </a:cubicBezTo>
                  <a:cubicBezTo>
                    <a:pt x="270291" y="174703"/>
                    <a:pt x="268880" y="175510"/>
                    <a:pt x="267166" y="176216"/>
                  </a:cubicBezTo>
                  <a:cubicBezTo>
                    <a:pt x="265452" y="176921"/>
                    <a:pt x="263436" y="177829"/>
                    <a:pt x="261117" y="178535"/>
                  </a:cubicBezTo>
                  <a:cubicBezTo>
                    <a:pt x="251943" y="181660"/>
                    <a:pt x="237526" y="184080"/>
                    <a:pt x="220185" y="180954"/>
                  </a:cubicBezTo>
                  <a:cubicBezTo>
                    <a:pt x="203046" y="177930"/>
                    <a:pt x="182984" y="169360"/>
                    <a:pt x="166147" y="153330"/>
                  </a:cubicBezTo>
                  <a:cubicBezTo>
                    <a:pt x="149008" y="137603"/>
                    <a:pt x="134994" y="115826"/>
                    <a:pt x="124207" y="91529"/>
                  </a:cubicBezTo>
                  <a:cubicBezTo>
                    <a:pt x="118763" y="79330"/>
                    <a:pt x="114528" y="67131"/>
                    <a:pt x="109689" y="55638"/>
                  </a:cubicBezTo>
                  <a:cubicBezTo>
                    <a:pt x="104850" y="44145"/>
                    <a:pt x="99305" y="33458"/>
                    <a:pt x="92147" y="24586"/>
                  </a:cubicBezTo>
                  <a:cubicBezTo>
                    <a:pt x="85090" y="15715"/>
                    <a:pt x="76420" y="8859"/>
                    <a:pt x="67044" y="5028"/>
                  </a:cubicBezTo>
                  <a:cubicBezTo>
                    <a:pt x="62406" y="3012"/>
                    <a:pt x="57668" y="2104"/>
                    <a:pt x="53030" y="1701"/>
                  </a:cubicBezTo>
                  <a:cubicBezTo>
                    <a:pt x="48392" y="1398"/>
                    <a:pt x="43856" y="1802"/>
                    <a:pt x="39722" y="2709"/>
                  </a:cubicBezTo>
                  <a:cubicBezTo>
                    <a:pt x="31354" y="4423"/>
                    <a:pt x="24297" y="8153"/>
                    <a:pt x="18752" y="12186"/>
                  </a:cubicBezTo>
                  <a:cubicBezTo>
                    <a:pt x="13207" y="16219"/>
                    <a:pt x="9376" y="20756"/>
                    <a:pt x="6553" y="24687"/>
                  </a:cubicBezTo>
                  <a:cubicBezTo>
                    <a:pt x="1311" y="32753"/>
                    <a:pt x="403" y="38298"/>
                    <a:pt x="0" y="38197"/>
                  </a:cubicBezTo>
                  <a:cubicBezTo>
                    <a:pt x="0" y="38197"/>
                    <a:pt x="0" y="37894"/>
                    <a:pt x="202" y="37189"/>
                  </a:cubicBezTo>
                  <a:cubicBezTo>
                    <a:pt x="403" y="36382"/>
                    <a:pt x="706" y="35475"/>
                    <a:pt x="1008" y="34366"/>
                  </a:cubicBezTo>
                  <a:cubicBezTo>
                    <a:pt x="1714" y="31946"/>
                    <a:pt x="3226" y="28418"/>
                    <a:pt x="5847" y="24183"/>
                  </a:cubicBezTo>
                  <a:cubicBezTo>
                    <a:pt x="8570" y="20150"/>
                    <a:pt x="12501" y="15412"/>
                    <a:pt x="18046" y="11178"/>
                  </a:cubicBezTo>
                  <a:cubicBezTo>
                    <a:pt x="23591" y="6943"/>
                    <a:pt x="30749" y="3112"/>
                    <a:pt x="39420" y="1197"/>
                  </a:cubicBezTo>
                  <a:cubicBezTo>
                    <a:pt x="43755" y="290"/>
                    <a:pt x="48392" y="-215"/>
                    <a:pt x="53232" y="88"/>
                  </a:cubicBezTo>
                  <a:cubicBezTo>
                    <a:pt x="58071" y="491"/>
                    <a:pt x="63011" y="1398"/>
                    <a:pt x="67850" y="3415"/>
                  </a:cubicBezTo>
                  <a:cubicBezTo>
                    <a:pt x="77529" y="7246"/>
                    <a:pt x="86501" y="14404"/>
                    <a:pt x="93760" y="23377"/>
                  </a:cubicBezTo>
                  <a:cubicBezTo>
                    <a:pt x="101221" y="32349"/>
                    <a:pt x="106866" y="43238"/>
                    <a:pt x="111706" y="54832"/>
                  </a:cubicBezTo>
                  <a:cubicBezTo>
                    <a:pt x="116646" y="66426"/>
                    <a:pt x="120779" y="78625"/>
                    <a:pt x="126223" y="90723"/>
                  </a:cubicBezTo>
                  <a:cubicBezTo>
                    <a:pt x="136910" y="114818"/>
                    <a:pt x="150722" y="136393"/>
                    <a:pt x="167558" y="151919"/>
                  </a:cubicBezTo>
                  <a:cubicBezTo>
                    <a:pt x="184093" y="167747"/>
                    <a:pt x="203651" y="176317"/>
                    <a:pt x="220487" y="179442"/>
                  </a:cubicBezTo>
                  <a:cubicBezTo>
                    <a:pt x="237526" y="182668"/>
                    <a:pt x="251741" y="180551"/>
                    <a:pt x="260915" y="177728"/>
                  </a:cubicBezTo>
                  <a:cubicBezTo>
                    <a:pt x="270090" y="174804"/>
                    <a:pt x="274626" y="171881"/>
                    <a:pt x="274727" y="172183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246A353-B713-4530-9196-68066AA901CA}"/>
                </a:ext>
              </a:extLst>
            </p:cNvPr>
            <p:cNvSpPr/>
            <p:nvPr/>
          </p:nvSpPr>
          <p:spPr>
            <a:xfrm>
              <a:off x="9398132" y="3011075"/>
              <a:ext cx="99720" cy="18424"/>
            </a:xfrm>
            <a:custGeom>
              <a:avLst/>
              <a:gdLst>
                <a:gd name="connsiteX0" fmla="*/ 99715 w 99720"/>
                <a:gd name="connsiteY0" fmla="*/ 8690 h 18424"/>
                <a:gd name="connsiteX1" fmla="*/ 96085 w 99720"/>
                <a:gd name="connsiteY1" fmla="*/ 10606 h 18424"/>
                <a:gd name="connsiteX2" fmla="*/ 85499 w 99720"/>
                <a:gd name="connsiteY2" fmla="*/ 14436 h 18424"/>
                <a:gd name="connsiteX3" fmla="*/ 69167 w 99720"/>
                <a:gd name="connsiteY3" fmla="*/ 17763 h 18424"/>
                <a:gd name="connsiteX4" fmla="*/ 48701 w 99720"/>
                <a:gd name="connsiteY4" fmla="*/ 18066 h 18424"/>
                <a:gd name="connsiteX5" fmla="*/ 28538 w 99720"/>
                <a:gd name="connsiteY5" fmla="*/ 14235 h 18424"/>
                <a:gd name="connsiteX6" fmla="*/ 13012 w 99720"/>
                <a:gd name="connsiteY6" fmla="*/ 8186 h 18424"/>
                <a:gd name="connsiteX7" fmla="*/ 3233 w 99720"/>
                <a:gd name="connsiteY7" fmla="*/ 2540 h 18424"/>
                <a:gd name="connsiteX8" fmla="*/ 6 w 99720"/>
                <a:gd name="connsiteY8" fmla="*/ 20 h 18424"/>
                <a:gd name="connsiteX9" fmla="*/ 13617 w 99720"/>
                <a:gd name="connsiteY9" fmla="*/ 6774 h 18424"/>
                <a:gd name="connsiteX10" fmla="*/ 29042 w 99720"/>
                <a:gd name="connsiteY10" fmla="*/ 12319 h 18424"/>
                <a:gd name="connsiteX11" fmla="*/ 48802 w 99720"/>
                <a:gd name="connsiteY11" fmla="*/ 15848 h 18424"/>
                <a:gd name="connsiteX12" fmla="*/ 68865 w 99720"/>
                <a:gd name="connsiteY12" fmla="*/ 15747 h 18424"/>
                <a:gd name="connsiteX13" fmla="*/ 84995 w 99720"/>
                <a:gd name="connsiteY13" fmla="*/ 12924 h 18424"/>
                <a:gd name="connsiteX14" fmla="*/ 99715 w 99720"/>
                <a:gd name="connsiteY14" fmla="*/ 8690 h 18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720" h="18424">
                  <a:moveTo>
                    <a:pt x="99715" y="8690"/>
                  </a:moveTo>
                  <a:cubicBezTo>
                    <a:pt x="99815" y="8791"/>
                    <a:pt x="98505" y="9497"/>
                    <a:pt x="96085" y="10606"/>
                  </a:cubicBezTo>
                  <a:cubicBezTo>
                    <a:pt x="93666" y="11815"/>
                    <a:pt x="90137" y="13126"/>
                    <a:pt x="85499" y="14436"/>
                  </a:cubicBezTo>
                  <a:cubicBezTo>
                    <a:pt x="80963" y="15848"/>
                    <a:pt x="75418" y="16957"/>
                    <a:pt x="69167" y="17763"/>
                  </a:cubicBezTo>
                  <a:cubicBezTo>
                    <a:pt x="62916" y="18469"/>
                    <a:pt x="55960" y="18671"/>
                    <a:pt x="48701" y="18066"/>
                  </a:cubicBezTo>
                  <a:cubicBezTo>
                    <a:pt x="41442" y="17360"/>
                    <a:pt x="34687" y="16050"/>
                    <a:pt x="28538" y="14235"/>
                  </a:cubicBezTo>
                  <a:cubicBezTo>
                    <a:pt x="22489" y="12420"/>
                    <a:pt x="17246" y="10303"/>
                    <a:pt x="13012" y="8186"/>
                  </a:cubicBezTo>
                  <a:cubicBezTo>
                    <a:pt x="8777" y="6069"/>
                    <a:pt x="5450" y="4153"/>
                    <a:pt x="3233" y="2540"/>
                  </a:cubicBezTo>
                  <a:cubicBezTo>
                    <a:pt x="1015" y="1028"/>
                    <a:pt x="-94" y="120"/>
                    <a:pt x="6" y="20"/>
                  </a:cubicBezTo>
                  <a:cubicBezTo>
                    <a:pt x="208" y="-283"/>
                    <a:pt x="5047" y="2943"/>
                    <a:pt x="13617" y="6774"/>
                  </a:cubicBezTo>
                  <a:cubicBezTo>
                    <a:pt x="17851" y="8690"/>
                    <a:pt x="23093" y="10606"/>
                    <a:pt x="29042" y="12319"/>
                  </a:cubicBezTo>
                  <a:cubicBezTo>
                    <a:pt x="34990" y="13932"/>
                    <a:pt x="41644" y="15243"/>
                    <a:pt x="48802" y="15848"/>
                  </a:cubicBezTo>
                  <a:cubicBezTo>
                    <a:pt x="55859" y="16453"/>
                    <a:pt x="62715" y="16251"/>
                    <a:pt x="68865" y="15747"/>
                  </a:cubicBezTo>
                  <a:cubicBezTo>
                    <a:pt x="75014" y="15142"/>
                    <a:pt x="80458" y="14134"/>
                    <a:pt x="84995" y="12924"/>
                  </a:cubicBezTo>
                  <a:cubicBezTo>
                    <a:pt x="94271" y="10706"/>
                    <a:pt x="99614" y="8388"/>
                    <a:pt x="99715" y="8690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3057B5C6-598D-4D10-B6D7-6D382B127E76}"/>
                </a:ext>
              </a:extLst>
            </p:cNvPr>
            <p:cNvSpPr/>
            <p:nvPr/>
          </p:nvSpPr>
          <p:spPr>
            <a:xfrm>
              <a:off x="8861286" y="3736979"/>
              <a:ext cx="510639" cy="182647"/>
            </a:xfrm>
            <a:custGeom>
              <a:avLst/>
              <a:gdLst>
                <a:gd name="connsiteX0" fmla="*/ 0 w 510639"/>
                <a:gd name="connsiteY0" fmla="*/ 0 h 182647"/>
                <a:gd name="connsiteX1" fmla="*/ 217362 w 510639"/>
                <a:gd name="connsiteY1" fmla="*/ 181572 h 182647"/>
                <a:gd name="connsiteX2" fmla="*/ 249120 w 510639"/>
                <a:gd name="connsiteY2" fmla="*/ 181572 h 182647"/>
                <a:gd name="connsiteX3" fmla="*/ 264242 w 510639"/>
                <a:gd name="connsiteY3" fmla="*/ 154351 h 182647"/>
                <a:gd name="connsiteX4" fmla="*/ 510640 w 510639"/>
                <a:gd name="connsiteY4" fmla="*/ 178749 h 182647"/>
                <a:gd name="connsiteX5" fmla="*/ 261218 w 510639"/>
                <a:gd name="connsiteY5" fmla="*/ 86199 h 182647"/>
                <a:gd name="connsiteX6" fmla="*/ 213229 w 510639"/>
                <a:gd name="connsiteY6" fmla="*/ 114125 h 182647"/>
                <a:gd name="connsiteX7" fmla="*/ 0 w 510639"/>
                <a:gd name="connsiteY7" fmla="*/ 0 h 182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0639" h="182647">
                  <a:moveTo>
                    <a:pt x="0" y="0"/>
                  </a:moveTo>
                  <a:cubicBezTo>
                    <a:pt x="0" y="0"/>
                    <a:pt x="126526" y="183084"/>
                    <a:pt x="217362" y="181572"/>
                  </a:cubicBezTo>
                  <a:lnTo>
                    <a:pt x="249120" y="181572"/>
                  </a:lnTo>
                  <a:lnTo>
                    <a:pt x="264242" y="154351"/>
                  </a:lnTo>
                  <a:cubicBezTo>
                    <a:pt x="264242" y="154351"/>
                    <a:pt x="465474" y="195182"/>
                    <a:pt x="510640" y="178749"/>
                  </a:cubicBezTo>
                  <a:lnTo>
                    <a:pt x="261218" y="86199"/>
                  </a:lnTo>
                  <a:lnTo>
                    <a:pt x="213229" y="1141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5271583-454E-4520-A42A-1305FF7C20A0}"/>
                </a:ext>
              </a:extLst>
            </p:cNvPr>
            <p:cNvSpPr/>
            <p:nvPr/>
          </p:nvSpPr>
          <p:spPr>
            <a:xfrm>
              <a:off x="9017049" y="3572748"/>
              <a:ext cx="891930" cy="368791"/>
            </a:xfrm>
            <a:custGeom>
              <a:avLst/>
              <a:gdLst>
                <a:gd name="connsiteX0" fmla="*/ 0 w 891930"/>
                <a:gd name="connsiteY0" fmla="*/ 248111 h 368791"/>
                <a:gd name="connsiteX1" fmla="*/ 507010 w 891930"/>
                <a:gd name="connsiteY1" fmla="*/ 367983 h 368791"/>
                <a:gd name="connsiteX2" fmla="*/ 891931 w 891930"/>
                <a:gd name="connsiteY2" fmla="*/ 90030 h 368791"/>
                <a:gd name="connsiteX3" fmla="*/ 817124 w 891930"/>
                <a:gd name="connsiteY3" fmla="*/ 0 h 368791"/>
                <a:gd name="connsiteX4" fmla="*/ 474850 w 891930"/>
                <a:gd name="connsiteY4" fmla="*/ 189234 h 368791"/>
                <a:gd name="connsiteX5" fmla="*/ 64120 w 891930"/>
                <a:gd name="connsiteY5" fmla="*/ 58877 h 368791"/>
                <a:gd name="connsiteX6" fmla="*/ 0 w 891930"/>
                <a:gd name="connsiteY6" fmla="*/ 248111 h 36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1930" h="368791">
                  <a:moveTo>
                    <a:pt x="0" y="248111"/>
                  </a:moveTo>
                  <a:cubicBezTo>
                    <a:pt x="0" y="248111"/>
                    <a:pt x="453577" y="380283"/>
                    <a:pt x="507010" y="367983"/>
                  </a:cubicBezTo>
                  <a:cubicBezTo>
                    <a:pt x="560443" y="355683"/>
                    <a:pt x="891931" y="90030"/>
                    <a:pt x="891931" y="90030"/>
                  </a:cubicBezTo>
                  <a:lnTo>
                    <a:pt x="817124" y="0"/>
                  </a:lnTo>
                  <a:lnTo>
                    <a:pt x="474850" y="189234"/>
                  </a:lnTo>
                  <a:lnTo>
                    <a:pt x="64120" y="58877"/>
                  </a:lnTo>
                  <a:lnTo>
                    <a:pt x="0" y="248111"/>
                  </a:ln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C9396BF-1599-4043-BB24-806A61B68FA2}"/>
                </a:ext>
              </a:extLst>
            </p:cNvPr>
            <p:cNvSpPr/>
            <p:nvPr/>
          </p:nvSpPr>
          <p:spPr>
            <a:xfrm>
              <a:off x="8815681" y="3485641"/>
              <a:ext cx="425888" cy="406394"/>
            </a:xfrm>
            <a:custGeom>
              <a:avLst/>
              <a:gdLst>
                <a:gd name="connsiteX0" fmla="*/ 87444 w 425888"/>
                <a:gd name="connsiteY0" fmla="*/ 0 h 406394"/>
                <a:gd name="connsiteX1" fmla="*/ 439 w 425888"/>
                <a:gd name="connsiteY1" fmla="*/ 141346 h 406394"/>
                <a:gd name="connsiteX2" fmla="*/ 280812 w 425888"/>
                <a:gd name="connsiteY2" fmla="*/ 406395 h 406394"/>
                <a:gd name="connsiteX3" fmla="*/ 425888 w 425888"/>
                <a:gd name="connsiteY3" fmla="*/ 163727 h 406394"/>
                <a:gd name="connsiteX4" fmla="*/ 87444 w 425888"/>
                <a:gd name="connsiteY4" fmla="*/ 0 h 406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888" h="406394">
                  <a:moveTo>
                    <a:pt x="87444" y="0"/>
                  </a:moveTo>
                  <a:cubicBezTo>
                    <a:pt x="87444" y="0"/>
                    <a:pt x="11630" y="16736"/>
                    <a:pt x="439" y="141346"/>
                  </a:cubicBezTo>
                  <a:cubicBezTo>
                    <a:pt x="-12869" y="290051"/>
                    <a:pt x="280812" y="406395"/>
                    <a:pt x="280812" y="406395"/>
                  </a:cubicBezTo>
                  <a:lnTo>
                    <a:pt x="425888" y="163727"/>
                  </a:lnTo>
                  <a:lnTo>
                    <a:pt x="87444" y="0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C5C07A3-ADED-4890-B6DC-799A170878F2}"/>
                </a:ext>
              </a:extLst>
            </p:cNvPr>
            <p:cNvSpPr/>
            <p:nvPr/>
          </p:nvSpPr>
          <p:spPr>
            <a:xfrm>
              <a:off x="8839005" y="3582613"/>
              <a:ext cx="393691" cy="311843"/>
            </a:xfrm>
            <a:custGeom>
              <a:avLst/>
              <a:gdLst>
                <a:gd name="connsiteX0" fmla="*/ 221395 w 393691"/>
                <a:gd name="connsiteY0" fmla="*/ 15 h 311843"/>
                <a:gd name="connsiteX1" fmla="*/ 224621 w 393691"/>
                <a:gd name="connsiteY1" fmla="*/ 1225 h 311843"/>
                <a:gd name="connsiteX2" fmla="*/ 233795 w 393691"/>
                <a:gd name="connsiteY2" fmla="*/ 5358 h 311843"/>
                <a:gd name="connsiteX3" fmla="*/ 268376 w 393691"/>
                <a:gd name="connsiteY3" fmla="*/ 21590 h 311843"/>
                <a:gd name="connsiteX4" fmla="*/ 391474 w 393691"/>
                <a:gd name="connsiteY4" fmla="*/ 80669 h 311843"/>
                <a:gd name="connsiteX5" fmla="*/ 393692 w 393691"/>
                <a:gd name="connsiteY5" fmla="*/ 81677 h 311843"/>
                <a:gd name="connsiteX6" fmla="*/ 392482 w 393691"/>
                <a:gd name="connsiteY6" fmla="*/ 83794 h 311843"/>
                <a:gd name="connsiteX7" fmla="*/ 293782 w 393691"/>
                <a:gd name="connsiteY7" fmla="*/ 254780 h 311843"/>
                <a:gd name="connsiteX8" fmla="*/ 261621 w 393691"/>
                <a:gd name="connsiteY8" fmla="*/ 310028 h 311843"/>
                <a:gd name="connsiteX9" fmla="*/ 260512 w 393691"/>
                <a:gd name="connsiteY9" fmla="*/ 311843 h 311843"/>
                <a:gd name="connsiteX10" fmla="*/ 258496 w 393691"/>
                <a:gd name="connsiteY10" fmla="*/ 311137 h 311843"/>
                <a:gd name="connsiteX11" fmla="*/ 142052 w 393691"/>
                <a:gd name="connsiteY11" fmla="*/ 258712 h 311843"/>
                <a:gd name="connsiteX12" fmla="*/ 60591 w 393691"/>
                <a:gd name="connsiteY12" fmla="*/ 196911 h 311843"/>
                <a:gd name="connsiteX13" fmla="*/ 0 w 393691"/>
                <a:gd name="connsiteY13" fmla="*/ 127146 h 311843"/>
                <a:gd name="connsiteX14" fmla="*/ 4335 w 393691"/>
                <a:gd name="connsiteY14" fmla="*/ 131783 h 311843"/>
                <a:gd name="connsiteX15" fmla="*/ 16131 w 393691"/>
                <a:gd name="connsiteY15" fmla="*/ 145696 h 311843"/>
                <a:gd name="connsiteX16" fmla="*/ 62910 w 393691"/>
                <a:gd name="connsiteY16" fmla="*/ 194391 h 311843"/>
                <a:gd name="connsiteX17" fmla="*/ 144370 w 393691"/>
                <a:gd name="connsiteY17" fmla="*/ 254780 h 311843"/>
                <a:gd name="connsiteX18" fmla="*/ 260109 w 393691"/>
                <a:gd name="connsiteY18" fmla="*/ 306298 h 311843"/>
                <a:gd name="connsiteX19" fmla="*/ 256983 w 393691"/>
                <a:gd name="connsiteY19" fmla="*/ 307407 h 311843"/>
                <a:gd name="connsiteX20" fmla="*/ 289043 w 393691"/>
                <a:gd name="connsiteY20" fmla="*/ 252058 h 311843"/>
                <a:gd name="connsiteX21" fmla="*/ 388449 w 393691"/>
                <a:gd name="connsiteY21" fmla="*/ 81475 h 311843"/>
                <a:gd name="connsiteX22" fmla="*/ 389457 w 393691"/>
                <a:gd name="connsiteY22" fmla="*/ 84601 h 311843"/>
                <a:gd name="connsiteX23" fmla="*/ 267166 w 393691"/>
                <a:gd name="connsiteY23" fmla="*/ 23808 h 311843"/>
                <a:gd name="connsiteX24" fmla="*/ 233090 w 393691"/>
                <a:gd name="connsiteY24" fmla="*/ 6467 h 311843"/>
                <a:gd name="connsiteX25" fmla="*/ 224218 w 393691"/>
                <a:gd name="connsiteY25" fmla="*/ 1729 h 311843"/>
                <a:gd name="connsiteX26" fmla="*/ 221395 w 393691"/>
                <a:gd name="connsiteY26" fmla="*/ 15 h 31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93691" h="311843">
                  <a:moveTo>
                    <a:pt x="221395" y="15"/>
                  </a:moveTo>
                  <a:cubicBezTo>
                    <a:pt x="221496" y="-86"/>
                    <a:pt x="222605" y="318"/>
                    <a:pt x="224621" y="1225"/>
                  </a:cubicBezTo>
                  <a:cubicBezTo>
                    <a:pt x="227041" y="2334"/>
                    <a:pt x="230065" y="3645"/>
                    <a:pt x="233795" y="5358"/>
                  </a:cubicBezTo>
                  <a:cubicBezTo>
                    <a:pt x="242264" y="9290"/>
                    <a:pt x="253858" y="14734"/>
                    <a:pt x="268376" y="21590"/>
                  </a:cubicBezTo>
                  <a:cubicBezTo>
                    <a:pt x="298520" y="36108"/>
                    <a:pt x="340863" y="56372"/>
                    <a:pt x="391474" y="80669"/>
                  </a:cubicBezTo>
                  <a:lnTo>
                    <a:pt x="393692" y="81677"/>
                  </a:lnTo>
                  <a:lnTo>
                    <a:pt x="392482" y="83794"/>
                  </a:lnTo>
                  <a:cubicBezTo>
                    <a:pt x="363850" y="133396"/>
                    <a:pt x="329975" y="192072"/>
                    <a:pt x="293782" y="254780"/>
                  </a:cubicBezTo>
                  <a:cubicBezTo>
                    <a:pt x="282793" y="273734"/>
                    <a:pt x="272005" y="292284"/>
                    <a:pt x="261621" y="310028"/>
                  </a:cubicBezTo>
                  <a:lnTo>
                    <a:pt x="260512" y="311843"/>
                  </a:lnTo>
                  <a:lnTo>
                    <a:pt x="258496" y="311137"/>
                  </a:lnTo>
                  <a:cubicBezTo>
                    <a:pt x="215245" y="296015"/>
                    <a:pt x="175523" y="278674"/>
                    <a:pt x="142052" y="258712"/>
                  </a:cubicBezTo>
                  <a:cubicBezTo>
                    <a:pt x="108479" y="238851"/>
                    <a:pt x="81460" y="216873"/>
                    <a:pt x="60591" y="196911"/>
                  </a:cubicBezTo>
                  <a:cubicBezTo>
                    <a:pt x="19054" y="156584"/>
                    <a:pt x="0" y="127146"/>
                    <a:pt x="0" y="127146"/>
                  </a:cubicBezTo>
                  <a:cubicBezTo>
                    <a:pt x="101" y="127045"/>
                    <a:pt x="1613" y="128658"/>
                    <a:pt x="4335" y="131783"/>
                  </a:cubicBezTo>
                  <a:cubicBezTo>
                    <a:pt x="7360" y="135312"/>
                    <a:pt x="11292" y="139949"/>
                    <a:pt x="16131" y="145696"/>
                  </a:cubicBezTo>
                  <a:cubicBezTo>
                    <a:pt x="26616" y="157593"/>
                    <a:pt x="41839" y="174933"/>
                    <a:pt x="62910" y="194391"/>
                  </a:cubicBezTo>
                  <a:cubicBezTo>
                    <a:pt x="83880" y="213949"/>
                    <a:pt x="111000" y="235423"/>
                    <a:pt x="144370" y="254780"/>
                  </a:cubicBezTo>
                  <a:cubicBezTo>
                    <a:pt x="177640" y="274339"/>
                    <a:pt x="217060" y="291377"/>
                    <a:pt x="260109" y="306298"/>
                  </a:cubicBezTo>
                  <a:lnTo>
                    <a:pt x="256983" y="307407"/>
                  </a:lnTo>
                  <a:cubicBezTo>
                    <a:pt x="267267" y="289562"/>
                    <a:pt x="278054" y="271012"/>
                    <a:pt x="289043" y="252058"/>
                  </a:cubicBezTo>
                  <a:cubicBezTo>
                    <a:pt x="325438" y="189451"/>
                    <a:pt x="359615" y="130977"/>
                    <a:pt x="388449" y="81475"/>
                  </a:cubicBezTo>
                  <a:lnTo>
                    <a:pt x="389457" y="84601"/>
                  </a:lnTo>
                  <a:cubicBezTo>
                    <a:pt x="339149" y="59598"/>
                    <a:pt x="297109" y="38729"/>
                    <a:pt x="267166" y="23808"/>
                  </a:cubicBezTo>
                  <a:cubicBezTo>
                    <a:pt x="252850" y="16549"/>
                    <a:pt x="241457" y="10702"/>
                    <a:pt x="233090" y="6467"/>
                  </a:cubicBezTo>
                  <a:cubicBezTo>
                    <a:pt x="229460" y="4552"/>
                    <a:pt x="226537" y="3040"/>
                    <a:pt x="224218" y="1729"/>
                  </a:cubicBezTo>
                  <a:cubicBezTo>
                    <a:pt x="222302" y="721"/>
                    <a:pt x="221294" y="116"/>
                    <a:pt x="221395" y="15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32AB0754-EFF1-41B3-B635-6A4A0A470485}"/>
                </a:ext>
              </a:extLst>
            </p:cNvPr>
            <p:cNvSpPr/>
            <p:nvPr/>
          </p:nvSpPr>
          <p:spPr>
            <a:xfrm>
              <a:off x="9346147" y="3488145"/>
              <a:ext cx="66502" cy="131590"/>
            </a:xfrm>
            <a:custGeom>
              <a:avLst/>
              <a:gdLst>
                <a:gd name="connsiteX0" fmla="*/ 66408 w 66502"/>
                <a:gd name="connsiteY0" fmla="*/ 131584 h 131590"/>
                <a:gd name="connsiteX1" fmla="*/ 34147 w 66502"/>
                <a:gd name="connsiteY1" fmla="*/ 65347 h 131590"/>
                <a:gd name="connsiteX2" fmla="*/ 71 w 66502"/>
                <a:gd name="connsiteY2" fmla="*/ 17 h 131590"/>
                <a:gd name="connsiteX3" fmla="*/ 12975 w 66502"/>
                <a:gd name="connsiteY3" fmla="*/ 17459 h 131590"/>
                <a:gd name="connsiteX4" fmla="*/ 38885 w 66502"/>
                <a:gd name="connsiteY4" fmla="*/ 62927 h 131590"/>
                <a:gd name="connsiteX5" fmla="*/ 60158 w 66502"/>
                <a:gd name="connsiteY5" fmla="*/ 110715 h 131590"/>
                <a:gd name="connsiteX6" fmla="*/ 66408 w 66502"/>
                <a:gd name="connsiteY6" fmla="*/ 131584 h 131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502" h="131590">
                  <a:moveTo>
                    <a:pt x="66408" y="131584"/>
                  </a:moveTo>
                  <a:cubicBezTo>
                    <a:pt x="64997" y="132088"/>
                    <a:pt x="52496" y="101641"/>
                    <a:pt x="34147" y="65347"/>
                  </a:cubicBezTo>
                  <a:cubicBezTo>
                    <a:pt x="15899" y="29053"/>
                    <a:pt x="-1240" y="925"/>
                    <a:pt x="71" y="17"/>
                  </a:cubicBezTo>
                  <a:cubicBezTo>
                    <a:pt x="676" y="-386"/>
                    <a:pt x="5716" y="6268"/>
                    <a:pt x="12975" y="17459"/>
                  </a:cubicBezTo>
                  <a:cubicBezTo>
                    <a:pt x="20234" y="28750"/>
                    <a:pt x="29610" y="44679"/>
                    <a:pt x="38885" y="62927"/>
                  </a:cubicBezTo>
                  <a:cubicBezTo>
                    <a:pt x="48060" y="81175"/>
                    <a:pt x="55419" y="98213"/>
                    <a:pt x="60158" y="110715"/>
                  </a:cubicBezTo>
                  <a:cubicBezTo>
                    <a:pt x="64694" y="123317"/>
                    <a:pt x="67013" y="131282"/>
                    <a:pt x="66408" y="131584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A2F3B87-34E6-453F-91F6-A026002F8355}"/>
                </a:ext>
              </a:extLst>
            </p:cNvPr>
            <p:cNvSpPr/>
            <p:nvPr/>
          </p:nvSpPr>
          <p:spPr>
            <a:xfrm>
              <a:off x="8320896" y="4588280"/>
              <a:ext cx="677319" cy="1232491"/>
            </a:xfrm>
            <a:custGeom>
              <a:avLst/>
              <a:gdLst>
                <a:gd name="connsiteX0" fmla="*/ 9 w 677319"/>
                <a:gd name="connsiteY0" fmla="*/ 1232492 h 1232491"/>
                <a:gd name="connsiteX1" fmla="*/ 2026 w 677319"/>
                <a:gd name="connsiteY1" fmla="*/ 1229366 h 1232491"/>
                <a:gd name="connsiteX2" fmla="*/ 8377 w 677319"/>
                <a:gd name="connsiteY2" fmla="*/ 1220595 h 1232491"/>
                <a:gd name="connsiteX3" fmla="*/ 33279 w 677319"/>
                <a:gd name="connsiteY3" fmla="*/ 1187326 h 1232491"/>
                <a:gd name="connsiteX4" fmla="*/ 125628 w 677319"/>
                <a:gd name="connsiteY4" fmla="*/ 1065538 h 1232491"/>
                <a:gd name="connsiteX5" fmla="*/ 431911 w 677319"/>
                <a:gd name="connsiteY5" fmla="*/ 665092 h 1232491"/>
                <a:gd name="connsiteX6" fmla="*/ 472540 w 677319"/>
                <a:gd name="connsiteY6" fmla="*/ 612163 h 1232491"/>
                <a:gd name="connsiteX7" fmla="*/ 472137 w 677319"/>
                <a:gd name="connsiteY7" fmla="*/ 612969 h 1232491"/>
                <a:gd name="connsiteX8" fmla="*/ 616911 w 677319"/>
                <a:gd name="connsiteY8" fmla="*/ 177035 h 1232491"/>
                <a:gd name="connsiteX9" fmla="*/ 660665 w 677319"/>
                <a:gd name="connsiteY9" fmla="*/ 47082 h 1232491"/>
                <a:gd name="connsiteX10" fmla="*/ 672763 w 677319"/>
                <a:gd name="connsiteY10" fmla="*/ 12098 h 1232491"/>
                <a:gd name="connsiteX11" fmla="*/ 675990 w 677319"/>
                <a:gd name="connsiteY11" fmla="*/ 3025 h 1232491"/>
                <a:gd name="connsiteX12" fmla="*/ 677300 w 677319"/>
                <a:gd name="connsiteY12" fmla="*/ 0 h 1232491"/>
                <a:gd name="connsiteX13" fmla="*/ 676494 w 677319"/>
                <a:gd name="connsiteY13" fmla="*/ 3226 h 1232491"/>
                <a:gd name="connsiteX14" fmla="*/ 673671 w 677319"/>
                <a:gd name="connsiteY14" fmla="*/ 12401 h 1232491"/>
                <a:gd name="connsiteX15" fmla="*/ 662480 w 677319"/>
                <a:gd name="connsiteY15" fmla="*/ 47687 h 1232491"/>
                <a:gd name="connsiteX16" fmla="*/ 620238 w 677319"/>
                <a:gd name="connsiteY16" fmla="*/ 178144 h 1232491"/>
                <a:gd name="connsiteX17" fmla="*/ 477077 w 677319"/>
                <a:gd name="connsiteY17" fmla="*/ 614583 h 1232491"/>
                <a:gd name="connsiteX18" fmla="*/ 476976 w 677319"/>
                <a:gd name="connsiteY18" fmla="*/ 614986 h 1232491"/>
                <a:gd name="connsiteX19" fmla="*/ 476674 w 677319"/>
                <a:gd name="connsiteY19" fmla="*/ 615389 h 1232491"/>
                <a:gd name="connsiteX20" fmla="*/ 436044 w 677319"/>
                <a:gd name="connsiteY20" fmla="*/ 668419 h 1232491"/>
                <a:gd name="connsiteX21" fmla="*/ 128552 w 677319"/>
                <a:gd name="connsiteY21" fmla="*/ 1067958 h 1232491"/>
                <a:gd name="connsiteX22" fmla="*/ 34892 w 677319"/>
                <a:gd name="connsiteY22" fmla="*/ 1188636 h 1232491"/>
                <a:gd name="connsiteX23" fmla="*/ 9184 w 677319"/>
                <a:gd name="connsiteY23" fmla="*/ 1221301 h 1232491"/>
                <a:gd name="connsiteX24" fmla="*/ 2429 w 677319"/>
                <a:gd name="connsiteY24" fmla="*/ 1229669 h 1232491"/>
                <a:gd name="connsiteX25" fmla="*/ 9 w 677319"/>
                <a:gd name="connsiteY25" fmla="*/ 1232492 h 123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77319" h="1232491">
                  <a:moveTo>
                    <a:pt x="9" y="1232492"/>
                  </a:moveTo>
                  <a:cubicBezTo>
                    <a:pt x="-91" y="1232391"/>
                    <a:pt x="614" y="1231383"/>
                    <a:pt x="2026" y="1229366"/>
                  </a:cubicBezTo>
                  <a:cubicBezTo>
                    <a:pt x="3639" y="1227148"/>
                    <a:pt x="5756" y="1224326"/>
                    <a:pt x="8377" y="1220595"/>
                  </a:cubicBezTo>
                  <a:cubicBezTo>
                    <a:pt x="14225" y="1212732"/>
                    <a:pt x="22593" y="1201541"/>
                    <a:pt x="33279" y="1187326"/>
                  </a:cubicBezTo>
                  <a:cubicBezTo>
                    <a:pt x="55257" y="1158290"/>
                    <a:pt x="86813" y="1116754"/>
                    <a:pt x="125628" y="1065538"/>
                  </a:cubicBezTo>
                  <a:cubicBezTo>
                    <a:pt x="204165" y="962805"/>
                    <a:pt x="312442" y="821359"/>
                    <a:pt x="431911" y="665092"/>
                  </a:cubicBezTo>
                  <a:cubicBezTo>
                    <a:pt x="445824" y="646945"/>
                    <a:pt x="459636" y="628999"/>
                    <a:pt x="472540" y="612163"/>
                  </a:cubicBezTo>
                  <a:lnTo>
                    <a:pt x="472137" y="612969"/>
                  </a:lnTo>
                  <a:cubicBezTo>
                    <a:pt x="529300" y="440773"/>
                    <a:pt x="580213" y="287632"/>
                    <a:pt x="616911" y="177035"/>
                  </a:cubicBezTo>
                  <a:cubicBezTo>
                    <a:pt x="635360" y="122191"/>
                    <a:pt x="650281" y="77932"/>
                    <a:pt x="660665" y="47082"/>
                  </a:cubicBezTo>
                  <a:cubicBezTo>
                    <a:pt x="665807" y="32060"/>
                    <a:pt x="669840" y="20365"/>
                    <a:pt x="672763" y="12098"/>
                  </a:cubicBezTo>
                  <a:cubicBezTo>
                    <a:pt x="674074" y="8368"/>
                    <a:pt x="675183" y="5343"/>
                    <a:pt x="675990" y="3025"/>
                  </a:cubicBezTo>
                  <a:cubicBezTo>
                    <a:pt x="676796" y="1008"/>
                    <a:pt x="677199" y="0"/>
                    <a:pt x="677300" y="0"/>
                  </a:cubicBezTo>
                  <a:cubicBezTo>
                    <a:pt x="677401" y="0"/>
                    <a:pt x="677099" y="1109"/>
                    <a:pt x="676494" y="3226"/>
                  </a:cubicBezTo>
                  <a:cubicBezTo>
                    <a:pt x="675788" y="5545"/>
                    <a:pt x="674881" y="8570"/>
                    <a:pt x="673671" y="12401"/>
                  </a:cubicBezTo>
                  <a:cubicBezTo>
                    <a:pt x="671050" y="20768"/>
                    <a:pt x="667319" y="32564"/>
                    <a:pt x="662480" y="47687"/>
                  </a:cubicBezTo>
                  <a:cubicBezTo>
                    <a:pt x="652499" y="78638"/>
                    <a:pt x="638082" y="122997"/>
                    <a:pt x="620238" y="178144"/>
                  </a:cubicBezTo>
                  <a:cubicBezTo>
                    <a:pt x="583943" y="288842"/>
                    <a:pt x="533636" y="442185"/>
                    <a:pt x="477077" y="614583"/>
                  </a:cubicBezTo>
                  <a:lnTo>
                    <a:pt x="476976" y="614986"/>
                  </a:lnTo>
                  <a:lnTo>
                    <a:pt x="476674" y="615389"/>
                  </a:lnTo>
                  <a:cubicBezTo>
                    <a:pt x="463769" y="632226"/>
                    <a:pt x="449957" y="650272"/>
                    <a:pt x="436044" y="668419"/>
                  </a:cubicBezTo>
                  <a:cubicBezTo>
                    <a:pt x="316072" y="824282"/>
                    <a:pt x="207391" y="965427"/>
                    <a:pt x="128552" y="1067958"/>
                  </a:cubicBezTo>
                  <a:cubicBezTo>
                    <a:pt x="89132" y="1118770"/>
                    <a:pt x="57173" y="1159903"/>
                    <a:pt x="34892" y="1188636"/>
                  </a:cubicBezTo>
                  <a:cubicBezTo>
                    <a:pt x="23903" y="1202650"/>
                    <a:pt x="15233" y="1213538"/>
                    <a:pt x="9184" y="1221301"/>
                  </a:cubicBezTo>
                  <a:cubicBezTo>
                    <a:pt x="6361" y="1224830"/>
                    <a:pt x="4143" y="1227653"/>
                    <a:pt x="2429" y="1229669"/>
                  </a:cubicBezTo>
                  <a:cubicBezTo>
                    <a:pt x="917" y="1231584"/>
                    <a:pt x="110" y="1232492"/>
                    <a:pt x="9" y="1232492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46C0E36-DC1B-4815-BD97-3F1315934331}"/>
                </a:ext>
              </a:extLst>
            </p:cNvPr>
            <p:cNvSpPr/>
            <p:nvPr/>
          </p:nvSpPr>
          <p:spPr>
            <a:xfrm>
              <a:off x="9156974" y="5041780"/>
              <a:ext cx="90552" cy="32316"/>
            </a:xfrm>
            <a:custGeom>
              <a:avLst/>
              <a:gdLst>
                <a:gd name="connsiteX0" fmla="*/ 90543 w 90552"/>
                <a:gd name="connsiteY0" fmla="*/ 178 h 32316"/>
                <a:gd name="connsiteX1" fmla="*/ 46184 w 90552"/>
                <a:gd name="connsiteY1" fmla="*/ 18628 h 32316"/>
                <a:gd name="connsiteX2" fmla="*/ 9 w 90552"/>
                <a:gd name="connsiteY2" fmla="*/ 32138 h 32316"/>
                <a:gd name="connsiteX3" fmla="*/ 44470 w 90552"/>
                <a:gd name="connsiteY3" fmla="*/ 13688 h 32316"/>
                <a:gd name="connsiteX4" fmla="*/ 90543 w 90552"/>
                <a:gd name="connsiteY4" fmla="*/ 178 h 32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552" h="32316">
                  <a:moveTo>
                    <a:pt x="90543" y="178"/>
                  </a:moveTo>
                  <a:cubicBezTo>
                    <a:pt x="91047" y="1590"/>
                    <a:pt x="71186" y="9756"/>
                    <a:pt x="46184" y="18628"/>
                  </a:cubicBezTo>
                  <a:cubicBezTo>
                    <a:pt x="21181" y="27399"/>
                    <a:pt x="513" y="33448"/>
                    <a:pt x="9" y="32138"/>
                  </a:cubicBezTo>
                  <a:cubicBezTo>
                    <a:pt x="-495" y="30726"/>
                    <a:pt x="19366" y="22560"/>
                    <a:pt x="44470" y="13688"/>
                  </a:cubicBezTo>
                  <a:cubicBezTo>
                    <a:pt x="69372" y="4917"/>
                    <a:pt x="90039" y="-1132"/>
                    <a:pt x="90543" y="178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A38CA71-614A-4B1F-8E1F-EBAB98DB4D73}"/>
                </a:ext>
              </a:extLst>
            </p:cNvPr>
            <p:cNvSpPr/>
            <p:nvPr/>
          </p:nvSpPr>
          <p:spPr>
            <a:xfrm>
              <a:off x="9167663" y="5084003"/>
              <a:ext cx="77038" cy="22373"/>
            </a:xfrm>
            <a:custGeom>
              <a:avLst/>
              <a:gdLst>
                <a:gd name="connsiteX0" fmla="*/ 77031 w 77038"/>
                <a:gd name="connsiteY0" fmla="*/ 22075 h 22373"/>
                <a:gd name="connsiteX1" fmla="*/ 37814 w 77038"/>
                <a:gd name="connsiteY1" fmla="*/ 13707 h 22373"/>
                <a:gd name="connsiteX2" fmla="*/ 7 w 77038"/>
                <a:gd name="connsiteY2" fmla="*/ 298 h 22373"/>
                <a:gd name="connsiteX3" fmla="*/ 39225 w 77038"/>
                <a:gd name="connsiteY3" fmla="*/ 8666 h 22373"/>
                <a:gd name="connsiteX4" fmla="*/ 77031 w 77038"/>
                <a:gd name="connsiteY4" fmla="*/ 22075 h 22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38" h="22373">
                  <a:moveTo>
                    <a:pt x="77031" y="22075"/>
                  </a:moveTo>
                  <a:cubicBezTo>
                    <a:pt x="76628" y="23486"/>
                    <a:pt x="59086" y="19756"/>
                    <a:pt x="37814" y="13707"/>
                  </a:cubicBezTo>
                  <a:cubicBezTo>
                    <a:pt x="16541" y="7658"/>
                    <a:pt x="-396" y="1609"/>
                    <a:pt x="7" y="298"/>
                  </a:cubicBezTo>
                  <a:cubicBezTo>
                    <a:pt x="410" y="-1113"/>
                    <a:pt x="17953" y="2617"/>
                    <a:pt x="39225" y="8666"/>
                  </a:cubicBezTo>
                  <a:cubicBezTo>
                    <a:pt x="60497" y="14614"/>
                    <a:pt x="77435" y="20663"/>
                    <a:pt x="77031" y="22075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A959A053-B5AC-40AD-9B1D-8DB57059E866}"/>
                </a:ext>
              </a:extLst>
            </p:cNvPr>
            <p:cNvSpPr/>
            <p:nvPr/>
          </p:nvSpPr>
          <p:spPr>
            <a:xfrm>
              <a:off x="8913308" y="4215935"/>
              <a:ext cx="338652" cy="97374"/>
            </a:xfrm>
            <a:custGeom>
              <a:avLst/>
              <a:gdLst>
                <a:gd name="connsiteX0" fmla="*/ 338645 w 338652"/>
                <a:gd name="connsiteY0" fmla="*/ 27 h 97374"/>
                <a:gd name="connsiteX1" fmla="*/ 327152 w 338652"/>
                <a:gd name="connsiteY1" fmla="*/ 8093 h 97374"/>
                <a:gd name="connsiteX2" fmla="*/ 293983 w 338652"/>
                <a:gd name="connsiteY2" fmla="*/ 27248 h 97374"/>
                <a:gd name="connsiteX3" fmla="*/ 176733 w 338652"/>
                <a:gd name="connsiteY3" fmla="*/ 74229 h 97374"/>
                <a:gd name="connsiteX4" fmla="*/ 52324 w 338652"/>
                <a:gd name="connsiteY4" fmla="*/ 96106 h 97374"/>
                <a:gd name="connsiteX5" fmla="*/ 14014 w 338652"/>
                <a:gd name="connsiteY5" fmla="*/ 97316 h 97374"/>
                <a:gd name="connsiteX6" fmla="*/ 0 w 338652"/>
                <a:gd name="connsiteY6" fmla="*/ 96510 h 97374"/>
                <a:gd name="connsiteX7" fmla="*/ 14014 w 338652"/>
                <a:gd name="connsiteY7" fmla="*/ 95199 h 97374"/>
                <a:gd name="connsiteX8" fmla="*/ 52022 w 338652"/>
                <a:gd name="connsiteY8" fmla="*/ 92376 h 97374"/>
                <a:gd name="connsiteX9" fmla="*/ 175321 w 338652"/>
                <a:gd name="connsiteY9" fmla="*/ 69188 h 97374"/>
                <a:gd name="connsiteX10" fmla="*/ 292370 w 338652"/>
                <a:gd name="connsiteY10" fmla="*/ 24022 h 97374"/>
                <a:gd name="connsiteX11" fmla="*/ 326245 w 338652"/>
                <a:gd name="connsiteY11" fmla="*/ 6480 h 97374"/>
                <a:gd name="connsiteX12" fmla="*/ 338645 w 338652"/>
                <a:gd name="connsiteY12" fmla="*/ 27 h 9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652" h="97374">
                  <a:moveTo>
                    <a:pt x="338645" y="27"/>
                  </a:moveTo>
                  <a:cubicBezTo>
                    <a:pt x="338847" y="330"/>
                    <a:pt x="334713" y="3153"/>
                    <a:pt x="327152" y="8093"/>
                  </a:cubicBezTo>
                  <a:cubicBezTo>
                    <a:pt x="319591" y="13033"/>
                    <a:pt x="308299" y="19687"/>
                    <a:pt x="293983" y="27248"/>
                  </a:cubicBezTo>
                  <a:cubicBezTo>
                    <a:pt x="265452" y="42471"/>
                    <a:pt x="224319" y="60619"/>
                    <a:pt x="176733" y="74229"/>
                  </a:cubicBezTo>
                  <a:cubicBezTo>
                    <a:pt x="129147" y="87738"/>
                    <a:pt x="84586" y="93989"/>
                    <a:pt x="52324" y="96106"/>
                  </a:cubicBezTo>
                  <a:cubicBezTo>
                    <a:pt x="36193" y="97215"/>
                    <a:pt x="23087" y="97518"/>
                    <a:pt x="14014" y="97316"/>
                  </a:cubicBezTo>
                  <a:cubicBezTo>
                    <a:pt x="4940" y="97215"/>
                    <a:pt x="0" y="96913"/>
                    <a:pt x="0" y="96510"/>
                  </a:cubicBezTo>
                  <a:cubicBezTo>
                    <a:pt x="0" y="96106"/>
                    <a:pt x="4940" y="95703"/>
                    <a:pt x="14014" y="95199"/>
                  </a:cubicBezTo>
                  <a:cubicBezTo>
                    <a:pt x="22986" y="94795"/>
                    <a:pt x="35992" y="93888"/>
                    <a:pt x="52022" y="92376"/>
                  </a:cubicBezTo>
                  <a:cubicBezTo>
                    <a:pt x="84082" y="89352"/>
                    <a:pt x="128139" y="82597"/>
                    <a:pt x="175321" y="69188"/>
                  </a:cubicBezTo>
                  <a:cubicBezTo>
                    <a:pt x="222504" y="55678"/>
                    <a:pt x="263536" y="38237"/>
                    <a:pt x="292370" y="24022"/>
                  </a:cubicBezTo>
                  <a:cubicBezTo>
                    <a:pt x="306787" y="16864"/>
                    <a:pt x="318381" y="10815"/>
                    <a:pt x="326245" y="6480"/>
                  </a:cubicBezTo>
                  <a:cubicBezTo>
                    <a:pt x="333907" y="1943"/>
                    <a:pt x="338444" y="-275"/>
                    <a:pt x="338645" y="2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DA66D490-EA0F-4AE6-822D-297BC76C243E}"/>
                </a:ext>
              </a:extLst>
            </p:cNvPr>
            <p:cNvSpPr/>
            <p:nvPr/>
          </p:nvSpPr>
          <p:spPr>
            <a:xfrm>
              <a:off x="10624480" y="5813816"/>
              <a:ext cx="363345" cy="270291"/>
            </a:xfrm>
            <a:custGeom>
              <a:avLst/>
              <a:gdLst>
                <a:gd name="connsiteX0" fmla="*/ 122392 w 363345"/>
                <a:gd name="connsiteY0" fmla="*/ 907 h 270291"/>
                <a:gd name="connsiteX1" fmla="*/ 189839 w 363345"/>
                <a:gd name="connsiteY1" fmla="*/ 165441 h 270291"/>
                <a:gd name="connsiteX2" fmla="*/ 0 w 363345"/>
                <a:gd name="connsiteY2" fmla="*/ 270291 h 270291"/>
                <a:gd name="connsiteX3" fmla="*/ 363345 w 363345"/>
                <a:gd name="connsiteY3" fmla="*/ 269384 h 270291"/>
                <a:gd name="connsiteX4" fmla="*/ 303863 w 363345"/>
                <a:gd name="connsiteY4" fmla="*/ 0 h 270291"/>
                <a:gd name="connsiteX5" fmla="*/ 122392 w 363345"/>
                <a:gd name="connsiteY5" fmla="*/ 907 h 270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345" h="270291">
                  <a:moveTo>
                    <a:pt x="122392" y="907"/>
                  </a:moveTo>
                  <a:lnTo>
                    <a:pt x="189839" y="165441"/>
                  </a:lnTo>
                  <a:cubicBezTo>
                    <a:pt x="189839" y="165441"/>
                    <a:pt x="2016" y="235610"/>
                    <a:pt x="0" y="270291"/>
                  </a:cubicBezTo>
                  <a:lnTo>
                    <a:pt x="363345" y="269384"/>
                  </a:lnTo>
                  <a:lnTo>
                    <a:pt x="303863" y="0"/>
                  </a:lnTo>
                  <a:lnTo>
                    <a:pt x="122392" y="907"/>
                  </a:ln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DF497252-D797-4F65-9A49-D6A0F4EE95B8}"/>
                </a:ext>
              </a:extLst>
            </p:cNvPr>
            <p:cNvSpPr/>
            <p:nvPr/>
          </p:nvSpPr>
          <p:spPr>
            <a:xfrm>
              <a:off x="10908954" y="5962676"/>
              <a:ext cx="28269" cy="28213"/>
            </a:xfrm>
            <a:custGeom>
              <a:avLst/>
              <a:gdLst>
                <a:gd name="connsiteX0" fmla="*/ 17675 w 28269"/>
                <a:gd name="connsiteY0" fmla="*/ 551 h 28213"/>
                <a:gd name="connsiteX1" fmla="*/ 27959 w 28269"/>
                <a:gd name="connsiteY1" fmla="*/ 17488 h 28213"/>
                <a:gd name="connsiteX2" fmla="*/ 11324 w 28269"/>
                <a:gd name="connsiteY2" fmla="*/ 27872 h 28213"/>
                <a:gd name="connsiteX3" fmla="*/ 536 w 28269"/>
                <a:gd name="connsiteY3" fmla="*/ 9927 h 28213"/>
                <a:gd name="connsiteX4" fmla="*/ 19087 w 28269"/>
                <a:gd name="connsiteY4" fmla="*/ 1055 h 28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69" h="28213">
                  <a:moveTo>
                    <a:pt x="17675" y="551"/>
                  </a:moveTo>
                  <a:cubicBezTo>
                    <a:pt x="24732" y="2466"/>
                    <a:pt x="29572" y="10330"/>
                    <a:pt x="27959" y="17488"/>
                  </a:cubicBezTo>
                  <a:cubicBezTo>
                    <a:pt x="26345" y="24646"/>
                    <a:pt x="18381" y="29586"/>
                    <a:pt x="11324" y="27872"/>
                  </a:cubicBezTo>
                  <a:cubicBezTo>
                    <a:pt x="4266" y="26058"/>
                    <a:pt x="-1883" y="16783"/>
                    <a:pt x="536" y="9927"/>
                  </a:cubicBezTo>
                  <a:cubicBezTo>
                    <a:pt x="2956" y="3071"/>
                    <a:pt x="12634" y="-2373"/>
                    <a:pt x="19087" y="1055"/>
                  </a:cubicBezTo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B68EF89-E1D2-4F42-8A54-32154C78CFC6}"/>
                </a:ext>
              </a:extLst>
            </p:cNvPr>
            <p:cNvSpPr/>
            <p:nvPr/>
          </p:nvSpPr>
          <p:spPr>
            <a:xfrm>
              <a:off x="10624237" y="6053962"/>
              <a:ext cx="363588" cy="30144"/>
            </a:xfrm>
            <a:custGeom>
              <a:avLst/>
              <a:gdLst>
                <a:gd name="connsiteX0" fmla="*/ 363589 w 363588"/>
                <a:gd name="connsiteY0" fmla="*/ 29237 h 30144"/>
                <a:gd name="connsiteX1" fmla="*/ 357137 w 363588"/>
                <a:gd name="connsiteY1" fmla="*/ 0 h 30144"/>
                <a:gd name="connsiteX2" fmla="*/ 14458 w 363588"/>
                <a:gd name="connsiteY2" fmla="*/ 11695 h 30144"/>
                <a:gd name="connsiteX3" fmla="*/ 142 w 363588"/>
                <a:gd name="connsiteY3" fmla="*/ 30144 h 30144"/>
                <a:gd name="connsiteX4" fmla="*/ 363589 w 363588"/>
                <a:gd name="connsiteY4" fmla="*/ 29237 h 30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3588" h="30144">
                  <a:moveTo>
                    <a:pt x="363589" y="29237"/>
                  </a:moveTo>
                  <a:lnTo>
                    <a:pt x="357137" y="0"/>
                  </a:lnTo>
                  <a:lnTo>
                    <a:pt x="14458" y="11695"/>
                  </a:lnTo>
                  <a:cubicBezTo>
                    <a:pt x="14458" y="11695"/>
                    <a:pt x="-1672" y="18752"/>
                    <a:pt x="142" y="30144"/>
                  </a:cubicBezTo>
                  <a:lnTo>
                    <a:pt x="363589" y="29237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BE407C9-DF3F-4346-81F1-A7BC98061EA7}"/>
                </a:ext>
              </a:extLst>
            </p:cNvPr>
            <p:cNvSpPr/>
            <p:nvPr/>
          </p:nvSpPr>
          <p:spPr>
            <a:xfrm>
              <a:off x="10808365" y="5975771"/>
              <a:ext cx="33107" cy="22383"/>
            </a:xfrm>
            <a:custGeom>
              <a:avLst/>
              <a:gdLst>
                <a:gd name="connsiteX0" fmla="*/ 6 w 33107"/>
                <a:gd name="connsiteY0" fmla="*/ 1671 h 22383"/>
                <a:gd name="connsiteX1" fmla="*/ 17649 w 33107"/>
                <a:gd name="connsiteY1" fmla="*/ 9938 h 22383"/>
                <a:gd name="connsiteX2" fmla="*/ 32671 w 33107"/>
                <a:gd name="connsiteY2" fmla="*/ 22338 h 22383"/>
                <a:gd name="connsiteX3" fmla="*/ 20876 w 33107"/>
                <a:gd name="connsiteY3" fmla="*/ 4695 h 22383"/>
                <a:gd name="connsiteX4" fmla="*/ 6 w 33107"/>
                <a:gd name="connsiteY4" fmla="*/ 1671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07" h="22383">
                  <a:moveTo>
                    <a:pt x="6" y="1671"/>
                  </a:moveTo>
                  <a:cubicBezTo>
                    <a:pt x="107" y="3486"/>
                    <a:pt x="8979" y="4191"/>
                    <a:pt x="17649" y="9938"/>
                  </a:cubicBezTo>
                  <a:cubicBezTo>
                    <a:pt x="26521" y="15382"/>
                    <a:pt x="31058" y="23044"/>
                    <a:pt x="32671" y="22338"/>
                  </a:cubicBezTo>
                  <a:cubicBezTo>
                    <a:pt x="34284" y="22036"/>
                    <a:pt x="31663" y="11349"/>
                    <a:pt x="20876" y="4695"/>
                  </a:cubicBezTo>
                  <a:cubicBezTo>
                    <a:pt x="10390" y="-2160"/>
                    <a:pt x="-296" y="58"/>
                    <a:pt x="6" y="167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F778350C-0329-4FFA-9E6E-7BAEB880E043}"/>
                </a:ext>
              </a:extLst>
            </p:cNvPr>
            <p:cNvSpPr/>
            <p:nvPr/>
          </p:nvSpPr>
          <p:spPr>
            <a:xfrm>
              <a:off x="10770347" y="5992532"/>
              <a:ext cx="24145" cy="28267"/>
            </a:xfrm>
            <a:custGeom>
              <a:avLst/>
              <a:gdLst>
                <a:gd name="connsiteX0" fmla="*/ 15 w 24145"/>
                <a:gd name="connsiteY0" fmla="*/ 738 h 28267"/>
                <a:gd name="connsiteX1" fmla="*/ 13323 w 24145"/>
                <a:gd name="connsiteY1" fmla="*/ 12937 h 28267"/>
                <a:gd name="connsiteX2" fmla="*/ 22901 w 24145"/>
                <a:gd name="connsiteY2" fmla="*/ 28261 h 28267"/>
                <a:gd name="connsiteX3" fmla="*/ 18062 w 24145"/>
                <a:gd name="connsiteY3" fmla="*/ 9006 h 28267"/>
                <a:gd name="connsiteX4" fmla="*/ 15 w 24145"/>
                <a:gd name="connsiteY4" fmla="*/ 738 h 28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45" h="28267">
                  <a:moveTo>
                    <a:pt x="15" y="738"/>
                  </a:moveTo>
                  <a:cubicBezTo>
                    <a:pt x="-388" y="2452"/>
                    <a:pt x="7274" y="5477"/>
                    <a:pt x="13323" y="12937"/>
                  </a:cubicBezTo>
                  <a:cubicBezTo>
                    <a:pt x="19574" y="20297"/>
                    <a:pt x="21086" y="28362"/>
                    <a:pt x="22901" y="28261"/>
                  </a:cubicBezTo>
                  <a:cubicBezTo>
                    <a:pt x="24615" y="28564"/>
                    <a:pt x="25724" y="18180"/>
                    <a:pt x="18062" y="9006"/>
                  </a:cubicBezTo>
                  <a:cubicBezTo>
                    <a:pt x="10500" y="-270"/>
                    <a:pt x="15" y="-976"/>
                    <a:pt x="15" y="73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1CB2277-64FE-4297-AA52-9068E138BABE}"/>
                </a:ext>
              </a:extLst>
            </p:cNvPr>
            <p:cNvSpPr/>
            <p:nvPr/>
          </p:nvSpPr>
          <p:spPr>
            <a:xfrm>
              <a:off x="10734551" y="6008306"/>
              <a:ext cx="16343" cy="30647"/>
            </a:xfrm>
            <a:custGeom>
              <a:avLst/>
              <a:gdLst>
                <a:gd name="connsiteX0" fmla="*/ 14237 w 16343"/>
                <a:gd name="connsiteY0" fmla="*/ 30634 h 30647"/>
                <a:gd name="connsiteX1" fmla="*/ 13733 w 16343"/>
                <a:gd name="connsiteY1" fmla="*/ 12386 h 30647"/>
                <a:gd name="connsiteX2" fmla="*/ 122 w 16343"/>
                <a:gd name="connsiteY2" fmla="*/ 288 h 30647"/>
                <a:gd name="connsiteX3" fmla="*/ 8188 w 16343"/>
                <a:gd name="connsiteY3" fmla="*/ 15007 h 30647"/>
                <a:gd name="connsiteX4" fmla="*/ 14237 w 16343"/>
                <a:gd name="connsiteY4" fmla="*/ 30634 h 3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43" h="30647">
                  <a:moveTo>
                    <a:pt x="14237" y="30634"/>
                  </a:moveTo>
                  <a:cubicBezTo>
                    <a:pt x="15850" y="31038"/>
                    <a:pt x="18269" y="22166"/>
                    <a:pt x="13733" y="12386"/>
                  </a:cubicBezTo>
                  <a:cubicBezTo>
                    <a:pt x="9196" y="2607"/>
                    <a:pt x="828" y="-1123"/>
                    <a:pt x="122" y="288"/>
                  </a:cubicBezTo>
                  <a:cubicBezTo>
                    <a:pt x="-886" y="1700"/>
                    <a:pt x="4558" y="6942"/>
                    <a:pt x="8188" y="15007"/>
                  </a:cubicBezTo>
                  <a:cubicBezTo>
                    <a:pt x="11918" y="22972"/>
                    <a:pt x="12523" y="30433"/>
                    <a:pt x="14237" y="30634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18C91E40-49E8-4965-9BD1-7C55A66615EE}"/>
                </a:ext>
              </a:extLst>
            </p:cNvPr>
            <p:cNvSpPr/>
            <p:nvPr/>
          </p:nvSpPr>
          <p:spPr>
            <a:xfrm>
              <a:off x="10793988" y="5937458"/>
              <a:ext cx="37861" cy="8912"/>
            </a:xfrm>
            <a:custGeom>
              <a:avLst/>
              <a:gdLst>
                <a:gd name="connsiteX0" fmla="*/ 67 w 37861"/>
                <a:gd name="connsiteY0" fmla="*/ 6412 h 8912"/>
                <a:gd name="connsiteX1" fmla="*/ 19021 w 37861"/>
                <a:gd name="connsiteY1" fmla="*/ 6210 h 8912"/>
                <a:gd name="connsiteX2" fmla="*/ 37773 w 37861"/>
                <a:gd name="connsiteY2" fmla="*/ 8529 h 8912"/>
                <a:gd name="connsiteX3" fmla="*/ 19323 w 37861"/>
                <a:gd name="connsiteY3" fmla="*/ 61 h 8912"/>
                <a:gd name="connsiteX4" fmla="*/ 67 w 37861"/>
                <a:gd name="connsiteY4" fmla="*/ 6412 h 8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61" h="8912">
                  <a:moveTo>
                    <a:pt x="67" y="6412"/>
                  </a:moveTo>
                  <a:cubicBezTo>
                    <a:pt x="773" y="8025"/>
                    <a:pt x="8939" y="5606"/>
                    <a:pt x="19021" y="6210"/>
                  </a:cubicBezTo>
                  <a:cubicBezTo>
                    <a:pt x="29103" y="6614"/>
                    <a:pt x="36866" y="10042"/>
                    <a:pt x="37773" y="8529"/>
                  </a:cubicBezTo>
                  <a:cubicBezTo>
                    <a:pt x="38781" y="7219"/>
                    <a:pt x="31119" y="666"/>
                    <a:pt x="19323" y="61"/>
                  </a:cubicBezTo>
                  <a:cubicBezTo>
                    <a:pt x="7528" y="-645"/>
                    <a:pt x="-840" y="5001"/>
                    <a:pt x="67" y="6412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7C09994-CBCA-4AB4-BA90-2CC0E64F7191}"/>
                </a:ext>
              </a:extLst>
            </p:cNvPr>
            <p:cNvSpPr/>
            <p:nvPr/>
          </p:nvSpPr>
          <p:spPr>
            <a:xfrm>
              <a:off x="10790325" y="5892845"/>
              <a:ext cx="55264" cy="30906"/>
            </a:xfrm>
            <a:custGeom>
              <a:avLst/>
              <a:gdLst>
                <a:gd name="connsiteX0" fmla="*/ 0 w 55264"/>
                <a:gd name="connsiteY0" fmla="*/ 29349 h 30906"/>
                <a:gd name="connsiteX1" fmla="*/ 18248 w 55264"/>
                <a:gd name="connsiteY1" fmla="*/ 29248 h 30906"/>
                <a:gd name="connsiteX2" fmla="*/ 37303 w 55264"/>
                <a:gd name="connsiteY2" fmla="*/ 23401 h 30906"/>
                <a:gd name="connsiteX3" fmla="*/ 47787 w 55264"/>
                <a:gd name="connsiteY3" fmla="*/ 17856 h 30906"/>
                <a:gd name="connsiteX4" fmla="*/ 53232 w 55264"/>
                <a:gd name="connsiteY4" fmla="*/ 13521 h 30906"/>
                <a:gd name="connsiteX5" fmla="*/ 54038 w 55264"/>
                <a:gd name="connsiteY5" fmla="*/ 4044 h 30906"/>
                <a:gd name="connsiteX6" fmla="*/ 46275 w 55264"/>
                <a:gd name="connsiteY6" fmla="*/ 11 h 30906"/>
                <a:gd name="connsiteX7" fmla="*/ 39420 w 55264"/>
                <a:gd name="connsiteY7" fmla="*/ 1019 h 30906"/>
                <a:gd name="connsiteX8" fmla="*/ 28128 w 55264"/>
                <a:gd name="connsiteY8" fmla="*/ 4951 h 30906"/>
                <a:gd name="connsiteX9" fmla="*/ 11392 w 55264"/>
                <a:gd name="connsiteY9" fmla="*/ 16041 h 30906"/>
                <a:gd name="connsiteX10" fmla="*/ 706 w 55264"/>
                <a:gd name="connsiteY10" fmla="*/ 30861 h 30906"/>
                <a:gd name="connsiteX11" fmla="*/ 14114 w 55264"/>
                <a:gd name="connsiteY11" fmla="*/ 19368 h 30906"/>
                <a:gd name="connsiteX12" fmla="*/ 30346 w 55264"/>
                <a:gd name="connsiteY12" fmla="*/ 10194 h 30906"/>
                <a:gd name="connsiteX13" fmla="*/ 40831 w 55264"/>
                <a:gd name="connsiteY13" fmla="*/ 6967 h 30906"/>
                <a:gd name="connsiteX14" fmla="*/ 48896 w 55264"/>
                <a:gd name="connsiteY14" fmla="*/ 7572 h 30906"/>
                <a:gd name="connsiteX15" fmla="*/ 48493 w 55264"/>
                <a:gd name="connsiteY15" fmla="*/ 9589 h 30906"/>
                <a:gd name="connsiteX16" fmla="*/ 44460 w 55264"/>
                <a:gd name="connsiteY16" fmla="*/ 12714 h 30906"/>
                <a:gd name="connsiteX17" fmla="*/ 34883 w 55264"/>
                <a:gd name="connsiteY17" fmla="*/ 18259 h 30906"/>
                <a:gd name="connsiteX18" fmla="*/ 17341 w 55264"/>
                <a:gd name="connsiteY18" fmla="*/ 25014 h 30906"/>
                <a:gd name="connsiteX19" fmla="*/ 0 w 55264"/>
                <a:gd name="connsiteY19" fmla="*/ 29349 h 30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5264" h="30906">
                  <a:moveTo>
                    <a:pt x="0" y="29349"/>
                  </a:moveTo>
                  <a:cubicBezTo>
                    <a:pt x="0" y="30055"/>
                    <a:pt x="6956" y="31164"/>
                    <a:pt x="18248" y="29248"/>
                  </a:cubicBezTo>
                  <a:cubicBezTo>
                    <a:pt x="23793" y="28240"/>
                    <a:pt x="30346" y="26425"/>
                    <a:pt x="37303" y="23401"/>
                  </a:cubicBezTo>
                  <a:cubicBezTo>
                    <a:pt x="40730" y="21889"/>
                    <a:pt x="44259" y="19973"/>
                    <a:pt x="47787" y="17856"/>
                  </a:cubicBezTo>
                  <a:cubicBezTo>
                    <a:pt x="49501" y="16747"/>
                    <a:pt x="51417" y="15638"/>
                    <a:pt x="53232" y="13521"/>
                  </a:cubicBezTo>
                  <a:cubicBezTo>
                    <a:pt x="55147" y="11706"/>
                    <a:pt x="56256" y="6967"/>
                    <a:pt x="54038" y="4044"/>
                  </a:cubicBezTo>
                  <a:cubicBezTo>
                    <a:pt x="52123" y="1221"/>
                    <a:pt x="48896" y="11"/>
                    <a:pt x="46275" y="11"/>
                  </a:cubicBezTo>
                  <a:cubicBezTo>
                    <a:pt x="43553" y="-90"/>
                    <a:pt x="41436" y="515"/>
                    <a:pt x="39420" y="1019"/>
                  </a:cubicBezTo>
                  <a:cubicBezTo>
                    <a:pt x="35387" y="2028"/>
                    <a:pt x="31556" y="3338"/>
                    <a:pt x="28128" y="4951"/>
                  </a:cubicBezTo>
                  <a:cubicBezTo>
                    <a:pt x="21172" y="8077"/>
                    <a:pt x="15526" y="12109"/>
                    <a:pt x="11392" y="16041"/>
                  </a:cubicBezTo>
                  <a:cubicBezTo>
                    <a:pt x="3025" y="23905"/>
                    <a:pt x="101" y="30458"/>
                    <a:pt x="706" y="30861"/>
                  </a:cubicBezTo>
                  <a:cubicBezTo>
                    <a:pt x="1512" y="31466"/>
                    <a:pt x="5646" y="25921"/>
                    <a:pt x="14114" y="19368"/>
                  </a:cubicBezTo>
                  <a:cubicBezTo>
                    <a:pt x="18349" y="16142"/>
                    <a:pt x="23793" y="12815"/>
                    <a:pt x="30346" y="10194"/>
                  </a:cubicBezTo>
                  <a:cubicBezTo>
                    <a:pt x="33572" y="8883"/>
                    <a:pt x="37101" y="7774"/>
                    <a:pt x="40831" y="6967"/>
                  </a:cubicBezTo>
                  <a:cubicBezTo>
                    <a:pt x="44662" y="5960"/>
                    <a:pt x="47989" y="5960"/>
                    <a:pt x="48896" y="7572"/>
                  </a:cubicBezTo>
                  <a:cubicBezTo>
                    <a:pt x="49300" y="8178"/>
                    <a:pt x="49300" y="8480"/>
                    <a:pt x="48493" y="9589"/>
                  </a:cubicBezTo>
                  <a:cubicBezTo>
                    <a:pt x="47687" y="10597"/>
                    <a:pt x="46074" y="11605"/>
                    <a:pt x="44460" y="12714"/>
                  </a:cubicBezTo>
                  <a:cubicBezTo>
                    <a:pt x="41234" y="14831"/>
                    <a:pt x="38008" y="16646"/>
                    <a:pt x="34883" y="18259"/>
                  </a:cubicBezTo>
                  <a:cubicBezTo>
                    <a:pt x="28531" y="21385"/>
                    <a:pt x="22482" y="23603"/>
                    <a:pt x="17341" y="25014"/>
                  </a:cubicBezTo>
                  <a:cubicBezTo>
                    <a:pt x="6856" y="27837"/>
                    <a:pt x="0" y="28341"/>
                    <a:pt x="0" y="2934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99A6E6A-8024-4CAD-82AA-9A80E81C36FD}"/>
                </a:ext>
              </a:extLst>
            </p:cNvPr>
            <p:cNvSpPr/>
            <p:nvPr/>
          </p:nvSpPr>
          <p:spPr>
            <a:xfrm>
              <a:off x="10766947" y="5864524"/>
              <a:ext cx="28692" cy="57680"/>
            </a:xfrm>
            <a:custGeom>
              <a:avLst/>
              <a:gdLst>
                <a:gd name="connsiteX0" fmla="*/ 23882 w 28692"/>
                <a:gd name="connsiteY0" fmla="*/ 57670 h 57680"/>
                <a:gd name="connsiteX1" fmla="*/ 28620 w 28692"/>
                <a:gd name="connsiteY1" fmla="*/ 40128 h 57680"/>
                <a:gd name="connsiteX2" fmla="*/ 26100 w 28692"/>
                <a:gd name="connsiteY2" fmla="*/ 20166 h 57680"/>
                <a:gd name="connsiteX3" fmla="*/ 21462 w 28692"/>
                <a:gd name="connsiteY3" fmla="*/ 9177 h 57680"/>
                <a:gd name="connsiteX4" fmla="*/ 9868 w 28692"/>
                <a:gd name="connsiteY4" fmla="*/ 3 h 57680"/>
                <a:gd name="connsiteX5" fmla="*/ 2307 w 28692"/>
                <a:gd name="connsiteY5" fmla="*/ 5144 h 57680"/>
                <a:gd name="connsiteX6" fmla="*/ 492 w 28692"/>
                <a:gd name="connsiteY6" fmla="*/ 11798 h 57680"/>
                <a:gd name="connsiteX7" fmla="*/ 492 w 28692"/>
                <a:gd name="connsiteY7" fmla="*/ 24098 h 57680"/>
                <a:gd name="connsiteX8" fmla="*/ 8356 w 28692"/>
                <a:gd name="connsiteY8" fmla="*/ 42850 h 57680"/>
                <a:gd name="connsiteX9" fmla="*/ 23075 w 28692"/>
                <a:gd name="connsiteY9" fmla="*/ 53738 h 57680"/>
                <a:gd name="connsiteX10" fmla="*/ 11985 w 28692"/>
                <a:gd name="connsiteY10" fmla="*/ 40430 h 57680"/>
                <a:gd name="connsiteX11" fmla="*/ 6138 w 28692"/>
                <a:gd name="connsiteY11" fmla="*/ 23392 h 57680"/>
                <a:gd name="connsiteX12" fmla="*/ 6440 w 28692"/>
                <a:gd name="connsiteY12" fmla="*/ 12907 h 57680"/>
                <a:gd name="connsiteX13" fmla="*/ 9868 w 28692"/>
                <a:gd name="connsiteY13" fmla="*/ 6354 h 57680"/>
                <a:gd name="connsiteX14" fmla="*/ 16220 w 28692"/>
                <a:gd name="connsiteY14" fmla="*/ 12302 h 57680"/>
                <a:gd name="connsiteX15" fmla="*/ 20756 w 28692"/>
                <a:gd name="connsiteY15" fmla="*/ 22183 h 57680"/>
                <a:gd name="connsiteX16" fmla="*/ 24285 w 28692"/>
                <a:gd name="connsiteY16" fmla="*/ 40330 h 57680"/>
                <a:gd name="connsiteX17" fmla="*/ 23882 w 28692"/>
                <a:gd name="connsiteY17" fmla="*/ 57670 h 5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692" h="57680">
                  <a:moveTo>
                    <a:pt x="23882" y="57670"/>
                  </a:moveTo>
                  <a:cubicBezTo>
                    <a:pt x="24487" y="57973"/>
                    <a:pt x="28015" y="51621"/>
                    <a:pt x="28620" y="40128"/>
                  </a:cubicBezTo>
                  <a:cubicBezTo>
                    <a:pt x="28923" y="34381"/>
                    <a:pt x="28318" y="27526"/>
                    <a:pt x="26100" y="20166"/>
                  </a:cubicBezTo>
                  <a:cubicBezTo>
                    <a:pt x="24991" y="16537"/>
                    <a:pt x="23479" y="12807"/>
                    <a:pt x="21462" y="9177"/>
                  </a:cubicBezTo>
                  <a:cubicBezTo>
                    <a:pt x="19345" y="5548"/>
                    <a:pt x="16724" y="809"/>
                    <a:pt x="9868" y="3"/>
                  </a:cubicBezTo>
                  <a:cubicBezTo>
                    <a:pt x="6239" y="-98"/>
                    <a:pt x="3315" y="2725"/>
                    <a:pt x="2307" y="5144"/>
                  </a:cubicBezTo>
                  <a:cubicBezTo>
                    <a:pt x="1097" y="7564"/>
                    <a:pt x="895" y="9681"/>
                    <a:pt x="492" y="11798"/>
                  </a:cubicBezTo>
                  <a:cubicBezTo>
                    <a:pt x="-214" y="16033"/>
                    <a:pt x="-113" y="20166"/>
                    <a:pt x="492" y="24098"/>
                  </a:cubicBezTo>
                  <a:cubicBezTo>
                    <a:pt x="1702" y="31861"/>
                    <a:pt x="4827" y="38212"/>
                    <a:pt x="8356" y="42850"/>
                  </a:cubicBezTo>
                  <a:cubicBezTo>
                    <a:pt x="15514" y="52226"/>
                    <a:pt x="22874" y="54343"/>
                    <a:pt x="23075" y="53738"/>
                  </a:cubicBezTo>
                  <a:cubicBezTo>
                    <a:pt x="23680" y="52831"/>
                    <a:pt x="17429" y="49403"/>
                    <a:pt x="11985" y="40430"/>
                  </a:cubicBezTo>
                  <a:cubicBezTo>
                    <a:pt x="9263" y="35994"/>
                    <a:pt x="6944" y="30147"/>
                    <a:pt x="6138" y="23392"/>
                  </a:cubicBezTo>
                  <a:cubicBezTo>
                    <a:pt x="5735" y="20065"/>
                    <a:pt x="5836" y="16436"/>
                    <a:pt x="6440" y="12907"/>
                  </a:cubicBezTo>
                  <a:cubicBezTo>
                    <a:pt x="7045" y="9076"/>
                    <a:pt x="8457" y="5951"/>
                    <a:pt x="9868" y="6354"/>
                  </a:cubicBezTo>
                  <a:cubicBezTo>
                    <a:pt x="11683" y="6354"/>
                    <a:pt x="14708" y="9177"/>
                    <a:pt x="16220" y="12302"/>
                  </a:cubicBezTo>
                  <a:cubicBezTo>
                    <a:pt x="18135" y="15529"/>
                    <a:pt x="19547" y="18856"/>
                    <a:pt x="20756" y="22183"/>
                  </a:cubicBezTo>
                  <a:cubicBezTo>
                    <a:pt x="23075" y="28736"/>
                    <a:pt x="24083" y="34986"/>
                    <a:pt x="24285" y="40330"/>
                  </a:cubicBezTo>
                  <a:cubicBezTo>
                    <a:pt x="24789" y="50714"/>
                    <a:pt x="22874" y="57368"/>
                    <a:pt x="23882" y="5767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74DF229A-903D-4A7B-9432-E988C6154A59}"/>
                </a:ext>
              </a:extLst>
            </p:cNvPr>
            <p:cNvSpPr/>
            <p:nvPr/>
          </p:nvSpPr>
          <p:spPr>
            <a:xfrm>
              <a:off x="10469973" y="4450665"/>
              <a:ext cx="750539" cy="1518611"/>
            </a:xfrm>
            <a:custGeom>
              <a:avLst/>
              <a:gdLst>
                <a:gd name="connsiteX0" fmla="*/ 514728 w 750539"/>
                <a:gd name="connsiteY0" fmla="*/ 0 h 1518611"/>
                <a:gd name="connsiteX1" fmla="*/ 23747 w 750539"/>
                <a:gd name="connsiteY1" fmla="*/ 670939 h 1518611"/>
                <a:gd name="connsiteX2" fmla="*/ 2979 w 750539"/>
                <a:gd name="connsiteY2" fmla="*/ 762985 h 1518611"/>
                <a:gd name="connsiteX3" fmla="*/ 246352 w 750539"/>
                <a:gd name="connsiteY3" fmla="*/ 1518611 h 1518611"/>
                <a:gd name="connsiteX4" fmla="*/ 508376 w 750539"/>
                <a:gd name="connsiteY4" fmla="*/ 1464271 h 1518611"/>
                <a:gd name="connsiteX5" fmla="*/ 343843 w 750539"/>
                <a:gd name="connsiteY5" fmla="*/ 782947 h 1518611"/>
                <a:gd name="connsiteX6" fmla="*/ 750540 w 750539"/>
                <a:gd name="connsiteY6" fmla="*/ 346711 h 1518611"/>
                <a:gd name="connsiteX7" fmla="*/ 704668 w 750539"/>
                <a:gd name="connsiteY7" fmla="*/ 0 h 1518611"/>
                <a:gd name="connsiteX8" fmla="*/ 514728 w 750539"/>
                <a:gd name="connsiteY8" fmla="*/ 0 h 1518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539" h="1518611">
                  <a:moveTo>
                    <a:pt x="514728" y="0"/>
                  </a:moveTo>
                  <a:cubicBezTo>
                    <a:pt x="504445" y="5242"/>
                    <a:pt x="131320" y="527174"/>
                    <a:pt x="23747" y="670939"/>
                  </a:cubicBezTo>
                  <a:cubicBezTo>
                    <a:pt x="3987" y="697253"/>
                    <a:pt x="-5187" y="731127"/>
                    <a:pt x="2979" y="762985"/>
                  </a:cubicBezTo>
                  <a:cubicBezTo>
                    <a:pt x="50666" y="948590"/>
                    <a:pt x="246352" y="1518611"/>
                    <a:pt x="246352" y="1518611"/>
                  </a:cubicBezTo>
                  <a:lnTo>
                    <a:pt x="508376" y="1464271"/>
                  </a:lnTo>
                  <a:lnTo>
                    <a:pt x="343843" y="782947"/>
                  </a:lnTo>
                  <a:lnTo>
                    <a:pt x="750540" y="346711"/>
                  </a:lnTo>
                  <a:lnTo>
                    <a:pt x="704668" y="0"/>
                  </a:lnTo>
                  <a:lnTo>
                    <a:pt x="514728" y="0"/>
                  </a:ln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D4C99E26-D63A-452A-842C-F651E75E05D5}"/>
                </a:ext>
              </a:extLst>
            </p:cNvPr>
            <p:cNvSpPr/>
            <p:nvPr/>
          </p:nvSpPr>
          <p:spPr>
            <a:xfrm>
              <a:off x="10744931" y="5206463"/>
              <a:ext cx="65380" cy="37864"/>
            </a:xfrm>
            <a:custGeom>
              <a:avLst/>
              <a:gdLst>
                <a:gd name="connsiteX0" fmla="*/ 65355 w 65380"/>
                <a:gd name="connsiteY0" fmla="*/ 37735 h 37864"/>
                <a:gd name="connsiteX1" fmla="*/ 31380 w 65380"/>
                <a:gd name="connsiteY1" fmla="*/ 21201 h 37864"/>
                <a:gd name="connsiteX2" fmla="*/ 26 w 65380"/>
                <a:gd name="connsiteY2" fmla="*/ 130 h 37864"/>
                <a:gd name="connsiteX3" fmla="*/ 34001 w 65380"/>
                <a:gd name="connsiteY3" fmla="*/ 16664 h 37864"/>
                <a:gd name="connsiteX4" fmla="*/ 65355 w 65380"/>
                <a:gd name="connsiteY4" fmla="*/ 37735 h 37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80" h="37864">
                  <a:moveTo>
                    <a:pt x="65355" y="37735"/>
                  </a:moveTo>
                  <a:cubicBezTo>
                    <a:pt x="64649" y="38945"/>
                    <a:pt x="49426" y="31585"/>
                    <a:pt x="31380" y="21201"/>
                  </a:cubicBezTo>
                  <a:cubicBezTo>
                    <a:pt x="13333" y="10817"/>
                    <a:pt x="-680" y="1441"/>
                    <a:pt x="26" y="130"/>
                  </a:cubicBezTo>
                  <a:cubicBezTo>
                    <a:pt x="731" y="-1080"/>
                    <a:pt x="15955" y="6280"/>
                    <a:pt x="34001" y="16664"/>
                  </a:cubicBezTo>
                  <a:cubicBezTo>
                    <a:pt x="52047" y="27048"/>
                    <a:pt x="66061" y="36424"/>
                    <a:pt x="65355" y="37735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39B711D3-2234-4568-A18B-4C15AF56D94C}"/>
                </a:ext>
              </a:extLst>
            </p:cNvPr>
            <p:cNvSpPr/>
            <p:nvPr/>
          </p:nvSpPr>
          <p:spPr>
            <a:xfrm>
              <a:off x="9792775" y="3234405"/>
              <a:ext cx="261079" cy="237525"/>
            </a:xfrm>
            <a:custGeom>
              <a:avLst/>
              <a:gdLst>
                <a:gd name="connsiteX0" fmla="*/ 110962 w 261079"/>
                <a:gd name="connsiteY0" fmla="*/ 0 h 237525"/>
                <a:gd name="connsiteX1" fmla="*/ 142216 w 261079"/>
                <a:gd name="connsiteY1" fmla="*/ 15627 h 237525"/>
                <a:gd name="connsiteX2" fmla="*/ 182038 w 261079"/>
                <a:gd name="connsiteY2" fmla="*/ 52929 h 237525"/>
                <a:gd name="connsiteX3" fmla="*/ 207142 w 261079"/>
                <a:gd name="connsiteY3" fmla="*/ 94970 h 237525"/>
                <a:gd name="connsiteX4" fmla="*/ 261079 w 261079"/>
                <a:gd name="connsiteY4" fmla="*/ 136809 h 237525"/>
                <a:gd name="connsiteX5" fmla="*/ 187785 w 261079"/>
                <a:gd name="connsiteY5" fmla="*/ 237526 h 237525"/>
                <a:gd name="connsiteX6" fmla="*/ 167622 w 261079"/>
                <a:gd name="connsiteY6" fmla="*/ 221193 h 237525"/>
                <a:gd name="connsiteX7" fmla="*/ 66804 w 261079"/>
                <a:gd name="connsiteY7" fmla="*/ 203853 h 237525"/>
                <a:gd name="connsiteX8" fmla="*/ 16900 w 261079"/>
                <a:gd name="connsiteY8" fmla="*/ 159090 h 237525"/>
                <a:gd name="connsiteX9" fmla="*/ 21134 w 261079"/>
                <a:gd name="connsiteY9" fmla="*/ 146488 h 237525"/>
                <a:gd name="connsiteX10" fmla="*/ 14077 w 261079"/>
                <a:gd name="connsiteY10" fmla="*/ 113621 h 237525"/>
                <a:gd name="connsiteX11" fmla="*/ 366 w 261079"/>
                <a:gd name="connsiteY11" fmla="*/ 80452 h 237525"/>
                <a:gd name="connsiteX12" fmla="*/ 26175 w 261079"/>
                <a:gd name="connsiteY12" fmla="*/ 55248 h 237525"/>
                <a:gd name="connsiteX13" fmla="*/ 26175 w 261079"/>
                <a:gd name="connsiteY13" fmla="*/ 20668 h 237525"/>
                <a:gd name="connsiteX14" fmla="*/ 50875 w 261079"/>
                <a:gd name="connsiteY14" fmla="*/ 5142 h 237525"/>
                <a:gd name="connsiteX15" fmla="*/ 119431 w 261079"/>
                <a:gd name="connsiteY15" fmla="*/ 34681 h 237525"/>
                <a:gd name="connsiteX16" fmla="*/ 110962 w 261079"/>
                <a:gd name="connsiteY16" fmla="*/ 0 h 23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1079" h="237525">
                  <a:moveTo>
                    <a:pt x="110962" y="0"/>
                  </a:moveTo>
                  <a:cubicBezTo>
                    <a:pt x="112777" y="1008"/>
                    <a:pt x="128000" y="8570"/>
                    <a:pt x="142216" y="15627"/>
                  </a:cubicBezTo>
                  <a:cubicBezTo>
                    <a:pt x="158850" y="23894"/>
                    <a:pt x="172662" y="36798"/>
                    <a:pt x="182038" y="52929"/>
                  </a:cubicBezTo>
                  <a:cubicBezTo>
                    <a:pt x="192826" y="71580"/>
                    <a:pt x="205932" y="94163"/>
                    <a:pt x="207142" y="94970"/>
                  </a:cubicBezTo>
                  <a:cubicBezTo>
                    <a:pt x="209158" y="96482"/>
                    <a:pt x="261079" y="136809"/>
                    <a:pt x="261079" y="136809"/>
                  </a:cubicBezTo>
                  <a:lnTo>
                    <a:pt x="187785" y="237526"/>
                  </a:lnTo>
                  <a:lnTo>
                    <a:pt x="167622" y="221193"/>
                  </a:lnTo>
                  <a:cubicBezTo>
                    <a:pt x="167622" y="221193"/>
                    <a:pt x="94327" y="217261"/>
                    <a:pt x="66804" y="203853"/>
                  </a:cubicBezTo>
                  <a:cubicBezTo>
                    <a:pt x="39180" y="190444"/>
                    <a:pt x="13674" y="168667"/>
                    <a:pt x="16900" y="159090"/>
                  </a:cubicBezTo>
                  <a:cubicBezTo>
                    <a:pt x="20126" y="149512"/>
                    <a:pt x="21134" y="146488"/>
                    <a:pt x="21134" y="146488"/>
                  </a:cubicBezTo>
                  <a:cubicBezTo>
                    <a:pt x="21134" y="146488"/>
                    <a:pt x="9641" y="129449"/>
                    <a:pt x="14077" y="113621"/>
                  </a:cubicBezTo>
                  <a:cubicBezTo>
                    <a:pt x="14077" y="113621"/>
                    <a:pt x="-2659" y="94264"/>
                    <a:pt x="366" y="80452"/>
                  </a:cubicBezTo>
                  <a:cubicBezTo>
                    <a:pt x="5306" y="58172"/>
                    <a:pt x="26175" y="55248"/>
                    <a:pt x="26175" y="55248"/>
                  </a:cubicBezTo>
                  <a:cubicBezTo>
                    <a:pt x="26175" y="55248"/>
                    <a:pt x="18009" y="32665"/>
                    <a:pt x="26175" y="20668"/>
                  </a:cubicBezTo>
                  <a:cubicBezTo>
                    <a:pt x="34341" y="8570"/>
                    <a:pt x="50875" y="5142"/>
                    <a:pt x="50875" y="5142"/>
                  </a:cubicBezTo>
                  <a:lnTo>
                    <a:pt x="119431" y="34681"/>
                  </a:lnTo>
                  <a:lnTo>
                    <a:pt x="110962" y="0"/>
                  </a:ln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E68942A2-3D5D-4FD8-8C63-9BC371E75D97}"/>
                </a:ext>
              </a:extLst>
            </p:cNvPr>
            <p:cNvSpPr/>
            <p:nvPr/>
          </p:nvSpPr>
          <p:spPr>
            <a:xfrm>
              <a:off x="11769765" y="5729835"/>
              <a:ext cx="320800" cy="454383"/>
            </a:xfrm>
            <a:custGeom>
              <a:avLst/>
              <a:gdLst>
                <a:gd name="connsiteX0" fmla="*/ 0 w 320800"/>
                <a:gd name="connsiteY0" fmla="*/ 111605 h 454383"/>
                <a:gd name="connsiteX1" fmla="*/ 119872 w 320800"/>
                <a:gd name="connsiteY1" fmla="*/ 255471 h 454383"/>
                <a:gd name="connsiteX2" fmla="*/ 33471 w 320800"/>
                <a:gd name="connsiteY2" fmla="*/ 454384 h 454383"/>
                <a:gd name="connsiteX3" fmla="*/ 320801 w 320800"/>
                <a:gd name="connsiteY3" fmla="*/ 231880 h 454383"/>
                <a:gd name="connsiteX4" fmla="*/ 143161 w 320800"/>
                <a:gd name="connsiteY4" fmla="*/ 0 h 454383"/>
                <a:gd name="connsiteX5" fmla="*/ 0 w 320800"/>
                <a:gd name="connsiteY5" fmla="*/ 111605 h 454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800" h="454383">
                  <a:moveTo>
                    <a:pt x="0" y="111605"/>
                  </a:moveTo>
                  <a:lnTo>
                    <a:pt x="119872" y="255471"/>
                  </a:lnTo>
                  <a:cubicBezTo>
                    <a:pt x="119872" y="255471"/>
                    <a:pt x="13913" y="425651"/>
                    <a:pt x="33471" y="454384"/>
                  </a:cubicBezTo>
                  <a:lnTo>
                    <a:pt x="320801" y="231880"/>
                  </a:lnTo>
                  <a:lnTo>
                    <a:pt x="143161" y="0"/>
                  </a:lnTo>
                  <a:lnTo>
                    <a:pt x="0" y="111605"/>
                  </a:ln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88A50794-9649-4CBD-9DC8-BB281CC7B4C0}"/>
                </a:ext>
              </a:extLst>
            </p:cNvPr>
            <p:cNvSpPr/>
            <p:nvPr/>
          </p:nvSpPr>
          <p:spPr>
            <a:xfrm>
              <a:off x="11960295" y="5903139"/>
              <a:ext cx="28174" cy="27533"/>
            </a:xfrm>
            <a:custGeom>
              <a:avLst/>
              <a:gdLst>
                <a:gd name="connsiteX0" fmla="*/ 8584 w 28174"/>
                <a:gd name="connsiteY0" fmla="*/ 1009 h 27533"/>
                <a:gd name="connsiteX1" fmla="*/ 27033 w 28174"/>
                <a:gd name="connsiteY1" fmla="*/ 8167 h 27533"/>
                <a:gd name="connsiteX2" fmla="*/ 20178 w 28174"/>
                <a:gd name="connsiteY2" fmla="*/ 26516 h 27533"/>
                <a:gd name="connsiteX3" fmla="*/ 619 w 28174"/>
                <a:gd name="connsiteY3" fmla="*/ 18854 h 27533"/>
                <a:gd name="connsiteX4" fmla="*/ 9894 w 28174"/>
                <a:gd name="connsiteY4" fmla="*/ 505 h 27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74" h="27533">
                  <a:moveTo>
                    <a:pt x="8584" y="1009"/>
                  </a:moveTo>
                  <a:cubicBezTo>
                    <a:pt x="15338" y="-1814"/>
                    <a:pt x="24009" y="1513"/>
                    <a:pt x="27033" y="8167"/>
                  </a:cubicBezTo>
                  <a:cubicBezTo>
                    <a:pt x="30058" y="14821"/>
                    <a:pt x="26831" y="23693"/>
                    <a:pt x="20178" y="26516"/>
                  </a:cubicBezTo>
                  <a:cubicBezTo>
                    <a:pt x="13524" y="29439"/>
                    <a:pt x="2938" y="25810"/>
                    <a:pt x="619" y="18854"/>
                  </a:cubicBezTo>
                  <a:cubicBezTo>
                    <a:pt x="-1700" y="11897"/>
                    <a:pt x="2736" y="1714"/>
                    <a:pt x="9894" y="505"/>
                  </a:cubicBezTo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79073B47-F025-479A-B42B-7F0E3FFC9DDF}"/>
                </a:ext>
              </a:extLst>
            </p:cNvPr>
            <p:cNvSpPr/>
            <p:nvPr/>
          </p:nvSpPr>
          <p:spPr>
            <a:xfrm>
              <a:off x="11799442" y="5939232"/>
              <a:ext cx="291123" cy="245187"/>
            </a:xfrm>
            <a:custGeom>
              <a:avLst/>
              <a:gdLst>
                <a:gd name="connsiteX0" fmla="*/ 291123 w 291123"/>
                <a:gd name="connsiteY0" fmla="*/ 22684 h 245187"/>
                <a:gd name="connsiteX1" fmla="*/ 272270 w 291123"/>
                <a:gd name="connsiteY1" fmla="*/ 0 h 245187"/>
                <a:gd name="connsiteX2" fmla="*/ 3794 w 291123"/>
                <a:gd name="connsiteY2" fmla="*/ 221798 h 245187"/>
                <a:gd name="connsiteX3" fmla="*/ 3693 w 291123"/>
                <a:gd name="connsiteY3" fmla="*/ 245188 h 245187"/>
                <a:gd name="connsiteX4" fmla="*/ 291123 w 291123"/>
                <a:gd name="connsiteY4" fmla="*/ 22684 h 24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123" h="245187">
                  <a:moveTo>
                    <a:pt x="291123" y="22684"/>
                  </a:moveTo>
                  <a:lnTo>
                    <a:pt x="272270" y="0"/>
                  </a:lnTo>
                  <a:lnTo>
                    <a:pt x="3794" y="221798"/>
                  </a:lnTo>
                  <a:cubicBezTo>
                    <a:pt x="3794" y="221798"/>
                    <a:pt x="-4675" y="237223"/>
                    <a:pt x="3693" y="245188"/>
                  </a:cubicBezTo>
                  <a:lnTo>
                    <a:pt x="291123" y="22684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18C423DD-E454-48C6-8D05-EF9C94BC3903}"/>
                </a:ext>
              </a:extLst>
            </p:cNvPr>
            <p:cNvSpPr/>
            <p:nvPr/>
          </p:nvSpPr>
          <p:spPr>
            <a:xfrm>
              <a:off x="11883736" y="5976995"/>
              <a:ext cx="38762" cy="10784"/>
            </a:xfrm>
            <a:custGeom>
              <a:avLst/>
              <a:gdLst>
                <a:gd name="connsiteX0" fmla="*/ 154 w 38762"/>
                <a:gd name="connsiteY0" fmla="*/ 10529 h 10784"/>
                <a:gd name="connsiteX1" fmla="*/ 19208 w 38762"/>
                <a:gd name="connsiteY1" fmla="*/ 6294 h 10784"/>
                <a:gd name="connsiteX2" fmla="*/ 38666 w 38762"/>
                <a:gd name="connsiteY2" fmla="*/ 7000 h 10784"/>
                <a:gd name="connsiteX3" fmla="*/ 18603 w 38762"/>
                <a:gd name="connsiteY3" fmla="*/ 144 h 10784"/>
                <a:gd name="connsiteX4" fmla="*/ 154 w 38762"/>
                <a:gd name="connsiteY4" fmla="*/ 10529 h 10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62" h="10784">
                  <a:moveTo>
                    <a:pt x="154" y="10529"/>
                  </a:moveTo>
                  <a:cubicBezTo>
                    <a:pt x="1263" y="11940"/>
                    <a:pt x="8824" y="7101"/>
                    <a:pt x="19208" y="6294"/>
                  </a:cubicBezTo>
                  <a:cubicBezTo>
                    <a:pt x="29592" y="5185"/>
                    <a:pt x="37859" y="8512"/>
                    <a:pt x="38666" y="7000"/>
                  </a:cubicBezTo>
                  <a:cubicBezTo>
                    <a:pt x="39775" y="5689"/>
                    <a:pt x="31205" y="-1065"/>
                    <a:pt x="18603" y="144"/>
                  </a:cubicBezTo>
                  <a:cubicBezTo>
                    <a:pt x="6001" y="1253"/>
                    <a:pt x="-1157" y="9520"/>
                    <a:pt x="154" y="1052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DB1130B2-F08C-4553-AE6F-53FCE899370E}"/>
                </a:ext>
              </a:extLst>
            </p:cNvPr>
            <p:cNvSpPr/>
            <p:nvPr/>
          </p:nvSpPr>
          <p:spPr>
            <a:xfrm>
              <a:off x="11863244" y="6018164"/>
              <a:ext cx="35310" cy="13161"/>
            </a:xfrm>
            <a:custGeom>
              <a:avLst/>
              <a:gdLst>
                <a:gd name="connsiteX0" fmla="*/ 79 w 35310"/>
                <a:gd name="connsiteY0" fmla="*/ 5150 h 13161"/>
                <a:gd name="connsiteX1" fmla="*/ 18125 w 35310"/>
                <a:gd name="connsiteY1" fmla="*/ 6662 h 13161"/>
                <a:gd name="connsiteX2" fmla="*/ 35063 w 35310"/>
                <a:gd name="connsiteY2" fmla="*/ 13014 h 13161"/>
                <a:gd name="connsiteX3" fmla="*/ 19436 w 35310"/>
                <a:gd name="connsiteY3" fmla="*/ 714 h 13161"/>
                <a:gd name="connsiteX4" fmla="*/ 79 w 35310"/>
                <a:gd name="connsiteY4" fmla="*/ 5150 h 13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10" h="13161">
                  <a:moveTo>
                    <a:pt x="79" y="5150"/>
                  </a:moveTo>
                  <a:cubicBezTo>
                    <a:pt x="785" y="6763"/>
                    <a:pt x="8749" y="4444"/>
                    <a:pt x="18125" y="6662"/>
                  </a:cubicBezTo>
                  <a:cubicBezTo>
                    <a:pt x="27501" y="8678"/>
                    <a:pt x="33752" y="14123"/>
                    <a:pt x="35063" y="13014"/>
                  </a:cubicBezTo>
                  <a:cubicBezTo>
                    <a:pt x="36575" y="12207"/>
                    <a:pt x="31131" y="3234"/>
                    <a:pt x="19436" y="714"/>
                  </a:cubicBezTo>
                  <a:cubicBezTo>
                    <a:pt x="7842" y="-2008"/>
                    <a:pt x="-929" y="3839"/>
                    <a:pt x="79" y="515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46122AE6-1B60-47CE-BFE4-FAE6B15B8689}"/>
                </a:ext>
              </a:extLst>
            </p:cNvPr>
            <p:cNvSpPr/>
            <p:nvPr/>
          </p:nvSpPr>
          <p:spPr>
            <a:xfrm>
              <a:off x="11844564" y="6055425"/>
              <a:ext cx="29984" cy="17306"/>
            </a:xfrm>
            <a:custGeom>
              <a:avLst/>
              <a:gdLst>
                <a:gd name="connsiteX0" fmla="*/ 29648 w 29984"/>
                <a:gd name="connsiteY0" fmla="*/ 17188 h 17306"/>
                <a:gd name="connsiteX1" fmla="*/ 18154 w 29984"/>
                <a:gd name="connsiteY1" fmla="*/ 3074 h 17306"/>
                <a:gd name="connsiteX2" fmla="*/ 7 w 29984"/>
                <a:gd name="connsiteY2" fmla="*/ 1864 h 17306"/>
                <a:gd name="connsiteX3" fmla="*/ 15332 w 29984"/>
                <a:gd name="connsiteY3" fmla="*/ 8619 h 17306"/>
                <a:gd name="connsiteX4" fmla="*/ 29648 w 29984"/>
                <a:gd name="connsiteY4" fmla="*/ 17188 h 1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84" h="17306">
                  <a:moveTo>
                    <a:pt x="29648" y="17188"/>
                  </a:moveTo>
                  <a:cubicBezTo>
                    <a:pt x="31160" y="16482"/>
                    <a:pt x="27631" y="8014"/>
                    <a:pt x="18154" y="3074"/>
                  </a:cubicBezTo>
                  <a:cubicBezTo>
                    <a:pt x="8678" y="-1866"/>
                    <a:pt x="-295" y="251"/>
                    <a:pt x="7" y="1864"/>
                  </a:cubicBezTo>
                  <a:cubicBezTo>
                    <a:pt x="108" y="3679"/>
                    <a:pt x="7569" y="4485"/>
                    <a:pt x="15332" y="8619"/>
                  </a:cubicBezTo>
                  <a:cubicBezTo>
                    <a:pt x="23095" y="12551"/>
                    <a:pt x="28136" y="18196"/>
                    <a:pt x="29648" y="1718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B7C3F091-C564-4264-AA83-231D0817C37B}"/>
                </a:ext>
              </a:extLst>
            </p:cNvPr>
            <p:cNvSpPr/>
            <p:nvPr/>
          </p:nvSpPr>
          <p:spPr>
            <a:xfrm>
              <a:off x="11859795" y="5929306"/>
              <a:ext cx="31458" cy="22493"/>
            </a:xfrm>
            <a:custGeom>
              <a:avLst/>
              <a:gdLst>
                <a:gd name="connsiteX0" fmla="*/ 403 w 31458"/>
                <a:gd name="connsiteY0" fmla="*/ 22428 h 22493"/>
                <a:gd name="connsiteX1" fmla="*/ 15223 w 31458"/>
                <a:gd name="connsiteY1" fmla="*/ 10733 h 22493"/>
                <a:gd name="connsiteX2" fmla="*/ 31455 w 31458"/>
                <a:gd name="connsiteY2" fmla="*/ 1055 h 22493"/>
                <a:gd name="connsiteX3" fmla="*/ 11694 w 31458"/>
                <a:gd name="connsiteY3" fmla="*/ 5592 h 22493"/>
                <a:gd name="connsiteX4" fmla="*/ 403 w 31458"/>
                <a:gd name="connsiteY4" fmla="*/ 22428 h 2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58" h="22493">
                  <a:moveTo>
                    <a:pt x="403" y="22428"/>
                  </a:moveTo>
                  <a:cubicBezTo>
                    <a:pt x="2016" y="23235"/>
                    <a:pt x="6956" y="16379"/>
                    <a:pt x="15223" y="10733"/>
                  </a:cubicBezTo>
                  <a:cubicBezTo>
                    <a:pt x="23490" y="4987"/>
                    <a:pt x="31656" y="2870"/>
                    <a:pt x="31455" y="1055"/>
                  </a:cubicBezTo>
                  <a:cubicBezTo>
                    <a:pt x="31455" y="-558"/>
                    <a:pt x="21474" y="-1163"/>
                    <a:pt x="11694" y="5592"/>
                  </a:cubicBezTo>
                  <a:cubicBezTo>
                    <a:pt x="1915" y="12245"/>
                    <a:pt x="-1210" y="21823"/>
                    <a:pt x="403" y="2242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919AC7DC-0DA2-4E55-91BB-04E600FC45BB}"/>
                </a:ext>
              </a:extLst>
            </p:cNvPr>
            <p:cNvSpPr/>
            <p:nvPr/>
          </p:nvSpPr>
          <p:spPr>
            <a:xfrm>
              <a:off x="11824408" y="5802323"/>
              <a:ext cx="161610" cy="134591"/>
            </a:xfrm>
            <a:custGeom>
              <a:avLst/>
              <a:gdLst>
                <a:gd name="connsiteX0" fmla="*/ 0 w 161610"/>
                <a:gd name="connsiteY0" fmla="*/ 108883 h 134591"/>
                <a:gd name="connsiteX1" fmla="*/ 21373 w 161610"/>
                <a:gd name="connsiteY1" fmla="*/ 134591 h 134591"/>
                <a:gd name="connsiteX2" fmla="*/ 161610 w 161610"/>
                <a:gd name="connsiteY2" fmla="*/ 23894 h 134591"/>
                <a:gd name="connsiteX3" fmla="*/ 143362 w 161610"/>
                <a:gd name="connsiteY3" fmla="*/ 0 h 134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610" h="134591">
                  <a:moveTo>
                    <a:pt x="0" y="108883"/>
                  </a:moveTo>
                  <a:lnTo>
                    <a:pt x="21373" y="134591"/>
                  </a:lnTo>
                  <a:lnTo>
                    <a:pt x="161610" y="23894"/>
                  </a:lnTo>
                  <a:lnTo>
                    <a:pt x="143362" y="0"/>
                  </a:lnTo>
                  <a:close/>
                </a:path>
              </a:pathLst>
            </a:custGeom>
            <a:solidFill>
              <a:srgbClr val="00000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E9EF9095-A859-489E-833D-F57F437BB825}"/>
                </a:ext>
              </a:extLst>
            </p:cNvPr>
            <p:cNvSpPr/>
            <p:nvPr/>
          </p:nvSpPr>
          <p:spPr>
            <a:xfrm>
              <a:off x="11836259" y="5868715"/>
              <a:ext cx="32660" cy="54085"/>
            </a:xfrm>
            <a:custGeom>
              <a:avLst/>
              <a:gdLst>
                <a:gd name="connsiteX0" fmla="*/ 247 w 32660"/>
                <a:gd name="connsiteY0" fmla="*/ 53480 h 54085"/>
                <a:gd name="connsiteX1" fmla="*/ 14563 w 32660"/>
                <a:gd name="connsiteY1" fmla="*/ 42289 h 54085"/>
                <a:gd name="connsiteX2" fmla="*/ 26056 w 32660"/>
                <a:gd name="connsiteY2" fmla="*/ 25957 h 54085"/>
                <a:gd name="connsiteX3" fmla="*/ 30895 w 32660"/>
                <a:gd name="connsiteY3" fmla="*/ 15169 h 54085"/>
                <a:gd name="connsiteX4" fmla="*/ 32609 w 32660"/>
                <a:gd name="connsiteY4" fmla="*/ 8414 h 54085"/>
                <a:gd name="connsiteX5" fmla="*/ 27467 w 32660"/>
                <a:gd name="connsiteY5" fmla="*/ 450 h 54085"/>
                <a:gd name="connsiteX6" fmla="*/ 18797 w 32660"/>
                <a:gd name="connsiteY6" fmla="*/ 1962 h 54085"/>
                <a:gd name="connsiteX7" fmla="*/ 13958 w 32660"/>
                <a:gd name="connsiteY7" fmla="*/ 6902 h 54085"/>
                <a:gd name="connsiteX8" fmla="*/ 7405 w 32660"/>
                <a:gd name="connsiteY8" fmla="*/ 16883 h 54085"/>
                <a:gd name="connsiteX9" fmla="*/ 852 w 32660"/>
                <a:gd name="connsiteY9" fmla="*/ 35836 h 54085"/>
                <a:gd name="connsiteX10" fmla="*/ 1457 w 32660"/>
                <a:gd name="connsiteY10" fmla="*/ 54084 h 54085"/>
                <a:gd name="connsiteX11" fmla="*/ 5086 w 32660"/>
                <a:gd name="connsiteY11" fmla="*/ 36845 h 54085"/>
                <a:gd name="connsiteX12" fmla="*/ 12345 w 32660"/>
                <a:gd name="connsiteY12" fmla="*/ 19706 h 54085"/>
                <a:gd name="connsiteX13" fmla="*/ 18595 w 32660"/>
                <a:gd name="connsiteY13" fmla="*/ 10733 h 54085"/>
                <a:gd name="connsiteX14" fmla="*/ 25451 w 32660"/>
                <a:gd name="connsiteY14" fmla="*/ 6297 h 54085"/>
                <a:gd name="connsiteX15" fmla="*/ 26359 w 32660"/>
                <a:gd name="connsiteY15" fmla="*/ 8112 h 54085"/>
                <a:gd name="connsiteX16" fmla="*/ 25048 w 32660"/>
                <a:gd name="connsiteY16" fmla="*/ 13052 h 54085"/>
                <a:gd name="connsiteX17" fmla="*/ 20813 w 32660"/>
                <a:gd name="connsiteY17" fmla="*/ 23234 h 54085"/>
                <a:gd name="connsiteX18" fmla="*/ 11034 w 32660"/>
                <a:gd name="connsiteY18" fmla="*/ 39365 h 54085"/>
                <a:gd name="connsiteX19" fmla="*/ 247 w 32660"/>
                <a:gd name="connsiteY19" fmla="*/ 53480 h 54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2660" h="54085">
                  <a:moveTo>
                    <a:pt x="247" y="53480"/>
                  </a:moveTo>
                  <a:cubicBezTo>
                    <a:pt x="650" y="54084"/>
                    <a:pt x="6901" y="50657"/>
                    <a:pt x="14563" y="42289"/>
                  </a:cubicBezTo>
                  <a:cubicBezTo>
                    <a:pt x="18394" y="38155"/>
                    <a:pt x="22427" y="32611"/>
                    <a:pt x="26056" y="25957"/>
                  </a:cubicBezTo>
                  <a:cubicBezTo>
                    <a:pt x="27871" y="22629"/>
                    <a:pt x="29484" y="19000"/>
                    <a:pt x="30895" y="15169"/>
                  </a:cubicBezTo>
                  <a:cubicBezTo>
                    <a:pt x="31601" y="13254"/>
                    <a:pt x="32508" y="11237"/>
                    <a:pt x="32609" y="8414"/>
                  </a:cubicBezTo>
                  <a:cubicBezTo>
                    <a:pt x="33012" y="5793"/>
                    <a:pt x="30996" y="1357"/>
                    <a:pt x="27467" y="450"/>
                  </a:cubicBezTo>
                  <a:cubicBezTo>
                    <a:pt x="24241" y="-659"/>
                    <a:pt x="20914" y="450"/>
                    <a:pt x="18797" y="1962"/>
                  </a:cubicBezTo>
                  <a:cubicBezTo>
                    <a:pt x="16579" y="3575"/>
                    <a:pt x="15269" y="5289"/>
                    <a:pt x="13958" y="6902"/>
                  </a:cubicBezTo>
                  <a:cubicBezTo>
                    <a:pt x="11337" y="10128"/>
                    <a:pt x="9219" y="13556"/>
                    <a:pt x="7405" y="16883"/>
                  </a:cubicBezTo>
                  <a:cubicBezTo>
                    <a:pt x="3876" y="23638"/>
                    <a:pt x="1860" y="30292"/>
                    <a:pt x="852" y="35836"/>
                  </a:cubicBezTo>
                  <a:cubicBezTo>
                    <a:pt x="-1064" y="47128"/>
                    <a:pt x="751" y="54185"/>
                    <a:pt x="1457" y="54084"/>
                  </a:cubicBezTo>
                  <a:cubicBezTo>
                    <a:pt x="2465" y="54084"/>
                    <a:pt x="2263" y="47128"/>
                    <a:pt x="5086" y="36845"/>
                  </a:cubicBezTo>
                  <a:cubicBezTo>
                    <a:pt x="6498" y="31703"/>
                    <a:pt x="8816" y="25755"/>
                    <a:pt x="12345" y="19706"/>
                  </a:cubicBezTo>
                  <a:cubicBezTo>
                    <a:pt x="14159" y="16681"/>
                    <a:pt x="16176" y="13657"/>
                    <a:pt x="18595" y="10733"/>
                  </a:cubicBezTo>
                  <a:cubicBezTo>
                    <a:pt x="21015" y="7608"/>
                    <a:pt x="23636" y="5591"/>
                    <a:pt x="25451" y="6297"/>
                  </a:cubicBezTo>
                  <a:cubicBezTo>
                    <a:pt x="26157" y="6600"/>
                    <a:pt x="26359" y="6801"/>
                    <a:pt x="26359" y="8112"/>
                  </a:cubicBezTo>
                  <a:cubicBezTo>
                    <a:pt x="26359" y="9422"/>
                    <a:pt x="25754" y="11237"/>
                    <a:pt x="25048" y="13052"/>
                  </a:cubicBezTo>
                  <a:cubicBezTo>
                    <a:pt x="23838" y="16681"/>
                    <a:pt x="22326" y="20109"/>
                    <a:pt x="20813" y="23234"/>
                  </a:cubicBezTo>
                  <a:cubicBezTo>
                    <a:pt x="17688" y="29586"/>
                    <a:pt x="14260" y="35030"/>
                    <a:pt x="11034" y="39365"/>
                  </a:cubicBezTo>
                  <a:cubicBezTo>
                    <a:pt x="4783" y="48237"/>
                    <a:pt x="-358" y="52774"/>
                    <a:pt x="247" y="5348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B7406A31-E3F2-4F02-A1AE-D1A63270D74D}"/>
                </a:ext>
              </a:extLst>
            </p:cNvPr>
            <p:cNvSpPr/>
            <p:nvPr/>
          </p:nvSpPr>
          <p:spPr>
            <a:xfrm>
              <a:off x="11790523" y="5883708"/>
              <a:ext cx="49595" cy="39108"/>
            </a:xfrm>
            <a:custGeom>
              <a:avLst/>
              <a:gdLst>
                <a:gd name="connsiteX0" fmla="*/ 49411 w 49595"/>
                <a:gd name="connsiteY0" fmla="*/ 39091 h 39108"/>
                <a:gd name="connsiteX1" fmla="*/ 42454 w 49595"/>
                <a:gd name="connsiteY1" fmla="*/ 22254 h 39108"/>
                <a:gd name="connsiteX2" fmla="*/ 28340 w 49595"/>
                <a:gd name="connsiteY2" fmla="*/ 8039 h 39108"/>
                <a:gd name="connsiteX3" fmla="*/ 17956 w 49595"/>
                <a:gd name="connsiteY3" fmla="*/ 2091 h 39108"/>
                <a:gd name="connsiteX4" fmla="*/ 3135 w 49595"/>
                <a:gd name="connsiteY4" fmla="*/ 1889 h 39108"/>
                <a:gd name="connsiteX5" fmla="*/ 212 w 49595"/>
                <a:gd name="connsiteY5" fmla="*/ 10559 h 39108"/>
                <a:gd name="connsiteX6" fmla="*/ 2833 w 49595"/>
                <a:gd name="connsiteY6" fmla="*/ 17012 h 39108"/>
                <a:gd name="connsiteX7" fmla="*/ 10294 w 49595"/>
                <a:gd name="connsiteY7" fmla="*/ 26690 h 39108"/>
                <a:gd name="connsiteX8" fmla="*/ 27937 w 49595"/>
                <a:gd name="connsiteY8" fmla="*/ 36772 h 39108"/>
                <a:gd name="connsiteX9" fmla="*/ 46185 w 49595"/>
                <a:gd name="connsiteY9" fmla="*/ 36470 h 39108"/>
                <a:gd name="connsiteX10" fmla="*/ 29247 w 49595"/>
                <a:gd name="connsiteY10" fmla="*/ 32638 h 39108"/>
                <a:gd name="connsiteX11" fmla="*/ 14225 w 49595"/>
                <a:gd name="connsiteY11" fmla="*/ 22658 h 39108"/>
                <a:gd name="connsiteX12" fmla="*/ 8076 w 49595"/>
                <a:gd name="connsiteY12" fmla="*/ 14088 h 39108"/>
                <a:gd name="connsiteX13" fmla="*/ 6765 w 49595"/>
                <a:gd name="connsiteY13" fmla="*/ 6728 h 39108"/>
                <a:gd name="connsiteX14" fmla="*/ 15435 w 49595"/>
                <a:gd name="connsiteY14" fmla="*/ 7535 h 39108"/>
                <a:gd name="connsiteX15" fmla="*/ 25013 w 49595"/>
                <a:gd name="connsiteY15" fmla="*/ 12576 h 39108"/>
                <a:gd name="connsiteX16" fmla="*/ 38926 w 49595"/>
                <a:gd name="connsiteY16" fmla="*/ 24775 h 39108"/>
                <a:gd name="connsiteX17" fmla="*/ 49411 w 49595"/>
                <a:gd name="connsiteY17" fmla="*/ 39091 h 3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595" h="39108">
                  <a:moveTo>
                    <a:pt x="49411" y="39091"/>
                  </a:moveTo>
                  <a:cubicBezTo>
                    <a:pt x="50116" y="38889"/>
                    <a:pt x="49007" y="31731"/>
                    <a:pt x="42454" y="22254"/>
                  </a:cubicBezTo>
                  <a:cubicBezTo>
                    <a:pt x="39228" y="17516"/>
                    <a:pt x="34490" y="12475"/>
                    <a:pt x="28340" y="8039"/>
                  </a:cubicBezTo>
                  <a:cubicBezTo>
                    <a:pt x="25214" y="5821"/>
                    <a:pt x="21686" y="3805"/>
                    <a:pt x="17956" y="2091"/>
                  </a:cubicBezTo>
                  <a:cubicBezTo>
                    <a:pt x="14125" y="579"/>
                    <a:pt x="9084" y="-1639"/>
                    <a:pt x="3135" y="1889"/>
                  </a:cubicBezTo>
                  <a:cubicBezTo>
                    <a:pt x="212" y="4006"/>
                    <a:pt x="-393" y="8039"/>
                    <a:pt x="212" y="10559"/>
                  </a:cubicBezTo>
                  <a:cubicBezTo>
                    <a:pt x="716" y="13281"/>
                    <a:pt x="1825" y="15096"/>
                    <a:pt x="2833" y="17012"/>
                  </a:cubicBezTo>
                  <a:cubicBezTo>
                    <a:pt x="4950" y="20742"/>
                    <a:pt x="7471" y="24069"/>
                    <a:pt x="10294" y="26690"/>
                  </a:cubicBezTo>
                  <a:cubicBezTo>
                    <a:pt x="15939" y="32134"/>
                    <a:pt x="22392" y="35260"/>
                    <a:pt x="27937" y="36772"/>
                  </a:cubicBezTo>
                  <a:cubicBezTo>
                    <a:pt x="39329" y="39897"/>
                    <a:pt x="46487" y="36974"/>
                    <a:pt x="46185" y="36470"/>
                  </a:cubicBezTo>
                  <a:cubicBezTo>
                    <a:pt x="46084" y="35360"/>
                    <a:pt x="39127" y="36470"/>
                    <a:pt x="29247" y="32638"/>
                  </a:cubicBezTo>
                  <a:cubicBezTo>
                    <a:pt x="24408" y="30723"/>
                    <a:pt x="18863" y="27598"/>
                    <a:pt x="14225" y="22658"/>
                  </a:cubicBezTo>
                  <a:cubicBezTo>
                    <a:pt x="11907" y="20238"/>
                    <a:pt x="9689" y="17314"/>
                    <a:pt x="8076" y="14088"/>
                  </a:cubicBezTo>
                  <a:cubicBezTo>
                    <a:pt x="6160" y="10660"/>
                    <a:pt x="5353" y="7333"/>
                    <a:pt x="6765" y="6728"/>
                  </a:cubicBezTo>
                  <a:cubicBezTo>
                    <a:pt x="8176" y="5619"/>
                    <a:pt x="12411" y="6023"/>
                    <a:pt x="15435" y="7535"/>
                  </a:cubicBezTo>
                  <a:cubicBezTo>
                    <a:pt x="18863" y="8946"/>
                    <a:pt x="22089" y="10660"/>
                    <a:pt x="25013" y="12576"/>
                  </a:cubicBezTo>
                  <a:cubicBezTo>
                    <a:pt x="30860" y="16407"/>
                    <a:pt x="35498" y="20742"/>
                    <a:pt x="38926" y="24775"/>
                  </a:cubicBezTo>
                  <a:cubicBezTo>
                    <a:pt x="45882" y="33042"/>
                    <a:pt x="48403" y="39494"/>
                    <a:pt x="49411" y="3909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F67754C-F5C1-496A-AD80-7FE7458E3CAD}"/>
                </a:ext>
              </a:extLst>
            </p:cNvPr>
            <p:cNvSpPr/>
            <p:nvPr/>
          </p:nvSpPr>
          <p:spPr>
            <a:xfrm>
              <a:off x="11098422" y="4438667"/>
              <a:ext cx="934778" cy="1550066"/>
            </a:xfrm>
            <a:custGeom>
              <a:avLst/>
              <a:gdLst>
                <a:gd name="connsiteX0" fmla="*/ 413149 w 934778"/>
                <a:gd name="connsiteY0" fmla="*/ 0 h 1550066"/>
                <a:gd name="connsiteX1" fmla="*/ 485435 w 934778"/>
                <a:gd name="connsiteY1" fmla="*/ 821460 h 1550066"/>
                <a:gd name="connsiteX2" fmla="*/ 934778 w 934778"/>
                <a:gd name="connsiteY2" fmla="*/ 1416887 h 1550066"/>
                <a:gd name="connsiteX3" fmla="*/ 743830 w 934778"/>
                <a:gd name="connsiteY3" fmla="*/ 1550066 h 1550066"/>
                <a:gd name="connsiteX4" fmla="*/ 236013 w 934778"/>
                <a:gd name="connsiteY4" fmla="*/ 1028639 h 1550066"/>
                <a:gd name="connsiteX5" fmla="*/ 187722 w 934778"/>
                <a:gd name="connsiteY5" fmla="*/ 938811 h 1550066"/>
                <a:gd name="connsiteX6" fmla="*/ 0 w 934778"/>
                <a:gd name="connsiteY6" fmla="*/ 46074 h 1550066"/>
                <a:gd name="connsiteX7" fmla="*/ 413149 w 934778"/>
                <a:gd name="connsiteY7" fmla="*/ 0 h 1550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4778" h="1550066">
                  <a:moveTo>
                    <a:pt x="413149" y="0"/>
                  </a:moveTo>
                  <a:cubicBezTo>
                    <a:pt x="418795" y="15727"/>
                    <a:pt x="485435" y="821460"/>
                    <a:pt x="485435" y="821460"/>
                  </a:cubicBezTo>
                  <a:lnTo>
                    <a:pt x="934778" y="1416887"/>
                  </a:lnTo>
                  <a:lnTo>
                    <a:pt x="743830" y="1550066"/>
                  </a:lnTo>
                  <a:lnTo>
                    <a:pt x="236013" y="1028639"/>
                  </a:lnTo>
                  <a:cubicBezTo>
                    <a:pt x="211616" y="1003939"/>
                    <a:pt x="194880" y="972786"/>
                    <a:pt x="187722" y="938811"/>
                  </a:cubicBezTo>
                  <a:lnTo>
                    <a:pt x="0" y="46074"/>
                  </a:lnTo>
                  <a:lnTo>
                    <a:pt x="413149" y="0"/>
                  </a:ln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B1195611-B740-47B2-9BC3-F45D5A443E1C}"/>
                </a:ext>
              </a:extLst>
            </p:cNvPr>
            <p:cNvSpPr/>
            <p:nvPr/>
          </p:nvSpPr>
          <p:spPr>
            <a:xfrm>
              <a:off x="9961707" y="3349740"/>
              <a:ext cx="910178" cy="499852"/>
            </a:xfrm>
            <a:custGeom>
              <a:avLst/>
              <a:gdLst>
                <a:gd name="connsiteX0" fmla="*/ 487452 w 910178"/>
                <a:gd name="connsiteY0" fmla="*/ 244583 h 499852"/>
                <a:gd name="connsiteX1" fmla="*/ 882958 w 910178"/>
                <a:gd name="connsiteY1" fmla="*/ 253253 h 499852"/>
                <a:gd name="connsiteX2" fmla="*/ 910179 w 910178"/>
                <a:gd name="connsiteY2" fmla="*/ 257487 h 499852"/>
                <a:gd name="connsiteX3" fmla="*/ 800489 w 910178"/>
                <a:gd name="connsiteY3" fmla="*/ 499852 h 499852"/>
                <a:gd name="connsiteX4" fmla="*/ 396615 w 910178"/>
                <a:gd name="connsiteY4" fmla="*/ 441781 h 499852"/>
                <a:gd name="connsiteX5" fmla="*/ 0 w 910178"/>
                <a:gd name="connsiteY5" fmla="*/ 148403 h 499852"/>
                <a:gd name="connsiteX6" fmla="*/ 105959 w 910178"/>
                <a:gd name="connsiteY6" fmla="*/ 0 h 49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0178" h="499852">
                  <a:moveTo>
                    <a:pt x="487452" y="244583"/>
                  </a:moveTo>
                  <a:lnTo>
                    <a:pt x="882958" y="253253"/>
                  </a:lnTo>
                  <a:lnTo>
                    <a:pt x="910179" y="257487"/>
                  </a:lnTo>
                  <a:lnTo>
                    <a:pt x="800489" y="499852"/>
                  </a:lnTo>
                  <a:lnTo>
                    <a:pt x="396615" y="441781"/>
                  </a:lnTo>
                  <a:lnTo>
                    <a:pt x="0" y="148403"/>
                  </a:lnTo>
                  <a:lnTo>
                    <a:pt x="105959" y="0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D99D87BA-BA62-413B-ADA3-F4DAD1458C38}"/>
                </a:ext>
              </a:extLst>
            </p:cNvPr>
            <p:cNvSpPr/>
            <p:nvPr/>
          </p:nvSpPr>
          <p:spPr>
            <a:xfrm>
              <a:off x="10744957" y="3584342"/>
              <a:ext cx="790609" cy="1101513"/>
            </a:xfrm>
            <a:custGeom>
              <a:avLst/>
              <a:gdLst>
                <a:gd name="connsiteX0" fmla="*/ 336226 w 790609"/>
                <a:gd name="connsiteY0" fmla="*/ 0 h 1101513"/>
                <a:gd name="connsiteX1" fmla="*/ 488057 w 790609"/>
                <a:gd name="connsiteY1" fmla="*/ 39319 h 1101513"/>
                <a:gd name="connsiteX2" fmla="*/ 571433 w 790609"/>
                <a:gd name="connsiteY2" fmla="*/ 117956 h 1101513"/>
                <a:gd name="connsiteX3" fmla="*/ 614078 w 790609"/>
                <a:gd name="connsiteY3" fmla="*/ 272207 h 1101513"/>
                <a:gd name="connsiteX4" fmla="*/ 703402 w 790609"/>
                <a:gd name="connsiteY4" fmla="*/ 615893 h 1101513"/>
                <a:gd name="connsiteX5" fmla="*/ 790610 w 790609"/>
                <a:gd name="connsiteY5" fmla="*/ 927620 h 1101513"/>
                <a:gd name="connsiteX6" fmla="*/ 317373 w 790609"/>
                <a:gd name="connsiteY6" fmla="*/ 1101429 h 1101513"/>
                <a:gd name="connsiteX7" fmla="*/ 237929 w 790609"/>
                <a:gd name="connsiteY7" fmla="*/ 1086609 h 1101513"/>
                <a:gd name="connsiteX8" fmla="*/ 110496 w 790609"/>
                <a:gd name="connsiteY8" fmla="*/ 1032369 h 1101513"/>
                <a:gd name="connsiteX9" fmla="*/ 152033 w 790609"/>
                <a:gd name="connsiteY9" fmla="*/ 836582 h 1101513"/>
                <a:gd name="connsiteX10" fmla="*/ 0 w 790609"/>
                <a:gd name="connsiteY10" fmla="*/ 255572 h 1101513"/>
                <a:gd name="connsiteX11" fmla="*/ 116041 w 790609"/>
                <a:gd name="connsiteY11" fmla="*/ 25103 h 1101513"/>
                <a:gd name="connsiteX12" fmla="*/ 155763 w 790609"/>
                <a:gd name="connsiteY12" fmla="*/ 19760 h 1101513"/>
                <a:gd name="connsiteX13" fmla="*/ 336226 w 790609"/>
                <a:gd name="connsiteY13" fmla="*/ 0 h 1101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0609" h="1101513">
                  <a:moveTo>
                    <a:pt x="336226" y="0"/>
                  </a:moveTo>
                  <a:lnTo>
                    <a:pt x="488057" y="39319"/>
                  </a:lnTo>
                  <a:cubicBezTo>
                    <a:pt x="526771" y="50812"/>
                    <a:pt x="557621" y="80049"/>
                    <a:pt x="571433" y="117956"/>
                  </a:cubicBezTo>
                  <a:lnTo>
                    <a:pt x="614078" y="272207"/>
                  </a:lnTo>
                  <a:lnTo>
                    <a:pt x="703402" y="615893"/>
                  </a:lnTo>
                  <a:lnTo>
                    <a:pt x="790610" y="927620"/>
                  </a:lnTo>
                  <a:cubicBezTo>
                    <a:pt x="635351" y="998595"/>
                    <a:pt x="512253" y="1095380"/>
                    <a:pt x="317373" y="1101429"/>
                  </a:cubicBezTo>
                  <a:cubicBezTo>
                    <a:pt x="290152" y="1102236"/>
                    <a:pt x="263032" y="1097296"/>
                    <a:pt x="237929" y="1086609"/>
                  </a:cubicBezTo>
                  <a:lnTo>
                    <a:pt x="110496" y="1032369"/>
                  </a:lnTo>
                  <a:lnTo>
                    <a:pt x="152033" y="836582"/>
                  </a:lnTo>
                  <a:lnTo>
                    <a:pt x="0" y="255572"/>
                  </a:lnTo>
                  <a:lnTo>
                    <a:pt x="116041" y="25103"/>
                  </a:lnTo>
                  <a:lnTo>
                    <a:pt x="155763" y="19760"/>
                  </a:lnTo>
                  <a:lnTo>
                    <a:pt x="336226" y="0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51FCC24D-7B89-4E0E-A79B-2D51E9F935C6}"/>
                </a:ext>
              </a:extLst>
            </p:cNvPr>
            <p:cNvSpPr/>
            <p:nvPr/>
          </p:nvSpPr>
          <p:spPr>
            <a:xfrm>
              <a:off x="10477651" y="2931427"/>
              <a:ext cx="732255" cy="631484"/>
            </a:xfrm>
            <a:custGeom>
              <a:avLst/>
              <a:gdLst>
                <a:gd name="connsiteX0" fmla="*/ 35326 w 732255"/>
                <a:gd name="connsiteY0" fmla="*/ 463781 h 631484"/>
                <a:gd name="connsiteX1" fmla="*/ 38653 w 732255"/>
                <a:gd name="connsiteY1" fmla="*/ 446440 h 631484"/>
                <a:gd name="connsiteX2" fmla="*/ 71922 w 732255"/>
                <a:gd name="connsiteY2" fmla="*/ 423152 h 631484"/>
                <a:gd name="connsiteX3" fmla="*/ 68192 w 732255"/>
                <a:gd name="connsiteY3" fmla="*/ 368509 h 631484"/>
                <a:gd name="connsiteX4" fmla="*/ 48936 w 732255"/>
                <a:gd name="connsiteY4" fmla="*/ 370223 h 631484"/>
                <a:gd name="connsiteX5" fmla="*/ 45710 w 732255"/>
                <a:gd name="connsiteY5" fmla="*/ 370424 h 631484"/>
                <a:gd name="connsiteX6" fmla="*/ 26353 w 732255"/>
                <a:gd name="connsiteY6" fmla="*/ 337356 h 631484"/>
                <a:gd name="connsiteX7" fmla="*/ 51759 w 732255"/>
                <a:gd name="connsiteY7" fmla="*/ 302574 h 631484"/>
                <a:gd name="connsiteX8" fmla="*/ 29276 w 732255"/>
                <a:gd name="connsiteY8" fmla="*/ 322133 h 631484"/>
                <a:gd name="connsiteX9" fmla="*/ 3064 w 732255"/>
                <a:gd name="connsiteY9" fmla="*/ 321225 h 631484"/>
                <a:gd name="connsiteX10" fmla="*/ 1249 w 732255"/>
                <a:gd name="connsiteY10" fmla="*/ 312354 h 631484"/>
                <a:gd name="connsiteX11" fmla="*/ 140 w 732255"/>
                <a:gd name="connsiteY11" fmla="*/ 293904 h 631484"/>
                <a:gd name="connsiteX12" fmla="*/ 2963 w 732255"/>
                <a:gd name="connsiteY12" fmla="*/ 279588 h 631484"/>
                <a:gd name="connsiteX13" fmla="*/ 11533 w 732255"/>
                <a:gd name="connsiteY13" fmla="*/ 273640 h 631484"/>
                <a:gd name="connsiteX14" fmla="*/ 30688 w 732255"/>
                <a:gd name="connsiteY14" fmla="*/ 245209 h 631484"/>
                <a:gd name="connsiteX15" fmla="*/ 55287 w 732255"/>
                <a:gd name="connsiteY15" fmla="*/ 239664 h 631484"/>
                <a:gd name="connsiteX16" fmla="*/ 72829 w 732255"/>
                <a:gd name="connsiteY16" fmla="*/ 224542 h 631484"/>
                <a:gd name="connsiteX17" fmla="*/ 37745 w 732255"/>
                <a:gd name="connsiteY17" fmla="*/ 212343 h 631484"/>
                <a:gd name="connsiteX18" fmla="*/ 27865 w 732255"/>
                <a:gd name="connsiteY18" fmla="*/ 179375 h 631484"/>
                <a:gd name="connsiteX19" fmla="*/ 51960 w 732255"/>
                <a:gd name="connsiteY19" fmla="*/ 163950 h 631484"/>
                <a:gd name="connsiteX20" fmla="*/ 82407 w 732255"/>
                <a:gd name="connsiteY20" fmla="*/ 166672 h 631484"/>
                <a:gd name="connsiteX21" fmla="*/ 122936 w 732255"/>
                <a:gd name="connsiteY21" fmla="*/ 174939 h 631484"/>
                <a:gd name="connsiteX22" fmla="*/ 148140 w 732255"/>
                <a:gd name="connsiteY22" fmla="*/ 162136 h 631484"/>
                <a:gd name="connsiteX23" fmla="*/ 115879 w 732255"/>
                <a:gd name="connsiteY23" fmla="*/ 150038 h 631484"/>
                <a:gd name="connsiteX24" fmla="*/ 110938 w 732255"/>
                <a:gd name="connsiteY24" fmla="*/ 121305 h 631484"/>
                <a:gd name="connsiteX25" fmla="*/ 122230 w 732255"/>
                <a:gd name="connsiteY25" fmla="*/ 115760 h 631484"/>
                <a:gd name="connsiteX26" fmla="*/ 128481 w 732255"/>
                <a:gd name="connsiteY26" fmla="*/ 109307 h 631484"/>
                <a:gd name="connsiteX27" fmla="*/ 135034 w 732255"/>
                <a:gd name="connsiteY27" fmla="*/ 109307 h 631484"/>
                <a:gd name="connsiteX28" fmla="*/ 204396 w 732255"/>
                <a:gd name="connsiteY28" fmla="*/ 124127 h 631484"/>
                <a:gd name="connsiteX29" fmla="*/ 175966 w 732255"/>
                <a:gd name="connsiteY29" fmla="*/ 95092 h 631484"/>
                <a:gd name="connsiteX30" fmla="*/ 164977 w 732255"/>
                <a:gd name="connsiteY30" fmla="*/ 62427 h 631484"/>
                <a:gd name="connsiteX31" fmla="*/ 195121 w 732255"/>
                <a:gd name="connsiteY31" fmla="*/ 66863 h 631484"/>
                <a:gd name="connsiteX32" fmla="*/ 223451 w 732255"/>
                <a:gd name="connsiteY32" fmla="*/ 75029 h 631484"/>
                <a:gd name="connsiteX33" fmla="*/ 246941 w 732255"/>
                <a:gd name="connsiteY33" fmla="*/ 72610 h 631484"/>
                <a:gd name="connsiteX34" fmla="*/ 255611 w 732255"/>
                <a:gd name="connsiteY34" fmla="*/ 94588 h 631484"/>
                <a:gd name="connsiteX35" fmla="*/ 285050 w 732255"/>
                <a:gd name="connsiteY35" fmla="*/ 92269 h 631484"/>
                <a:gd name="connsiteX36" fmla="*/ 306524 w 732255"/>
                <a:gd name="connsiteY36" fmla="*/ 71400 h 631484"/>
                <a:gd name="connsiteX37" fmla="*/ 304508 w 732255"/>
                <a:gd name="connsiteY37" fmla="*/ 54059 h 631484"/>
                <a:gd name="connsiteX38" fmla="*/ 318219 w 732255"/>
                <a:gd name="connsiteY38" fmla="*/ 47002 h 631484"/>
                <a:gd name="connsiteX39" fmla="*/ 319126 w 732255"/>
                <a:gd name="connsiteY39" fmla="*/ 23915 h 631484"/>
                <a:gd name="connsiteX40" fmla="*/ 341306 w 732255"/>
                <a:gd name="connsiteY40" fmla="*/ 17261 h 631484"/>
                <a:gd name="connsiteX41" fmla="*/ 346145 w 732255"/>
                <a:gd name="connsiteY41" fmla="*/ 2643 h 631484"/>
                <a:gd name="connsiteX42" fmla="*/ 374374 w 732255"/>
                <a:gd name="connsiteY42" fmla="*/ 5768 h 631484"/>
                <a:gd name="connsiteX43" fmla="*/ 370140 w 732255"/>
                <a:gd name="connsiteY43" fmla="*/ 30367 h 631484"/>
                <a:gd name="connsiteX44" fmla="*/ 377399 w 732255"/>
                <a:gd name="connsiteY44" fmla="*/ 45591 h 631484"/>
                <a:gd name="connsiteX45" fmla="*/ 369938 w 732255"/>
                <a:gd name="connsiteY45" fmla="*/ 74021 h 631484"/>
                <a:gd name="connsiteX46" fmla="*/ 394538 w 732255"/>
                <a:gd name="connsiteY46" fmla="*/ 61923 h 631484"/>
                <a:gd name="connsiteX47" fmla="*/ 417524 w 732255"/>
                <a:gd name="connsiteY47" fmla="*/ 53253 h 631484"/>
                <a:gd name="connsiteX48" fmla="*/ 442123 w 732255"/>
                <a:gd name="connsiteY48" fmla="*/ 48212 h 631484"/>
                <a:gd name="connsiteX49" fmla="*/ 452608 w 732255"/>
                <a:gd name="connsiteY49" fmla="*/ 39542 h 631484"/>
                <a:gd name="connsiteX50" fmla="*/ 473377 w 732255"/>
                <a:gd name="connsiteY50" fmla="*/ 38735 h 631484"/>
                <a:gd name="connsiteX51" fmla="*/ 478216 w 732255"/>
                <a:gd name="connsiteY51" fmla="*/ 55874 h 631484"/>
                <a:gd name="connsiteX52" fmla="*/ 494750 w 732255"/>
                <a:gd name="connsiteY52" fmla="*/ 60310 h 631484"/>
                <a:gd name="connsiteX53" fmla="*/ 491826 w 732255"/>
                <a:gd name="connsiteY53" fmla="*/ 80171 h 631484"/>
                <a:gd name="connsiteX54" fmla="*/ 483962 w 732255"/>
                <a:gd name="connsiteY54" fmla="*/ 99125 h 631484"/>
                <a:gd name="connsiteX55" fmla="*/ 501001 w 732255"/>
                <a:gd name="connsiteY55" fmla="*/ 88035 h 631484"/>
                <a:gd name="connsiteX56" fmla="*/ 537093 w 732255"/>
                <a:gd name="connsiteY56" fmla="*/ 81784 h 631484"/>
                <a:gd name="connsiteX57" fmla="*/ 548788 w 732255"/>
                <a:gd name="connsiteY57" fmla="*/ 73013 h 631484"/>
                <a:gd name="connsiteX58" fmla="*/ 597180 w 732255"/>
                <a:gd name="connsiteY58" fmla="*/ 79365 h 631484"/>
                <a:gd name="connsiteX59" fmla="*/ 610791 w 732255"/>
                <a:gd name="connsiteY59" fmla="*/ 96302 h 631484"/>
                <a:gd name="connsiteX60" fmla="*/ 605951 w 732255"/>
                <a:gd name="connsiteY60" fmla="*/ 105678 h 631484"/>
                <a:gd name="connsiteX61" fmla="*/ 578832 w 732255"/>
                <a:gd name="connsiteY61" fmla="*/ 141367 h 631484"/>
                <a:gd name="connsiteX62" fmla="*/ 640734 w 732255"/>
                <a:gd name="connsiteY62" fmla="*/ 157095 h 631484"/>
                <a:gd name="connsiteX63" fmla="*/ 667047 w 732255"/>
                <a:gd name="connsiteY63" fmla="*/ 158103 h 631484"/>
                <a:gd name="connsiteX64" fmla="*/ 671987 w 732255"/>
                <a:gd name="connsiteY64" fmla="*/ 177662 h 631484"/>
                <a:gd name="connsiteX65" fmla="*/ 683077 w 732255"/>
                <a:gd name="connsiteY65" fmla="*/ 193490 h 631484"/>
                <a:gd name="connsiteX66" fmla="*/ 679851 w 732255"/>
                <a:gd name="connsiteY66" fmla="*/ 201757 h 631484"/>
                <a:gd name="connsiteX67" fmla="*/ 677633 w 732255"/>
                <a:gd name="connsiteY67" fmla="*/ 207705 h 631484"/>
                <a:gd name="connsiteX68" fmla="*/ 669971 w 732255"/>
                <a:gd name="connsiteY68" fmla="*/ 216375 h 631484"/>
                <a:gd name="connsiteX69" fmla="*/ 656864 w 732255"/>
                <a:gd name="connsiteY69" fmla="*/ 229885 h 631484"/>
                <a:gd name="connsiteX70" fmla="*/ 681464 w 732255"/>
                <a:gd name="connsiteY70" fmla="*/ 243394 h 631484"/>
                <a:gd name="connsiteX71" fmla="*/ 693965 w 732255"/>
                <a:gd name="connsiteY71" fmla="*/ 276059 h 631484"/>
                <a:gd name="connsiteX72" fmla="*/ 693259 w 732255"/>
                <a:gd name="connsiteY72" fmla="*/ 277874 h 631484"/>
                <a:gd name="connsiteX73" fmla="*/ 690235 w 732255"/>
                <a:gd name="connsiteY73" fmla="*/ 290375 h 631484"/>
                <a:gd name="connsiteX74" fmla="*/ 694872 w 732255"/>
                <a:gd name="connsiteY74" fmla="*/ 298541 h 631484"/>
                <a:gd name="connsiteX75" fmla="*/ 727940 w 732255"/>
                <a:gd name="connsiteY75" fmla="*/ 318100 h 631484"/>
                <a:gd name="connsiteX76" fmla="*/ 726126 w 732255"/>
                <a:gd name="connsiteY76" fmla="*/ 356411 h 631484"/>
                <a:gd name="connsiteX77" fmla="*/ 700014 w 732255"/>
                <a:gd name="connsiteY77" fmla="*/ 360443 h 631484"/>
                <a:gd name="connsiteX78" fmla="*/ 685295 w 732255"/>
                <a:gd name="connsiteY78" fmla="*/ 383329 h 631484"/>
                <a:gd name="connsiteX79" fmla="*/ 685496 w 732255"/>
                <a:gd name="connsiteY79" fmla="*/ 424664 h 631484"/>
                <a:gd name="connsiteX80" fmla="*/ 694268 w 732255"/>
                <a:gd name="connsiteY80" fmla="*/ 473661 h 631484"/>
                <a:gd name="connsiteX81" fmla="*/ 691646 w 732255"/>
                <a:gd name="connsiteY81" fmla="*/ 505923 h 631484"/>
                <a:gd name="connsiteX82" fmla="*/ 659385 w 732255"/>
                <a:gd name="connsiteY82" fmla="*/ 503201 h 631484"/>
                <a:gd name="connsiteX83" fmla="*/ 651118 w 732255"/>
                <a:gd name="connsiteY83" fmla="*/ 529413 h 631484"/>
                <a:gd name="connsiteX84" fmla="*/ 626821 w 732255"/>
                <a:gd name="connsiteY84" fmla="*/ 532135 h 631484"/>
                <a:gd name="connsiteX85" fmla="*/ 589115 w 732255"/>
                <a:gd name="connsiteY85" fmla="*/ 562683 h 631484"/>
                <a:gd name="connsiteX86" fmla="*/ 579336 w 732255"/>
                <a:gd name="connsiteY86" fmla="*/ 588795 h 631484"/>
                <a:gd name="connsiteX87" fmla="*/ 552720 w 732255"/>
                <a:gd name="connsiteY87" fmla="*/ 580628 h 631484"/>
                <a:gd name="connsiteX88" fmla="*/ 503521 w 732255"/>
                <a:gd name="connsiteY88" fmla="*/ 599078 h 631484"/>
                <a:gd name="connsiteX89" fmla="*/ 470251 w 732255"/>
                <a:gd name="connsiteY89" fmla="*/ 609260 h 631484"/>
                <a:gd name="connsiteX90" fmla="*/ 426295 w 732255"/>
                <a:gd name="connsiteY90" fmla="*/ 606337 h 631484"/>
                <a:gd name="connsiteX91" fmla="*/ 412281 w 732255"/>
                <a:gd name="connsiteY91" fmla="*/ 603816 h 631484"/>
                <a:gd name="connsiteX92" fmla="*/ 398167 w 732255"/>
                <a:gd name="connsiteY92" fmla="*/ 611882 h 631484"/>
                <a:gd name="connsiteX93" fmla="*/ 316001 w 732255"/>
                <a:gd name="connsiteY93" fmla="*/ 623072 h 631484"/>
                <a:gd name="connsiteX94" fmla="*/ 302996 w 732255"/>
                <a:gd name="connsiteY94" fmla="*/ 618939 h 631484"/>
                <a:gd name="connsiteX95" fmla="*/ 287772 w 732255"/>
                <a:gd name="connsiteY95" fmla="*/ 622468 h 631484"/>
                <a:gd name="connsiteX96" fmla="*/ 250167 w 732255"/>
                <a:gd name="connsiteY96" fmla="*/ 631037 h 631484"/>
                <a:gd name="connsiteX97" fmla="*/ 218712 w 732255"/>
                <a:gd name="connsiteY97" fmla="*/ 624282 h 631484"/>
                <a:gd name="connsiteX98" fmla="*/ 220930 w 732255"/>
                <a:gd name="connsiteY98" fmla="*/ 596759 h 631484"/>
                <a:gd name="connsiteX99" fmla="*/ 208328 w 732255"/>
                <a:gd name="connsiteY99" fmla="*/ 580225 h 631484"/>
                <a:gd name="connsiteX100" fmla="*/ 189979 w 732255"/>
                <a:gd name="connsiteY100" fmla="*/ 586476 h 631484"/>
                <a:gd name="connsiteX101" fmla="*/ 200464 w 732255"/>
                <a:gd name="connsiteY101" fmla="*/ 600389 h 631484"/>
                <a:gd name="connsiteX102" fmla="*/ 165481 w 732255"/>
                <a:gd name="connsiteY102" fmla="*/ 594844 h 631484"/>
                <a:gd name="connsiteX103" fmla="*/ 182519 w 732255"/>
                <a:gd name="connsiteY103" fmla="*/ 559860 h 631484"/>
                <a:gd name="connsiteX104" fmla="*/ 170320 w 732255"/>
                <a:gd name="connsiteY104" fmla="*/ 530522 h 631484"/>
                <a:gd name="connsiteX105" fmla="*/ 141990 w 732255"/>
                <a:gd name="connsiteY105" fmla="*/ 545342 h 631484"/>
                <a:gd name="connsiteX106" fmla="*/ 124448 w 732255"/>
                <a:gd name="connsiteY106" fmla="*/ 572160 h 631484"/>
                <a:gd name="connsiteX107" fmla="*/ 94404 w 732255"/>
                <a:gd name="connsiteY107" fmla="*/ 568127 h 631484"/>
                <a:gd name="connsiteX108" fmla="*/ 101764 w 732255"/>
                <a:gd name="connsiteY108" fmla="*/ 541310 h 631484"/>
                <a:gd name="connsiteX109" fmla="*/ 108216 w 732255"/>
                <a:gd name="connsiteY109" fmla="*/ 506628 h 631484"/>
                <a:gd name="connsiteX110" fmla="*/ 114265 w 732255"/>
                <a:gd name="connsiteY110" fmla="*/ 467612 h 631484"/>
                <a:gd name="connsiteX111" fmla="*/ 88355 w 732255"/>
                <a:gd name="connsiteY111" fmla="*/ 467612 h 631484"/>
                <a:gd name="connsiteX112" fmla="*/ 57505 w 732255"/>
                <a:gd name="connsiteY112" fmla="*/ 481323 h 631484"/>
                <a:gd name="connsiteX113" fmla="*/ 35326 w 732255"/>
                <a:gd name="connsiteY113" fmla="*/ 463781 h 631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732255" h="631484">
                  <a:moveTo>
                    <a:pt x="35326" y="463781"/>
                  </a:moveTo>
                  <a:cubicBezTo>
                    <a:pt x="34317" y="457833"/>
                    <a:pt x="35628" y="451683"/>
                    <a:pt x="38653" y="446440"/>
                  </a:cubicBezTo>
                  <a:cubicBezTo>
                    <a:pt x="45911" y="434141"/>
                    <a:pt x="59219" y="428394"/>
                    <a:pt x="71922" y="423152"/>
                  </a:cubicBezTo>
                  <a:cubicBezTo>
                    <a:pt x="73636" y="404904"/>
                    <a:pt x="72426" y="386353"/>
                    <a:pt x="68192" y="368509"/>
                  </a:cubicBezTo>
                  <a:cubicBezTo>
                    <a:pt x="62143" y="371029"/>
                    <a:pt x="55388" y="371533"/>
                    <a:pt x="48936" y="370223"/>
                  </a:cubicBezTo>
                  <a:cubicBezTo>
                    <a:pt x="47928" y="370323"/>
                    <a:pt x="46819" y="370525"/>
                    <a:pt x="45710" y="370424"/>
                  </a:cubicBezTo>
                  <a:cubicBezTo>
                    <a:pt x="31192" y="369517"/>
                    <a:pt x="22824" y="351571"/>
                    <a:pt x="26353" y="337356"/>
                  </a:cubicBezTo>
                  <a:cubicBezTo>
                    <a:pt x="29881" y="323242"/>
                    <a:pt x="41072" y="312454"/>
                    <a:pt x="51759" y="302574"/>
                  </a:cubicBezTo>
                  <a:cubicBezTo>
                    <a:pt x="42685" y="306708"/>
                    <a:pt x="37039" y="315983"/>
                    <a:pt x="29276" y="322133"/>
                  </a:cubicBezTo>
                  <a:cubicBezTo>
                    <a:pt x="21413" y="328383"/>
                    <a:pt x="7702" y="330097"/>
                    <a:pt x="3064" y="321225"/>
                  </a:cubicBezTo>
                  <a:cubicBezTo>
                    <a:pt x="1653" y="318503"/>
                    <a:pt x="1451" y="315378"/>
                    <a:pt x="1249" y="312354"/>
                  </a:cubicBezTo>
                  <a:cubicBezTo>
                    <a:pt x="846" y="306204"/>
                    <a:pt x="544" y="300054"/>
                    <a:pt x="140" y="293904"/>
                  </a:cubicBezTo>
                  <a:cubicBezTo>
                    <a:pt x="-162" y="288964"/>
                    <a:pt x="-263" y="283419"/>
                    <a:pt x="2963" y="279588"/>
                  </a:cubicBezTo>
                  <a:cubicBezTo>
                    <a:pt x="5282" y="276967"/>
                    <a:pt x="8710" y="275757"/>
                    <a:pt x="11533" y="273640"/>
                  </a:cubicBezTo>
                  <a:cubicBezTo>
                    <a:pt x="20909" y="266784"/>
                    <a:pt x="21413" y="252065"/>
                    <a:pt x="30688" y="245209"/>
                  </a:cubicBezTo>
                  <a:cubicBezTo>
                    <a:pt x="37544" y="240067"/>
                    <a:pt x="46819" y="240874"/>
                    <a:pt x="55287" y="239664"/>
                  </a:cubicBezTo>
                  <a:cubicBezTo>
                    <a:pt x="63756" y="238555"/>
                    <a:pt x="73334" y="233010"/>
                    <a:pt x="72829" y="224542"/>
                  </a:cubicBezTo>
                  <a:cubicBezTo>
                    <a:pt x="60530" y="222324"/>
                    <a:pt x="47625" y="219904"/>
                    <a:pt x="37745" y="212343"/>
                  </a:cubicBezTo>
                  <a:cubicBezTo>
                    <a:pt x="27764" y="204781"/>
                    <a:pt x="21816" y="190264"/>
                    <a:pt x="27865" y="179375"/>
                  </a:cubicBezTo>
                  <a:cubicBezTo>
                    <a:pt x="32603" y="170806"/>
                    <a:pt x="42685" y="166975"/>
                    <a:pt x="51960" y="163950"/>
                  </a:cubicBezTo>
                  <a:cubicBezTo>
                    <a:pt x="62345" y="160523"/>
                    <a:pt x="75854" y="157901"/>
                    <a:pt x="82407" y="166672"/>
                  </a:cubicBezTo>
                  <a:cubicBezTo>
                    <a:pt x="94707" y="156994"/>
                    <a:pt x="115374" y="161228"/>
                    <a:pt x="122936" y="174939"/>
                  </a:cubicBezTo>
                  <a:cubicBezTo>
                    <a:pt x="131304" y="170705"/>
                    <a:pt x="139772" y="166471"/>
                    <a:pt x="148140" y="162136"/>
                  </a:cubicBezTo>
                  <a:cubicBezTo>
                    <a:pt x="137756" y="157095"/>
                    <a:pt x="125557" y="156288"/>
                    <a:pt x="115879" y="150038"/>
                  </a:cubicBezTo>
                  <a:cubicBezTo>
                    <a:pt x="106200" y="143787"/>
                    <a:pt x="101361" y="127656"/>
                    <a:pt x="110938" y="121305"/>
                  </a:cubicBezTo>
                  <a:cubicBezTo>
                    <a:pt x="114467" y="118986"/>
                    <a:pt x="119105" y="118583"/>
                    <a:pt x="122230" y="115760"/>
                  </a:cubicBezTo>
                  <a:cubicBezTo>
                    <a:pt x="124448" y="113743"/>
                    <a:pt x="125759" y="110517"/>
                    <a:pt x="128481" y="109307"/>
                  </a:cubicBezTo>
                  <a:cubicBezTo>
                    <a:pt x="130497" y="108400"/>
                    <a:pt x="132816" y="108904"/>
                    <a:pt x="135034" y="109307"/>
                  </a:cubicBezTo>
                  <a:cubicBezTo>
                    <a:pt x="158121" y="114247"/>
                    <a:pt x="181309" y="119188"/>
                    <a:pt x="204396" y="124127"/>
                  </a:cubicBezTo>
                  <a:cubicBezTo>
                    <a:pt x="194919" y="114449"/>
                    <a:pt x="185442" y="104771"/>
                    <a:pt x="175966" y="95092"/>
                  </a:cubicBezTo>
                  <a:cubicBezTo>
                    <a:pt x="167195" y="86119"/>
                    <a:pt x="157919" y="72811"/>
                    <a:pt x="164977" y="62427"/>
                  </a:cubicBezTo>
                  <a:cubicBezTo>
                    <a:pt x="171731" y="52447"/>
                    <a:pt x="188870" y="56479"/>
                    <a:pt x="195121" y="66863"/>
                  </a:cubicBezTo>
                  <a:cubicBezTo>
                    <a:pt x="204194" y="60008"/>
                    <a:pt x="219317" y="64343"/>
                    <a:pt x="223451" y="75029"/>
                  </a:cubicBezTo>
                  <a:cubicBezTo>
                    <a:pt x="229601" y="69283"/>
                    <a:pt x="239783" y="68174"/>
                    <a:pt x="246941" y="72610"/>
                  </a:cubicBezTo>
                  <a:cubicBezTo>
                    <a:pt x="254200" y="77046"/>
                    <a:pt x="257930" y="86523"/>
                    <a:pt x="255611" y="94588"/>
                  </a:cubicBezTo>
                  <a:cubicBezTo>
                    <a:pt x="264987" y="91160"/>
                    <a:pt x="275271" y="90354"/>
                    <a:pt x="285050" y="92269"/>
                  </a:cubicBezTo>
                  <a:cubicBezTo>
                    <a:pt x="280211" y="80474"/>
                    <a:pt x="294829" y="66258"/>
                    <a:pt x="306524" y="71400"/>
                  </a:cubicBezTo>
                  <a:cubicBezTo>
                    <a:pt x="304709" y="65754"/>
                    <a:pt x="302794" y="59705"/>
                    <a:pt x="304508" y="54059"/>
                  </a:cubicBezTo>
                  <a:cubicBezTo>
                    <a:pt x="306222" y="48414"/>
                    <a:pt x="313077" y="43877"/>
                    <a:pt x="318219" y="47002"/>
                  </a:cubicBezTo>
                  <a:cubicBezTo>
                    <a:pt x="313682" y="40147"/>
                    <a:pt x="314086" y="30367"/>
                    <a:pt x="319126" y="23915"/>
                  </a:cubicBezTo>
                  <a:cubicBezTo>
                    <a:pt x="324167" y="17463"/>
                    <a:pt x="333442" y="14640"/>
                    <a:pt x="341306" y="17261"/>
                  </a:cubicBezTo>
                  <a:cubicBezTo>
                    <a:pt x="342919" y="12422"/>
                    <a:pt x="344532" y="7583"/>
                    <a:pt x="346145" y="2643"/>
                  </a:cubicBezTo>
                  <a:cubicBezTo>
                    <a:pt x="355420" y="-1289"/>
                    <a:pt x="367216" y="-1289"/>
                    <a:pt x="374374" y="5768"/>
                  </a:cubicBezTo>
                  <a:cubicBezTo>
                    <a:pt x="381532" y="12825"/>
                    <a:pt x="379818" y="27645"/>
                    <a:pt x="370140" y="30367"/>
                  </a:cubicBezTo>
                  <a:cubicBezTo>
                    <a:pt x="376693" y="27746"/>
                    <a:pt x="379213" y="38735"/>
                    <a:pt x="377399" y="45591"/>
                  </a:cubicBezTo>
                  <a:cubicBezTo>
                    <a:pt x="374878" y="55068"/>
                    <a:pt x="372459" y="64545"/>
                    <a:pt x="369938" y="74021"/>
                  </a:cubicBezTo>
                  <a:cubicBezTo>
                    <a:pt x="374173" y="65149"/>
                    <a:pt x="384859" y="59302"/>
                    <a:pt x="394538" y="61923"/>
                  </a:cubicBezTo>
                  <a:cubicBezTo>
                    <a:pt x="397764" y="53253"/>
                    <a:pt x="409358" y="48817"/>
                    <a:pt x="417524" y="53253"/>
                  </a:cubicBezTo>
                  <a:cubicBezTo>
                    <a:pt x="418431" y="42062"/>
                    <a:pt x="436881" y="38332"/>
                    <a:pt x="442123" y="48212"/>
                  </a:cubicBezTo>
                  <a:cubicBezTo>
                    <a:pt x="442123" y="43272"/>
                    <a:pt x="447870" y="40752"/>
                    <a:pt x="452608" y="39542"/>
                  </a:cubicBezTo>
                  <a:cubicBezTo>
                    <a:pt x="459464" y="37727"/>
                    <a:pt x="466925" y="35912"/>
                    <a:pt x="473377" y="38735"/>
                  </a:cubicBezTo>
                  <a:cubicBezTo>
                    <a:pt x="479829" y="41558"/>
                    <a:pt x="483559" y="51136"/>
                    <a:pt x="478216" y="55874"/>
                  </a:cubicBezTo>
                  <a:cubicBezTo>
                    <a:pt x="482652" y="50531"/>
                    <a:pt x="492230" y="53959"/>
                    <a:pt x="494750" y="60310"/>
                  </a:cubicBezTo>
                  <a:cubicBezTo>
                    <a:pt x="497371" y="66662"/>
                    <a:pt x="494952" y="74021"/>
                    <a:pt x="491826" y="80171"/>
                  </a:cubicBezTo>
                  <a:cubicBezTo>
                    <a:pt x="488701" y="86321"/>
                    <a:pt x="484769" y="92269"/>
                    <a:pt x="483962" y="99125"/>
                  </a:cubicBezTo>
                  <a:cubicBezTo>
                    <a:pt x="487390" y="93076"/>
                    <a:pt x="494448" y="90354"/>
                    <a:pt x="501001" y="88035"/>
                  </a:cubicBezTo>
                  <a:cubicBezTo>
                    <a:pt x="512695" y="84002"/>
                    <a:pt x="524895" y="79869"/>
                    <a:pt x="537093" y="81784"/>
                  </a:cubicBezTo>
                  <a:cubicBezTo>
                    <a:pt x="537295" y="76542"/>
                    <a:pt x="543546" y="73820"/>
                    <a:pt x="548788" y="73013"/>
                  </a:cubicBezTo>
                  <a:cubicBezTo>
                    <a:pt x="565020" y="70291"/>
                    <a:pt x="582159" y="72509"/>
                    <a:pt x="597180" y="79365"/>
                  </a:cubicBezTo>
                  <a:cubicBezTo>
                    <a:pt x="604238" y="82591"/>
                    <a:pt x="611799" y="88640"/>
                    <a:pt x="610791" y="96302"/>
                  </a:cubicBezTo>
                  <a:cubicBezTo>
                    <a:pt x="610287" y="99831"/>
                    <a:pt x="608069" y="102855"/>
                    <a:pt x="605951" y="105678"/>
                  </a:cubicBezTo>
                  <a:cubicBezTo>
                    <a:pt x="596878" y="117574"/>
                    <a:pt x="587905" y="129471"/>
                    <a:pt x="578832" y="141367"/>
                  </a:cubicBezTo>
                  <a:cubicBezTo>
                    <a:pt x="600407" y="139956"/>
                    <a:pt x="622486" y="145501"/>
                    <a:pt x="640734" y="157095"/>
                  </a:cubicBezTo>
                  <a:cubicBezTo>
                    <a:pt x="649404" y="158506"/>
                    <a:pt x="658679" y="155482"/>
                    <a:pt x="667047" y="158103"/>
                  </a:cubicBezTo>
                  <a:cubicBezTo>
                    <a:pt x="675415" y="160724"/>
                    <a:pt x="680254" y="174536"/>
                    <a:pt x="671987" y="177662"/>
                  </a:cubicBezTo>
                  <a:cubicBezTo>
                    <a:pt x="678641" y="179678"/>
                    <a:pt x="683480" y="186533"/>
                    <a:pt x="683077" y="193490"/>
                  </a:cubicBezTo>
                  <a:cubicBezTo>
                    <a:pt x="682875" y="196514"/>
                    <a:pt x="681665" y="199337"/>
                    <a:pt x="679851" y="201757"/>
                  </a:cubicBezTo>
                  <a:cubicBezTo>
                    <a:pt x="679346" y="203773"/>
                    <a:pt x="678742" y="205790"/>
                    <a:pt x="677633" y="207705"/>
                  </a:cubicBezTo>
                  <a:cubicBezTo>
                    <a:pt x="675616" y="211234"/>
                    <a:pt x="672995" y="214057"/>
                    <a:pt x="669971" y="216375"/>
                  </a:cubicBezTo>
                  <a:cubicBezTo>
                    <a:pt x="668156" y="222626"/>
                    <a:pt x="663115" y="228070"/>
                    <a:pt x="656864" y="229885"/>
                  </a:cubicBezTo>
                  <a:cubicBezTo>
                    <a:pt x="665736" y="233313"/>
                    <a:pt x="674407" y="237245"/>
                    <a:pt x="681464" y="243394"/>
                  </a:cubicBezTo>
                  <a:cubicBezTo>
                    <a:pt x="690739" y="251460"/>
                    <a:pt x="697090" y="264163"/>
                    <a:pt x="693965" y="276059"/>
                  </a:cubicBezTo>
                  <a:cubicBezTo>
                    <a:pt x="693764" y="276664"/>
                    <a:pt x="693461" y="277269"/>
                    <a:pt x="693259" y="277874"/>
                  </a:cubicBezTo>
                  <a:cubicBezTo>
                    <a:pt x="693864" y="282310"/>
                    <a:pt x="692957" y="286948"/>
                    <a:pt x="690235" y="290375"/>
                  </a:cubicBezTo>
                  <a:cubicBezTo>
                    <a:pt x="692554" y="292493"/>
                    <a:pt x="694268" y="295315"/>
                    <a:pt x="694872" y="298541"/>
                  </a:cubicBezTo>
                  <a:cubicBezTo>
                    <a:pt x="708281" y="298441"/>
                    <a:pt x="721488" y="306204"/>
                    <a:pt x="727940" y="318100"/>
                  </a:cubicBezTo>
                  <a:cubicBezTo>
                    <a:pt x="734292" y="329896"/>
                    <a:pt x="733586" y="345220"/>
                    <a:pt x="726126" y="356411"/>
                  </a:cubicBezTo>
                  <a:cubicBezTo>
                    <a:pt x="720178" y="365383"/>
                    <a:pt x="704551" y="370122"/>
                    <a:pt x="700014" y="360443"/>
                  </a:cubicBezTo>
                  <a:cubicBezTo>
                    <a:pt x="699308" y="369920"/>
                    <a:pt x="693562" y="378792"/>
                    <a:pt x="685295" y="383329"/>
                  </a:cubicBezTo>
                  <a:cubicBezTo>
                    <a:pt x="697494" y="393310"/>
                    <a:pt x="697594" y="414582"/>
                    <a:pt x="685496" y="424664"/>
                  </a:cubicBezTo>
                  <a:cubicBezTo>
                    <a:pt x="704753" y="431015"/>
                    <a:pt x="710096" y="460958"/>
                    <a:pt x="694268" y="473661"/>
                  </a:cubicBezTo>
                  <a:cubicBezTo>
                    <a:pt x="702030" y="482835"/>
                    <a:pt x="700821" y="498160"/>
                    <a:pt x="691646" y="505923"/>
                  </a:cubicBezTo>
                  <a:cubicBezTo>
                    <a:pt x="682472" y="513686"/>
                    <a:pt x="667047" y="512375"/>
                    <a:pt x="659385" y="503201"/>
                  </a:cubicBezTo>
                  <a:cubicBezTo>
                    <a:pt x="658377" y="512476"/>
                    <a:pt x="657066" y="522255"/>
                    <a:pt x="651118" y="529413"/>
                  </a:cubicBezTo>
                  <a:cubicBezTo>
                    <a:pt x="645170" y="536571"/>
                    <a:pt x="632870" y="539192"/>
                    <a:pt x="626821" y="532135"/>
                  </a:cubicBezTo>
                  <a:cubicBezTo>
                    <a:pt x="627829" y="550988"/>
                    <a:pt x="607363" y="567623"/>
                    <a:pt x="589115" y="562683"/>
                  </a:cubicBezTo>
                  <a:cubicBezTo>
                    <a:pt x="593047" y="572160"/>
                    <a:pt x="588510" y="584258"/>
                    <a:pt x="579336" y="588795"/>
                  </a:cubicBezTo>
                  <a:cubicBezTo>
                    <a:pt x="570161" y="593331"/>
                    <a:pt x="557761" y="589500"/>
                    <a:pt x="552720" y="580628"/>
                  </a:cubicBezTo>
                  <a:cubicBezTo>
                    <a:pt x="536287" y="586778"/>
                    <a:pt x="519954" y="592928"/>
                    <a:pt x="503521" y="599078"/>
                  </a:cubicBezTo>
                  <a:cubicBezTo>
                    <a:pt x="492633" y="603111"/>
                    <a:pt x="481644" y="607244"/>
                    <a:pt x="470251" y="609260"/>
                  </a:cubicBezTo>
                  <a:cubicBezTo>
                    <a:pt x="455633" y="611781"/>
                    <a:pt x="440410" y="610773"/>
                    <a:pt x="426295" y="606337"/>
                  </a:cubicBezTo>
                  <a:cubicBezTo>
                    <a:pt x="421758" y="604925"/>
                    <a:pt x="417020" y="603111"/>
                    <a:pt x="412281" y="603816"/>
                  </a:cubicBezTo>
                  <a:cubicBezTo>
                    <a:pt x="406837" y="604623"/>
                    <a:pt x="402502" y="608555"/>
                    <a:pt x="398167" y="611882"/>
                  </a:cubicBezTo>
                  <a:cubicBezTo>
                    <a:pt x="375281" y="629525"/>
                    <a:pt x="342818" y="633961"/>
                    <a:pt x="316001" y="623072"/>
                  </a:cubicBezTo>
                  <a:cubicBezTo>
                    <a:pt x="311767" y="621359"/>
                    <a:pt x="307532" y="619241"/>
                    <a:pt x="302996" y="618939"/>
                  </a:cubicBezTo>
                  <a:cubicBezTo>
                    <a:pt x="297753" y="618636"/>
                    <a:pt x="292712" y="620754"/>
                    <a:pt x="287772" y="622468"/>
                  </a:cubicBezTo>
                  <a:cubicBezTo>
                    <a:pt x="275674" y="626904"/>
                    <a:pt x="262971" y="629827"/>
                    <a:pt x="250167" y="631037"/>
                  </a:cubicBezTo>
                  <a:cubicBezTo>
                    <a:pt x="239178" y="632146"/>
                    <a:pt x="226878" y="631642"/>
                    <a:pt x="218712" y="624282"/>
                  </a:cubicBezTo>
                  <a:cubicBezTo>
                    <a:pt x="210445" y="616923"/>
                    <a:pt x="210546" y="600590"/>
                    <a:pt x="220930" y="596759"/>
                  </a:cubicBezTo>
                  <a:cubicBezTo>
                    <a:pt x="219216" y="589803"/>
                    <a:pt x="214881" y="583048"/>
                    <a:pt x="208328" y="580225"/>
                  </a:cubicBezTo>
                  <a:cubicBezTo>
                    <a:pt x="201674" y="577402"/>
                    <a:pt x="192802" y="579822"/>
                    <a:pt x="189979" y="586476"/>
                  </a:cubicBezTo>
                  <a:cubicBezTo>
                    <a:pt x="187157" y="593029"/>
                    <a:pt x="193407" y="602102"/>
                    <a:pt x="200464" y="600389"/>
                  </a:cubicBezTo>
                  <a:cubicBezTo>
                    <a:pt x="192298" y="612285"/>
                    <a:pt x="171026" y="608252"/>
                    <a:pt x="165481" y="594844"/>
                  </a:cubicBezTo>
                  <a:cubicBezTo>
                    <a:pt x="160037" y="581536"/>
                    <a:pt x="169110" y="565203"/>
                    <a:pt x="182519" y="559860"/>
                  </a:cubicBezTo>
                  <a:cubicBezTo>
                    <a:pt x="176167" y="551291"/>
                    <a:pt x="171933" y="541108"/>
                    <a:pt x="170320" y="530522"/>
                  </a:cubicBezTo>
                  <a:cubicBezTo>
                    <a:pt x="166892" y="541914"/>
                    <a:pt x="153282" y="548972"/>
                    <a:pt x="141990" y="545342"/>
                  </a:cubicBezTo>
                  <a:cubicBezTo>
                    <a:pt x="139671" y="556130"/>
                    <a:pt x="133925" y="566615"/>
                    <a:pt x="124448" y="572160"/>
                  </a:cubicBezTo>
                  <a:cubicBezTo>
                    <a:pt x="114971" y="577705"/>
                    <a:pt x="101260" y="576697"/>
                    <a:pt x="94404" y="568127"/>
                  </a:cubicBezTo>
                  <a:cubicBezTo>
                    <a:pt x="87448" y="559557"/>
                    <a:pt x="91077" y="544032"/>
                    <a:pt x="101764" y="541310"/>
                  </a:cubicBezTo>
                  <a:cubicBezTo>
                    <a:pt x="90069" y="532539"/>
                    <a:pt x="94203" y="510661"/>
                    <a:pt x="108216" y="506628"/>
                  </a:cubicBezTo>
                  <a:cubicBezTo>
                    <a:pt x="100958" y="494329"/>
                    <a:pt x="103679" y="477089"/>
                    <a:pt x="114265" y="467612"/>
                  </a:cubicBezTo>
                  <a:cubicBezTo>
                    <a:pt x="108216" y="475577"/>
                    <a:pt x="94404" y="475577"/>
                    <a:pt x="88355" y="467612"/>
                  </a:cubicBezTo>
                  <a:cubicBezTo>
                    <a:pt x="85936" y="479811"/>
                    <a:pt x="69805" y="483340"/>
                    <a:pt x="57505" y="481323"/>
                  </a:cubicBezTo>
                  <a:cubicBezTo>
                    <a:pt x="47726" y="480214"/>
                    <a:pt x="37544" y="476484"/>
                    <a:pt x="35326" y="46378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03E8178A-0AAD-4DD5-B1BD-25CA7270FF8D}"/>
                </a:ext>
              </a:extLst>
            </p:cNvPr>
            <p:cNvSpPr/>
            <p:nvPr/>
          </p:nvSpPr>
          <p:spPr>
            <a:xfrm>
              <a:off x="10476469" y="2929628"/>
              <a:ext cx="736290" cy="635487"/>
            </a:xfrm>
            <a:custGeom>
              <a:avLst/>
              <a:gdLst>
                <a:gd name="connsiteX0" fmla="*/ 36507 w 736290"/>
                <a:gd name="connsiteY0" fmla="*/ 465580 h 635487"/>
                <a:gd name="connsiteX1" fmla="*/ 37515 w 736290"/>
                <a:gd name="connsiteY1" fmla="*/ 469814 h 635487"/>
                <a:gd name="connsiteX2" fmla="*/ 45581 w 736290"/>
                <a:gd name="connsiteY2" fmla="*/ 479694 h 635487"/>
                <a:gd name="connsiteX3" fmla="*/ 66147 w 736290"/>
                <a:gd name="connsiteY3" fmla="*/ 484634 h 635487"/>
                <a:gd name="connsiteX4" fmla="*/ 79657 w 736290"/>
                <a:gd name="connsiteY4" fmla="*/ 481912 h 635487"/>
                <a:gd name="connsiteX5" fmla="*/ 89940 w 736290"/>
                <a:gd name="connsiteY5" fmla="*/ 470117 h 635487"/>
                <a:gd name="connsiteX6" fmla="*/ 88831 w 736290"/>
                <a:gd name="connsiteY6" fmla="*/ 470419 h 635487"/>
                <a:gd name="connsiteX7" fmla="*/ 115851 w 736290"/>
                <a:gd name="connsiteY7" fmla="*/ 470520 h 635487"/>
                <a:gd name="connsiteX8" fmla="*/ 114741 w 736290"/>
                <a:gd name="connsiteY8" fmla="*/ 469512 h 635487"/>
                <a:gd name="connsiteX9" fmla="*/ 108390 w 736290"/>
                <a:gd name="connsiteY9" fmla="*/ 509637 h 635487"/>
                <a:gd name="connsiteX10" fmla="*/ 108894 w 736290"/>
                <a:gd name="connsiteY10" fmla="*/ 508326 h 635487"/>
                <a:gd name="connsiteX11" fmla="*/ 95586 w 736290"/>
                <a:gd name="connsiteY11" fmla="*/ 523852 h 635487"/>
                <a:gd name="connsiteX12" fmla="*/ 102139 w 736290"/>
                <a:gd name="connsiteY12" fmla="*/ 544621 h 635487"/>
                <a:gd name="connsiteX13" fmla="*/ 102543 w 736290"/>
                <a:gd name="connsiteY13" fmla="*/ 542806 h 635487"/>
                <a:gd name="connsiteX14" fmla="*/ 90848 w 736290"/>
                <a:gd name="connsiteY14" fmla="*/ 561457 h 635487"/>
                <a:gd name="connsiteX15" fmla="*/ 106979 w 736290"/>
                <a:gd name="connsiteY15" fmla="*/ 578596 h 635487"/>
                <a:gd name="connsiteX16" fmla="*/ 131477 w 736290"/>
                <a:gd name="connsiteY16" fmla="*/ 571640 h 635487"/>
                <a:gd name="connsiteX17" fmla="*/ 144281 w 736290"/>
                <a:gd name="connsiteY17" fmla="*/ 547948 h 635487"/>
                <a:gd name="connsiteX18" fmla="*/ 142668 w 736290"/>
                <a:gd name="connsiteY18" fmla="*/ 548855 h 635487"/>
                <a:gd name="connsiteX19" fmla="*/ 172711 w 736290"/>
                <a:gd name="connsiteY19" fmla="*/ 533228 h 635487"/>
                <a:gd name="connsiteX20" fmla="*/ 170191 w 736290"/>
                <a:gd name="connsiteY20" fmla="*/ 533027 h 635487"/>
                <a:gd name="connsiteX21" fmla="*/ 182592 w 736290"/>
                <a:gd name="connsiteY21" fmla="*/ 562969 h 635487"/>
                <a:gd name="connsiteX22" fmla="*/ 183197 w 736290"/>
                <a:gd name="connsiteY22" fmla="*/ 560852 h 635487"/>
                <a:gd name="connsiteX23" fmla="*/ 167570 w 736290"/>
                <a:gd name="connsiteY23" fmla="*/ 574664 h 635487"/>
                <a:gd name="connsiteX24" fmla="*/ 164747 w 736290"/>
                <a:gd name="connsiteY24" fmla="*/ 596038 h 635487"/>
                <a:gd name="connsiteX25" fmla="*/ 181382 w 736290"/>
                <a:gd name="connsiteY25" fmla="*/ 610454 h 635487"/>
                <a:gd name="connsiteX26" fmla="*/ 202856 w 736290"/>
                <a:gd name="connsiteY26" fmla="*/ 603498 h 635487"/>
                <a:gd name="connsiteX27" fmla="*/ 205175 w 736290"/>
                <a:gd name="connsiteY27" fmla="*/ 600171 h 635487"/>
                <a:gd name="connsiteX28" fmla="*/ 201243 w 736290"/>
                <a:gd name="connsiteY28" fmla="*/ 601179 h 635487"/>
                <a:gd name="connsiteX29" fmla="*/ 192270 w 736290"/>
                <a:gd name="connsiteY29" fmla="*/ 594122 h 635487"/>
                <a:gd name="connsiteX30" fmla="*/ 198924 w 736290"/>
                <a:gd name="connsiteY30" fmla="*/ 583738 h 635487"/>
                <a:gd name="connsiteX31" fmla="*/ 212736 w 736290"/>
                <a:gd name="connsiteY31" fmla="*/ 586258 h 635487"/>
                <a:gd name="connsiteX32" fmla="*/ 220701 w 736290"/>
                <a:gd name="connsiteY32" fmla="*/ 599465 h 635487"/>
                <a:gd name="connsiteX33" fmla="*/ 221709 w 736290"/>
                <a:gd name="connsiteY33" fmla="*/ 597550 h 635487"/>
                <a:gd name="connsiteX34" fmla="*/ 213744 w 736290"/>
                <a:gd name="connsiteY34" fmla="*/ 605817 h 635487"/>
                <a:gd name="connsiteX35" fmla="*/ 213139 w 736290"/>
                <a:gd name="connsiteY35" fmla="*/ 617209 h 635487"/>
                <a:gd name="connsiteX36" fmla="*/ 218583 w 736290"/>
                <a:gd name="connsiteY36" fmla="*/ 627392 h 635487"/>
                <a:gd name="connsiteX37" fmla="*/ 228362 w 736290"/>
                <a:gd name="connsiteY37" fmla="*/ 633239 h 635487"/>
                <a:gd name="connsiteX38" fmla="*/ 250744 w 736290"/>
                <a:gd name="connsiteY38" fmla="*/ 635155 h 635487"/>
                <a:gd name="connsiteX39" fmla="*/ 273025 w 736290"/>
                <a:gd name="connsiteY39" fmla="*/ 631424 h 635487"/>
                <a:gd name="connsiteX40" fmla="*/ 315872 w 736290"/>
                <a:gd name="connsiteY40" fmla="*/ 626484 h 635487"/>
                <a:gd name="connsiteX41" fmla="*/ 363256 w 736290"/>
                <a:gd name="connsiteY41" fmla="*/ 631626 h 635487"/>
                <a:gd name="connsiteX42" fmla="*/ 386747 w 736290"/>
                <a:gd name="connsiteY42" fmla="*/ 624166 h 635487"/>
                <a:gd name="connsiteX43" fmla="*/ 407414 w 736290"/>
                <a:gd name="connsiteY43" fmla="*/ 610555 h 635487"/>
                <a:gd name="connsiteX44" fmla="*/ 417899 w 736290"/>
                <a:gd name="connsiteY44" fmla="*/ 607833 h 635487"/>
                <a:gd name="connsiteX45" fmla="*/ 429695 w 736290"/>
                <a:gd name="connsiteY45" fmla="*/ 611059 h 635487"/>
                <a:gd name="connsiteX46" fmla="*/ 455101 w 736290"/>
                <a:gd name="connsiteY46" fmla="*/ 614689 h 635487"/>
                <a:gd name="connsiteX47" fmla="*/ 505610 w 736290"/>
                <a:gd name="connsiteY47" fmla="*/ 603095 h 635487"/>
                <a:gd name="connsiteX48" fmla="*/ 555011 w 736290"/>
                <a:gd name="connsiteY48" fmla="*/ 584645 h 635487"/>
                <a:gd name="connsiteX49" fmla="*/ 552591 w 736290"/>
                <a:gd name="connsiteY49" fmla="*/ 583738 h 635487"/>
                <a:gd name="connsiteX50" fmla="*/ 580921 w 736290"/>
                <a:gd name="connsiteY50" fmla="*/ 593114 h 635487"/>
                <a:gd name="connsiteX51" fmla="*/ 592716 w 736290"/>
                <a:gd name="connsiteY51" fmla="*/ 564078 h 635487"/>
                <a:gd name="connsiteX52" fmla="*/ 590297 w 736290"/>
                <a:gd name="connsiteY52" fmla="*/ 566801 h 635487"/>
                <a:gd name="connsiteX53" fmla="*/ 630624 w 736290"/>
                <a:gd name="connsiteY53" fmla="*/ 534136 h 635487"/>
                <a:gd name="connsiteX54" fmla="*/ 626994 w 736290"/>
                <a:gd name="connsiteY54" fmla="*/ 535648 h 635487"/>
                <a:gd name="connsiteX55" fmla="*/ 640806 w 736290"/>
                <a:gd name="connsiteY55" fmla="*/ 540286 h 635487"/>
                <a:gd name="connsiteX56" fmla="*/ 654013 w 736290"/>
                <a:gd name="connsiteY56" fmla="*/ 533329 h 635487"/>
                <a:gd name="connsiteX57" fmla="*/ 663289 w 736290"/>
                <a:gd name="connsiteY57" fmla="*/ 505504 h 635487"/>
                <a:gd name="connsiteX58" fmla="*/ 659558 w 736290"/>
                <a:gd name="connsiteY58" fmla="*/ 506613 h 635487"/>
                <a:gd name="connsiteX59" fmla="*/ 693937 w 736290"/>
                <a:gd name="connsiteY59" fmla="*/ 510242 h 635487"/>
                <a:gd name="connsiteX60" fmla="*/ 697768 w 736290"/>
                <a:gd name="connsiteY60" fmla="*/ 474250 h 635487"/>
                <a:gd name="connsiteX61" fmla="*/ 697466 w 736290"/>
                <a:gd name="connsiteY61" fmla="*/ 477275 h 635487"/>
                <a:gd name="connsiteX62" fmla="*/ 707043 w 736290"/>
                <a:gd name="connsiteY62" fmla="*/ 449248 h 635487"/>
                <a:gd name="connsiteX63" fmla="*/ 687989 w 736290"/>
                <a:gd name="connsiteY63" fmla="*/ 424547 h 635487"/>
                <a:gd name="connsiteX64" fmla="*/ 688694 w 736290"/>
                <a:gd name="connsiteY64" fmla="*/ 428278 h 635487"/>
                <a:gd name="connsiteX65" fmla="*/ 688493 w 736290"/>
                <a:gd name="connsiteY65" fmla="*/ 383616 h 635487"/>
                <a:gd name="connsiteX66" fmla="*/ 688190 w 736290"/>
                <a:gd name="connsiteY66" fmla="*/ 387245 h 635487"/>
                <a:gd name="connsiteX67" fmla="*/ 704119 w 736290"/>
                <a:gd name="connsiteY67" fmla="*/ 362645 h 635487"/>
                <a:gd name="connsiteX68" fmla="*/ 699986 w 736290"/>
                <a:gd name="connsiteY68" fmla="*/ 363452 h 635487"/>
                <a:gd name="connsiteX69" fmla="*/ 705733 w 736290"/>
                <a:gd name="connsiteY69" fmla="*/ 368997 h 635487"/>
                <a:gd name="connsiteX70" fmla="*/ 713395 w 736290"/>
                <a:gd name="connsiteY70" fmla="*/ 369904 h 635487"/>
                <a:gd name="connsiteX71" fmla="*/ 726602 w 736290"/>
                <a:gd name="connsiteY71" fmla="*/ 363452 h 635487"/>
                <a:gd name="connsiteX72" fmla="*/ 736280 w 736290"/>
                <a:gd name="connsiteY72" fmla="*/ 336332 h 635487"/>
                <a:gd name="connsiteX73" fmla="*/ 724283 w 736290"/>
                <a:gd name="connsiteY73" fmla="*/ 309515 h 635487"/>
                <a:gd name="connsiteX74" fmla="*/ 696659 w 736290"/>
                <a:gd name="connsiteY74" fmla="*/ 298425 h 635487"/>
                <a:gd name="connsiteX75" fmla="*/ 698877 w 736290"/>
                <a:gd name="connsiteY75" fmla="*/ 300240 h 635487"/>
                <a:gd name="connsiteX76" fmla="*/ 693534 w 736290"/>
                <a:gd name="connsiteY76" fmla="*/ 290763 h 635487"/>
                <a:gd name="connsiteX77" fmla="*/ 693836 w 736290"/>
                <a:gd name="connsiteY77" fmla="*/ 293787 h 635487"/>
                <a:gd name="connsiteX78" fmla="*/ 697264 w 736290"/>
                <a:gd name="connsiteY78" fmla="*/ 279673 h 635487"/>
                <a:gd name="connsiteX79" fmla="*/ 697163 w 736290"/>
                <a:gd name="connsiteY79" fmla="*/ 280782 h 635487"/>
                <a:gd name="connsiteX80" fmla="*/ 689199 w 736290"/>
                <a:gd name="connsiteY80" fmla="*/ 248319 h 635487"/>
                <a:gd name="connsiteX81" fmla="*/ 659457 w 736290"/>
                <a:gd name="connsiteY81" fmla="*/ 229970 h 635487"/>
                <a:gd name="connsiteX82" fmla="*/ 659256 w 736290"/>
                <a:gd name="connsiteY82" fmla="*/ 234204 h 635487"/>
                <a:gd name="connsiteX83" fmla="*/ 673874 w 736290"/>
                <a:gd name="connsiteY83" fmla="*/ 219182 h 635487"/>
                <a:gd name="connsiteX84" fmla="*/ 673068 w 736290"/>
                <a:gd name="connsiteY84" fmla="*/ 220291 h 635487"/>
                <a:gd name="connsiteX85" fmla="*/ 683654 w 736290"/>
                <a:gd name="connsiteY85" fmla="*/ 204463 h 635487"/>
                <a:gd name="connsiteX86" fmla="*/ 683250 w 736290"/>
                <a:gd name="connsiteY86" fmla="*/ 205270 h 635487"/>
                <a:gd name="connsiteX87" fmla="*/ 685972 w 736290"/>
                <a:gd name="connsiteY87" fmla="*/ 189542 h 635487"/>
                <a:gd name="connsiteX88" fmla="*/ 674177 w 736290"/>
                <a:gd name="connsiteY88" fmla="*/ 177747 h 635487"/>
                <a:gd name="connsiteX89" fmla="*/ 674379 w 736290"/>
                <a:gd name="connsiteY89" fmla="*/ 181981 h 635487"/>
                <a:gd name="connsiteX90" fmla="*/ 679722 w 736290"/>
                <a:gd name="connsiteY90" fmla="*/ 176033 h 635487"/>
                <a:gd name="connsiteX91" fmla="*/ 679218 w 736290"/>
                <a:gd name="connsiteY91" fmla="*/ 168572 h 635487"/>
                <a:gd name="connsiteX92" fmla="*/ 669237 w 736290"/>
                <a:gd name="connsiteY92" fmla="*/ 158188 h 635487"/>
                <a:gd name="connsiteX93" fmla="*/ 642621 w 736290"/>
                <a:gd name="connsiteY93" fmla="*/ 157079 h 635487"/>
                <a:gd name="connsiteX94" fmla="*/ 643428 w 736290"/>
                <a:gd name="connsiteY94" fmla="*/ 157381 h 635487"/>
                <a:gd name="connsiteX95" fmla="*/ 580215 w 736290"/>
                <a:gd name="connsiteY95" fmla="*/ 141352 h 635487"/>
                <a:gd name="connsiteX96" fmla="*/ 582131 w 736290"/>
                <a:gd name="connsiteY96" fmla="*/ 144981 h 635487"/>
                <a:gd name="connsiteX97" fmla="*/ 594531 w 736290"/>
                <a:gd name="connsiteY97" fmla="*/ 128648 h 635487"/>
                <a:gd name="connsiteX98" fmla="*/ 603907 w 736290"/>
                <a:gd name="connsiteY98" fmla="*/ 116248 h 635487"/>
                <a:gd name="connsiteX99" fmla="*/ 613081 w 736290"/>
                <a:gd name="connsiteY99" fmla="*/ 103242 h 635487"/>
                <a:gd name="connsiteX100" fmla="*/ 614191 w 736290"/>
                <a:gd name="connsiteY100" fmla="*/ 94169 h 635487"/>
                <a:gd name="connsiteX101" fmla="*/ 609755 w 736290"/>
                <a:gd name="connsiteY101" fmla="*/ 86507 h 635487"/>
                <a:gd name="connsiteX102" fmla="*/ 595842 w 736290"/>
                <a:gd name="connsiteY102" fmla="*/ 78038 h 635487"/>
                <a:gd name="connsiteX103" fmla="*/ 564992 w 736290"/>
                <a:gd name="connsiteY103" fmla="*/ 71888 h 635487"/>
                <a:gd name="connsiteX104" fmla="*/ 549264 w 736290"/>
                <a:gd name="connsiteY104" fmla="*/ 73098 h 635487"/>
                <a:gd name="connsiteX105" fmla="*/ 541300 w 736290"/>
                <a:gd name="connsiteY105" fmla="*/ 76022 h 635487"/>
                <a:gd name="connsiteX106" fmla="*/ 536158 w 736290"/>
                <a:gd name="connsiteY106" fmla="*/ 83986 h 635487"/>
                <a:gd name="connsiteX107" fmla="*/ 538779 w 736290"/>
                <a:gd name="connsiteY107" fmla="*/ 81869 h 635487"/>
                <a:gd name="connsiteX108" fmla="*/ 509240 w 736290"/>
                <a:gd name="connsiteY108" fmla="*/ 85599 h 635487"/>
                <a:gd name="connsiteX109" fmla="*/ 495428 w 736290"/>
                <a:gd name="connsiteY109" fmla="*/ 90540 h 635487"/>
                <a:gd name="connsiteX110" fmla="*/ 483330 w 736290"/>
                <a:gd name="connsiteY110" fmla="*/ 100319 h 635487"/>
                <a:gd name="connsiteX111" fmla="*/ 487564 w 736290"/>
                <a:gd name="connsiteY111" fmla="*/ 101629 h 635487"/>
                <a:gd name="connsiteX112" fmla="*/ 498856 w 736290"/>
                <a:gd name="connsiteY112" fmla="*/ 73300 h 635487"/>
                <a:gd name="connsiteX113" fmla="*/ 494722 w 736290"/>
                <a:gd name="connsiteY113" fmla="*/ 56967 h 635487"/>
                <a:gd name="connsiteX114" fmla="*/ 486556 w 736290"/>
                <a:gd name="connsiteY114" fmla="*/ 53338 h 635487"/>
                <a:gd name="connsiteX115" fmla="*/ 477785 w 736290"/>
                <a:gd name="connsiteY115" fmla="*/ 56665 h 635487"/>
                <a:gd name="connsiteX116" fmla="*/ 481011 w 736290"/>
                <a:gd name="connsiteY116" fmla="*/ 59790 h 635487"/>
                <a:gd name="connsiteX117" fmla="*/ 484237 w 736290"/>
                <a:gd name="connsiteY117" fmla="*/ 51624 h 635487"/>
                <a:gd name="connsiteX118" fmla="*/ 481414 w 736290"/>
                <a:gd name="connsiteY118" fmla="*/ 43861 h 635487"/>
                <a:gd name="connsiteX119" fmla="*/ 474962 w 736290"/>
                <a:gd name="connsiteY119" fmla="*/ 38719 h 635487"/>
                <a:gd name="connsiteX120" fmla="*/ 467199 w 736290"/>
                <a:gd name="connsiteY120" fmla="*/ 37308 h 635487"/>
                <a:gd name="connsiteX121" fmla="*/ 452681 w 736290"/>
                <a:gd name="connsiteY121" fmla="*/ 39828 h 635487"/>
                <a:gd name="connsiteX122" fmla="*/ 445624 w 736290"/>
                <a:gd name="connsiteY122" fmla="*/ 42954 h 635487"/>
                <a:gd name="connsiteX123" fmla="*/ 441188 w 736290"/>
                <a:gd name="connsiteY123" fmla="*/ 50515 h 635487"/>
                <a:gd name="connsiteX124" fmla="*/ 445422 w 736290"/>
                <a:gd name="connsiteY124" fmla="*/ 49507 h 635487"/>
                <a:gd name="connsiteX125" fmla="*/ 428989 w 736290"/>
                <a:gd name="connsiteY125" fmla="*/ 42954 h 635487"/>
                <a:gd name="connsiteX126" fmla="*/ 416589 w 736290"/>
                <a:gd name="connsiteY126" fmla="*/ 55354 h 635487"/>
                <a:gd name="connsiteX127" fmla="*/ 419815 w 736290"/>
                <a:gd name="connsiteY127" fmla="*/ 53540 h 635487"/>
                <a:gd name="connsiteX128" fmla="*/ 393703 w 736290"/>
                <a:gd name="connsiteY128" fmla="*/ 63420 h 635487"/>
                <a:gd name="connsiteX129" fmla="*/ 396324 w 736290"/>
                <a:gd name="connsiteY129" fmla="*/ 62109 h 635487"/>
                <a:gd name="connsiteX130" fmla="*/ 369204 w 736290"/>
                <a:gd name="connsiteY130" fmla="*/ 75316 h 635487"/>
                <a:gd name="connsiteX131" fmla="*/ 373338 w 736290"/>
                <a:gd name="connsiteY131" fmla="*/ 76828 h 635487"/>
                <a:gd name="connsiteX132" fmla="*/ 379588 w 736290"/>
                <a:gd name="connsiteY132" fmla="*/ 52632 h 635487"/>
                <a:gd name="connsiteX133" fmla="*/ 381000 w 736290"/>
                <a:gd name="connsiteY133" fmla="*/ 39526 h 635487"/>
                <a:gd name="connsiteX134" fmla="*/ 378480 w 736290"/>
                <a:gd name="connsiteY134" fmla="*/ 32771 h 635487"/>
                <a:gd name="connsiteX135" fmla="*/ 374951 w 736290"/>
                <a:gd name="connsiteY135" fmla="*/ 30150 h 635487"/>
                <a:gd name="connsiteX136" fmla="*/ 370515 w 736290"/>
                <a:gd name="connsiteY136" fmla="*/ 30452 h 635487"/>
                <a:gd name="connsiteX137" fmla="*/ 371927 w 736290"/>
                <a:gd name="connsiteY137" fmla="*/ 34586 h 635487"/>
                <a:gd name="connsiteX138" fmla="*/ 382008 w 736290"/>
                <a:gd name="connsiteY138" fmla="*/ 21480 h 635487"/>
                <a:gd name="connsiteX139" fmla="*/ 376766 w 736290"/>
                <a:gd name="connsiteY139" fmla="*/ 6055 h 635487"/>
                <a:gd name="connsiteX140" fmla="*/ 346520 w 736290"/>
                <a:gd name="connsiteY140" fmla="*/ 2828 h 635487"/>
                <a:gd name="connsiteX141" fmla="*/ 345613 w 736290"/>
                <a:gd name="connsiteY141" fmla="*/ 3232 h 635487"/>
                <a:gd name="connsiteX142" fmla="*/ 345311 w 736290"/>
                <a:gd name="connsiteY142" fmla="*/ 4139 h 635487"/>
                <a:gd name="connsiteX143" fmla="*/ 340472 w 736290"/>
                <a:gd name="connsiteY143" fmla="*/ 18758 h 635487"/>
                <a:gd name="connsiteX144" fmla="*/ 343194 w 736290"/>
                <a:gd name="connsiteY144" fmla="*/ 17447 h 635487"/>
                <a:gd name="connsiteX145" fmla="*/ 318594 w 736290"/>
                <a:gd name="connsiteY145" fmla="*/ 25008 h 635487"/>
                <a:gd name="connsiteX146" fmla="*/ 317687 w 736290"/>
                <a:gd name="connsiteY146" fmla="*/ 50414 h 635487"/>
                <a:gd name="connsiteX147" fmla="*/ 320510 w 736290"/>
                <a:gd name="connsiteY147" fmla="*/ 47390 h 635487"/>
                <a:gd name="connsiteX148" fmla="*/ 309823 w 736290"/>
                <a:gd name="connsiteY148" fmla="*/ 47894 h 635487"/>
                <a:gd name="connsiteX149" fmla="*/ 303572 w 736290"/>
                <a:gd name="connsiteY149" fmla="*/ 55959 h 635487"/>
                <a:gd name="connsiteX150" fmla="*/ 305689 w 736290"/>
                <a:gd name="connsiteY150" fmla="*/ 74308 h 635487"/>
                <a:gd name="connsiteX151" fmla="*/ 308512 w 736290"/>
                <a:gd name="connsiteY151" fmla="*/ 71687 h 635487"/>
                <a:gd name="connsiteX152" fmla="*/ 289156 w 736290"/>
                <a:gd name="connsiteY152" fmla="*/ 76324 h 635487"/>
                <a:gd name="connsiteX153" fmla="*/ 284316 w 736290"/>
                <a:gd name="connsiteY153" fmla="*/ 95278 h 635487"/>
                <a:gd name="connsiteX154" fmla="*/ 286635 w 736290"/>
                <a:gd name="connsiteY154" fmla="*/ 92455 h 635487"/>
                <a:gd name="connsiteX155" fmla="*/ 256087 w 736290"/>
                <a:gd name="connsiteY155" fmla="*/ 94875 h 635487"/>
                <a:gd name="connsiteX156" fmla="*/ 258809 w 736290"/>
                <a:gd name="connsiteY156" fmla="*/ 97395 h 635487"/>
                <a:gd name="connsiteX157" fmla="*/ 249030 w 736290"/>
                <a:gd name="connsiteY157" fmla="*/ 72896 h 635487"/>
                <a:gd name="connsiteX158" fmla="*/ 223221 w 736290"/>
                <a:gd name="connsiteY158" fmla="*/ 75719 h 635487"/>
                <a:gd name="connsiteX159" fmla="*/ 226548 w 736290"/>
                <a:gd name="connsiteY159" fmla="*/ 76526 h 635487"/>
                <a:gd name="connsiteX160" fmla="*/ 195093 w 736290"/>
                <a:gd name="connsiteY160" fmla="*/ 67553 h 635487"/>
                <a:gd name="connsiteX161" fmla="*/ 198017 w 736290"/>
                <a:gd name="connsiteY161" fmla="*/ 68158 h 635487"/>
                <a:gd name="connsiteX162" fmla="*/ 185717 w 736290"/>
                <a:gd name="connsiteY162" fmla="*/ 58480 h 635487"/>
                <a:gd name="connsiteX163" fmla="*/ 170090 w 736290"/>
                <a:gd name="connsiteY163" fmla="*/ 58782 h 635487"/>
                <a:gd name="connsiteX164" fmla="*/ 161722 w 736290"/>
                <a:gd name="connsiteY164" fmla="*/ 71989 h 635487"/>
                <a:gd name="connsiteX165" fmla="*/ 166057 w 736290"/>
                <a:gd name="connsiteY165" fmla="*/ 86507 h 635487"/>
                <a:gd name="connsiteX166" fmla="*/ 184810 w 736290"/>
                <a:gd name="connsiteY166" fmla="*/ 107981 h 635487"/>
                <a:gd name="connsiteX167" fmla="*/ 204166 w 736290"/>
                <a:gd name="connsiteY167" fmla="*/ 127741 h 635487"/>
                <a:gd name="connsiteX168" fmla="*/ 205981 w 736290"/>
                <a:gd name="connsiteY168" fmla="*/ 124515 h 635487"/>
                <a:gd name="connsiteX169" fmla="*/ 163134 w 736290"/>
                <a:gd name="connsiteY169" fmla="*/ 115441 h 635487"/>
                <a:gd name="connsiteX170" fmla="*/ 142164 w 736290"/>
                <a:gd name="connsiteY170" fmla="*/ 111005 h 635487"/>
                <a:gd name="connsiteX171" fmla="*/ 131175 w 736290"/>
                <a:gd name="connsiteY171" fmla="*/ 109292 h 635487"/>
                <a:gd name="connsiteX172" fmla="*/ 125529 w 736290"/>
                <a:gd name="connsiteY172" fmla="*/ 112518 h 635487"/>
                <a:gd name="connsiteX173" fmla="*/ 122303 w 736290"/>
                <a:gd name="connsiteY173" fmla="*/ 116450 h 635487"/>
                <a:gd name="connsiteX174" fmla="*/ 113532 w 736290"/>
                <a:gd name="connsiteY174" fmla="*/ 120684 h 635487"/>
                <a:gd name="connsiteX175" fmla="*/ 105668 w 736290"/>
                <a:gd name="connsiteY175" fmla="*/ 129153 h 635487"/>
                <a:gd name="connsiteX176" fmla="*/ 111415 w 736290"/>
                <a:gd name="connsiteY176" fmla="*/ 149820 h 635487"/>
                <a:gd name="connsiteX177" fmla="*/ 129864 w 736290"/>
                <a:gd name="connsiteY177" fmla="*/ 159801 h 635487"/>
                <a:gd name="connsiteX178" fmla="*/ 148515 w 736290"/>
                <a:gd name="connsiteY178" fmla="*/ 166052 h 635487"/>
                <a:gd name="connsiteX179" fmla="*/ 148515 w 736290"/>
                <a:gd name="connsiteY179" fmla="*/ 162926 h 635487"/>
                <a:gd name="connsiteX180" fmla="*/ 123311 w 736290"/>
                <a:gd name="connsiteY180" fmla="*/ 175730 h 635487"/>
                <a:gd name="connsiteX181" fmla="*/ 125630 w 736290"/>
                <a:gd name="connsiteY181" fmla="*/ 176436 h 635487"/>
                <a:gd name="connsiteX182" fmla="*/ 82581 w 736290"/>
                <a:gd name="connsiteY182" fmla="*/ 167665 h 635487"/>
                <a:gd name="connsiteX183" fmla="*/ 85001 w 736290"/>
                <a:gd name="connsiteY183" fmla="*/ 167967 h 635487"/>
                <a:gd name="connsiteX184" fmla="*/ 67156 w 736290"/>
                <a:gd name="connsiteY184" fmla="*/ 161414 h 635487"/>
                <a:gd name="connsiteX185" fmla="*/ 49412 w 736290"/>
                <a:gd name="connsiteY185" fmla="*/ 165749 h 635487"/>
                <a:gd name="connsiteX186" fmla="*/ 33382 w 736290"/>
                <a:gd name="connsiteY186" fmla="*/ 174016 h 635487"/>
                <a:gd name="connsiteX187" fmla="*/ 25115 w 736290"/>
                <a:gd name="connsiteY187" fmla="*/ 190046 h 635487"/>
                <a:gd name="connsiteX188" fmla="*/ 42455 w 736290"/>
                <a:gd name="connsiteY188" fmla="*/ 218779 h 635487"/>
                <a:gd name="connsiteX189" fmla="*/ 73810 w 736290"/>
                <a:gd name="connsiteY189" fmla="*/ 228256 h 635487"/>
                <a:gd name="connsiteX190" fmla="*/ 72600 w 736290"/>
                <a:gd name="connsiteY190" fmla="*/ 226845 h 635487"/>
                <a:gd name="connsiteX191" fmla="*/ 66047 w 736290"/>
                <a:gd name="connsiteY191" fmla="*/ 237027 h 635487"/>
                <a:gd name="connsiteX192" fmla="*/ 53243 w 736290"/>
                <a:gd name="connsiteY192" fmla="*/ 240757 h 635487"/>
                <a:gd name="connsiteX193" fmla="*/ 39330 w 736290"/>
                <a:gd name="connsiteY193" fmla="*/ 242471 h 635487"/>
                <a:gd name="connsiteX194" fmla="*/ 27333 w 736290"/>
                <a:gd name="connsiteY194" fmla="*/ 250033 h 635487"/>
                <a:gd name="connsiteX195" fmla="*/ 14327 w 736290"/>
                <a:gd name="connsiteY195" fmla="*/ 272716 h 635487"/>
                <a:gd name="connsiteX196" fmla="*/ 4044 w 736290"/>
                <a:gd name="connsiteY196" fmla="*/ 280076 h 635487"/>
                <a:gd name="connsiteX197" fmla="*/ 11 w 736290"/>
                <a:gd name="connsiteY197" fmla="*/ 292577 h 635487"/>
                <a:gd name="connsiteX198" fmla="*/ 1524 w 736290"/>
                <a:gd name="connsiteY198" fmla="*/ 316874 h 635487"/>
                <a:gd name="connsiteX199" fmla="*/ 6766 w 736290"/>
                <a:gd name="connsiteY199" fmla="*/ 328065 h 635487"/>
                <a:gd name="connsiteX200" fmla="*/ 18562 w 736290"/>
                <a:gd name="connsiteY200" fmla="*/ 330586 h 635487"/>
                <a:gd name="connsiteX201" fmla="*/ 29450 w 736290"/>
                <a:gd name="connsiteY201" fmla="*/ 326553 h 635487"/>
                <a:gd name="connsiteX202" fmla="*/ 37818 w 736290"/>
                <a:gd name="connsiteY202" fmla="*/ 319092 h 635487"/>
                <a:gd name="connsiteX203" fmla="*/ 53445 w 736290"/>
                <a:gd name="connsiteY203" fmla="*/ 305785 h 635487"/>
                <a:gd name="connsiteX204" fmla="*/ 52235 w 736290"/>
                <a:gd name="connsiteY204" fmla="*/ 303970 h 635487"/>
                <a:gd name="connsiteX205" fmla="*/ 34692 w 736290"/>
                <a:gd name="connsiteY205" fmla="*/ 322520 h 635487"/>
                <a:gd name="connsiteX206" fmla="*/ 25821 w 736290"/>
                <a:gd name="connsiteY206" fmla="*/ 344398 h 635487"/>
                <a:gd name="connsiteX207" fmla="*/ 32172 w 736290"/>
                <a:gd name="connsiteY207" fmla="*/ 365166 h 635487"/>
                <a:gd name="connsiteX208" fmla="*/ 50218 w 736290"/>
                <a:gd name="connsiteY208" fmla="*/ 373130 h 635487"/>
                <a:gd name="connsiteX209" fmla="*/ 50017 w 736290"/>
                <a:gd name="connsiteY209" fmla="*/ 373130 h 635487"/>
                <a:gd name="connsiteX210" fmla="*/ 69777 w 736290"/>
                <a:gd name="connsiteY210" fmla="*/ 371316 h 635487"/>
                <a:gd name="connsiteX211" fmla="*/ 68668 w 736290"/>
                <a:gd name="connsiteY211" fmla="*/ 370812 h 635487"/>
                <a:gd name="connsiteX212" fmla="*/ 72600 w 736290"/>
                <a:gd name="connsiteY212" fmla="*/ 425253 h 635487"/>
                <a:gd name="connsiteX213" fmla="*/ 72902 w 736290"/>
                <a:gd name="connsiteY213" fmla="*/ 424749 h 635487"/>
                <a:gd name="connsiteX214" fmla="*/ 49513 w 736290"/>
                <a:gd name="connsiteY214" fmla="*/ 437250 h 635487"/>
                <a:gd name="connsiteX215" fmla="*/ 38019 w 736290"/>
                <a:gd name="connsiteY215" fmla="*/ 451667 h 635487"/>
                <a:gd name="connsiteX216" fmla="*/ 36104 w 736290"/>
                <a:gd name="connsiteY216" fmla="*/ 462354 h 635487"/>
                <a:gd name="connsiteX217" fmla="*/ 36507 w 736290"/>
                <a:gd name="connsiteY217" fmla="*/ 465580 h 635487"/>
                <a:gd name="connsiteX218" fmla="*/ 38524 w 736290"/>
                <a:gd name="connsiteY218" fmla="*/ 451566 h 635487"/>
                <a:gd name="connsiteX219" fmla="*/ 50017 w 736290"/>
                <a:gd name="connsiteY219" fmla="*/ 437553 h 635487"/>
                <a:gd name="connsiteX220" fmla="*/ 73306 w 736290"/>
                <a:gd name="connsiteY220" fmla="*/ 425455 h 635487"/>
                <a:gd name="connsiteX221" fmla="*/ 73608 w 736290"/>
                <a:gd name="connsiteY221" fmla="*/ 425354 h 635487"/>
                <a:gd name="connsiteX222" fmla="*/ 73608 w 736290"/>
                <a:gd name="connsiteY222" fmla="*/ 425051 h 635487"/>
                <a:gd name="connsiteX223" fmla="*/ 70079 w 736290"/>
                <a:gd name="connsiteY223" fmla="*/ 370106 h 635487"/>
                <a:gd name="connsiteX224" fmla="*/ 69878 w 736290"/>
                <a:gd name="connsiteY224" fmla="*/ 369199 h 635487"/>
                <a:gd name="connsiteX225" fmla="*/ 68970 w 736290"/>
                <a:gd name="connsiteY225" fmla="*/ 369501 h 635487"/>
                <a:gd name="connsiteX226" fmla="*/ 50218 w 736290"/>
                <a:gd name="connsiteY226" fmla="*/ 371114 h 635487"/>
                <a:gd name="connsiteX227" fmla="*/ 50017 w 736290"/>
                <a:gd name="connsiteY227" fmla="*/ 371114 h 635487"/>
                <a:gd name="connsiteX228" fmla="*/ 49916 w 736290"/>
                <a:gd name="connsiteY228" fmla="*/ 371114 h 635487"/>
                <a:gd name="connsiteX229" fmla="*/ 33483 w 736290"/>
                <a:gd name="connsiteY229" fmla="*/ 363754 h 635487"/>
                <a:gd name="connsiteX230" fmla="*/ 27635 w 736290"/>
                <a:gd name="connsiteY230" fmla="*/ 344196 h 635487"/>
                <a:gd name="connsiteX231" fmla="*/ 36205 w 736290"/>
                <a:gd name="connsiteY231" fmla="*/ 323428 h 635487"/>
                <a:gd name="connsiteX232" fmla="*/ 53545 w 736290"/>
                <a:gd name="connsiteY232" fmla="*/ 305180 h 635487"/>
                <a:gd name="connsiteX233" fmla="*/ 58687 w 736290"/>
                <a:gd name="connsiteY233" fmla="*/ 300441 h 635487"/>
                <a:gd name="connsiteX234" fmla="*/ 52336 w 736290"/>
                <a:gd name="connsiteY234" fmla="*/ 303365 h 635487"/>
                <a:gd name="connsiteX235" fmla="*/ 35902 w 736290"/>
                <a:gd name="connsiteY235" fmla="*/ 317076 h 635487"/>
                <a:gd name="connsiteX236" fmla="*/ 27938 w 736290"/>
                <a:gd name="connsiteY236" fmla="*/ 324133 h 635487"/>
                <a:gd name="connsiteX237" fmla="*/ 17957 w 736290"/>
                <a:gd name="connsiteY237" fmla="*/ 327763 h 635487"/>
                <a:gd name="connsiteX238" fmla="*/ 7875 w 736290"/>
                <a:gd name="connsiteY238" fmla="*/ 325646 h 635487"/>
                <a:gd name="connsiteX239" fmla="*/ 3641 w 736290"/>
                <a:gd name="connsiteY239" fmla="*/ 316269 h 635487"/>
                <a:gd name="connsiteX240" fmla="*/ 2229 w 736290"/>
                <a:gd name="connsiteY240" fmla="*/ 292174 h 635487"/>
                <a:gd name="connsiteX241" fmla="*/ 5556 w 736290"/>
                <a:gd name="connsiteY241" fmla="*/ 281588 h 635487"/>
                <a:gd name="connsiteX242" fmla="*/ 15940 w 736290"/>
                <a:gd name="connsiteY242" fmla="*/ 274128 h 635487"/>
                <a:gd name="connsiteX243" fmla="*/ 29148 w 736290"/>
                <a:gd name="connsiteY243" fmla="*/ 251343 h 635487"/>
                <a:gd name="connsiteX244" fmla="*/ 53243 w 736290"/>
                <a:gd name="connsiteY244" fmla="*/ 243177 h 635487"/>
                <a:gd name="connsiteX245" fmla="*/ 67257 w 736290"/>
                <a:gd name="connsiteY245" fmla="*/ 239043 h 635487"/>
                <a:gd name="connsiteX246" fmla="*/ 75322 w 736290"/>
                <a:gd name="connsiteY246" fmla="*/ 226139 h 635487"/>
                <a:gd name="connsiteX247" fmla="*/ 75221 w 736290"/>
                <a:gd name="connsiteY247" fmla="*/ 224929 h 635487"/>
                <a:gd name="connsiteX248" fmla="*/ 74112 w 736290"/>
                <a:gd name="connsiteY248" fmla="*/ 224727 h 635487"/>
                <a:gd name="connsiteX249" fmla="*/ 43766 w 736290"/>
                <a:gd name="connsiteY249" fmla="*/ 215553 h 635487"/>
                <a:gd name="connsiteX250" fmla="*/ 28039 w 736290"/>
                <a:gd name="connsiteY250" fmla="*/ 189643 h 635487"/>
                <a:gd name="connsiteX251" fmla="*/ 35197 w 736290"/>
                <a:gd name="connsiteY251" fmla="*/ 175932 h 635487"/>
                <a:gd name="connsiteX252" fmla="*/ 50218 w 736290"/>
                <a:gd name="connsiteY252" fmla="*/ 168270 h 635487"/>
                <a:gd name="connsiteX253" fmla="*/ 67055 w 736290"/>
                <a:gd name="connsiteY253" fmla="*/ 164136 h 635487"/>
                <a:gd name="connsiteX254" fmla="*/ 81976 w 736290"/>
                <a:gd name="connsiteY254" fmla="*/ 169379 h 635487"/>
                <a:gd name="connsiteX255" fmla="*/ 82984 w 736290"/>
                <a:gd name="connsiteY255" fmla="*/ 170790 h 635487"/>
                <a:gd name="connsiteX256" fmla="*/ 84395 w 736290"/>
                <a:gd name="connsiteY256" fmla="*/ 169681 h 635487"/>
                <a:gd name="connsiteX257" fmla="*/ 122404 w 736290"/>
                <a:gd name="connsiteY257" fmla="*/ 177444 h 635487"/>
                <a:gd name="connsiteX258" fmla="*/ 123210 w 736290"/>
                <a:gd name="connsiteY258" fmla="*/ 178855 h 635487"/>
                <a:gd name="connsiteX259" fmla="*/ 124722 w 736290"/>
                <a:gd name="connsiteY259" fmla="*/ 178150 h 635487"/>
                <a:gd name="connsiteX260" fmla="*/ 149927 w 736290"/>
                <a:gd name="connsiteY260" fmla="*/ 165447 h 635487"/>
                <a:gd name="connsiteX261" fmla="*/ 153153 w 736290"/>
                <a:gd name="connsiteY261" fmla="*/ 163834 h 635487"/>
                <a:gd name="connsiteX262" fmla="*/ 149927 w 736290"/>
                <a:gd name="connsiteY262" fmla="*/ 162321 h 635487"/>
                <a:gd name="connsiteX263" fmla="*/ 130771 w 736290"/>
                <a:gd name="connsiteY263" fmla="*/ 155869 h 635487"/>
                <a:gd name="connsiteX264" fmla="*/ 114036 w 736290"/>
                <a:gd name="connsiteY264" fmla="*/ 146997 h 635487"/>
                <a:gd name="connsiteX265" fmla="*/ 109096 w 736290"/>
                <a:gd name="connsiteY265" fmla="*/ 129858 h 635487"/>
                <a:gd name="connsiteX266" fmla="*/ 114943 w 736290"/>
                <a:gd name="connsiteY266" fmla="*/ 123708 h 635487"/>
                <a:gd name="connsiteX267" fmla="*/ 124823 w 736290"/>
                <a:gd name="connsiteY267" fmla="*/ 118768 h 635487"/>
                <a:gd name="connsiteX268" fmla="*/ 131477 w 736290"/>
                <a:gd name="connsiteY268" fmla="*/ 112619 h 635487"/>
                <a:gd name="connsiteX269" fmla="*/ 141256 w 736290"/>
                <a:gd name="connsiteY269" fmla="*/ 114232 h 635487"/>
                <a:gd name="connsiteX270" fmla="*/ 162226 w 736290"/>
                <a:gd name="connsiteY270" fmla="*/ 118668 h 635487"/>
                <a:gd name="connsiteX271" fmla="*/ 205074 w 736290"/>
                <a:gd name="connsiteY271" fmla="*/ 127842 h 635487"/>
                <a:gd name="connsiteX272" fmla="*/ 211325 w 736290"/>
                <a:gd name="connsiteY272" fmla="*/ 129153 h 635487"/>
                <a:gd name="connsiteX273" fmla="*/ 206889 w 736290"/>
                <a:gd name="connsiteY273" fmla="*/ 124616 h 635487"/>
                <a:gd name="connsiteX274" fmla="*/ 187532 w 736290"/>
                <a:gd name="connsiteY274" fmla="*/ 104755 h 635487"/>
                <a:gd name="connsiteX275" fmla="*/ 169385 w 736290"/>
                <a:gd name="connsiteY275" fmla="*/ 83986 h 635487"/>
                <a:gd name="connsiteX276" fmla="*/ 165654 w 736290"/>
                <a:gd name="connsiteY276" fmla="*/ 71687 h 635487"/>
                <a:gd name="connsiteX277" fmla="*/ 171804 w 736290"/>
                <a:gd name="connsiteY277" fmla="*/ 61807 h 635487"/>
                <a:gd name="connsiteX278" fmla="*/ 194488 w 736290"/>
                <a:gd name="connsiteY278" fmla="*/ 69670 h 635487"/>
                <a:gd name="connsiteX279" fmla="*/ 195698 w 736290"/>
                <a:gd name="connsiteY279" fmla="*/ 71586 h 635487"/>
                <a:gd name="connsiteX280" fmla="*/ 197412 w 736290"/>
                <a:gd name="connsiteY280" fmla="*/ 70275 h 635487"/>
                <a:gd name="connsiteX281" fmla="*/ 222616 w 736290"/>
                <a:gd name="connsiteY281" fmla="*/ 77534 h 635487"/>
                <a:gd name="connsiteX282" fmla="*/ 223725 w 736290"/>
                <a:gd name="connsiteY282" fmla="*/ 80357 h 635487"/>
                <a:gd name="connsiteX283" fmla="*/ 225943 w 736290"/>
                <a:gd name="connsiteY283" fmla="*/ 78240 h 635487"/>
                <a:gd name="connsiteX284" fmla="*/ 246812 w 736290"/>
                <a:gd name="connsiteY284" fmla="*/ 76022 h 635487"/>
                <a:gd name="connsiteX285" fmla="*/ 254777 w 736290"/>
                <a:gd name="connsiteY285" fmla="*/ 95782 h 635487"/>
                <a:gd name="connsiteX286" fmla="*/ 253668 w 736290"/>
                <a:gd name="connsiteY286" fmla="*/ 99714 h 635487"/>
                <a:gd name="connsiteX287" fmla="*/ 257499 w 736290"/>
                <a:gd name="connsiteY287" fmla="*/ 98302 h 635487"/>
                <a:gd name="connsiteX288" fmla="*/ 285828 w 736290"/>
                <a:gd name="connsiteY288" fmla="*/ 96084 h 635487"/>
                <a:gd name="connsiteX289" fmla="*/ 289760 w 736290"/>
                <a:gd name="connsiteY289" fmla="*/ 96891 h 635487"/>
                <a:gd name="connsiteX290" fmla="*/ 288147 w 736290"/>
                <a:gd name="connsiteY290" fmla="*/ 93262 h 635487"/>
                <a:gd name="connsiteX291" fmla="*/ 306799 w 736290"/>
                <a:gd name="connsiteY291" fmla="*/ 75114 h 635487"/>
                <a:gd name="connsiteX292" fmla="*/ 311134 w 736290"/>
                <a:gd name="connsiteY292" fmla="*/ 77030 h 635487"/>
                <a:gd name="connsiteX293" fmla="*/ 309622 w 736290"/>
                <a:gd name="connsiteY293" fmla="*/ 72493 h 635487"/>
                <a:gd name="connsiteX294" fmla="*/ 307605 w 736290"/>
                <a:gd name="connsiteY294" fmla="*/ 56564 h 635487"/>
                <a:gd name="connsiteX295" fmla="*/ 318191 w 736290"/>
                <a:gd name="connsiteY295" fmla="*/ 50515 h 635487"/>
                <a:gd name="connsiteX296" fmla="*/ 326559 w 736290"/>
                <a:gd name="connsiteY296" fmla="*/ 55758 h 635487"/>
                <a:gd name="connsiteX297" fmla="*/ 321115 w 736290"/>
                <a:gd name="connsiteY297" fmla="*/ 47490 h 635487"/>
                <a:gd name="connsiteX298" fmla="*/ 321820 w 736290"/>
                <a:gd name="connsiteY298" fmla="*/ 26924 h 635487"/>
                <a:gd name="connsiteX299" fmla="*/ 341681 w 736290"/>
                <a:gd name="connsiteY299" fmla="*/ 20875 h 635487"/>
                <a:gd name="connsiteX300" fmla="*/ 343698 w 736290"/>
                <a:gd name="connsiteY300" fmla="*/ 21580 h 635487"/>
                <a:gd name="connsiteX301" fmla="*/ 344403 w 736290"/>
                <a:gd name="connsiteY301" fmla="*/ 19564 h 635487"/>
                <a:gd name="connsiteX302" fmla="*/ 349243 w 736290"/>
                <a:gd name="connsiteY302" fmla="*/ 5046 h 635487"/>
                <a:gd name="connsiteX303" fmla="*/ 348033 w 736290"/>
                <a:gd name="connsiteY303" fmla="*/ 6357 h 635487"/>
                <a:gd name="connsiteX304" fmla="*/ 373640 w 736290"/>
                <a:gd name="connsiteY304" fmla="*/ 8777 h 635487"/>
                <a:gd name="connsiteX305" fmla="*/ 370616 w 736290"/>
                <a:gd name="connsiteY305" fmla="*/ 30049 h 635487"/>
                <a:gd name="connsiteX306" fmla="*/ 372027 w 736290"/>
                <a:gd name="connsiteY306" fmla="*/ 34183 h 635487"/>
                <a:gd name="connsiteX307" fmla="*/ 374951 w 736290"/>
                <a:gd name="connsiteY307" fmla="*/ 35090 h 635487"/>
                <a:gd name="connsiteX308" fmla="*/ 376665 w 736290"/>
                <a:gd name="connsiteY308" fmla="*/ 39828 h 635487"/>
                <a:gd name="connsiteX309" fmla="*/ 375253 w 736290"/>
                <a:gd name="connsiteY309" fmla="*/ 51120 h 635487"/>
                <a:gd name="connsiteX310" fmla="*/ 368902 w 736290"/>
                <a:gd name="connsiteY310" fmla="*/ 75316 h 635487"/>
                <a:gd name="connsiteX311" fmla="*/ 373035 w 736290"/>
                <a:gd name="connsiteY311" fmla="*/ 76828 h 635487"/>
                <a:gd name="connsiteX312" fmla="*/ 395014 w 736290"/>
                <a:gd name="connsiteY312" fmla="*/ 65940 h 635487"/>
                <a:gd name="connsiteX313" fmla="*/ 397030 w 736290"/>
                <a:gd name="connsiteY313" fmla="*/ 66545 h 635487"/>
                <a:gd name="connsiteX314" fmla="*/ 397736 w 736290"/>
                <a:gd name="connsiteY314" fmla="*/ 64630 h 635487"/>
                <a:gd name="connsiteX315" fmla="*/ 417698 w 736290"/>
                <a:gd name="connsiteY315" fmla="*/ 57169 h 635487"/>
                <a:gd name="connsiteX316" fmla="*/ 420823 w 736290"/>
                <a:gd name="connsiteY316" fmla="*/ 58883 h 635487"/>
                <a:gd name="connsiteX317" fmla="*/ 421025 w 736290"/>
                <a:gd name="connsiteY317" fmla="*/ 55455 h 635487"/>
                <a:gd name="connsiteX318" fmla="*/ 441490 w 736290"/>
                <a:gd name="connsiteY318" fmla="*/ 51322 h 635487"/>
                <a:gd name="connsiteX319" fmla="*/ 446430 w 736290"/>
                <a:gd name="connsiteY319" fmla="*/ 61303 h 635487"/>
                <a:gd name="connsiteX320" fmla="*/ 445725 w 736290"/>
                <a:gd name="connsiteY320" fmla="*/ 50213 h 635487"/>
                <a:gd name="connsiteX321" fmla="*/ 453992 w 736290"/>
                <a:gd name="connsiteY321" fmla="*/ 43861 h 635487"/>
                <a:gd name="connsiteX322" fmla="*/ 467199 w 736290"/>
                <a:gd name="connsiteY322" fmla="*/ 41542 h 635487"/>
                <a:gd name="connsiteX323" fmla="*/ 477785 w 736290"/>
                <a:gd name="connsiteY323" fmla="*/ 46180 h 635487"/>
                <a:gd name="connsiteX324" fmla="*/ 477986 w 736290"/>
                <a:gd name="connsiteY324" fmla="*/ 56161 h 635487"/>
                <a:gd name="connsiteX325" fmla="*/ 481212 w 736290"/>
                <a:gd name="connsiteY325" fmla="*/ 59286 h 635487"/>
                <a:gd name="connsiteX326" fmla="*/ 491698 w 736290"/>
                <a:gd name="connsiteY326" fmla="*/ 60093 h 635487"/>
                <a:gd name="connsiteX327" fmla="*/ 494420 w 736290"/>
                <a:gd name="connsiteY327" fmla="*/ 72191 h 635487"/>
                <a:gd name="connsiteX328" fmla="*/ 483027 w 736290"/>
                <a:gd name="connsiteY328" fmla="*/ 100924 h 635487"/>
                <a:gd name="connsiteX329" fmla="*/ 481616 w 736290"/>
                <a:gd name="connsiteY329" fmla="*/ 111913 h 635487"/>
                <a:gd name="connsiteX330" fmla="*/ 487262 w 736290"/>
                <a:gd name="connsiteY330" fmla="*/ 102234 h 635487"/>
                <a:gd name="connsiteX331" fmla="*/ 510651 w 736290"/>
                <a:gd name="connsiteY331" fmla="*/ 89632 h 635487"/>
                <a:gd name="connsiteX332" fmla="*/ 538073 w 736290"/>
                <a:gd name="connsiteY332" fmla="*/ 86003 h 635487"/>
                <a:gd name="connsiteX333" fmla="*/ 540695 w 736290"/>
                <a:gd name="connsiteY333" fmla="*/ 86406 h 635487"/>
                <a:gd name="connsiteX334" fmla="*/ 540695 w 736290"/>
                <a:gd name="connsiteY334" fmla="*/ 83886 h 635487"/>
                <a:gd name="connsiteX335" fmla="*/ 550071 w 736290"/>
                <a:gd name="connsiteY335" fmla="*/ 77332 h 635487"/>
                <a:gd name="connsiteX336" fmla="*/ 564891 w 736290"/>
                <a:gd name="connsiteY336" fmla="*/ 76123 h 635487"/>
                <a:gd name="connsiteX337" fmla="*/ 594128 w 736290"/>
                <a:gd name="connsiteY337" fmla="*/ 81869 h 635487"/>
                <a:gd name="connsiteX338" fmla="*/ 606427 w 736290"/>
                <a:gd name="connsiteY338" fmla="*/ 89330 h 635487"/>
                <a:gd name="connsiteX339" fmla="*/ 608948 w 736290"/>
                <a:gd name="connsiteY339" fmla="*/ 100924 h 635487"/>
                <a:gd name="connsiteX340" fmla="*/ 600177 w 736290"/>
                <a:gd name="connsiteY340" fmla="*/ 113123 h 635487"/>
                <a:gd name="connsiteX341" fmla="*/ 590801 w 736290"/>
                <a:gd name="connsiteY341" fmla="*/ 125523 h 635487"/>
                <a:gd name="connsiteX342" fmla="*/ 578400 w 736290"/>
                <a:gd name="connsiteY342" fmla="*/ 141855 h 635487"/>
                <a:gd name="connsiteX343" fmla="*/ 575376 w 736290"/>
                <a:gd name="connsiteY343" fmla="*/ 145787 h 635487"/>
                <a:gd name="connsiteX344" fmla="*/ 580316 w 736290"/>
                <a:gd name="connsiteY344" fmla="*/ 145485 h 635487"/>
                <a:gd name="connsiteX345" fmla="*/ 640907 w 736290"/>
                <a:gd name="connsiteY345" fmla="*/ 160809 h 635487"/>
                <a:gd name="connsiteX346" fmla="*/ 641310 w 736290"/>
                <a:gd name="connsiteY346" fmla="*/ 161112 h 635487"/>
                <a:gd name="connsiteX347" fmla="*/ 641713 w 736290"/>
                <a:gd name="connsiteY347" fmla="*/ 161212 h 635487"/>
                <a:gd name="connsiteX348" fmla="*/ 667624 w 736290"/>
                <a:gd name="connsiteY348" fmla="*/ 162120 h 635487"/>
                <a:gd name="connsiteX349" fmla="*/ 674681 w 736290"/>
                <a:gd name="connsiteY349" fmla="*/ 169681 h 635487"/>
                <a:gd name="connsiteX350" fmla="*/ 672463 w 736290"/>
                <a:gd name="connsiteY350" fmla="*/ 177444 h 635487"/>
                <a:gd name="connsiteX351" fmla="*/ 665708 w 736290"/>
                <a:gd name="connsiteY351" fmla="*/ 179662 h 635487"/>
                <a:gd name="connsiteX352" fmla="*/ 672664 w 736290"/>
                <a:gd name="connsiteY352" fmla="*/ 181779 h 635487"/>
                <a:gd name="connsiteX353" fmla="*/ 681536 w 736290"/>
                <a:gd name="connsiteY353" fmla="*/ 190651 h 635487"/>
                <a:gd name="connsiteX354" fmla="*/ 679419 w 736290"/>
                <a:gd name="connsiteY354" fmla="*/ 202346 h 635487"/>
                <a:gd name="connsiteX355" fmla="*/ 679117 w 736290"/>
                <a:gd name="connsiteY355" fmla="*/ 202749 h 635487"/>
                <a:gd name="connsiteX356" fmla="*/ 679016 w 736290"/>
                <a:gd name="connsiteY356" fmla="*/ 203253 h 635487"/>
                <a:gd name="connsiteX357" fmla="*/ 670043 w 736290"/>
                <a:gd name="connsiteY357" fmla="*/ 216561 h 635487"/>
                <a:gd name="connsiteX358" fmla="*/ 669438 w 736290"/>
                <a:gd name="connsiteY358" fmla="*/ 216965 h 635487"/>
                <a:gd name="connsiteX359" fmla="*/ 669237 w 736290"/>
                <a:gd name="connsiteY359" fmla="*/ 217670 h 635487"/>
                <a:gd name="connsiteX360" fmla="*/ 657744 w 736290"/>
                <a:gd name="connsiteY360" fmla="*/ 229567 h 635487"/>
                <a:gd name="connsiteX361" fmla="*/ 651190 w 736290"/>
                <a:gd name="connsiteY361" fmla="*/ 231381 h 635487"/>
                <a:gd name="connsiteX362" fmla="*/ 657542 w 736290"/>
                <a:gd name="connsiteY362" fmla="*/ 233801 h 635487"/>
                <a:gd name="connsiteX363" fmla="*/ 685569 w 736290"/>
                <a:gd name="connsiteY363" fmla="*/ 250940 h 635487"/>
                <a:gd name="connsiteX364" fmla="*/ 692727 w 736290"/>
                <a:gd name="connsiteY364" fmla="*/ 278967 h 635487"/>
                <a:gd name="connsiteX365" fmla="*/ 692525 w 736290"/>
                <a:gd name="connsiteY365" fmla="*/ 279471 h 635487"/>
                <a:gd name="connsiteX366" fmla="*/ 692626 w 736290"/>
                <a:gd name="connsiteY366" fmla="*/ 280076 h 635487"/>
                <a:gd name="connsiteX367" fmla="*/ 690106 w 736290"/>
                <a:gd name="connsiteY367" fmla="*/ 290863 h 635487"/>
                <a:gd name="connsiteX368" fmla="*/ 688795 w 736290"/>
                <a:gd name="connsiteY368" fmla="*/ 292477 h 635487"/>
                <a:gd name="connsiteX369" fmla="*/ 690308 w 736290"/>
                <a:gd name="connsiteY369" fmla="*/ 293888 h 635487"/>
                <a:gd name="connsiteX370" fmla="*/ 694240 w 736290"/>
                <a:gd name="connsiteY370" fmla="*/ 300744 h 635487"/>
                <a:gd name="connsiteX371" fmla="*/ 694542 w 736290"/>
                <a:gd name="connsiteY371" fmla="*/ 302659 h 635487"/>
                <a:gd name="connsiteX372" fmla="*/ 696458 w 736290"/>
                <a:gd name="connsiteY372" fmla="*/ 302659 h 635487"/>
                <a:gd name="connsiteX373" fmla="*/ 720956 w 736290"/>
                <a:gd name="connsiteY373" fmla="*/ 312539 h 635487"/>
                <a:gd name="connsiteX374" fmla="*/ 731542 w 736290"/>
                <a:gd name="connsiteY374" fmla="*/ 336231 h 635487"/>
                <a:gd name="connsiteX375" fmla="*/ 723275 w 736290"/>
                <a:gd name="connsiteY375" fmla="*/ 360024 h 635487"/>
                <a:gd name="connsiteX376" fmla="*/ 712487 w 736290"/>
                <a:gd name="connsiteY376" fmla="*/ 365267 h 635487"/>
                <a:gd name="connsiteX377" fmla="*/ 703515 w 736290"/>
                <a:gd name="connsiteY377" fmla="*/ 361335 h 635487"/>
                <a:gd name="connsiteX378" fmla="*/ 699986 w 736290"/>
                <a:gd name="connsiteY378" fmla="*/ 353572 h 635487"/>
                <a:gd name="connsiteX379" fmla="*/ 699381 w 736290"/>
                <a:gd name="connsiteY379" fmla="*/ 362141 h 635487"/>
                <a:gd name="connsiteX380" fmla="*/ 685771 w 736290"/>
                <a:gd name="connsiteY380" fmla="*/ 383212 h 635487"/>
                <a:gd name="connsiteX381" fmla="*/ 682948 w 736290"/>
                <a:gd name="connsiteY381" fmla="*/ 384725 h 635487"/>
                <a:gd name="connsiteX382" fmla="*/ 685468 w 736290"/>
                <a:gd name="connsiteY382" fmla="*/ 386842 h 635487"/>
                <a:gd name="connsiteX383" fmla="*/ 685670 w 736290"/>
                <a:gd name="connsiteY383" fmla="*/ 424850 h 635487"/>
                <a:gd name="connsiteX384" fmla="*/ 682545 w 736290"/>
                <a:gd name="connsiteY384" fmla="*/ 427269 h 635487"/>
                <a:gd name="connsiteX385" fmla="*/ 686376 w 736290"/>
                <a:gd name="connsiteY385" fmla="*/ 428479 h 635487"/>
                <a:gd name="connsiteX386" fmla="*/ 702607 w 736290"/>
                <a:gd name="connsiteY386" fmla="*/ 449651 h 635487"/>
                <a:gd name="connsiteX387" fmla="*/ 694542 w 736290"/>
                <a:gd name="connsiteY387" fmla="*/ 473746 h 635487"/>
                <a:gd name="connsiteX388" fmla="*/ 692828 w 736290"/>
                <a:gd name="connsiteY388" fmla="*/ 475158 h 635487"/>
                <a:gd name="connsiteX389" fmla="*/ 694240 w 736290"/>
                <a:gd name="connsiteY389" fmla="*/ 476872 h 635487"/>
                <a:gd name="connsiteX390" fmla="*/ 691114 w 736290"/>
                <a:gd name="connsiteY390" fmla="*/ 506713 h 635487"/>
                <a:gd name="connsiteX391" fmla="*/ 662482 w 736290"/>
                <a:gd name="connsiteY391" fmla="*/ 503689 h 635487"/>
                <a:gd name="connsiteX392" fmla="*/ 659357 w 736290"/>
                <a:gd name="connsiteY392" fmla="*/ 499858 h 635487"/>
                <a:gd name="connsiteX393" fmla="*/ 658853 w 736290"/>
                <a:gd name="connsiteY393" fmla="*/ 504798 h 635487"/>
                <a:gd name="connsiteX394" fmla="*/ 650686 w 736290"/>
                <a:gd name="connsiteY394" fmla="*/ 530305 h 635487"/>
                <a:gd name="connsiteX395" fmla="*/ 629918 w 736290"/>
                <a:gd name="connsiteY395" fmla="*/ 532623 h 635487"/>
                <a:gd name="connsiteX396" fmla="*/ 625885 w 736290"/>
                <a:gd name="connsiteY396" fmla="*/ 527784 h 635487"/>
                <a:gd name="connsiteX397" fmla="*/ 626288 w 736290"/>
                <a:gd name="connsiteY397" fmla="*/ 534035 h 635487"/>
                <a:gd name="connsiteX398" fmla="*/ 614795 w 736290"/>
                <a:gd name="connsiteY398" fmla="*/ 557021 h 635487"/>
                <a:gd name="connsiteX399" fmla="*/ 591103 w 736290"/>
                <a:gd name="connsiteY399" fmla="*/ 562566 h 635487"/>
                <a:gd name="connsiteX400" fmla="*/ 587071 w 736290"/>
                <a:gd name="connsiteY400" fmla="*/ 561457 h 635487"/>
                <a:gd name="connsiteX401" fmla="*/ 588684 w 736290"/>
                <a:gd name="connsiteY401" fmla="*/ 565288 h 635487"/>
                <a:gd name="connsiteX402" fmla="*/ 579106 w 736290"/>
                <a:gd name="connsiteY402" fmla="*/ 589081 h 635487"/>
                <a:gd name="connsiteX403" fmla="*/ 555817 w 736290"/>
                <a:gd name="connsiteY403" fmla="*/ 581419 h 635487"/>
                <a:gd name="connsiteX404" fmla="*/ 555011 w 736290"/>
                <a:gd name="connsiteY404" fmla="*/ 579907 h 635487"/>
                <a:gd name="connsiteX405" fmla="*/ 553398 w 736290"/>
                <a:gd name="connsiteY405" fmla="*/ 580512 h 635487"/>
                <a:gd name="connsiteX406" fmla="*/ 504098 w 736290"/>
                <a:gd name="connsiteY406" fmla="*/ 599062 h 635487"/>
                <a:gd name="connsiteX407" fmla="*/ 455000 w 736290"/>
                <a:gd name="connsiteY407" fmla="*/ 610454 h 635487"/>
                <a:gd name="connsiteX408" fmla="*/ 430602 w 736290"/>
                <a:gd name="connsiteY408" fmla="*/ 607027 h 635487"/>
                <a:gd name="connsiteX409" fmla="*/ 418303 w 736290"/>
                <a:gd name="connsiteY409" fmla="*/ 603700 h 635487"/>
                <a:gd name="connsiteX410" fmla="*/ 405297 w 736290"/>
                <a:gd name="connsiteY410" fmla="*/ 607027 h 635487"/>
                <a:gd name="connsiteX411" fmla="*/ 385033 w 736290"/>
                <a:gd name="connsiteY411" fmla="*/ 620435 h 635487"/>
                <a:gd name="connsiteX412" fmla="*/ 362551 w 736290"/>
                <a:gd name="connsiteY412" fmla="*/ 627694 h 635487"/>
                <a:gd name="connsiteX413" fmla="*/ 317082 w 736290"/>
                <a:gd name="connsiteY413" fmla="*/ 622956 h 635487"/>
                <a:gd name="connsiteX414" fmla="*/ 305689 w 736290"/>
                <a:gd name="connsiteY414" fmla="*/ 619226 h 635487"/>
                <a:gd name="connsiteX415" fmla="*/ 293591 w 736290"/>
                <a:gd name="connsiteY415" fmla="*/ 620939 h 635487"/>
                <a:gd name="connsiteX416" fmla="*/ 272117 w 736290"/>
                <a:gd name="connsiteY416" fmla="*/ 627795 h 635487"/>
                <a:gd name="connsiteX417" fmla="*/ 250341 w 736290"/>
                <a:gd name="connsiteY417" fmla="*/ 631424 h 635487"/>
                <a:gd name="connsiteX418" fmla="*/ 229371 w 736290"/>
                <a:gd name="connsiteY418" fmla="*/ 629710 h 635487"/>
                <a:gd name="connsiteX419" fmla="*/ 216164 w 736290"/>
                <a:gd name="connsiteY419" fmla="*/ 616100 h 635487"/>
                <a:gd name="connsiteX420" fmla="*/ 222717 w 736290"/>
                <a:gd name="connsiteY420" fmla="*/ 600171 h 635487"/>
                <a:gd name="connsiteX421" fmla="*/ 224128 w 736290"/>
                <a:gd name="connsiteY421" fmla="*/ 599667 h 635487"/>
                <a:gd name="connsiteX422" fmla="*/ 223725 w 736290"/>
                <a:gd name="connsiteY422" fmla="*/ 598256 h 635487"/>
                <a:gd name="connsiteX423" fmla="*/ 214651 w 736290"/>
                <a:gd name="connsiteY423" fmla="*/ 583435 h 635487"/>
                <a:gd name="connsiteX424" fmla="*/ 197815 w 736290"/>
                <a:gd name="connsiteY424" fmla="*/ 580512 h 635487"/>
                <a:gd name="connsiteX425" fmla="*/ 189246 w 736290"/>
                <a:gd name="connsiteY425" fmla="*/ 594424 h 635487"/>
                <a:gd name="connsiteX426" fmla="*/ 201948 w 736290"/>
                <a:gd name="connsiteY426" fmla="*/ 603800 h 635487"/>
                <a:gd name="connsiteX427" fmla="*/ 200335 w 736290"/>
                <a:gd name="connsiteY427" fmla="*/ 601482 h 635487"/>
                <a:gd name="connsiteX428" fmla="*/ 182087 w 736290"/>
                <a:gd name="connsiteY428" fmla="*/ 607329 h 635487"/>
                <a:gd name="connsiteX429" fmla="*/ 167469 w 736290"/>
                <a:gd name="connsiteY429" fmla="*/ 594828 h 635487"/>
                <a:gd name="connsiteX430" fmla="*/ 184104 w 736290"/>
                <a:gd name="connsiteY430" fmla="*/ 563070 h 635487"/>
                <a:gd name="connsiteX431" fmla="*/ 185818 w 736290"/>
                <a:gd name="connsiteY431" fmla="*/ 562365 h 635487"/>
                <a:gd name="connsiteX432" fmla="*/ 184709 w 736290"/>
                <a:gd name="connsiteY432" fmla="*/ 560953 h 635487"/>
                <a:gd name="connsiteX433" fmla="*/ 172711 w 736290"/>
                <a:gd name="connsiteY433" fmla="*/ 532220 h 635487"/>
                <a:gd name="connsiteX434" fmla="*/ 171905 w 736290"/>
                <a:gd name="connsiteY434" fmla="*/ 526474 h 635487"/>
                <a:gd name="connsiteX435" fmla="*/ 170191 w 736290"/>
                <a:gd name="connsiteY435" fmla="*/ 532019 h 635487"/>
                <a:gd name="connsiteX436" fmla="*/ 143474 w 736290"/>
                <a:gd name="connsiteY436" fmla="*/ 546032 h 635487"/>
                <a:gd name="connsiteX437" fmla="*/ 142164 w 736290"/>
                <a:gd name="connsiteY437" fmla="*/ 545629 h 635487"/>
                <a:gd name="connsiteX438" fmla="*/ 141861 w 736290"/>
                <a:gd name="connsiteY438" fmla="*/ 547040 h 635487"/>
                <a:gd name="connsiteX439" fmla="*/ 129864 w 736290"/>
                <a:gd name="connsiteY439" fmla="*/ 569523 h 635487"/>
                <a:gd name="connsiteX440" fmla="*/ 107483 w 736290"/>
                <a:gd name="connsiteY440" fmla="*/ 575975 h 635487"/>
                <a:gd name="connsiteX441" fmla="*/ 93066 w 736290"/>
                <a:gd name="connsiteY441" fmla="*/ 560953 h 635487"/>
                <a:gd name="connsiteX442" fmla="*/ 103047 w 736290"/>
                <a:gd name="connsiteY442" fmla="*/ 544419 h 635487"/>
                <a:gd name="connsiteX443" fmla="*/ 105063 w 736290"/>
                <a:gd name="connsiteY443" fmla="*/ 543915 h 635487"/>
                <a:gd name="connsiteX444" fmla="*/ 103450 w 736290"/>
                <a:gd name="connsiteY444" fmla="*/ 542604 h 635487"/>
                <a:gd name="connsiteX445" fmla="*/ 109499 w 736290"/>
                <a:gd name="connsiteY445" fmla="*/ 509637 h 635487"/>
                <a:gd name="connsiteX446" fmla="*/ 110608 w 736290"/>
                <a:gd name="connsiteY446" fmla="*/ 509335 h 635487"/>
                <a:gd name="connsiteX447" fmla="*/ 110003 w 736290"/>
                <a:gd name="connsiteY447" fmla="*/ 508326 h 635487"/>
                <a:gd name="connsiteX448" fmla="*/ 115750 w 736290"/>
                <a:gd name="connsiteY448" fmla="*/ 470318 h 635487"/>
                <a:gd name="connsiteX449" fmla="*/ 114641 w 736290"/>
                <a:gd name="connsiteY449" fmla="*/ 469310 h 635487"/>
                <a:gd name="connsiteX450" fmla="*/ 89840 w 736290"/>
                <a:gd name="connsiteY450" fmla="*/ 469411 h 635487"/>
                <a:gd name="connsiteX451" fmla="*/ 89033 w 736290"/>
                <a:gd name="connsiteY451" fmla="*/ 468201 h 635487"/>
                <a:gd name="connsiteX452" fmla="*/ 88731 w 736290"/>
                <a:gd name="connsiteY452" fmla="*/ 469613 h 635487"/>
                <a:gd name="connsiteX453" fmla="*/ 79254 w 736290"/>
                <a:gd name="connsiteY453" fmla="*/ 480602 h 635487"/>
                <a:gd name="connsiteX454" fmla="*/ 66147 w 736290"/>
                <a:gd name="connsiteY454" fmla="*/ 483425 h 635487"/>
                <a:gd name="connsiteX455" fmla="*/ 45883 w 736290"/>
                <a:gd name="connsiteY455" fmla="*/ 478888 h 635487"/>
                <a:gd name="connsiteX456" fmla="*/ 37717 w 736290"/>
                <a:gd name="connsiteY456" fmla="*/ 469512 h 635487"/>
                <a:gd name="connsiteX457" fmla="*/ 36507 w 736290"/>
                <a:gd name="connsiteY457" fmla="*/ 465580 h 63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</a:cxnLst>
              <a:rect l="l" t="t" r="r" b="b"/>
              <a:pathLst>
                <a:path w="736290" h="635487">
                  <a:moveTo>
                    <a:pt x="36507" y="465580"/>
                  </a:moveTo>
                  <a:cubicBezTo>
                    <a:pt x="36507" y="465580"/>
                    <a:pt x="36507" y="467092"/>
                    <a:pt x="37515" y="469814"/>
                  </a:cubicBezTo>
                  <a:cubicBezTo>
                    <a:pt x="38423" y="472536"/>
                    <a:pt x="40641" y="476670"/>
                    <a:pt x="45581" y="479694"/>
                  </a:cubicBezTo>
                  <a:cubicBezTo>
                    <a:pt x="50521" y="482618"/>
                    <a:pt x="57679" y="484534"/>
                    <a:pt x="66147" y="484634"/>
                  </a:cubicBezTo>
                  <a:cubicBezTo>
                    <a:pt x="70382" y="484534"/>
                    <a:pt x="75120" y="483929"/>
                    <a:pt x="79657" y="481912"/>
                  </a:cubicBezTo>
                  <a:cubicBezTo>
                    <a:pt x="84194" y="479997"/>
                    <a:pt x="88831" y="475964"/>
                    <a:pt x="89940" y="470117"/>
                  </a:cubicBezTo>
                  <a:lnTo>
                    <a:pt x="88831" y="470419"/>
                  </a:lnTo>
                  <a:cubicBezTo>
                    <a:pt x="94175" y="477880"/>
                    <a:pt x="108289" y="479694"/>
                    <a:pt x="115851" y="470520"/>
                  </a:cubicBezTo>
                  <a:lnTo>
                    <a:pt x="114741" y="469512"/>
                  </a:lnTo>
                  <a:cubicBezTo>
                    <a:pt x="105063" y="477981"/>
                    <a:pt x="100325" y="495220"/>
                    <a:pt x="108390" y="509637"/>
                  </a:cubicBezTo>
                  <a:lnTo>
                    <a:pt x="108894" y="508326"/>
                  </a:lnTo>
                  <a:cubicBezTo>
                    <a:pt x="102038" y="510242"/>
                    <a:pt x="96998" y="516694"/>
                    <a:pt x="95586" y="523852"/>
                  </a:cubicBezTo>
                  <a:cubicBezTo>
                    <a:pt x="93973" y="530910"/>
                    <a:pt x="95586" y="539681"/>
                    <a:pt x="102139" y="544621"/>
                  </a:cubicBezTo>
                  <a:lnTo>
                    <a:pt x="102543" y="542806"/>
                  </a:lnTo>
                  <a:cubicBezTo>
                    <a:pt x="94679" y="544822"/>
                    <a:pt x="90243" y="553493"/>
                    <a:pt x="90848" y="561457"/>
                  </a:cubicBezTo>
                  <a:cubicBezTo>
                    <a:pt x="91049" y="569926"/>
                    <a:pt x="98510" y="577084"/>
                    <a:pt x="106979" y="578596"/>
                  </a:cubicBezTo>
                  <a:cubicBezTo>
                    <a:pt x="115346" y="580411"/>
                    <a:pt x="124924" y="577890"/>
                    <a:pt x="131477" y="571640"/>
                  </a:cubicBezTo>
                  <a:cubicBezTo>
                    <a:pt x="138131" y="565591"/>
                    <a:pt x="142365" y="557021"/>
                    <a:pt x="144281" y="547948"/>
                  </a:cubicBezTo>
                  <a:lnTo>
                    <a:pt x="142668" y="548855"/>
                  </a:lnTo>
                  <a:cubicBezTo>
                    <a:pt x="153556" y="552485"/>
                    <a:pt x="168477" y="546234"/>
                    <a:pt x="172711" y="533228"/>
                  </a:cubicBezTo>
                  <a:lnTo>
                    <a:pt x="170191" y="533027"/>
                  </a:lnTo>
                  <a:cubicBezTo>
                    <a:pt x="171603" y="542806"/>
                    <a:pt x="175635" y="553694"/>
                    <a:pt x="182592" y="562969"/>
                  </a:cubicBezTo>
                  <a:lnTo>
                    <a:pt x="183197" y="560852"/>
                  </a:lnTo>
                  <a:cubicBezTo>
                    <a:pt x="176643" y="563474"/>
                    <a:pt x="171098" y="568414"/>
                    <a:pt x="167570" y="574664"/>
                  </a:cubicBezTo>
                  <a:cubicBezTo>
                    <a:pt x="164041" y="580814"/>
                    <a:pt x="162428" y="588678"/>
                    <a:pt x="164747" y="596038"/>
                  </a:cubicBezTo>
                  <a:cubicBezTo>
                    <a:pt x="166965" y="603498"/>
                    <a:pt x="173921" y="608841"/>
                    <a:pt x="181382" y="610454"/>
                  </a:cubicBezTo>
                  <a:cubicBezTo>
                    <a:pt x="188741" y="612269"/>
                    <a:pt x="198017" y="610555"/>
                    <a:pt x="202856" y="603498"/>
                  </a:cubicBezTo>
                  <a:lnTo>
                    <a:pt x="205175" y="600171"/>
                  </a:lnTo>
                  <a:lnTo>
                    <a:pt x="201243" y="601179"/>
                  </a:lnTo>
                  <a:cubicBezTo>
                    <a:pt x="197311" y="602187"/>
                    <a:pt x="193076" y="598457"/>
                    <a:pt x="192270" y="594122"/>
                  </a:cubicBezTo>
                  <a:cubicBezTo>
                    <a:pt x="191060" y="589686"/>
                    <a:pt x="194387" y="585250"/>
                    <a:pt x="198924" y="583738"/>
                  </a:cubicBezTo>
                  <a:cubicBezTo>
                    <a:pt x="203461" y="582024"/>
                    <a:pt x="208804" y="582931"/>
                    <a:pt x="212736" y="586258"/>
                  </a:cubicBezTo>
                  <a:cubicBezTo>
                    <a:pt x="216668" y="589384"/>
                    <a:pt x="219390" y="594324"/>
                    <a:pt x="220701" y="599465"/>
                  </a:cubicBezTo>
                  <a:lnTo>
                    <a:pt x="221709" y="597550"/>
                  </a:lnTo>
                  <a:cubicBezTo>
                    <a:pt x="217978" y="598961"/>
                    <a:pt x="214954" y="602187"/>
                    <a:pt x="213744" y="605817"/>
                  </a:cubicBezTo>
                  <a:cubicBezTo>
                    <a:pt x="212333" y="609446"/>
                    <a:pt x="212333" y="613479"/>
                    <a:pt x="213139" y="617209"/>
                  </a:cubicBezTo>
                  <a:cubicBezTo>
                    <a:pt x="213946" y="620939"/>
                    <a:pt x="215760" y="624569"/>
                    <a:pt x="218583" y="627392"/>
                  </a:cubicBezTo>
                  <a:cubicBezTo>
                    <a:pt x="221406" y="630114"/>
                    <a:pt x="224834" y="631928"/>
                    <a:pt x="228362" y="633239"/>
                  </a:cubicBezTo>
                  <a:cubicBezTo>
                    <a:pt x="235621" y="635760"/>
                    <a:pt x="243284" y="635760"/>
                    <a:pt x="250744" y="635155"/>
                  </a:cubicBezTo>
                  <a:cubicBezTo>
                    <a:pt x="258205" y="634449"/>
                    <a:pt x="265665" y="633239"/>
                    <a:pt x="273025" y="631424"/>
                  </a:cubicBezTo>
                  <a:cubicBezTo>
                    <a:pt x="287946" y="629005"/>
                    <a:pt x="301858" y="617209"/>
                    <a:pt x="315872" y="626484"/>
                  </a:cubicBezTo>
                  <a:cubicBezTo>
                    <a:pt x="330490" y="632634"/>
                    <a:pt x="347126" y="634348"/>
                    <a:pt x="363256" y="631626"/>
                  </a:cubicBezTo>
                  <a:cubicBezTo>
                    <a:pt x="371322" y="630215"/>
                    <a:pt x="379286" y="627795"/>
                    <a:pt x="386747" y="624166"/>
                  </a:cubicBezTo>
                  <a:cubicBezTo>
                    <a:pt x="394207" y="620738"/>
                    <a:pt x="401063" y="615193"/>
                    <a:pt x="407414" y="610555"/>
                  </a:cubicBezTo>
                  <a:cubicBezTo>
                    <a:pt x="410640" y="608337"/>
                    <a:pt x="414169" y="607228"/>
                    <a:pt x="417899" y="607833"/>
                  </a:cubicBezTo>
                  <a:cubicBezTo>
                    <a:pt x="421629" y="608337"/>
                    <a:pt x="425461" y="609950"/>
                    <a:pt x="429695" y="611059"/>
                  </a:cubicBezTo>
                  <a:cubicBezTo>
                    <a:pt x="437861" y="613378"/>
                    <a:pt x="446430" y="614588"/>
                    <a:pt x="455101" y="614689"/>
                  </a:cubicBezTo>
                  <a:cubicBezTo>
                    <a:pt x="472542" y="615092"/>
                    <a:pt x="489480" y="609345"/>
                    <a:pt x="505610" y="603095"/>
                  </a:cubicBezTo>
                  <a:cubicBezTo>
                    <a:pt x="521842" y="597046"/>
                    <a:pt x="538275" y="590896"/>
                    <a:pt x="555011" y="584645"/>
                  </a:cubicBezTo>
                  <a:lnTo>
                    <a:pt x="552591" y="583738"/>
                  </a:lnTo>
                  <a:cubicBezTo>
                    <a:pt x="557834" y="592811"/>
                    <a:pt x="570234" y="597550"/>
                    <a:pt x="580921" y="593114"/>
                  </a:cubicBezTo>
                  <a:cubicBezTo>
                    <a:pt x="591507" y="588577"/>
                    <a:pt x="597152" y="575168"/>
                    <a:pt x="592716" y="564078"/>
                  </a:cubicBezTo>
                  <a:lnTo>
                    <a:pt x="590297" y="566801"/>
                  </a:lnTo>
                  <a:cubicBezTo>
                    <a:pt x="608444" y="571942"/>
                    <a:pt x="631329" y="555912"/>
                    <a:pt x="630624" y="534136"/>
                  </a:cubicBezTo>
                  <a:lnTo>
                    <a:pt x="626994" y="535648"/>
                  </a:lnTo>
                  <a:cubicBezTo>
                    <a:pt x="630321" y="539580"/>
                    <a:pt x="635967" y="541092"/>
                    <a:pt x="640806" y="540286"/>
                  </a:cubicBezTo>
                  <a:cubicBezTo>
                    <a:pt x="645746" y="539580"/>
                    <a:pt x="650485" y="537261"/>
                    <a:pt x="654013" y="533329"/>
                  </a:cubicBezTo>
                  <a:cubicBezTo>
                    <a:pt x="660869" y="525465"/>
                    <a:pt x="662180" y="514980"/>
                    <a:pt x="663289" y="505504"/>
                  </a:cubicBezTo>
                  <a:lnTo>
                    <a:pt x="659558" y="506613"/>
                  </a:lnTo>
                  <a:cubicBezTo>
                    <a:pt x="667523" y="515989"/>
                    <a:pt x="683150" y="518307"/>
                    <a:pt x="693937" y="510242"/>
                  </a:cubicBezTo>
                  <a:cubicBezTo>
                    <a:pt x="704624" y="502076"/>
                    <a:pt x="706640" y="485038"/>
                    <a:pt x="697768" y="474250"/>
                  </a:cubicBezTo>
                  <a:lnTo>
                    <a:pt x="697466" y="477275"/>
                  </a:lnTo>
                  <a:cubicBezTo>
                    <a:pt x="705531" y="470923"/>
                    <a:pt x="708757" y="459531"/>
                    <a:pt x="707043" y="449248"/>
                  </a:cubicBezTo>
                  <a:cubicBezTo>
                    <a:pt x="705531" y="438964"/>
                    <a:pt x="698877" y="428177"/>
                    <a:pt x="687989" y="424547"/>
                  </a:cubicBezTo>
                  <a:lnTo>
                    <a:pt x="688694" y="428278"/>
                  </a:lnTo>
                  <a:cubicBezTo>
                    <a:pt x="700994" y="418095"/>
                    <a:pt x="702406" y="395411"/>
                    <a:pt x="688493" y="383616"/>
                  </a:cubicBezTo>
                  <a:lnTo>
                    <a:pt x="688190" y="387245"/>
                  </a:lnTo>
                  <a:cubicBezTo>
                    <a:pt x="696558" y="382809"/>
                    <a:pt x="703313" y="373332"/>
                    <a:pt x="704119" y="362645"/>
                  </a:cubicBezTo>
                  <a:lnTo>
                    <a:pt x="699986" y="363452"/>
                  </a:lnTo>
                  <a:cubicBezTo>
                    <a:pt x="701095" y="365872"/>
                    <a:pt x="703212" y="367989"/>
                    <a:pt x="705733" y="368997"/>
                  </a:cubicBezTo>
                  <a:cubicBezTo>
                    <a:pt x="708253" y="370005"/>
                    <a:pt x="710975" y="370207"/>
                    <a:pt x="713395" y="369904"/>
                  </a:cubicBezTo>
                  <a:cubicBezTo>
                    <a:pt x="718436" y="369199"/>
                    <a:pt x="722872" y="366880"/>
                    <a:pt x="726602" y="363452"/>
                  </a:cubicBezTo>
                  <a:cubicBezTo>
                    <a:pt x="733760" y="356193"/>
                    <a:pt x="736482" y="346212"/>
                    <a:pt x="736280" y="336332"/>
                  </a:cubicBezTo>
                  <a:cubicBezTo>
                    <a:pt x="736079" y="326452"/>
                    <a:pt x="731744" y="316471"/>
                    <a:pt x="724283" y="309515"/>
                  </a:cubicBezTo>
                  <a:cubicBezTo>
                    <a:pt x="716923" y="302558"/>
                    <a:pt x="706942" y="298324"/>
                    <a:pt x="696659" y="298425"/>
                  </a:cubicBezTo>
                  <a:lnTo>
                    <a:pt x="698877" y="300240"/>
                  </a:lnTo>
                  <a:cubicBezTo>
                    <a:pt x="698373" y="296812"/>
                    <a:pt x="696357" y="293283"/>
                    <a:pt x="693534" y="290763"/>
                  </a:cubicBezTo>
                  <a:lnTo>
                    <a:pt x="693836" y="293787"/>
                  </a:lnTo>
                  <a:cubicBezTo>
                    <a:pt x="696861" y="289956"/>
                    <a:pt x="698071" y="284613"/>
                    <a:pt x="697264" y="279673"/>
                  </a:cubicBezTo>
                  <a:lnTo>
                    <a:pt x="697163" y="280782"/>
                  </a:lnTo>
                  <a:cubicBezTo>
                    <a:pt x="701397" y="269692"/>
                    <a:pt x="696861" y="256989"/>
                    <a:pt x="689199" y="248319"/>
                  </a:cubicBezTo>
                  <a:cubicBezTo>
                    <a:pt x="681335" y="239245"/>
                    <a:pt x="670245" y="234002"/>
                    <a:pt x="659457" y="229970"/>
                  </a:cubicBezTo>
                  <a:lnTo>
                    <a:pt x="659256" y="234204"/>
                  </a:lnTo>
                  <a:cubicBezTo>
                    <a:pt x="665910" y="232289"/>
                    <a:pt x="671757" y="226441"/>
                    <a:pt x="673874" y="219182"/>
                  </a:cubicBezTo>
                  <a:lnTo>
                    <a:pt x="673068" y="220291"/>
                  </a:lnTo>
                  <a:cubicBezTo>
                    <a:pt x="677705" y="216662"/>
                    <a:pt x="682343" y="211218"/>
                    <a:pt x="683654" y="204463"/>
                  </a:cubicBezTo>
                  <a:lnTo>
                    <a:pt x="683250" y="205270"/>
                  </a:lnTo>
                  <a:cubicBezTo>
                    <a:pt x="686476" y="201338"/>
                    <a:pt x="687989" y="194885"/>
                    <a:pt x="685972" y="189542"/>
                  </a:cubicBezTo>
                  <a:cubicBezTo>
                    <a:pt x="684158" y="184199"/>
                    <a:pt x="679823" y="179460"/>
                    <a:pt x="674177" y="177747"/>
                  </a:cubicBezTo>
                  <a:lnTo>
                    <a:pt x="674379" y="181981"/>
                  </a:lnTo>
                  <a:cubicBezTo>
                    <a:pt x="676899" y="181174"/>
                    <a:pt x="679117" y="178755"/>
                    <a:pt x="679722" y="176033"/>
                  </a:cubicBezTo>
                  <a:cubicBezTo>
                    <a:pt x="680428" y="173411"/>
                    <a:pt x="680024" y="170891"/>
                    <a:pt x="679218" y="168572"/>
                  </a:cubicBezTo>
                  <a:cubicBezTo>
                    <a:pt x="677605" y="164035"/>
                    <a:pt x="674278" y="159902"/>
                    <a:pt x="669237" y="158188"/>
                  </a:cubicBezTo>
                  <a:cubicBezTo>
                    <a:pt x="659861" y="155365"/>
                    <a:pt x="650686" y="158490"/>
                    <a:pt x="642621" y="157079"/>
                  </a:cubicBezTo>
                  <a:lnTo>
                    <a:pt x="643428" y="157381"/>
                  </a:lnTo>
                  <a:cubicBezTo>
                    <a:pt x="625684" y="146090"/>
                    <a:pt x="602899" y="139738"/>
                    <a:pt x="580215" y="141352"/>
                  </a:cubicBezTo>
                  <a:lnTo>
                    <a:pt x="582131" y="144981"/>
                  </a:lnTo>
                  <a:cubicBezTo>
                    <a:pt x="586062" y="139839"/>
                    <a:pt x="590297" y="134193"/>
                    <a:pt x="594531" y="128648"/>
                  </a:cubicBezTo>
                  <a:lnTo>
                    <a:pt x="603907" y="116248"/>
                  </a:lnTo>
                  <a:cubicBezTo>
                    <a:pt x="606932" y="111913"/>
                    <a:pt x="610359" y="108384"/>
                    <a:pt x="613081" y="103242"/>
                  </a:cubicBezTo>
                  <a:cubicBezTo>
                    <a:pt x="614392" y="100621"/>
                    <a:pt x="614896" y="97294"/>
                    <a:pt x="614191" y="94169"/>
                  </a:cubicBezTo>
                  <a:cubicBezTo>
                    <a:pt x="613485" y="91144"/>
                    <a:pt x="611771" y="88523"/>
                    <a:pt x="609755" y="86507"/>
                  </a:cubicBezTo>
                  <a:cubicBezTo>
                    <a:pt x="605823" y="82373"/>
                    <a:pt x="600681" y="79853"/>
                    <a:pt x="595842" y="78038"/>
                  </a:cubicBezTo>
                  <a:cubicBezTo>
                    <a:pt x="586062" y="74106"/>
                    <a:pt x="575477" y="72090"/>
                    <a:pt x="564992" y="71888"/>
                  </a:cubicBezTo>
                  <a:cubicBezTo>
                    <a:pt x="559749" y="71888"/>
                    <a:pt x="554507" y="72191"/>
                    <a:pt x="549264" y="73098"/>
                  </a:cubicBezTo>
                  <a:cubicBezTo>
                    <a:pt x="546542" y="73602"/>
                    <a:pt x="543820" y="74409"/>
                    <a:pt x="541300" y="76022"/>
                  </a:cubicBezTo>
                  <a:cubicBezTo>
                    <a:pt x="538880" y="77433"/>
                    <a:pt x="536259" y="80357"/>
                    <a:pt x="536158" y="83986"/>
                  </a:cubicBezTo>
                  <a:lnTo>
                    <a:pt x="538779" y="81869"/>
                  </a:lnTo>
                  <a:cubicBezTo>
                    <a:pt x="528496" y="80256"/>
                    <a:pt x="518515" y="82676"/>
                    <a:pt x="509240" y="85599"/>
                  </a:cubicBezTo>
                  <a:cubicBezTo>
                    <a:pt x="504602" y="87112"/>
                    <a:pt x="500065" y="88624"/>
                    <a:pt x="495428" y="90540"/>
                  </a:cubicBezTo>
                  <a:cubicBezTo>
                    <a:pt x="490891" y="92455"/>
                    <a:pt x="486052" y="95379"/>
                    <a:pt x="483330" y="100319"/>
                  </a:cubicBezTo>
                  <a:lnTo>
                    <a:pt x="487564" y="101629"/>
                  </a:lnTo>
                  <a:cubicBezTo>
                    <a:pt x="488471" y="92253"/>
                    <a:pt x="496537" y="84289"/>
                    <a:pt x="498856" y="73300"/>
                  </a:cubicBezTo>
                  <a:cubicBezTo>
                    <a:pt x="499964" y="68057"/>
                    <a:pt x="499561" y="61202"/>
                    <a:pt x="494722" y="56967"/>
                  </a:cubicBezTo>
                  <a:cubicBezTo>
                    <a:pt x="492504" y="54951"/>
                    <a:pt x="489681" y="53640"/>
                    <a:pt x="486556" y="53338"/>
                  </a:cubicBezTo>
                  <a:cubicBezTo>
                    <a:pt x="483531" y="52935"/>
                    <a:pt x="479902" y="54044"/>
                    <a:pt x="477785" y="56665"/>
                  </a:cubicBezTo>
                  <a:lnTo>
                    <a:pt x="481011" y="59790"/>
                  </a:lnTo>
                  <a:cubicBezTo>
                    <a:pt x="483330" y="57774"/>
                    <a:pt x="484539" y="54447"/>
                    <a:pt x="484237" y="51624"/>
                  </a:cubicBezTo>
                  <a:cubicBezTo>
                    <a:pt x="484035" y="48700"/>
                    <a:pt x="483027" y="46079"/>
                    <a:pt x="481414" y="43861"/>
                  </a:cubicBezTo>
                  <a:cubicBezTo>
                    <a:pt x="479801" y="41643"/>
                    <a:pt x="477583" y="39728"/>
                    <a:pt x="474962" y="38719"/>
                  </a:cubicBezTo>
                  <a:cubicBezTo>
                    <a:pt x="472441" y="37711"/>
                    <a:pt x="469820" y="37308"/>
                    <a:pt x="467199" y="37308"/>
                  </a:cubicBezTo>
                  <a:cubicBezTo>
                    <a:pt x="462057" y="37308"/>
                    <a:pt x="457319" y="38518"/>
                    <a:pt x="452681" y="39828"/>
                  </a:cubicBezTo>
                  <a:cubicBezTo>
                    <a:pt x="450261" y="40534"/>
                    <a:pt x="447842" y="41442"/>
                    <a:pt x="445624" y="42954"/>
                  </a:cubicBezTo>
                  <a:cubicBezTo>
                    <a:pt x="443406" y="44365"/>
                    <a:pt x="441087" y="47188"/>
                    <a:pt x="441188" y="50515"/>
                  </a:cubicBezTo>
                  <a:lnTo>
                    <a:pt x="445422" y="49507"/>
                  </a:lnTo>
                  <a:cubicBezTo>
                    <a:pt x="442196" y="43357"/>
                    <a:pt x="434736" y="41643"/>
                    <a:pt x="428989" y="42954"/>
                  </a:cubicBezTo>
                  <a:cubicBezTo>
                    <a:pt x="423243" y="44063"/>
                    <a:pt x="417092" y="48499"/>
                    <a:pt x="416589" y="55354"/>
                  </a:cubicBezTo>
                  <a:lnTo>
                    <a:pt x="419815" y="53540"/>
                  </a:lnTo>
                  <a:cubicBezTo>
                    <a:pt x="410136" y="48499"/>
                    <a:pt x="397534" y="53338"/>
                    <a:pt x="393703" y="63420"/>
                  </a:cubicBezTo>
                  <a:lnTo>
                    <a:pt x="396324" y="62109"/>
                  </a:lnTo>
                  <a:cubicBezTo>
                    <a:pt x="385234" y="59185"/>
                    <a:pt x="373842" y="65739"/>
                    <a:pt x="369204" y="75316"/>
                  </a:cubicBezTo>
                  <a:lnTo>
                    <a:pt x="373338" y="76828"/>
                  </a:lnTo>
                  <a:cubicBezTo>
                    <a:pt x="375455" y="68763"/>
                    <a:pt x="377572" y="60698"/>
                    <a:pt x="379588" y="52632"/>
                  </a:cubicBezTo>
                  <a:cubicBezTo>
                    <a:pt x="380698" y="48902"/>
                    <a:pt x="381907" y="44063"/>
                    <a:pt x="381000" y="39526"/>
                  </a:cubicBezTo>
                  <a:cubicBezTo>
                    <a:pt x="380597" y="37308"/>
                    <a:pt x="380093" y="34989"/>
                    <a:pt x="378480" y="32771"/>
                  </a:cubicBezTo>
                  <a:cubicBezTo>
                    <a:pt x="377774" y="31662"/>
                    <a:pt x="376463" y="30654"/>
                    <a:pt x="374951" y="30150"/>
                  </a:cubicBezTo>
                  <a:cubicBezTo>
                    <a:pt x="373338" y="29646"/>
                    <a:pt x="371826" y="30049"/>
                    <a:pt x="370515" y="30452"/>
                  </a:cubicBezTo>
                  <a:lnTo>
                    <a:pt x="371927" y="34586"/>
                  </a:lnTo>
                  <a:cubicBezTo>
                    <a:pt x="377976" y="32872"/>
                    <a:pt x="381504" y="26823"/>
                    <a:pt x="382008" y="21480"/>
                  </a:cubicBezTo>
                  <a:cubicBezTo>
                    <a:pt x="382613" y="15935"/>
                    <a:pt x="381000" y="9986"/>
                    <a:pt x="376766" y="6055"/>
                  </a:cubicBezTo>
                  <a:cubicBezTo>
                    <a:pt x="368196" y="-1708"/>
                    <a:pt x="355897" y="-1103"/>
                    <a:pt x="346520" y="2828"/>
                  </a:cubicBezTo>
                  <a:lnTo>
                    <a:pt x="345613" y="3232"/>
                  </a:lnTo>
                  <a:lnTo>
                    <a:pt x="345311" y="4139"/>
                  </a:lnTo>
                  <a:cubicBezTo>
                    <a:pt x="343698" y="9079"/>
                    <a:pt x="342085" y="13918"/>
                    <a:pt x="340472" y="18758"/>
                  </a:cubicBezTo>
                  <a:lnTo>
                    <a:pt x="343194" y="17447"/>
                  </a:lnTo>
                  <a:cubicBezTo>
                    <a:pt x="334322" y="14523"/>
                    <a:pt x="324139" y="17649"/>
                    <a:pt x="318594" y="25008"/>
                  </a:cubicBezTo>
                  <a:cubicBezTo>
                    <a:pt x="313049" y="32368"/>
                    <a:pt x="312747" y="42853"/>
                    <a:pt x="317687" y="50414"/>
                  </a:cubicBezTo>
                  <a:lnTo>
                    <a:pt x="320510" y="47390"/>
                  </a:lnTo>
                  <a:cubicBezTo>
                    <a:pt x="317082" y="45272"/>
                    <a:pt x="312747" y="46079"/>
                    <a:pt x="309823" y="47894"/>
                  </a:cubicBezTo>
                  <a:cubicBezTo>
                    <a:pt x="306899" y="49708"/>
                    <a:pt x="304581" y="52531"/>
                    <a:pt x="303572" y="55959"/>
                  </a:cubicBezTo>
                  <a:cubicBezTo>
                    <a:pt x="301758" y="62613"/>
                    <a:pt x="303975" y="68864"/>
                    <a:pt x="305689" y="74308"/>
                  </a:cubicBezTo>
                  <a:lnTo>
                    <a:pt x="308512" y="71687"/>
                  </a:lnTo>
                  <a:cubicBezTo>
                    <a:pt x="301556" y="68561"/>
                    <a:pt x="293793" y="71586"/>
                    <a:pt x="289156" y="76324"/>
                  </a:cubicBezTo>
                  <a:cubicBezTo>
                    <a:pt x="284417" y="80861"/>
                    <a:pt x="281493" y="88523"/>
                    <a:pt x="284316" y="95278"/>
                  </a:cubicBezTo>
                  <a:lnTo>
                    <a:pt x="286635" y="92455"/>
                  </a:lnTo>
                  <a:cubicBezTo>
                    <a:pt x="276251" y="90439"/>
                    <a:pt x="265665" y="91346"/>
                    <a:pt x="256087" y="94875"/>
                  </a:cubicBezTo>
                  <a:lnTo>
                    <a:pt x="258809" y="97395"/>
                  </a:lnTo>
                  <a:cubicBezTo>
                    <a:pt x="261330" y="88019"/>
                    <a:pt x="257095" y="77736"/>
                    <a:pt x="249030" y="72896"/>
                  </a:cubicBezTo>
                  <a:cubicBezTo>
                    <a:pt x="240864" y="68158"/>
                    <a:pt x="230076" y="69368"/>
                    <a:pt x="223221" y="75719"/>
                  </a:cubicBezTo>
                  <a:lnTo>
                    <a:pt x="226548" y="76526"/>
                  </a:lnTo>
                  <a:cubicBezTo>
                    <a:pt x="221406" y="64226"/>
                    <a:pt x="205376" y="60093"/>
                    <a:pt x="195093" y="67553"/>
                  </a:cubicBezTo>
                  <a:lnTo>
                    <a:pt x="198017" y="68158"/>
                  </a:lnTo>
                  <a:cubicBezTo>
                    <a:pt x="195093" y="63521"/>
                    <a:pt x="190657" y="60194"/>
                    <a:pt x="185717" y="58480"/>
                  </a:cubicBezTo>
                  <a:cubicBezTo>
                    <a:pt x="180878" y="56665"/>
                    <a:pt x="175131" y="56362"/>
                    <a:pt x="170090" y="58782"/>
                  </a:cubicBezTo>
                  <a:cubicBezTo>
                    <a:pt x="165049" y="61303"/>
                    <a:pt x="161823" y="66646"/>
                    <a:pt x="161722" y="71989"/>
                  </a:cubicBezTo>
                  <a:cubicBezTo>
                    <a:pt x="161521" y="77433"/>
                    <a:pt x="163537" y="82273"/>
                    <a:pt x="166057" y="86507"/>
                  </a:cubicBezTo>
                  <a:cubicBezTo>
                    <a:pt x="171098" y="95076"/>
                    <a:pt x="178458" y="101327"/>
                    <a:pt x="184810" y="107981"/>
                  </a:cubicBezTo>
                  <a:cubicBezTo>
                    <a:pt x="191363" y="114635"/>
                    <a:pt x="197815" y="121188"/>
                    <a:pt x="204166" y="127741"/>
                  </a:cubicBezTo>
                  <a:lnTo>
                    <a:pt x="205981" y="124515"/>
                  </a:lnTo>
                  <a:cubicBezTo>
                    <a:pt x="191464" y="121490"/>
                    <a:pt x="177248" y="118365"/>
                    <a:pt x="163134" y="115441"/>
                  </a:cubicBezTo>
                  <a:cubicBezTo>
                    <a:pt x="156077" y="113929"/>
                    <a:pt x="149120" y="112417"/>
                    <a:pt x="142164" y="111005"/>
                  </a:cubicBezTo>
                  <a:cubicBezTo>
                    <a:pt x="138635" y="110501"/>
                    <a:pt x="135611" y="109090"/>
                    <a:pt x="131175" y="109292"/>
                  </a:cubicBezTo>
                  <a:cubicBezTo>
                    <a:pt x="128856" y="109493"/>
                    <a:pt x="126739" y="111005"/>
                    <a:pt x="125529" y="112518"/>
                  </a:cubicBezTo>
                  <a:cubicBezTo>
                    <a:pt x="124218" y="114030"/>
                    <a:pt x="123412" y="115441"/>
                    <a:pt x="122303" y="116450"/>
                  </a:cubicBezTo>
                  <a:cubicBezTo>
                    <a:pt x="120287" y="118466"/>
                    <a:pt x="116959" y="119172"/>
                    <a:pt x="113532" y="120684"/>
                  </a:cubicBezTo>
                  <a:cubicBezTo>
                    <a:pt x="110003" y="122095"/>
                    <a:pt x="106777" y="125321"/>
                    <a:pt x="105668" y="129153"/>
                  </a:cubicBezTo>
                  <a:cubicBezTo>
                    <a:pt x="103551" y="136916"/>
                    <a:pt x="106676" y="144477"/>
                    <a:pt x="111415" y="149820"/>
                  </a:cubicBezTo>
                  <a:cubicBezTo>
                    <a:pt x="116556" y="155466"/>
                    <a:pt x="123412" y="157684"/>
                    <a:pt x="129864" y="159801"/>
                  </a:cubicBezTo>
                  <a:cubicBezTo>
                    <a:pt x="136317" y="161717"/>
                    <a:pt x="142769" y="163229"/>
                    <a:pt x="148515" y="166052"/>
                  </a:cubicBezTo>
                  <a:lnTo>
                    <a:pt x="148515" y="162926"/>
                  </a:lnTo>
                  <a:cubicBezTo>
                    <a:pt x="139542" y="167463"/>
                    <a:pt x="131376" y="171597"/>
                    <a:pt x="123311" y="175730"/>
                  </a:cubicBezTo>
                  <a:lnTo>
                    <a:pt x="125630" y="176436"/>
                  </a:lnTo>
                  <a:cubicBezTo>
                    <a:pt x="116355" y="160910"/>
                    <a:pt x="95183" y="157986"/>
                    <a:pt x="82581" y="167665"/>
                  </a:cubicBezTo>
                  <a:lnTo>
                    <a:pt x="85001" y="167967"/>
                  </a:lnTo>
                  <a:cubicBezTo>
                    <a:pt x="80766" y="162221"/>
                    <a:pt x="73205" y="160809"/>
                    <a:pt x="67156" y="161414"/>
                  </a:cubicBezTo>
                  <a:cubicBezTo>
                    <a:pt x="60905" y="161918"/>
                    <a:pt x="55058" y="163834"/>
                    <a:pt x="49412" y="165749"/>
                  </a:cubicBezTo>
                  <a:cubicBezTo>
                    <a:pt x="43867" y="167766"/>
                    <a:pt x="38120" y="170084"/>
                    <a:pt x="33382" y="174016"/>
                  </a:cubicBezTo>
                  <a:cubicBezTo>
                    <a:pt x="28644" y="177847"/>
                    <a:pt x="25317" y="183896"/>
                    <a:pt x="25115" y="190046"/>
                  </a:cubicBezTo>
                  <a:cubicBezTo>
                    <a:pt x="24712" y="202447"/>
                    <a:pt x="32575" y="213335"/>
                    <a:pt x="42455" y="218779"/>
                  </a:cubicBezTo>
                  <a:cubicBezTo>
                    <a:pt x="52336" y="224526"/>
                    <a:pt x="63425" y="226340"/>
                    <a:pt x="73810" y="228256"/>
                  </a:cubicBezTo>
                  <a:lnTo>
                    <a:pt x="72600" y="226845"/>
                  </a:lnTo>
                  <a:cubicBezTo>
                    <a:pt x="72902" y="231079"/>
                    <a:pt x="69878" y="234809"/>
                    <a:pt x="66047" y="237027"/>
                  </a:cubicBezTo>
                  <a:cubicBezTo>
                    <a:pt x="62216" y="239346"/>
                    <a:pt x="57881" y="240455"/>
                    <a:pt x="53243" y="240757"/>
                  </a:cubicBezTo>
                  <a:cubicBezTo>
                    <a:pt x="48706" y="241161"/>
                    <a:pt x="43968" y="241362"/>
                    <a:pt x="39330" y="242471"/>
                  </a:cubicBezTo>
                  <a:cubicBezTo>
                    <a:pt x="34692" y="243479"/>
                    <a:pt x="30156" y="246201"/>
                    <a:pt x="27333" y="250033"/>
                  </a:cubicBezTo>
                  <a:cubicBezTo>
                    <a:pt x="21586" y="257594"/>
                    <a:pt x="19973" y="266768"/>
                    <a:pt x="14327" y="272716"/>
                  </a:cubicBezTo>
                  <a:cubicBezTo>
                    <a:pt x="11706" y="275842"/>
                    <a:pt x="7573" y="276850"/>
                    <a:pt x="4044" y="280076"/>
                  </a:cubicBezTo>
                  <a:cubicBezTo>
                    <a:pt x="415" y="283504"/>
                    <a:pt x="-89" y="288545"/>
                    <a:pt x="11" y="292577"/>
                  </a:cubicBezTo>
                  <a:cubicBezTo>
                    <a:pt x="515" y="300844"/>
                    <a:pt x="1020" y="308910"/>
                    <a:pt x="1524" y="316874"/>
                  </a:cubicBezTo>
                  <a:cubicBezTo>
                    <a:pt x="1725" y="320806"/>
                    <a:pt x="3137" y="325545"/>
                    <a:pt x="6766" y="328065"/>
                  </a:cubicBezTo>
                  <a:cubicBezTo>
                    <a:pt x="10295" y="330686"/>
                    <a:pt x="14731" y="331090"/>
                    <a:pt x="18562" y="330586"/>
                  </a:cubicBezTo>
                  <a:cubicBezTo>
                    <a:pt x="22494" y="330081"/>
                    <a:pt x="26224" y="328670"/>
                    <a:pt x="29450" y="326553"/>
                  </a:cubicBezTo>
                  <a:cubicBezTo>
                    <a:pt x="32676" y="324335"/>
                    <a:pt x="35298" y="321714"/>
                    <a:pt x="37818" y="319092"/>
                  </a:cubicBezTo>
                  <a:cubicBezTo>
                    <a:pt x="42758" y="313850"/>
                    <a:pt x="47496" y="308506"/>
                    <a:pt x="53445" y="305785"/>
                  </a:cubicBezTo>
                  <a:lnTo>
                    <a:pt x="52235" y="303970"/>
                  </a:lnTo>
                  <a:cubicBezTo>
                    <a:pt x="45782" y="309918"/>
                    <a:pt x="39532" y="315866"/>
                    <a:pt x="34692" y="322520"/>
                  </a:cubicBezTo>
                  <a:cubicBezTo>
                    <a:pt x="29853" y="329174"/>
                    <a:pt x="26325" y="336635"/>
                    <a:pt x="25821" y="344398"/>
                  </a:cubicBezTo>
                  <a:cubicBezTo>
                    <a:pt x="25417" y="352060"/>
                    <a:pt x="27837" y="359520"/>
                    <a:pt x="32172" y="365166"/>
                  </a:cubicBezTo>
                  <a:cubicBezTo>
                    <a:pt x="36407" y="370812"/>
                    <a:pt x="43564" y="374239"/>
                    <a:pt x="50218" y="373130"/>
                  </a:cubicBezTo>
                  <a:lnTo>
                    <a:pt x="50017" y="373130"/>
                  </a:lnTo>
                  <a:cubicBezTo>
                    <a:pt x="58687" y="374643"/>
                    <a:pt x="64635" y="373332"/>
                    <a:pt x="69777" y="371316"/>
                  </a:cubicBezTo>
                  <a:lnTo>
                    <a:pt x="68668" y="370812"/>
                  </a:lnTo>
                  <a:cubicBezTo>
                    <a:pt x="74213" y="394504"/>
                    <a:pt x="73709" y="411441"/>
                    <a:pt x="72600" y="425253"/>
                  </a:cubicBezTo>
                  <a:lnTo>
                    <a:pt x="72902" y="424749"/>
                  </a:lnTo>
                  <a:cubicBezTo>
                    <a:pt x="63526" y="428681"/>
                    <a:pt x="55360" y="432512"/>
                    <a:pt x="49513" y="437250"/>
                  </a:cubicBezTo>
                  <a:cubicBezTo>
                    <a:pt x="43564" y="441888"/>
                    <a:pt x="39834" y="447130"/>
                    <a:pt x="38019" y="451667"/>
                  </a:cubicBezTo>
                  <a:cubicBezTo>
                    <a:pt x="36205" y="456204"/>
                    <a:pt x="36003" y="460035"/>
                    <a:pt x="36104" y="462354"/>
                  </a:cubicBezTo>
                  <a:cubicBezTo>
                    <a:pt x="36205" y="464471"/>
                    <a:pt x="36507" y="465580"/>
                    <a:pt x="36507" y="465580"/>
                  </a:cubicBezTo>
                  <a:cubicBezTo>
                    <a:pt x="36910" y="465681"/>
                    <a:pt x="34894" y="460640"/>
                    <a:pt x="38524" y="451566"/>
                  </a:cubicBezTo>
                  <a:cubicBezTo>
                    <a:pt x="40439" y="447130"/>
                    <a:pt x="44169" y="442089"/>
                    <a:pt x="50017" y="437553"/>
                  </a:cubicBezTo>
                  <a:cubicBezTo>
                    <a:pt x="55864" y="433016"/>
                    <a:pt x="63929" y="429286"/>
                    <a:pt x="73306" y="425455"/>
                  </a:cubicBezTo>
                  <a:lnTo>
                    <a:pt x="73608" y="425354"/>
                  </a:lnTo>
                  <a:lnTo>
                    <a:pt x="73608" y="425051"/>
                  </a:lnTo>
                  <a:cubicBezTo>
                    <a:pt x="74818" y="411139"/>
                    <a:pt x="75423" y="394100"/>
                    <a:pt x="70079" y="370106"/>
                  </a:cubicBezTo>
                  <a:lnTo>
                    <a:pt x="69878" y="369199"/>
                  </a:lnTo>
                  <a:lnTo>
                    <a:pt x="68970" y="369501"/>
                  </a:lnTo>
                  <a:cubicBezTo>
                    <a:pt x="64131" y="371417"/>
                    <a:pt x="58385" y="372626"/>
                    <a:pt x="50218" y="371114"/>
                  </a:cubicBezTo>
                  <a:lnTo>
                    <a:pt x="50017" y="371114"/>
                  </a:lnTo>
                  <a:lnTo>
                    <a:pt x="49916" y="371114"/>
                  </a:lnTo>
                  <a:cubicBezTo>
                    <a:pt x="43867" y="372122"/>
                    <a:pt x="37515" y="368997"/>
                    <a:pt x="33483" y="363754"/>
                  </a:cubicBezTo>
                  <a:cubicBezTo>
                    <a:pt x="29450" y="358512"/>
                    <a:pt x="27232" y="351455"/>
                    <a:pt x="27635" y="344196"/>
                  </a:cubicBezTo>
                  <a:cubicBezTo>
                    <a:pt x="28139" y="337038"/>
                    <a:pt x="31567" y="329779"/>
                    <a:pt x="36205" y="323428"/>
                  </a:cubicBezTo>
                  <a:cubicBezTo>
                    <a:pt x="40943" y="316975"/>
                    <a:pt x="47093" y="311128"/>
                    <a:pt x="53545" y="305180"/>
                  </a:cubicBezTo>
                  <a:lnTo>
                    <a:pt x="58687" y="300441"/>
                  </a:lnTo>
                  <a:lnTo>
                    <a:pt x="52336" y="303365"/>
                  </a:lnTo>
                  <a:cubicBezTo>
                    <a:pt x="45682" y="306389"/>
                    <a:pt x="40842" y="312035"/>
                    <a:pt x="35902" y="317076"/>
                  </a:cubicBezTo>
                  <a:cubicBezTo>
                    <a:pt x="33382" y="319596"/>
                    <a:pt x="30862" y="322218"/>
                    <a:pt x="27938" y="324133"/>
                  </a:cubicBezTo>
                  <a:cubicBezTo>
                    <a:pt x="25014" y="326049"/>
                    <a:pt x="21586" y="327259"/>
                    <a:pt x="17957" y="327763"/>
                  </a:cubicBezTo>
                  <a:cubicBezTo>
                    <a:pt x="14428" y="328166"/>
                    <a:pt x="10698" y="327763"/>
                    <a:pt x="7875" y="325646"/>
                  </a:cubicBezTo>
                  <a:cubicBezTo>
                    <a:pt x="4951" y="323629"/>
                    <a:pt x="3842" y="320101"/>
                    <a:pt x="3641" y="316269"/>
                  </a:cubicBezTo>
                  <a:cubicBezTo>
                    <a:pt x="3238" y="308406"/>
                    <a:pt x="2733" y="300340"/>
                    <a:pt x="2229" y="292174"/>
                  </a:cubicBezTo>
                  <a:cubicBezTo>
                    <a:pt x="2129" y="288242"/>
                    <a:pt x="2733" y="284109"/>
                    <a:pt x="5556" y="281588"/>
                  </a:cubicBezTo>
                  <a:cubicBezTo>
                    <a:pt x="8178" y="279068"/>
                    <a:pt x="12815" y="277757"/>
                    <a:pt x="15940" y="274128"/>
                  </a:cubicBezTo>
                  <a:cubicBezTo>
                    <a:pt x="22292" y="267373"/>
                    <a:pt x="23804" y="257997"/>
                    <a:pt x="29148" y="251343"/>
                  </a:cubicBezTo>
                  <a:cubicBezTo>
                    <a:pt x="34289" y="244185"/>
                    <a:pt x="44069" y="243883"/>
                    <a:pt x="53243" y="243177"/>
                  </a:cubicBezTo>
                  <a:cubicBezTo>
                    <a:pt x="57881" y="242874"/>
                    <a:pt x="63022" y="241665"/>
                    <a:pt x="67257" y="239043"/>
                  </a:cubicBezTo>
                  <a:cubicBezTo>
                    <a:pt x="71491" y="236624"/>
                    <a:pt x="75624" y="231885"/>
                    <a:pt x="75322" y="226139"/>
                  </a:cubicBezTo>
                  <a:lnTo>
                    <a:pt x="75221" y="224929"/>
                  </a:lnTo>
                  <a:lnTo>
                    <a:pt x="74112" y="224727"/>
                  </a:lnTo>
                  <a:cubicBezTo>
                    <a:pt x="63728" y="222812"/>
                    <a:pt x="53041" y="220896"/>
                    <a:pt x="43766" y="215553"/>
                  </a:cubicBezTo>
                  <a:cubicBezTo>
                    <a:pt x="34592" y="210512"/>
                    <a:pt x="27635" y="200430"/>
                    <a:pt x="28039" y="189643"/>
                  </a:cubicBezTo>
                  <a:cubicBezTo>
                    <a:pt x="28240" y="184300"/>
                    <a:pt x="30962" y="179360"/>
                    <a:pt x="35197" y="175932"/>
                  </a:cubicBezTo>
                  <a:cubicBezTo>
                    <a:pt x="39431" y="172403"/>
                    <a:pt x="44774" y="170185"/>
                    <a:pt x="50218" y="168270"/>
                  </a:cubicBezTo>
                  <a:cubicBezTo>
                    <a:pt x="55763" y="166354"/>
                    <a:pt x="61308" y="164539"/>
                    <a:pt x="67055" y="164136"/>
                  </a:cubicBezTo>
                  <a:cubicBezTo>
                    <a:pt x="72701" y="163632"/>
                    <a:pt x="78750" y="164842"/>
                    <a:pt x="81976" y="169379"/>
                  </a:cubicBezTo>
                  <a:lnTo>
                    <a:pt x="82984" y="170790"/>
                  </a:lnTo>
                  <a:lnTo>
                    <a:pt x="84395" y="169681"/>
                  </a:lnTo>
                  <a:cubicBezTo>
                    <a:pt x="95183" y="161112"/>
                    <a:pt x="114540" y="163934"/>
                    <a:pt x="122404" y="177444"/>
                  </a:cubicBezTo>
                  <a:lnTo>
                    <a:pt x="123210" y="178855"/>
                  </a:lnTo>
                  <a:lnTo>
                    <a:pt x="124722" y="178150"/>
                  </a:lnTo>
                  <a:cubicBezTo>
                    <a:pt x="132788" y="174016"/>
                    <a:pt x="140954" y="169883"/>
                    <a:pt x="149927" y="165447"/>
                  </a:cubicBezTo>
                  <a:lnTo>
                    <a:pt x="153153" y="163834"/>
                  </a:lnTo>
                  <a:lnTo>
                    <a:pt x="149927" y="162321"/>
                  </a:lnTo>
                  <a:cubicBezTo>
                    <a:pt x="143676" y="159297"/>
                    <a:pt x="137123" y="157785"/>
                    <a:pt x="130771" y="155869"/>
                  </a:cubicBezTo>
                  <a:cubicBezTo>
                    <a:pt x="124622" y="153954"/>
                    <a:pt x="118069" y="151635"/>
                    <a:pt x="114036" y="146997"/>
                  </a:cubicBezTo>
                  <a:cubicBezTo>
                    <a:pt x="109902" y="142360"/>
                    <a:pt x="107382" y="135605"/>
                    <a:pt x="109096" y="129858"/>
                  </a:cubicBezTo>
                  <a:cubicBezTo>
                    <a:pt x="110003" y="127035"/>
                    <a:pt x="112019" y="124817"/>
                    <a:pt x="114943" y="123708"/>
                  </a:cubicBezTo>
                  <a:cubicBezTo>
                    <a:pt x="117766" y="122398"/>
                    <a:pt x="121698" y="121793"/>
                    <a:pt x="124823" y="118768"/>
                  </a:cubicBezTo>
                  <a:cubicBezTo>
                    <a:pt x="127646" y="115744"/>
                    <a:pt x="128957" y="112719"/>
                    <a:pt x="131477" y="112619"/>
                  </a:cubicBezTo>
                  <a:cubicBezTo>
                    <a:pt x="134099" y="112417"/>
                    <a:pt x="137930" y="113627"/>
                    <a:pt x="141256" y="114232"/>
                  </a:cubicBezTo>
                  <a:cubicBezTo>
                    <a:pt x="148213" y="115744"/>
                    <a:pt x="155169" y="117256"/>
                    <a:pt x="162226" y="118668"/>
                  </a:cubicBezTo>
                  <a:cubicBezTo>
                    <a:pt x="176240" y="121692"/>
                    <a:pt x="190556" y="124717"/>
                    <a:pt x="205074" y="127842"/>
                  </a:cubicBezTo>
                  <a:lnTo>
                    <a:pt x="211325" y="129153"/>
                  </a:lnTo>
                  <a:lnTo>
                    <a:pt x="206889" y="124616"/>
                  </a:lnTo>
                  <a:cubicBezTo>
                    <a:pt x="200537" y="118063"/>
                    <a:pt x="194085" y="111409"/>
                    <a:pt x="187532" y="104755"/>
                  </a:cubicBezTo>
                  <a:cubicBezTo>
                    <a:pt x="181079" y="98000"/>
                    <a:pt x="174022" y="91749"/>
                    <a:pt x="169385" y="83986"/>
                  </a:cubicBezTo>
                  <a:cubicBezTo>
                    <a:pt x="167167" y="80155"/>
                    <a:pt x="165352" y="75820"/>
                    <a:pt x="165654" y="71687"/>
                  </a:cubicBezTo>
                  <a:cubicBezTo>
                    <a:pt x="165755" y="67553"/>
                    <a:pt x="168275" y="63621"/>
                    <a:pt x="171804" y="61807"/>
                  </a:cubicBezTo>
                  <a:cubicBezTo>
                    <a:pt x="179365" y="58278"/>
                    <a:pt x="189951" y="62311"/>
                    <a:pt x="194488" y="69670"/>
                  </a:cubicBezTo>
                  <a:lnTo>
                    <a:pt x="195698" y="71586"/>
                  </a:lnTo>
                  <a:lnTo>
                    <a:pt x="197412" y="70275"/>
                  </a:lnTo>
                  <a:cubicBezTo>
                    <a:pt x="205074" y="64327"/>
                    <a:pt x="218886" y="67956"/>
                    <a:pt x="222616" y="77534"/>
                  </a:cubicBezTo>
                  <a:lnTo>
                    <a:pt x="223725" y="80357"/>
                  </a:lnTo>
                  <a:lnTo>
                    <a:pt x="225943" y="78240"/>
                  </a:lnTo>
                  <a:cubicBezTo>
                    <a:pt x="231286" y="73199"/>
                    <a:pt x="240360" y="72191"/>
                    <a:pt x="246812" y="76022"/>
                  </a:cubicBezTo>
                  <a:cubicBezTo>
                    <a:pt x="253264" y="79752"/>
                    <a:pt x="256793" y="88422"/>
                    <a:pt x="254777" y="95782"/>
                  </a:cubicBezTo>
                  <a:lnTo>
                    <a:pt x="253668" y="99714"/>
                  </a:lnTo>
                  <a:lnTo>
                    <a:pt x="257499" y="98302"/>
                  </a:lnTo>
                  <a:cubicBezTo>
                    <a:pt x="266371" y="95076"/>
                    <a:pt x="276150" y="94270"/>
                    <a:pt x="285828" y="96084"/>
                  </a:cubicBezTo>
                  <a:lnTo>
                    <a:pt x="289760" y="96891"/>
                  </a:lnTo>
                  <a:lnTo>
                    <a:pt x="288147" y="93262"/>
                  </a:lnTo>
                  <a:cubicBezTo>
                    <a:pt x="283913" y="83583"/>
                    <a:pt x="296818" y="70678"/>
                    <a:pt x="306799" y="75114"/>
                  </a:cubicBezTo>
                  <a:lnTo>
                    <a:pt x="311134" y="77030"/>
                  </a:lnTo>
                  <a:lnTo>
                    <a:pt x="309622" y="72493"/>
                  </a:lnTo>
                  <a:cubicBezTo>
                    <a:pt x="307807" y="67049"/>
                    <a:pt x="306193" y="61504"/>
                    <a:pt x="307605" y="56564"/>
                  </a:cubicBezTo>
                  <a:cubicBezTo>
                    <a:pt x="308714" y="52027"/>
                    <a:pt x="314561" y="48196"/>
                    <a:pt x="318191" y="50515"/>
                  </a:cubicBezTo>
                  <a:lnTo>
                    <a:pt x="326559" y="55758"/>
                  </a:lnTo>
                  <a:lnTo>
                    <a:pt x="321115" y="47490"/>
                  </a:lnTo>
                  <a:cubicBezTo>
                    <a:pt x="317183" y="41542"/>
                    <a:pt x="317485" y="32771"/>
                    <a:pt x="321820" y="26924"/>
                  </a:cubicBezTo>
                  <a:cubicBezTo>
                    <a:pt x="326155" y="21177"/>
                    <a:pt x="334725" y="18455"/>
                    <a:pt x="341681" y="20875"/>
                  </a:cubicBezTo>
                  <a:lnTo>
                    <a:pt x="343698" y="21580"/>
                  </a:lnTo>
                  <a:lnTo>
                    <a:pt x="344403" y="19564"/>
                  </a:lnTo>
                  <a:cubicBezTo>
                    <a:pt x="346016" y="14725"/>
                    <a:pt x="347630" y="9886"/>
                    <a:pt x="349243" y="5046"/>
                  </a:cubicBezTo>
                  <a:lnTo>
                    <a:pt x="348033" y="6357"/>
                  </a:lnTo>
                  <a:cubicBezTo>
                    <a:pt x="356300" y="2828"/>
                    <a:pt x="367087" y="2627"/>
                    <a:pt x="373640" y="8777"/>
                  </a:cubicBezTo>
                  <a:cubicBezTo>
                    <a:pt x="379891" y="14322"/>
                    <a:pt x="378782" y="27730"/>
                    <a:pt x="370616" y="30049"/>
                  </a:cubicBezTo>
                  <a:lnTo>
                    <a:pt x="372027" y="34183"/>
                  </a:lnTo>
                  <a:cubicBezTo>
                    <a:pt x="373338" y="33779"/>
                    <a:pt x="373943" y="33880"/>
                    <a:pt x="374951" y="35090"/>
                  </a:cubicBezTo>
                  <a:cubicBezTo>
                    <a:pt x="375858" y="36199"/>
                    <a:pt x="376363" y="38115"/>
                    <a:pt x="376665" y="39828"/>
                  </a:cubicBezTo>
                  <a:cubicBezTo>
                    <a:pt x="377371" y="43559"/>
                    <a:pt x="376463" y="46987"/>
                    <a:pt x="375253" y="51120"/>
                  </a:cubicBezTo>
                  <a:cubicBezTo>
                    <a:pt x="373136" y="59185"/>
                    <a:pt x="371019" y="67150"/>
                    <a:pt x="368902" y="75316"/>
                  </a:cubicBezTo>
                  <a:lnTo>
                    <a:pt x="373035" y="76828"/>
                  </a:lnTo>
                  <a:cubicBezTo>
                    <a:pt x="376766" y="68965"/>
                    <a:pt x="386545" y="63521"/>
                    <a:pt x="395014" y="65940"/>
                  </a:cubicBezTo>
                  <a:lnTo>
                    <a:pt x="397030" y="66545"/>
                  </a:lnTo>
                  <a:lnTo>
                    <a:pt x="397736" y="64630"/>
                  </a:lnTo>
                  <a:cubicBezTo>
                    <a:pt x="400357" y="57270"/>
                    <a:pt x="410741" y="53338"/>
                    <a:pt x="417698" y="57169"/>
                  </a:cubicBezTo>
                  <a:lnTo>
                    <a:pt x="420823" y="58883"/>
                  </a:lnTo>
                  <a:lnTo>
                    <a:pt x="421025" y="55455"/>
                  </a:lnTo>
                  <a:cubicBezTo>
                    <a:pt x="421428" y="46583"/>
                    <a:pt x="437558" y="43256"/>
                    <a:pt x="441490" y="51322"/>
                  </a:cubicBezTo>
                  <a:lnTo>
                    <a:pt x="446430" y="61303"/>
                  </a:lnTo>
                  <a:lnTo>
                    <a:pt x="445725" y="50213"/>
                  </a:lnTo>
                  <a:cubicBezTo>
                    <a:pt x="445523" y="47289"/>
                    <a:pt x="449858" y="44869"/>
                    <a:pt x="453992" y="43861"/>
                  </a:cubicBezTo>
                  <a:cubicBezTo>
                    <a:pt x="458428" y="42651"/>
                    <a:pt x="462965" y="41542"/>
                    <a:pt x="467199" y="41542"/>
                  </a:cubicBezTo>
                  <a:cubicBezTo>
                    <a:pt x="471534" y="41542"/>
                    <a:pt x="475567" y="42853"/>
                    <a:pt x="477785" y="46180"/>
                  </a:cubicBezTo>
                  <a:cubicBezTo>
                    <a:pt x="480103" y="49406"/>
                    <a:pt x="480608" y="54044"/>
                    <a:pt x="477986" y="56161"/>
                  </a:cubicBezTo>
                  <a:lnTo>
                    <a:pt x="481212" y="59286"/>
                  </a:lnTo>
                  <a:cubicBezTo>
                    <a:pt x="483430" y="56463"/>
                    <a:pt x="488673" y="57270"/>
                    <a:pt x="491698" y="60093"/>
                  </a:cubicBezTo>
                  <a:cubicBezTo>
                    <a:pt x="494823" y="62714"/>
                    <a:pt x="495428" y="67654"/>
                    <a:pt x="494420" y="72191"/>
                  </a:cubicBezTo>
                  <a:cubicBezTo>
                    <a:pt x="492705" y="81567"/>
                    <a:pt x="484539" y="89330"/>
                    <a:pt x="483027" y="100924"/>
                  </a:cubicBezTo>
                  <a:lnTo>
                    <a:pt x="481616" y="111913"/>
                  </a:lnTo>
                  <a:lnTo>
                    <a:pt x="487262" y="102234"/>
                  </a:lnTo>
                  <a:cubicBezTo>
                    <a:pt x="491496" y="94975"/>
                    <a:pt x="501880" y="92858"/>
                    <a:pt x="510651" y="89632"/>
                  </a:cubicBezTo>
                  <a:cubicBezTo>
                    <a:pt x="519624" y="86708"/>
                    <a:pt x="529000" y="84591"/>
                    <a:pt x="538073" y="86003"/>
                  </a:cubicBezTo>
                  <a:lnTo>
                    <a:pt x="540695" y="86406"/>
                  </a:lnTo>
                  <a:lnTo>
                    <a:pt x="540695" y="83886"/>
                  </a:lnTo>
                  <a:cubicBezTo>
                    <a:pt x="540695" y="80458"/>
                    <a:pt x="545534" y="78038"/>
                    <a:pt x="550071" y="77332"/>
                  </a:cubicBezTo>
                  <a:cubicBezTo>
                    <a:pt x="554910" y="76526"/>
                    <a:pt x="559951" y="76123"/>
                    <a:pt x="564891" y="76123"/>
                  </a:cubicBezTo>
                  <a:cubicBezTo>
                    <a:pt x="574872" y="76223"/>
                    <a:pt x="584853" y="78240"/>
                    <a:pt x="594128" y="81869"/>
                  </a:cubicBezTo>
                  <a:cubicBezTo>
                    <a:pt x="598866" y="83684"/>
                    <a:pt x="603202" y="85902"/>
                    <a:pt x="606427" y="89330"/>
                  </a:cubicBezTo>
                  <a:cubicBezTo>
                    <a:pt x="609755" y="92657"/>
                    <a:pt x="611065" y="96992"/>
                    <a:pt x="608948" y="100924"/>
                  </a:cubicBezTo>
                  <a:cubicBezTo>
                    <a:pt x="606932" y="104856"/>
                    <a:pt x="603202" y="108989"/>
                    <a:pt x="600177" y="113123"/>
                  </a:cubicBezTo>
                  <a:lnTo>
                    <a:pt x="590801" y="125523"/>
                  </a:lnTo>
                  <a:cubicBezTo>
                    <a:pt x="586567" y="131169"/>
                    <a:pt x="582332" y="136714"/>
                    <a:pt x="578400" y="141855"/>
                  </a:cubicBezTo>
                  <a:lnTo>
                    <a:pt x="575376" y="145787"/>
                  </a:lnTo>
                  <a:lnTo>
                    <a:pt x="580316" y="145485"/>
                  </a:lnTo>
                  <a:cubicBezTo>
                    <a:pt x="602092" y="143973"/>
                    <a:pt x="623970" y="150123"/>
                    <a:pt x="640907" y="160809"/>
                  </a:cubicBezTo>
                  <a:lnTo>
                    <a:pt x="641310" y="161112"/>
                  </a:lnTo>
                  <a:lnTo>
                    <a:pt x="641713" y="161212"/>
                  </a:lnTo>
                  <a:cubicBezTo>
                    <a:pt x="651291" y="162624"/>
                    <a:pt x="660163" y="159700"/>
                    <a:pt x="667624" y="162120"/>
                  </a:cubicBezTo>
                  <a:cubicBezTo>
                    <a:pt x="670850" y="163128"/>
                    <a:pt x="673572" y="166354"/>
                    <a:pt x="674681" y="169681"/>
                  </a:cubicBezTo>
                  <a:cubicBezTo>
                    <a:pt x="675891" y="173109"/>
                    <a:pt x="675185" y="176537"/>
                    <a:pt x="672463" y="177444"/>
                  </a:cubicBezTo>
                  <a:lnTo>
                    <a:pt x="665708" y="179662"/>
                  </a:lnTo>
                  <a:lnTo>
                    <a:pt x="672664" y="181779"/>
                  </a:lnTo>
                  <a:cubicBezTo>
                    <a:pt x="676798" y="182989"/>
                    <a:pt x="680226" y="186618"/>
                    <a:pt x="681536" y="190651"/>
                  </a:cubicBezTo>
                  <a:cubicBezTo>
                    <a:pt x="682948" y="194785"/>
                    <a:pt x="682040" y="199019"/>
                    <a:pt x="679419" y="202346"/>
                  </a:cubicBezTo>
                  <a:lnTo>
                    <a:pt x="679117" y="202749"/>
                  </a:lnTo>
                  <a:lnTo>
                    <a:pt x="679016" y="203253"/>
                  </a:lnTo>
                  <a:cubicBezTo>
                    <a:pt x="677907" y="208798"/>
                    <a:pt x="674177" y="213335"/>
                    <a:pt x="670043" y="216561"/>
                  </a:cubicBezTo>
                  <a:lnTo>
                    <a:pt x="669438" y="216965"/>
                  </a:lnTo>
                  <a:lnTo>
                    <a:pt x="669237" y="217670"/>
                  </a:lnTo>
                  <a:cubicBezTo>
                    <a:pt x="667624" y="223417"/>
                    <a:pt x="662785" y="228155"/>
                    <a:pt x="657744" y="229567"/>
                  </a:cubicBezTo>
                  <a:lnTo>
                    <a:pt x="651190" y="231381"/>
                  </a:lnTo>
                  <a:lnTo>
                    <a:pt x="657542" y="233801"/>
                  </a:lnTo>
                  <a:cubicBezTo>
                    <a:pt x="668128" y="237834"/>
                    <a:pt x="678512" y="242874"/>
                    <a:pt x="685569" y="250940"/>
                  </a:cubicBezTo>
                  <a:cubicBezTo>
                    <a:pt x="692525" y="258804"/>
                    <a:pt x="696256" y="269994"/>
                    <a:pt x="692727" y="278967"/>
                  </a:cubicBezTo>
                  <a:lnTo>
                    <a:pt x="692525" y="279471"/>
                  </a:lnTo>
                  <a:lnTo>
                    <a:pt x="692626" y="280076"/>
                  </a:lnTo>
                  <a:cubicBezTo>
                    <a:pt x="693231" y="284008"/>
                    <a:pt x="692223" y="288242"/>
                    <a:pt x="690106" y="290863"/>
                  </a:cubicBezTo>
                  <a:lnTo>
                    <a:pt x="688795" y="292477"/>
                  </a:lnTo>
                  <a:lnTo>
                    <a:pt x="690308" y="293888"/>
                  </a:lnTo>
                  <a:cubicBezTo>
                    <a:pt x="692425" y="295804"/>
                    <a:pt x="693836" y="298324"/>
                    <a:pt x="694240" y="300744"/>
                  </a:cubicBezTo>
                  <a:lnTo>
                    <a:pt x="694542" y="302659"/>
                  </a:lnTo>
                  <a:lnTo>
                    <a:pt x="696458" y="302659"/>
                  </a:lnTo>
                  <a:cubicBezTo>
                    <a:pt x="705531" y="302558"/>
                    <a:pt x="714504" y="306389"/>
                    <a:pt x="720956" y="312539"/>
                  </a:cubicBezTo>
                  <a:cubicBezTo>
                    <a:pt x="727610" y="318689"/>
                    <a:pt x="731340" y="327359"/>
                    <a:pt x="731542" y="336231"/>
                  </a:cubicBezTo>
                  <a:cubicBezTo>
                    <a:pt x="731844" y="344902"/>
                    <a:pt x="729021" y="354278"/>
                    <a:pt x="723275" y="360024"/>
                  </a:cubicBezTo>
                  <a:cubicBezTo>
                    <a:pt x="720250" y="362746"/>
                    <a:pt x="716419" y="364763"/>
                    <a:pt x="712487" y="365267"/>
                  </a:cubicBezTo>
                  <a:cubicBezTo>
                    <a:pt x="708555" y="365872"/>
                    <a:pt x="705027" y="364561"/>
                    <a:pt x="703515" y="361335"/>
                  </a:cubicBezTo>
                  <a:lnTo>
                    <a:pt x="699986" y="353572"/>
                  </a:lnTo>
                  <a:lnTo>
                    <a:pt x="699381" y="362141"/>
                  </a:lnTo>
                  <a:cubicBezTo>
                    <a:pt x="698776" y="371215"/>
                    <a:pt x="692828" y="379482"/>
                    <a:pt x="685771" y="383212"/>
                  </a:cubicBezTo>
                  <a:lnTo>
                    <a:pt x="682948" y="384725"/>
                  </a:lnTo>
                  <a:lnTo>
                    <a:pt x="685468" y="386842"/>
                  </a:lnTo>
                  <a:cubicBezTo>
                    <a:pt x="697062" y="396419"/>
                    <a:pt x="696054" y="416583"/>
                    <a:pt x="685670" y="424850"/>
                  </a:cubicBezTo>
                  <a:lnTo>
                    <a:pt x="682545" y="427269"/>
                  </a:lnTo>
                  <a:lnTo>
                    <a:pt x="686376" y="428479"/>
                  </a:lnTo>
                  <a:cubicBezTo>
                    <a:pt x="695348" y="431403"/>
                    <a:pt x="701196" y="440577"/>
                    <a:pt x="702607" y="449651"/>
                  </a:cubicBezTo>
                  <a:cubicBezTo>
                    <a:pt x="704119" y="458825"/>
                    <a:pt x="701196" y="468504"/>
                    <a:pt x="694542" y="473746"/>
                  </a:cubicBezTo>
                  <a:lnTo>
                    <a:pt x="692828" y="475158"/>
                  </a:lnTo>
                  <a:lnTo>
                    <a:pt x="694240" y="476872"/>
                  </a:lnTo>
                  <a:cubicBezTo>
                    <a:pt x="701498" y="485441"/>
                    <a:pt x="699784" y="500261"/>
                    <a:pt x="691114" y="506713"/>
                  </a:cubicBezTo>
                  <a:cubicBezTo>
                    <a:pt x="682444" y="513367"/>
                    <a:pt x="668833" y="511351"/>
                    <a:pt x="662482" y="503689"/>
                  </a:cubicBezTo>
                  <a:lnTo>
                    <a:pt x="659357" y="499858"/>
                  </a:lnTo>
                  <a:lnTo>
                    <a:pt x="658853" y="504798"/>
                  </a:lnTo>
                  <a:cubicBezTo>
                    <a:pt x="657844" y="514174"/>
                    <a:pt x="656433" y="523852"/>
                    <a:pt x="650686" y="530305"/>
                  </a:cubicBezTo>
                  <a:cubicBezTo>
                    <a:pt x="645343" y="536454"/>
                    <a:pt x="634556" y="538269"/>
                    <a:pt x="629918" y="532623"/>
                  </a:cubicBezTo>
                  <a:lnTo>
                    <a:pt x="625885" y="527784"/>
                  </a:lnTo>
                  <a:lnTo>
                    <a:pt x="626288" y="534035"/>
                  </a:lnTo>
                  <a:cubicBezTo>
                    <a:pt x="626793" y="543008"/>
                    <a:pt x="621752" y="551678"/>
                    <a:pt x="614795" y="557021"/>
                  </a:cubicBezTo>
                  <a:cubicBezTo>
                    <a:pt x="607839" y="562465"/>
                    <a:pt x="598766" y="564683"/>
                    <a:pt x="591103" y="562566"/>
                  </a:cubicBezTo>
                  <a:lnTo>
                    <a:pt x="587071" y="561457"/>
                  </a:lnTo>
                  <a:lnTo>
                    <a:pt x="588684" y="565288"/>
                  </a:lnTo>
                  <a:cubicBezTo>
                    <a:pt x="592414" y="574059"/>
                    <a:pt x="587575" y="585553"/>
                    <a:pt x="579106" y="589081"/>
                  </a:cubicBezTo>
                  <a:cubicBezTo>
                    <a:pt x="570637" y="592711"/>
                    <a:pt x="559951" y="588678"/>
                    <a:pt x="555817" y="581419"/>
                  </a:cubicBezTo>
                  <a:lnTo>
                    <a:pt x="555011" y="579907"/>
                  </a:lnTo>
                  <a:lnTo>
                    <a:pt x="553398" y="580512"/>
                  </a:lnTo>
                  <a:cubicBezTo>
                    <a:pt x="536763" y="586762"/>
                    <a:pt x="520330" y="592912"/>
                    <a:pt x="504098" y="599062"/>
                  </a:cubicBezTo>
                  <a:cubicBezTo>
                    <a:pt x="487967" y="605313"/>
                    <a:pt x="471736" y="610757"/>
                    <a:pt x="455000" y="610454"/>
                  </a:cubicBezTo>
                  <a:cubicBezTo>
                    <a:pt x="446733" y="610354"/>
                    <a:pt x="438466" y="609245"/>
                    <a:pt x="430602" y="607027"/>
                  </a:cubicBezTo>
                  <a:cubicBezTo>
                    <a:pt x="426670" y="606018"/>
                    <a:pt x="422839" y="604305"/>
                    <a:pt x="418303" y="603700"/>
                  </a:cubicBezTo>
                  <a:cubicBezTo>
                    <a:pt x="413766" y="602994"/>
                    <a:pt x="408826" y="604607"/>
                    <a:pt x="405297" y="607027"/>
                  </a:cubicBezTo>
                  <a:cubicBezTo>
                    <a:pt x="398341" y="612168"/>
                    <a:pt x="392392" y="617008"/>
                    <a:pt x="385033" y="620435"/>
                  </a:cubicBezTo>
                  <a:cubicBezTo>
                    <a:pt x="377875" y="623964"/>
                    <a:pt x="370313" y="626283"/>
                    <a:pt x="362551" y="627694"/>
                  </a:cubicBezTo>
                  <a:cubicBezTo>
                    <a:pt x="347126" y="630315"/>
                    <a:pt x="331095" y="628803"/>
                    <a:pt x="317082" y="622956"/>
                  </a:cubicBezTo>
                  <a:cubicBezTo>
                    <a:pt x="313553" y="621544"/>
                    <a:pt x="309823" y="619730"/>
                    <a:pt x="305689" y="619226"/>
                  </a:cubicBezTo>
                  <a:cubicBezTo>
                    <a:pt x="301455" y="618621"/>
                    <a:pt x="297322" y="619730"/>
                    <a:pt x="293591" y="620939"/>
                  </a:cubicBezTo>
                  <a:cubicBezTo>
                    <a:pt x="286332" y="623662"/>
                    <a:pt x="279376" y="626081"/>
                    <a:pt x="272117" y="627795"/>
                  </a:cubicBezTo>
                  <a:cubicBezTo>
                    <a:pt x="264859" y="629509"/>
                    <a:pt x="257600" y="630819"/>
                    <a:pt x="250341" y="631424"/>
                  </a:cubicBezTo>
                  <a:cubicBezTo>
                    <a:pt x="243183" y="632130"/>
                    <a:pt x="235823" y="631928"/>
                    <a:pt x="229371" y="629710"/>
                  </a:cubicBezTo>
                  <a:cubicBezTo>
                    <a:pt x="222818" y="627492"/>
                    <a:pt x="217373" y="622754"/>
                    <a:pt x="216164" y="616100"/>
                  </a:cubicBezTo>
                  <a:cubicBezTo>
                    <a:pt x="214551" y="609849"/>
                    <a:pt x="216869" y="602288"/>
                    <a:pt x="222717" y="600171"/>
                  </a:cubicBezTo>
                  <a:lnTo>
                    <a:pt x="224128" y="599667"/>
                  </a:lnTo>
                  <a:lnTo>
                    <a:pt x="223725" y="598256"/>
                  </a:lnTo>
                  <a:cubicBezTo>
                    <a:pt x="222314" y="592610"/>
                    <a:pt x="219390" y="587166"/>
                    <a:pt x="214651" y="583435"/>
                  </a:cubicBezTo>
                  <a:cubicBezTo>
                    <a:pt x="210115" y="579604"/>
                    <a:pt x="203360" y="578394"/>
                    <a:pt x="197815" y="580512"/>
                  </a:cubicBezTo>
                  <a:cubicBezTo>
                    <a:pt x="192270" y="582226"/>
                    <a:pt x="187532" y="588375"/>
                    <a:pt x="189246" y="594424"/>
                  </a:cubicBezTo>
                  <a:cubicBezTo>
                    <a:pt x="190455" y="599969"/>
                    <a:pt x="195698" y="605212"/>
                    <a:pt x="201948" y="603800"/>
                  </a:cubicBezTo>
                  <a:lnTo>
                    <a:pt x="200335" y="601482"/>
                  </a:lnTo>
                  <a:cubicBezTo>
                    <a:pt x="196504" y="607228"/>
                    <a:pt x="188641" y="608942"/>
                    <a:pt x="182087" y="607329"/>
                  </a:cubicBezTo>
                  <a:cubicBezTo>
                    <a:pt x="175433" y="605817"/>
                    <a:pt x="169385" y="601179"/>
                    <a:pt x="167469" y="594828"/>
                  </a:cubicBezTo>
                  <a:cubicBezTo>
                    <a:pt x="163436" y="581822"/>
                    <a:pt x="172610" y="567708"/>
                    <a:pt x="184104" y="563070"/>
                  </a:cubicBezTo>
                  <a:lnTo>
                    <a:pt x="185818" y="562365"/>
                  </a:lnTo>
                  <a:lnTo>
                    <a:pt x="184709" y="560953"/>
                  </a:lnTo>
                  <a:cubicBezTo>
                    <a:pt x="178055" y="552081"/>
                    <a:pt x="174123" y="541697"/>
                    <a:pt x="172711" y="532220"/>
                  </a:cubicBezTo>
                  <a:lnTo>
                    <a:pt x="171905" y="526474"/>
                  </a:lnTo>
                  <a:lnTo>
                    <a:pt x="170191" y="532019"/>
                  </a:lnTo>
                  <a:cubicBezTo>
                    <a:pt x="166662" y="543411"/>
                    <a:pt x="152951" y="549359"/>
                    <a:pt x="143474" y="546032"/>
                  </a:cubicBezTo>
                  <a:lnTo>
                    <a:pt x="142164" y="545629"/>
                  </a:lnTo>
                  <a:lnTo>
                    <a:pt x="141861" y="547040"/>
                  </a:lnTo>
                  <a:cubicBezTo>
                    <a:pt x="139946" y="555711"/>
                    <a:pt x="136014" y="563877"/>
                    <a:pt x="129864" y="569523"/>
                  </a:cubicBezTo>
                  <a:cubicBezTo>
                    <a:pt x="123815" y="575269"/>
                    <a:pt x="115145" y="577588"/>
                    <a:pt x="107483" y="575975"/>
                  </a:cubicBezTo>
                  <a:cubicBezTo>
                    <a:pt x="99820" y="574563"/>
                    <a:pt x="93267" y="568414"/>
                    <a:pt x="93066" y="560953"/>
                  </a:cubicBezTo>
                  <a:cubicBezTo>
                    <a:pt x="92461" y="553694"/>
                    <a:pt x="96494" y="546133"/>
                    <a:pt x="103047" y="544419"/>
                  </a:cubicBezTo>
                  <a:lnTo>
                    <a:pt x="105063" y="543915"/>
                  </a:lnTo>
                  <a:lnTo>
                    <a:pt x="103450" y="542604"/>
                  </a:lnTo>
                  <a:cubicBezTo>
                    <a:pt x="91856" y="533430"/>
                    <a:pt x="97199" y="512964"/>
                    <a:pt x="109499" y="509637"/>
                  </a:cubicBezTo>
                  <a:lnTo>
                    <a:pt x="110608" y="509335"/>
                  </a:lnTo>
                  <a:lnTo>
                    <a:pt x="110003" y="508326"/>
                  </a:lnTo>
                  <a:cubicBezTo>
                    <a:pt x="102341" y="494918"/>
                    <a:pt x="106676" y="478384"/>
                    <a:pt x="115750" y="470318"/>
                  </a:cubicBezTo>
                  <a:lnTo>
                    <a:pt x="114641" y="469310"/>
                  </a:lnTo>
                  <a:cubicBezTo>
                    <a:pt x="107987" y="477678"/>
                    <a:pt x="94679" y="476166"/>
                    <a:pt x="89840" y="469411"/>
                  </a:cubicBezTo>
                  <a:lnTo>
                    <a:pt x="89033" y="468201"/>
                  </a:lnTo>
                  <a:lnTo>
                    <a:pt x="88731" y="469613"/>
                  </a:lnTo>
                  <a:cubicBezTo>
                    <a:pt x="87722" y="474956"/>
                    <a:pt x="83488" y="478686"/>
                    <a:pt x="79254" y="480602"/>
                  </a:cubicBezTo>
                  <a:cubicBezTo>
                    <a:pt x="74818" y="482618"/>
                    <a:pt x="70281" y="483223"/>
                    <a:pt x="66147" y="483425"/>
                  </a:cubicBezTo>
                  <a:cubicBezTo>
                    <a:pt x="57780" y="483525"/>
                    <a:pt x="50722" y="481711"/>
                    <a:pt x="45883" y="478888"/>
                  </a:cubicBezTo>
                  <a:cubicBezTo>
                    <a:pt x="40943" y="476065"/>
                    <a:pt x="38725" y="472133"/>
                    <a:pt x="37717" y="469512"/>
                  </a:cubicBezTo>
                  <a:cubicBezTo>
                    <a:pt x="36810" y="467092"/>
                    <a:pt x="36608" y="465580"/>
                    <a:pt x="36507" y="465580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4080F6E0-5C81-4BA8-A8DE-3BA622E793FE}"/>
                </a:ext>
              </a:extLst>
            </p:cNvPr>
            <p:cNvSpPr/>
            <p:nvPr/>
          </p:nvSpPr>
          <p:spPr>
            <a:xfrm>
              <a:off x="10645021" y="3115317"/>
              <a:ext cx="439790" cy="623184"/>
            </a:xfrm>
            <a:custGeom>
              <a:avLst/>
              <a:gdLst>
                <a:gd name="connsiteX0" fmla="*/ 439790 w 439790"/>
                <a:gd name="connsiteY0" fmla="*/ 479409 h 623184"/>
                <a:gd name="connsiteX1" fmla="*/ 319818 w 439790"/>
                <a:gd name="connsiteY1" fmla="*/ 133202 h 623184"/>
                <a:gd name="connsiteX2" fmla="*/ 119292 w 439790"/>
                <a:gd name="connsiteY2" fmla="*/ 8088 h 623184"/>
                <a:gd name="connsiteX3" fmla="*/ 110824 w 439790"/>
                <a:gd name="connsiteY3" fmla="*/ 11516 h 623184"/>
                <a:gd name="connsiteX4" fmla="*/ 7889 w 439790"/>
                <a:gd name="connsiteY4" fmla="*/ 226962 h 623184"/>
                <a:gd name="connsiteX5" fmla="*/ 79268 w 439790"/>
                <a:gd name="connsiteY5" fmla="*/ 440393 h 623184"/>
                <a:gd name="connsiteX6" fmla="*/ 208515 w 439790"/>
                <a:gd name="connsiteY6" fmla="*/ 506327 h 623184"/>
                <a:gd name="connsiteX7" fmla="*/ 225151 w 439790"/>
                <a:gd name="connsiteY7" fmla="*/ 553106 h 623184"/>
                <a:gd name="connsiteX8" fmla="*/ 225151 w 439790"/>
                <a:gd name="connsiteY8" fmla="*/ 553106 h 623184"/>
                <a:gd name="connsiteX9" fmla="*/ 308728 w 439790"/>
                <a:gd name="connsiteY9" fmla="*/ 619948 h 623184"/>
                <a:gd name="connsiteX10" fmla="*/ 439790 w 439790"/>
                <a:gd name="connsiteY10" fmla="*/ 479409 h 62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9790" h="623184">
                  <a:moveTo>
                    <a:pt x="439790" y="479409"/>
                  </a:moveTo>
                  <a:lnTo>
                    <a:pt x="319818" y="133202"/>
                  </a:lnTo>
                  <a:cubicBezTo>
                    <a:pt x="291287" y="38938"/>
                    <a:pt x="212750" y="-22964"/>
                    <a:pt x="119292" y="8088"/>
                  </a:cubicBezTo>
                  <a:lnTo>
                    <a:pt x="110824" y="11516"/>
                  </a:lnTo>
                  <a:cubicBezTo>
                    <a:pt x="25633" y="45491"/>
                    <a:pt x="-19231" y="139251"/>
                    <a:pt x="7889" y="226962"/>
                  </a:cubicBezTo>
                  <a:cubicBezTo>
                    <a:pt x="32993" y="308524"/>
                    <a:pt x="61826" y="398251"/>
                    <a:pt x="79268" y="440393"/>
                  </a:cubicBezTo>
                  <a:cubicBezTo>
                    <a:pt x="115360" y="527700"/>
                    <a:pt x="208515" y="506327"/>
                    <a:pt x="208515" y="506327"/>
                  </a:cubicBezTo>
                  <a:cubicBezTo>
                    <a:pt x="208717" y="506226"/>
                    <a:pt x="216077" y="526894"/>
                    <a:pt x="225151" y="553106"/>
                  </a:cubicBezTo>
                  <a:lnTo>
                    <a:pt x="225151" y="553106"/>
                  </a:lnTo>
                  <a:cubicBezTo>
                    <a:pt x="225151" y="553106"/>
                    <a:pt x="240071" y="640918"/>
                    <a:pt x="308728" y="619948"/>
                  </a:cubicBezTo>
                  <a:cubicBezTo>
                    <a:pt x="377485" y="598777"/>
                    <a:pt x="439790" y="479409"/>
                    <a:pt x="439790" y="479409"/>
                  </a:cubicBez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14137AAD-6792-4B4E-B982-174707ECCA1A}"/>
                </a:ext>
              </a:extLst>
            </p:cNvPr>
            <p:cNvSpPr/>
            <p:nvPr/>
          </p:nvSpPr>
          <p:spPr>
            <a:xfrm>
              <a:off x="10853033" y="3542402"/>
              <a:ext cx="100716" cy="104648"/>
            </a:xfrm>
            <a:custGeom>
              <a:avLst/>
              <a:gdLst>
                <a:gd name="connsiteX0" fmla="*/ 0 w 100716"/>
                <a:gd name="connsiteY0" fmla="*/ 79343 h 104648"/>
                <a:gd name="connsiteX1" fmla="*/ 100716 w 100716"/>
                <a:gd name="connsiteY1" fmla="*/ 0 h 104648"/>
                <a:gd name="connsiteX2" fmla="*/ 9678 w 100716"/>
                <a:gd name="connsiteY2" fmla="*/ 104648 h 104648"/>
                <a:gd name="connsiteX3" fmla="*/ 0 w 100716"/>
                <a:gd name="connsiteY3" fmla="*/ 79343 h 104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716" h="104648">
                  <a:moveTo>
                    <a:pt x="0" y="79343"/>
                  </a:moveTo>
                  <a:cubicBezTo>
                    <a:pt x="0" y="79343"/>
                    <a:pt x="56559" y="60490"/>
                    <a:pt x="100716" y="0"/>
                  </a:cubicBezTo>
                  <a:cubicBezTo>
                    <a:pt x="100716" y="0"/>
                    <a:pt x="100414" y="77629"/>
                    <a:pt x="9678" y="104648"/>
                  </a:cubicBezTo>
                  <a:lnTo>
                    <a:pt x="0" y="79343"/>
                  </a:ln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024FB49A-8C34-4141-B6A6-626DBC25E5F3}"/>
                </a:ext>
              </a:extLst>
            </p:cNvPr>
            <p:cNvSpPr/>
            <p:nvPr/>
          </p:nvSpPr>
          <p:spPr>
            <a:xfrm>
              <a:off x="10700465" y="3385815"/>
              <a:ext cx="26980" cy="25742"/>
            </a:xfrm>
            <a:custGeom>
              <a:avLst/>
              <a:gdLst>
                <a:gd name="connsiteX0" fmla="*/ 737 w 26980"/>
                <a:gd name="connsiteY0" fmla="*/ 17156 h 25742"/>
                <a:gd name="connsiteX1" fmla="*/ 17876 w 26980"/>
                <a:gd name="connsiteY1" fmla="*/ 25020 h 25742"/>
                <a:gd name="connsiteX2" fmla="*/ 26244 w 26980"/>
                <a:gd name="connsiteY2" fmla="*/ 8587 h 25742"/>
                <a:gd name="connsiteX3" fmla="*/ 9105 w 26980"/>
                <a:gd name="connsiteY3" fmla="*/ 723 h 25742"/>
                <a:gd name="connsiteX4" fmla="*/ 737 w 26980"/>
                <a:gd name="connsiteY4" fmla="*/ 17156 h 2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80" h="25742">
                  <a:moveTo>
                    <a:pt x="737" y="17156"/>
                  </a:moveTo>
                  <a:cubicBezTo>
                    <a:pt x="3157" y="23911"/>
                    <a:pt x="10819" y="27339"/>
                    <a:pt x="17876" y="25020"/>
                  </a:cubicBezTo>
                  <a:cubicBezTo>
                    <a:pt x="24933" y="22600"/>
                    <a:pt x="28663" y="15241"/>
                    <a:pt x="26244" y="8587"/>
                  </a:cubicBezTo>
                  <a:cubicBezTo>
                    <a:pt x="23824" y="1832"/>
                    <a:pt x="16162" y="-1596"/>
                    <a:pt x="9105" y="723"/>
                  </a:cubicBezTo>
                  <a:cubicBezTo>
                    <a:pt x="2048" y="3143"/>
                    <a:pt x="-1682" y="10502"/>
                    <a:pt x="737" y="1715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A671DAD2-3E32-4E2D-A2C1-56343FD1824B}"/>
                </a:ext>
              </a:extLst>
            </p:cNvPr>
            <p:cNvSpPr/>
            <p:nvPr/>
          </p:nvSpPr>
          <p:spPr>
            <a:xfrm>
              <a:off x="10685026" y="3345655"/>
              <a:ext cx="49888" cy="25624"/>
            </a:xfrm>
            <a:custGeom>
              <a:avLst/>
              <a:gdLst>
                <a:gd name="connsiteX0" fmla="*/ 549 w 49888"/>
                <a:gd name="connsiteY0" fmla="*/ 25559 h 25624"/>
                <a:gd name="connsiteX1" fmla="*/ 22931 w 49888"/>
                <a:gd name="connsiteY1" fmla="*/ 10436 h 25624"/>
                <a:gd name="connsiteX2" fmla="*/ 49849 w 49888"/>
                <a:gd name="connsiteY2" fmla="*/ 5698 h 25624"/>
                <a:gd name="connsiteX3" fmla="*/ 41985 w 49888"/>
                <a:gd name="connsiteY3" fmla="*/ 959 h 25624"/>
                <a:gd name="connsiteX4" fmla="*/ 19705 w 49888"/>
                <a:gd name="connsiteY4" fmla="*/ 2774 h 25624"/>
                <a:gd name="connsiteX5" fmla="*/ 2667 w 49888"/>
                <a:gd name="connsiteY5" fmla="*/ 16888 h 25624"/>
                <a:gd name="connsiteX6" fmla="*/ 549 w 49888"/>
                <a:gd name="connsiteY6" fmla="*/ 25559 h 2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88" h="25624">
                  <a:moveTo>
                    <a:pt x="549" y="25559"/>
                  </a:moveTo>
                  <a:cubicBezTo>
                    <a:pt x="2767" y="26567"/>
                    <a:pt x="9421" y="15779"/>
                    <a:pt x="22931" y="10436"/>
                  </a:cubicBezTo>
                  <a:cubicBezTo>
                    <a:pt x="36339" y="4891"/>
                    <a:pt x="49043" y="7916"/>
                    <a:pt x="49849" y="5698"/>
                  </a:cubicBezTo>
                  <a:cubicBezTo>
                    <a:pt x="50252" y="4689"/>
                    <a:pt x="47530" y="2371"/>
                    <a:pt x="41985" y="959"/>
                  </a:cubicBezTo>
                  <a:cubicBezTo>
                    <a:pt x="36541" y="-452"/>
                    <a:pt x="28072" y="-654"/>
                    <a:pt x="19705" y="2774"/>
                  </a:cubicBezTo>
                  <a:cubicBezTo>
                    <a:pt x="11337" y="6202"/>
                    <a:pt x="5489" y="12049"/>
                    <a:pt x="2667" y="16888"/>
                  </a:cubicBezTo>
                  <a:cubicBezTo>
                    <a:pt x="-257" y="21627"/>
                    <a:pt x="-459" y="25155"/>
                    <a:pt x="549" y="2555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92596C99-A5FD-4057-BA51-8B466C0A9E46}"/>
                </a:ext>
              </a:extLst>
            </p:cNvPr>
            <p:cNvSpPr/>
            <p:nvPr/>
          </p:nvSpPr>
          <p:spPr>
            <a:xfrm>
              <a:off x="10826083" y="3345589"/>
              <a:ext cx="26980" cy="25742"/>
            </a:xfrm>
            <a:custGeom>
              <a:avLst/>
              <a:gdLst>
                <a:gd name="connsiteX0" fmla="*/ 737 w 26980"/>
                <a:gd name="connsiteY0" fmla="*/ 17156 h 25742"/>
                <a:gd name="connsiteX1" fmla="*/ 17876 w 26980"/>
                <a:gd name="connsiteY1" fmla="*/ 25020 h 25742"/>
                <a:gd name="connsiteX2" fmla="*/ 26244 w 26980"/>
                <a:gd name="connsiteY2" fmla="*/ 8587 h 25742"/>
                <a:gd name="connsiteX3" fmla="*/ 9105 w 26980"/>
                <a:gd name="connsiteY3" fmla="*/ 723 h 25742"/>
                <a:gd name="connsiteX4" fmla="*/ 737 w 26980"/>
                <a:gd name="connsiteY4" fmla="*/ 17156 h 2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80" h="25742">
                  <a:moveTo>
                    <a:pt x="737" y="17156"/>
                  </a:moveTo>
                  <a:cubicBezTo>
                    <a:pt x="3157" y="23911"/>
                    <a:pt x="10819" y="27339"/>
                    <a:pt x="17876" y="25020"/>
                  </a:cubicBezTo>
                  <a:cubicBezTo>
                    <a:pt x="24933" y="22600"/>
                    <a:pt x="28664" y="15241"/>
                    <a:pt x="26244" y="8587"/>
                  </a:cubicBezTo>
                  <a:cubicBezTo>
                    <a:pt x="23824" y="1832"/>
                    <a:pt x="16162" y="-1596"/>
                    <a:pt x="9105" y="723"/>
                  </a:cubicBezTo>
                  <a:cubicBezTo>
                    <a:pt x="2048" y="3143"/>
                    <a:pt x="-1682" y="10502"/>
                    <a:pt x="737" y="1715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DD6E7EA-6702-420E-9468-DD53728EA3E9}"/>
                </a:ext>
              </a:extLst>
            </p:cNvPr>
            <p:cNvSpPr/>
            <p:nvPr/>
          </p:nvSpPr>
          <p:spPr>
            <a:xfrm>
              <a:off x="10819315" y="3298473"/>
              <a:ext cx="49888" cy="25624"/>
            </a:xfrm>
            <a:custGeom>
              <a:avLst/>
              <a:gdLst>
                <a:gd name="connsiteX0" fmla="*/ 549 w 49888"/>
                <a:gd name="connsiteY0" fmla="*/ 25559 h 25624"/>
                <a:gd name="connsiteX1" fmla="*/ 22931 w 49888"/>
                <a:gd name="connsiteY1" fmla="*/ 10436 h 25624"/>
                <a:gd name="connsiteX2" fmla="*/ 49849 w 49888"/>
                <a:gd name="connsiteY2" fmla="*/ 5698 h 25624"/>
                <a:gd name="connsiteX3" fmla="*/ 41985 w 49888"/>
                <a:gd name="connsiteY3" fmla="*/ 959 h 25624"/>
                <a:gd name="connsiteX4" fmla="*/ 19705 w 49888"/>
                <a:gd name="connsiteY4" fmla="*/ 2774 h 25624"/>
                <a:gd name="connsiteX5" fmla="*/ 2667 w 49888"/>
                <a:gd name="connsiteY5" fmla="*/ 16888 h 25624"/>
                <a:gd name="connsiteX6" fmla="*/ 549 w 49888"/>
                <a:gd name="connsiteY6" fmla="*/ 25559 h 2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88" h="25624">
                  <a:moveTo>
                    <a:pt x="549" y="25559"/>
                  </a:moveTo>
                  <a:cubicBezTo>
                    <a:pt x="2767" y="26567"/>
                    <a:pt x="9421" y="15779"/>
                    <a:pt x="22931" y="10436"/>
                  </a:cubicBezTo>
                  <a:cubicBezTo>
                    <a:pt x="36340" y="4891"/>
                    <a:pt x="49042" y="7916"/>
                    <a:pt x="49849" y="5698"/>
                  </a:cubicBezTo>
                  <a:cubicBezTo>
                    <a:pt x="50252" y="4690"/>
                    <a:pt x="47530" y="2371"/>
                    <a:pt x="41985" y="959"/>
                  </a:cubicBezTo>
                  <a:cubicBezTo>
                    <a:pt x="36541" y="-452"/>
                    <a:pt x="28072" y="-654"/>
                    <a:pt x="19705" y="2774"/>
                  </a:cubicBezTo>
                  <a:cubicBezTo>
                    <a:pt x="11337" y="6202"/>
                    <a:pt x="5489" y="12049"/>
                    <a:pt x="2667" y="16888"/>
                  </a:cubicBezTo>
                  <a:cubicBezTo>
                    <a:pt x="-257" y="21526"/>
                    <a:pt x="-459" y="25055"/>
                    <a:pt x="549" y="2555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DA05151-62E0-47B7-BEEE-B3D7E175D6B9}"/>
                </a:ext>
              </a:extLst>
            </p:cNvPr>
            <p:cNvSpPr/>
            <p:nvPr/>
          </p:nvSpPr>
          <p:spPr>
            <a:xfrm>
              <a:off x="10771964" y="3332097"/>
              <a:ext cx="40851" cy="125144"/>
            </a:xfrm>
            <a:custGeom>
              <a:avLst/>
              <a:gdLst>
                <a:gd name="connsiteX0" fmla="*/ 40843 w 40851"/>
                <a:gd name="connsiteY0" fmla="*/ 114831 h 125144"/>
                <a:gd name="connsiteX1" fmla="*/ 17353 w 40851"/>
                <a:gd name="connsiteY1" fmla="*/ 119569 h 125144"/>
                <a:gd name="connsiteX2" fmla="*/ 8682 w 40851"/>
                <a:gd name="connsiteY2" fmla="*/ 119065 h 125144"/>
                <a:gd name="connsiteX3" fmla="*/ 6868 w 40851"/>
                <a:gd name="connsiteY3" fmla="*/ 107975 h 125144"/>
                <a:gd name="connsiteX4" fmla="*/ 6565 w 40851"/>
                <a:gd name="connsiteY4" fmla="*/ 77730 h 125144"/>
                <a:gd name="connsiteX5" fmla="*/ 2028 w 40851"/>
                <a:gd name="connsiteY5" fmla="*/ 0 h 125144"/>
                <a:gd name="connsiteX6" fmla="*/ 314 w 40851"/>
                <a:gd name="connsiteY6" fmla="*/ 77831 h 125144"/>
                <a:gd name="connsiteX7" fmla="*/ 1121 w 40851"/>
                <a:gd name="connsiteY7" fmla="*/ 108076 h 125144"/>
                <a:gd name="connsiteX8" fmla="*/ 4750 w 40851"/>
                <a:gd name="connsiteY8" fmla="*/ 122291 h 125144"/>
                <a:gd name="connsiteX9" fmla="*/ 12413 w 40851"/>
                <a:gd name="connsiteY9" fmla="*/ 125114 h 125144"/>
                <a:gd name="connsiteX10" fmla="*/ 18562 w 40851"/>
                <a:gd name="connsiteY10" fmla="*/ 123602 h 125144"/>
                <a:gd name="connsiteX11" fmla="*/ 40843 w 40851"/>
                <a:gd name="connsiteY11" fmla="*/ 114831 h 12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51" h="125144">
                  <a:moveTo>
                    <a:pt x="40843" y="114831"/>
                  </a:moveTo>
                  <a:cubicBezTo>
                    <a:pt x="40641" y="114024"/>
                    <a:pt x="31669" y="115940"/>
                    <a:pt x="17353" y="119569"/>
                  </a:cubicBezTo>
                  <a:cubicBezTo>
                    <a:pt x="13723" y="120578"/>
                    <a:pt x="10195" y="121182"/>
                    <a:pt x="8682" y="119065"/>
                  </a:cubicBezTo>
                  <a:cubicBezTo>
                    <a:pt x="6868" y="116948"/>
                    <a:pt x="6868" y="112613"/>
                    <a:pt x="6868" y="107975"/>
                  </a:cubicBezTo>
                  <a:cubicBezTo>
                    <a:pt x="6767" y="98398"/>
                    <a:pt x="6666" y="88316"/>
                    <a:pt x="6565" y="77730"/>
                  </a:cubicBezTo>
                  <a:cubicBezTo>
                    <a:pt x="5860" y="34782"/>
                    <a:pt x="3843" y="0"/>
                    <a:pt x="2028" y="0"/>
                  </a:cubicBezTo>
                  <a:cubicBezTo>
                    <a:pt x="314" y="0"/>
                    <a:pt x="-492" y="34883"/>
                    <a:pt x="314" y="77831"/>
                  </a:cubicBezTo>
                  <a:cubicBezTo>
                    <a:pt x="617" y="88417"/>
                    <a:pt x="819" y="98499"/>
                    <a:pt x="1121" y="108076"/>
                  </a:cubicBezTo>
                  <a:cubicBezTo>
                    <a:pt x="1424" y="112512"/>
                    <a:pt x="919" y="117855"/>
                    <a:pt x="4750" y="122291"/>
                  </a:cubicBezTo>
                  <a:cubicBezTo>
                    <a:pt x="6666" y="124509"/>
                    <a:pt x="9993" y="125316"/>
                    <a:pt x="12413" y="125114"/>
                  </a:cubicBezTo>
                  <a:cubicBezTo>
                    <a:pt x="14933" y="124913"/>
                    <a:pt x="16849" y="124207"/>
                    <a:pt x="18562" y="123602"/>
                  </a:cubicBezTo>
                  <a:cubicBezTo>
                    <a:pt x="32677" y="118864"/>
                    <a:pt x="41146" y="115537"/>
                    <a:pt x="40843" y="11483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A7BC2858-3969-4602-A456-EDC04126C197}"/>
                </a:ext>
              </a:extLst>
            </p:cNvPr>
            <p:cNvSpPr/>
            <p:nvPr/>
          </p:nvSpPr>
          <p:spPr>
            <a:xfrm>
              <a:off x="10798117" y="3254923"/>
              <a:ext cx="64410" cy="25522"/>
            </a:xfrm>
            <a:custGeom>
              <a:avLst/>
              <a:gdLst>
                <a:gd name="connsiteX0" fmla="*/ 374 w 64410"/>
                <a:gd name="connsiteY0" fmla="*/ 24748 h 25522"/>
                <a:gd name="connsiteX1" fmla="*/ 32534 w 64410"/>
                <a:gd name="connsiteY1" fmla="*/ 16380 h 25522"/>
                <a:gd name="connsiteX2" fmla="*/ 64393 w 64410"/>
                <a:gd name="connsiteY2" fmla="*/ 7105 h 25522"/>
                <a:gd name="connsiteX3" fmla="*/ 54513 w 64410"/>
                <a:gd name="connsiteY3" fmla="*/ 1056 h 25522"/>
                <a:gd name="connsiteX4" fmla="*/ 28603 w 64410"/>
                <a:gd name="connsiteY4" fmla="*/ 2165 h 25522"/>
                <a:gd name="connsiteX5" fmla="*/ 5717 w 64410"/>
                <a:gd name="connsiteY5" fmla="*/ 14465 h 25522"/>
                <a:gd name="connsiteX6" fmla="*/ 374 w 64410"/>
                <a:gd name="connsiteY6" fmla="*/ 24748 h 2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410" h="25522">
                  <a:moveTo>
                    <a:pt x="374" y="24748"/>
                  </a:moveTo>
                  <a:cubicBezTo>
                    <a:pt x="3197" y="27874"/>
                    <a:pt x="15900" y="20816"/>
                    <a:pt x="32534" y="16380"/>
                  </a:cubicBezTo>
                  <a:cubicBezTo>
                    <a:pt x="49069" y="11642"/>
                    <a:pt x="63687" y="11239"/>
                    <a:pt x="64393" y="7105"/>
                  </a:cubicBezTo>
                  <a:cubicBezTo>
                    <a:pt x="64695" y="5190"/>
                    <a:pt x="61066" y="2569"/>
                    <a:pt x="54513" y="1056"/>
                  </a:cubicBezTo>
                  <a:cubicBezTo>
                    <a:pt x="47959" y="-456"/>
                    <a:pt x="38483" y="-557"/>
                    <a:pt x="28603" y="2165"/>
                  </a:cubicBezTo>
                  <a:cubicBezTo>
                    <a:pt x="18722" y="4887"/>
                    <a:pt x="10556" y="9827"/>
                    <a:pt x="5717" y="14465"/>
                  </a:cubicBezTo>
                  <a:cubicBezTo>
                    <a:pt x="878" y="19203"/>
                    <a:pt x="-836" y="23236"/>
                    <a:pt x="374" y="2474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11C0F172-5A23-4B87-A179-40464010A5A4}"/>
                </a:ext>
              </a:extLst>
            </p:cNvPr>
            <p:cNvSpPr/>
            <p:nvPr/>
          </p:nvSpPr>
          <p:spPr>
            <a:xfrm>
              <a:off x="10671922" y="3298392"/>
              <a:ext cx="46558" cy="25772"/>
            </a:xfrm>
            <a:custGeom>
              <a:avLst/>
              <a:gdLst>
                <a:gd name="connsiteX0" fmla="*/ 1051 w 46558"/>
                <a:gd name="connsiteY0" fmla="*/ 25337 h 25772"/>
                <a:gd name="connsiteX1" fmla="*/ 23936 w 46558"/>
                <a:gd name="connsiteY1" fmla="*/ 16465 h 25772"/>
                <a:gd name="connsiteX2" fmla="*/ 46519 w 46558"/>
                <a:gd name="connsiteY2" fmla="*/ 6686 h 25772"/>
                <a:gd name="connsiteX3" fmla="*/ 38958 w 46558"/>
                <a:gd name="connsiteY3" fmla="*/ 838 h 25772"/>
                <a:gd name="connsiteX4" fmla="*/ 18391 w 46558"/>
                <a:gd name="connsiteY4" fmla="*/ 2754 h 25772"/>
                <a:gd name="connsiteX5" fmla="*/ 2361 w 46558"/>
                <a:gd name="connsiteY5" fmla="*/ 15860 h 25772"/>
                <a:gd name="connsiteX6" fmla="*/ 1051 w 46558"/>
                <a:gd name="connsiteY6" fmla="*/ 25337 h 25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558" h="25772">
                  <a:moveTo>
                    <a:pt x="1051" y="25337"/>
                  </a:moveTo>
                  <a:cubicBezTo>
                    <a:pt x="4579" y="27555"/>
                    <a:pt x="12745" y="20800"/>
                    <a:pt x="23936" y="16465"/>
                  </a:cubicBezTo>
                  <a:cubicBezTo>
                    <a:pt x="35026" y="11727"/>
                    <a:pt x="45511" y="10819"/>
                    <a:pt x="46519" y="6686"/>
                  </a:cubicBezTo>
                  <a:cubicBezTo>
                    <a:pt x="46923" y="4770"/>
                    <a:pt x="44201" y="2250"/>
                    <a:pt x="38958" y="838"/>
                  </a:cubicBezTo>
                  <a:cubicBezTo>
                    <a:pt x="33716" y="-573"/>
                    <a:pt x="25953" y="-372"/>
                    <a:pt x="18391" y="2754"/>
                  </a:cubicBezTo>
                  <a:cubicBezTo>
                    <a:pt x="10729" y="5879"/>
                    <a:pt x="5084" y="11223"/>
                    <a:pt x="2361" y="15860"/>
                  </a:cubicBezTo>
                  <a:cubicBezTo>
                    <a:pt x="-462" y="20598"/>
                    <a:pt x="-562" y="24228"/>
                    <a:pt x="1051" y="2533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B0229B25-3526-4AD0-8959-1FD12F18233C}"/>
                </a:ext>
              </a:extLst>
            </p:cNvPr>
            <p:cNvSpPr/>
            <p:nvPr/>
          </p:nvSpPr>
          <p:spPr>
            <a:xfrm>
              <a:off x="10810891" y="3461302"/>
              <a:ext cx="44345" cy="41673"/>
            </a:xfrm>
            <a:custGeom>
              <a:avLst/>
              <a:gdLst>
                <a:gd name="connsiteX0" fmla="*/ 2319 w 44345"/>
                <a:gd name="connsiteY0" fmla="*/ 25448 h 41673"/>
                <a:gd name="connsiteX1" fmla="*/ 14719 w 44345"/>
                <a:gd name="connsiteY1" fmla="*/ 37647 h 41673"/>
                <a:gd name="connsiteX2" fmla="*/ 31253 w 44345"/>
                <a:gd name="connsiteY2" fmla="*/ 41075 h 41673"/>
                <a:gd name="connsiteX3" fmla="*/ 43452 w 44345"/>
                <a:gd name="connsiteY3" fmla="*/ 28069 h 41673"/>
                <a:gd name="connsiteX4" fmla="*/ 42041 w 44345"/>
                <a:gd name="connsiteY4" fmla="*/ 9821 h 41673"/>
                <a:gd name="connsiteX5" fmla="*/ 30043 w 44345"/>
                <a:gd name="connsiteY5" fmla="*/ 143 h 41673"/>
                <a:gd name="connsiteX6" fmla="*/ 24095 w 44345"/>
                <a:gd name="connsiteY6" fmla="*/ 3671 h 41673"/>
                <a:gd name="connsiteX7" fmla="*/ 0 w 44345"/>
                <a:gd name="connsiteY7" fmla="*/ 24138 h 41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345" h="41673">
                  <a:moveTo>
                    <a:pt x="2319" y="25448"/>
                  </a:moveTo>
                  <a:cubicBezTo>
                    <a:pt x="6049" y="29884"/>
                    <a:pt x="9880" y="34421"/>
                    <a:pt x="14719" y="37647"/>
                  </a:cubicBezTo>
                  <a:cubicBezTo>
                    <a:pt x="19559" y="40873"/>
                    <a:pt x="25708" y="42688"/>
                    <a:pt x="31253" y="41075"/>
                  </a:cubicBezTo>
                  <a:cubicBezTo>
                    <a:pt x="37202" y="39361"/>
                    <a:pt x="41738" y="34018"/>
                    <a:pt x="43452" y="28069"/>
                  </a:cubicBezTo>
                  <a:cubicBezTo>
                    <a:pt x="45166" y="22121"/>
                    <a:pt x="44259" y="15669"/>
                    <a:pt x="42041" y="9821"/>
                  </a:cubicBezTo>
                  <a:cubicBezTo>
                    <a:pt x="40024" y="4579"/>
                    <a:pt x="35488" y="-966"/>
                    <a:pt x="30043" y="143"/>
                  </a:cubicBezTo>
                  <a:cubicBezTo>
                    <a:pt x="27725" y="647"/>
                    <a:pt x="25910" y="2159"/>
                    <a:pt x="24095" y="3671"/>
                  </a:cubicBezTo>
                  <a:cubicBezTo>
                    <a:pt x="16030" y="10527"/>
                    <a:pt x="8065" y="17282"/>
                    <a:pt x="0" y="24138"/>
                  </a:cubicBezTo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A67029F2-DC97-4076-B158-7A527D7789A8}"/>
                </a:ext>
              </a:extLst>
            </p:cNvPr>
            <p:cNvSpPr/>
            <p:nvPr/>
          </p:nvSpPr>
          <p:spPr>
            <a:xfrm>
              <a:off x="10806819" y="3458107"/>
              <a:ext cx="52142" cy="48618"/>
            </a:xfrm>
            <a:custGeom>
              <a:avLst/>
              <a:gdLst>
                <a:gd name="connsiteX0" fmla="*/ 25042 w 52142"/>
                <a:gd name="connsiteY0" fmla="*/ 47899 h 48618"/>
                <a:gd name="connsiteX1" fmla="*/ 39257 w 52142"/>
                <a:gd name="connsiteY1" fmla="*/ 41145 h 48618"/>
                <a:gd name="connsiteX2" fmla="*/ 47121 w 52142"/>
                <a:gd name="connsiteY2" fmla="*/ 27232 h 48618"/>
                <a:gd name="connsiteX3" fmla="*/ 41475 w 52142"/>
                <a:gd name="connsiteY3" fmla="*/ 8984 h 48618"/>
                <a:gd name="connsiteX4" fmla="*/ 37644 w 52142"/>
                <a:gd name="connsiteY4" fmla="*/ 5657 h 48618"/>
                <a:gd name="connsiteX5" fmla="*/ 35225 w 52142"/>
                <a:gd name="connsiteY5" fmla="*/ 5455 h 48618"/>
                <a:gd name="connsiteX6" fmla="*/ 31394 w 52142"/>
                <a:gd name="connsiteY6" fmla="*/ 8681 h 48618"/>
                <a:gd name="connsiteX7" fmla="*/ 27462 w 52142"/>
                <a:gd name="connsiteY7" fmla="*/ 12008 h 48618"/>
                <a:gd name="connsiteX8" fmla="*/ 13650 w 52142"/>
                <a:gd name="connsiteY8" fmla="*/ 23501 h 48618"/>
                <a:gd name="connsiteX9" fmla="*/ 40 w 52142"/>
                <a:gd name="connsiteY9" fmla="*/ 33079 h 48618"/>
                <a:gd name="connsiteX10" fmla="*/ 11230 w 52142"/>
                <a:gd name="connsiteY10" fmla="*/ 20779 h 48618"/>
                <a:gd name="connsiteX11" fmla="*/ 24337 w 52142"/>
                <a:gd name="connsiteY11" fmla="*/ 8480 h 48618"/>
                <a:gd name="connsiteX12" fmla="*/ 28167 w 52142"/>
                <a:gd name="connsiteY12" fmla="*/ 4951 h 48618"/>
                <a:gd name="connsiteX13" fmla="*/ 32503 w 52142"/>
                <a:gd name="connsiteY13" fmla="*/ 1221 h 48618"/>
                <a:gd name="connsiteX14" fmla="*/ 36636 w 52142"/>
                <a:gd name="connsiteY14" fmla="*/ 11 h 48618"/>
                <a:gd name="connsiteX15" fmla="*/ 40467 w 52142"/>
                <a:gd name="connsiteY15" fmla="*/ 1422 h 48618"/>
                <a:gd name="connsiteX16" fmla="*/ 45307 w 52142"/>
                <a:gd name="connsiteY16" fmla="*/ 5657 h 48618"/>
                <a:gd name="connsiteX17" fmla="*/ 51759 w 52142"/>
                <a:gd name="connsiteY17" fmla="*/ 28139 h 48618"/>
                <a:gd name="connsiteX18" fmla="*/ 41475 w 52142"/>
                <a:gd name="connsiteY18" fmla="*/ 44169 h 48618"/>
                <a:gd name="connsiteX19" fmla="*/ 29579 w 52142"/>
                <a:gd name="connsiteY19" fmla="*/ 48605 h 48618"/>
                <a:gd name="connsiteX20" fmla="*/ 25042 w 52142"/>
                <a:gd name="connsiteY20" fmla="*/ 47899 h 48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2142" h="48618">
                  <a:moveTo>
                    <a:pt x="25042" y="47899"/>
                  </a:moveTo>
                  <a:cubicBezTo>
                    <a:pt x="24942" y="46992"/>
                    <a:pt x="31797" y="47395"/>
                    <a:pt x="39257" y="41145"/>
                  </a:cubicBezTo>
                  <a:cubicBezTo>
                    <a:pt x="42887" y="38120"/>
                    <a:pt x="46315" y="33281"/>
                    <a:pt x="47121" y="27232"/>
                  </a:cubicBezTo>
                  <a:cubicBezTo>
                    <a:pt x="47928" y="21283"/>
                    <a:pt x="46113" y="14125"/>
                    <a:pt x="41475" y="8984"/>
                  </a:cubicBezTo>
                  <a:cubicBezTo>
                    <a:pt x="40367" y="7673"/>
                    <a:pt x="38955" y="6564"/>
                    <a:pt x="37644" y="5657"/>
                  </a:cubicBezTo>
                  <a:cubicBezTo>
                    <a:pt x="36132" y="4850"/>
                    <a:pt x="36334" y="4850"/>
                    <a:pt x="35225" y="5455"/>
                  </a:cubicBezTo>
                  <a:cubicBezTo>
                    <a:pt x="34217" y="6161"/>
                    <a:pt x="32603" y="7572"/>
                    <a:pt x="31394" y="8681"/>
                  </a:cubicBezTo>
                  <a:cubicBezTo>
                    <a:pt x="30083" y="9790"/>
                    <a:pt x="28772" y="10899"/>
                    <a:pt x="27462" y="12008"/>
                  </a:cubicBezTo>
                  <a:cubicBezTo>
                    <a:pt x="22320" y="16343"/>
                    <a:pt x="17582" y="20275"/>
                    <a:pt x="13650" y="23501"/>
                  </a:cubicBezTo>
                  <a:cubicBezTo>
                    <a:pt x="5685" y="29954"/>
                    <a:pt x="544" y="33583"/>
                    <a:pt x="40" y="33079"/>
                  </a:cubicBezTo>
                  <a:cubicBezTo>
                    <a:pt x="-465" y="32575"/>
                    <a:pt x="3870" y="27837"/>
                    <a:pt x="11230" y="20779"/>
                  </a:cubicBezTo>
                  <a:cubicBezTo>
                    <a:pt x="14860" y="17251"/>
                    <a:pt x="19296" y="13016"/>
                    <a:pt x="24337" y="8480"/>
                  </a:cubicBezTo>
                  <a:cubicBezTo>
                    <a:pt x="25546" y="7371"/>
                    <a:pt x="26857" y="6161"/>
                    <a:pt x="28167" y="4951"/>
                  </a:cubicBezTo>
                  <a:cubicBezTo>
                    <a:pt x="29579" y="3741"/>
                    <a:pt x="30587" y="2632"/>
                    <a:pt x="32503" y="1221"/>
                  </a:cubicBezTo>
                  <a:cubicBezTo>
                    <a:pt x="33511" y="515"/>
                    <a:pt x="34922" y="-90"/>
                    <a:pt x="36636" y="11"/>
                  </a:cubicBezTo>
                  <a:cubicBezTo>
                    <a:pt x="38350" y="112"/>
                    <a:pt x="39560" y="818"/>
                    <a:pt x="40467" y="1422"/>
                  </a:cubicBezTo>
                  <a:cubicBezTo>
                    <a:pt x="42282" y="2632"/>
                    <a:pt x="43895" y="4044"/>
                    <a:pt x="45307" y="5657"/>
                  </a:cubicBezTo>
                  <a:cubicBezTo>
                    <a:pt x="51053" y="12210"/>
                    <a:pt x="53069" y="20880"/>
                    <a:pt x="51759" y="28139"/>
                  </a:cubicBezTo>
                  <a:cubicBezTo>
                    <a:pt x="50448" y="35600"/>
                    <a:pt x="45811" y="41145"/>
                    <a:pt x="41475" y="44169"/>
                  </a:cubicBezTo>
                  <a:cubicBezTo>
                    <a:pt x="36939" y="47395"/>
                    <a:pt x="32603" y="48403"/>
                    <a:pt x="29579" y="48605"/>
                  </a:cubicBezTo>
                  <a:cubicBezTo>
                    <a:pt x="26655" y="48706"/>
                    <a:pt x="25042" y="48202"/>
                    <a:pt x="25042" y="4789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C14F123A-71EB-4F00-BA27-B7C763714412}"/>
                </a:ext>
              </a:extLst>
            </p:cNvPr>
            <p:cNvSpPr/>
            <p:nvPr/>
          </p:nvSpPr>
          <p:spPr>
            <a:xfrm>
              <a:off x="10598290" y="3095464"/>
              <a:ext cx="453769" cy="250520"/>
            </a:xfrm>
            <a:custGeom>
              <a:avLst/>
              <a:gdLst>
                <a:gd name="connsiteX0" fmla="*/ 3203 w 453769"/>
                <a:gd name="connsiteY0" fmla="*/ 182393 h 250520"/>
                <a:gd name="connsiteX1" fmla="*/ 78 w 453769"/>
                <a:gd name="connsiteY1" fmla="*/ 168379 h 250520"/>
                <a:gd name="connsiteX2" fmla="*/ 5421 w 453769"/>
                <a:gd name="connsiteY2" fmla="*/ 147308 h 250520"/>
                <a:gd name="connsiteX3" fmla="*/ 46152 w 453769"/>
                <a:gd name="connsiteY3" fmla="*/ 86717 h 250520"/>
                <a:gd name="connsiteX4" fmla="*/ 83454 w 453769"/>
                <a:gd name="connsiteY4" fmla="*/ 66251 h 250520"/>
                <a:gd name="connsiteX5" fmla="*/ 103718 w 453769"/>
                <a:gd name="connsiteY5" fmla="*/ 48608 h 250520"/>
                <a:gd name="connsiteX6" fmla="*/ 201511 w 453769"/>
                <a:gd name="connsiteY6" fmla="*/ 4753 h 250520"/>
                <a:gd name="connsiteX7" fmla="*/ 261901 w 453769"/>
                <a:gd name="connsiteY7" fmla="*/ 1426 h 250520"/>
                <a:gd name="connsiteX8" fmla="*/ 326827 w 453769"/>
                <a:gd name="connsiteY8" fmla="*/ 26630 h 250520"/>
                <a:gd name="connsiteX9" fmla="*/ 413731 w 453769"/>
                <a:gd name="connsiteY9" fmla="*/ 92262 h 250520"/>
                <a:gd name="connsiteX10" fmla="*/ 452849 w 453769"/>
                <a:gd name="connsiteY10" fmla="*/ 170799 h 250520"/>
                <a:gd name="connsiteX11" fmla="*/ 425124 w 453769"/>
                <a:gd name="connsiteY11" fmla="*/ 245000 h 250520"/>
                <a:gd name="connsiteX12" fmla="*/ 412623 w 453769"/>
                <a:gd name="connsiteY12" fmla="*/ 237036 h 250520"/>
                <a:gd name="connsiteX13" fmla="*/ 393165 w 453769"/>
                <a:gd name="connsiteY13" fmla="*/ 225543 h 250520"/>
                <a:gd name="connsiteX14" fmla="*/ 391249 w 453769"/>
                <a:gd name="connsiteY14" fmla="*/ 236935 h 250520"/>
                <a:gd name="connsiteX15" fmla="*/ 373505 w 453769"/>
                <a:gd name="connsiteY15" fmla="*/ 237137 h 250520"/>
                <a:gd name="connsiteX16" fmla="*/ 358181 w 453769"/>
                <a:gd name="connsiteY16" fmla="*/ 233104 h 250520"/>
                <a:gd name="connsiteX17" fmla="*/ 344167 w 453769"/>
                <a:gd name="connsiteY17" fmla="*/ 225139 h 250520"/>
                <a:gd name="connsiteX18" fmla="*/ 326524 w 453769"/>
                <a:gd name="connsiteY18" fmla="*/ 214453 h 250520"/>
                <a:gd name="connsiteX19" fmla="*/ 317048 w 453769"/>
                <a:gd name="connsiteY19" fmla="*/ 205984 h 250520"/>
                <a:gd name="connsiteX20" fmla="*/ 295674 w 453769"/>
                <a:gd name="connsiteY20" fmla="*/ 171101 h 250520"/>
                <a:gd name="connsiteX21" fmla="*/ 272890 w 453769"/>
                <a:gd name="connsiteY21" fmla="*/ 137529 h 250520"/>
                <a:gd name="connsiteX22" fmla="*/ 262505 w 453769"/>
                <a:gd name="connsiteY22" fmla="*/ 113434 h 250520"/>
                <a:gd name="connsiteX23" fmla="*/ 256154 w 453769"/>
                <a:gd name="connsiteY23" fmla="*/ 108998 h 250520"/>
                <a:gd name="connsiteX24" fmla="*/ 250911 w 453769"/>
                <a:gd name="connsiteY24" fmla="*/ 124625 h 250520"/>
                <a:gd name="connsiteX25" fmla="*/ 235688 w 453769"/>
                <a:gd name="connsiteY25" fmla="*/ 128859 h 250520"/>
                <a:gd name="connsiteX26" fmla="*/ 219960 w 453769"/>
                <a:gd name="connsiteY26" fmla="*/ 130371 h 250520"/>
                <a:gd name="connsiteX27" fmla="*/ 211492 w 453769"/>
                <a:gd name="connsiteY27" fmla="*/ 135815 h 250520"/>
                <a:gd name="connsiteX28" fmla="*/ 215928 w 453769"/>
                <a:gd name="connsiteY28" fmla="*/ 160919 h 250520"/>
                <a:gd name="connsiteX29" fmla="*/ 211290 w 453769"/>
                <a:gd name="connsiteY29" fmla="*/ 177050 h 250520"/>
                <a:gd name="connsiteX30" fmla="*/ 199192 w 453769"/>
                <a:gd name="connsiteY30" fmla="*/ 172412 h 250520"/>
                <a:gd name="connsiteX31" fmla="*/ 186489 w 453769"/>
                <a:gd name="connsiteY31" fmla="*/ 174025 h 250520"/>
                <a:gd name="connsiteX32" fmla="*/ 178626 w 453769"/>
                <a:gd name="connsiteY32" fmla="*/ 159608 h 250520"/>
                <a:gd name="connsiteX33" fmla="*/ 179936 w 453769"/>
                <a:gd name="connsiteY33" fmla="*/ 119886 h 250520"/>
                <a:gd name="connsiteX34" fmla="*/ 161184 w 453769"/>
                <a:gd name="connsiteY34" fmla="*/ 151845 h 250520"/>
                <a:gd name="connsiteX35" fmla="*/ 155942 w 453769"/>
                <a:gd name="connsiteY35" fmla="*/ 157592 h 250520"/>
                <a:gd name="connsiteX36" fmla="*/ 150901 w 453769"/>
                <a:gd name="connsiteY36" fmla="*/ 167270 h 250520"/>
                <a:gd name="connsiteX37" fmla="*/ 139408 w 453769"/>
                <a:gd name="connsiteY37" fmla="*/ 163641 h 250520"/>
                <a:gd name="connsiteX38" fmla="*/ 124587 w 453769"/>
                <a:gd name="connsiteY38" fmla="*/ 140453 h 250520"/>
                <a:gd name="connsiteX39" fmla="*/ 119647 w 453769"/>
                <a:gd name="connsiteY39" fmla="*/ 132992 h 250520"/>
                <a:gd name="connsiteX40" fmla="*/ 96863 w 453769"/>
                <a:gd name="connsiteY40" fmla="*/ 164044 h 250520"/>
                <a:gd name="connsiteX41" fmla="*/ 104323 w 453769"/>
                <a:gd name="connsiteY41" fmla="*/ 169085 h 250520"/>
                <a:gd name="connsiteX42" fmla="*/ 100795 w 453769"/>
                <a:gd name="connsiteY42" fmla="*/ 179570 h 250520"/>
                <a:gd name="connsiteX43" fmla="*/ 108255 w 453769"/>
                <a:gd name="connsiteY43" fmla="*/ 192575 h 250520"/>
                <a:gd name="connsiteX44" fmla="*/ 123277 w 453769"/>
                <a:gd name="connsiteY44" fmla="*/ 200842 h 250520"/>
                <a:gd name="connsiteX45" fmla="*/ 111279 w 453769"/>
                <a:gd name="connsiteY45" fmla="*/ 217578 h 250520"/>
                <a:gd name="connsiteX46" fmla="*/ 95653 w 453769"/>
                <a:gd name="connsiteY46" fmla="*/ 212840 h 250520"/>
                <a:gd name="connsiteX47" fmla="*/ 80934 w 453769"/>
                <a:gd name="connsiteY47" fmla="*/ 201044 h 250520"/>
                <a:gd name="connsiteX48" fmla="*/ 68533 w 453769"/>
                <a:gd name="connsiteY48" fmla="*/ 192071 h 250520"/>
                <a:gd name="connsiteX49" fmla="*/ 63593 w 453769"/>
                <a:gd name="connsiteY49" fmla="*/ 157894 h 250520"/>
                <a:gd name="connsiteX50" fmla="*/ 61375 w 453769"/>
                <a:gd name="connsiteY50" fmla="*/ 159306 h 250520"/>
                <a:gd name="connsiteX51" fmla="*/ 60367 w 453769"/>
                <a:gd name="connsiteY51" fmla="*/ 158298 h 250520"/>
                <a:gd name="connsiteX52" fmla="*/ 55931 w 453769"/>
                <a:gd name="connsiteY52" fmla="*/ 200641 h 250520"/>
                <a:gd name="connsiteX53" fmla="*/ 56738 w 453769"/>
                <a:gd name="connsiteY53" fmla="*/ 236935 h 250520"/>
                <a:gd name="connsiteX54" fmla="*/ 55527 w 453769"/>
                <a:gd name="connsiteY54" fmla="*/ 250243 h 250520"/>
                <a:gd name="connsiteX55" fmla="*/ 52100 w 453769"/>
                <a:gd name="connsiteY55" fmla="*/ 250344 h 250520"/>
                <a:gd name="connsiteX56" fmla="*/ 16511 w 453769"/>
                <a:gd name="connsiteY56" fmla="*/ 227257 h 250520"/>
                <a:gd name="connsiteX57" fmla="*/ 8244 w 453769"/>
                <a:gd name="connsiteY57" fmla="*/ 214251 h 250520"/>
                <a:gd name="connsiteX58" fmla="*/ 3203 w 453769"/>
                <a:gd name="connsiteY58" fmla="*/ 182393 h 25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53769" h="250520">
                  <a:moveTo>
                    <a:pt x="3203" y="182393"/>
                  </a:moveTo>
                  <a:cubicBezTo>
                    <a:pt x="2195" y="177755"/>
                    <a:pt x="481" y="173118"/>
                    <a:pt x="78" y="168379"/>
                  </a:cubicBezTo>
                  <a:cubicBezTo>
                    <a:pt x="-527" y="160717"/>
                    <a:pt x="2498" y="153862"/>
                    <a:pt x="5421" y="147308"/>
                  </a:cubicBezTo>
                  <a:cubicBezTo>
                    <a:pt x="15906" y="124322"/>
                    <a:pt x="27097" y="100428"/>
                    <a:pt x="46152" y="86717"/>
                  </a:cubicBezTo>
                  <a:cubicBezTo>
                    <a:pt x="57846" y="78349"/>
                    <a:pt x="71759" y="74418"/>
                    <a:pt x="83454" y="66251"/>
                  </a:cubicBezTo>
                  <a:cubicBezTo>
                    <a:pt x="90713" y="61211"/>
                    <a:pt x="96964" y="54557"/>
                    <a:pt x="103718" y="48608"/>
                  </a:cubicBezTo>
                  <a:cubicBezTo>
                    <a:pt x="131443" y="24210"/>
                    <a:pt x="166225" y="11810"/>
                    <a:pt x="201511" y="4753"/>
                  </a:cubicBezTo>
                  <a:cubicBezTo>
                    <a:pt x="221171" y="720"/>
                    <a:pt x="241536" y="-1700"/>
                    <a:pt x="261901" y="1426"/>
                  </a:cubicBezTo>
                  <a:cubicBezTo>
                    <a:pt x="284282" y="4954"/>
                    <a:pt x="305958" y="15238"/>
                    <a:pt x="326827" y="26630"/>
                  </a:cubicBezTo>
                  <a:cubicBezTo>
                    <a:pt x="358080" y="43668"/>
                    <a:pt x="388729" y="64033"/>
                    <a:pt x="413731" y="92262"/>
                  </a:cubicBezTo>
                  <a:cubicBezTo>
                    <a:pt x="432887" y="113938"/>
                    <a:pt x="448816" y="141159"/>
                    <a:pt x="452849" y="170799"/>
                  </a:cubicBezTo>
                  <a:cubicBezTo>
                    <a:pt x="456982" y="200439"/>
                    <a:pt x="447102" y="232197"/>
                    <a:pt x="425124" y="245000"/>
                  </a:cubicBezTo>
                  <a:cubicBezTo>
                    <a:pt x="420990" y="242379"/>
                    <a:pt x="416756" y="239657"/>
                    <a:pt x="412623" y="237036"/>
                  </a:cubicBezTo>
                  <a:lnTo>
                    <a:pt x="393165" y="225543"/>
                  </a:lnTo>
                  <a:cubicBezTo>
                    <a:pt x="397903" y="231289"/>
                    <a:pt x="395483" y="231693"/>
                    <a:pt x="391249" y="236935"/>
                  </a:cubicBezTo>
                  <a:cubicBezTo>
                    <a:pt x="386914" y="242178"/>
                    <a:pt x="378647" y="242278"/>
                    <a:pt x="373505" y="237137"/>
                  </a:cubicBezTo>
                  <a:cubicBezTo>
                    <a:pt x="370884" y="244295"/>
                    <a:pt x="358988" y="241270"/>
                    <a:pt x="358181" y="233104"/>
                  </a:cubicBezTo>
                  <a:cubicBezTo>
                    <a:pt x="353644" y="237742"/>
                    <a:pt x="344369" y="232499"/>
                    <a:pt x="344167" y="225139"/>
                  </a:cubicBezTo>
                  <a:cubicBezTo>
                    <a:pt x="338522" y="229374"/>
                    <a:pt x="331868" y="220300"/>
                    <a:pt x="326524" y="214453"/>
                  </a:cubicBezTo>
                  <a:cubicBezTo>
                    <a:pt x="323601" y="211227"/>
                    <a:pt x="320173" y="208807"/>
                    <a:pt x="317048" y="205984"/>
                  </a:cubicBezTo>
                  <a:cubicBezTo>
                    <a:pt x="307067" y="197112"/>
                    <a:pt x="299405" y="184712"/>
                    <a:pt x="295674" y="171101"/>
                  </a:cubicBezTo>
                  <a:cubicBezTo>
                    <a:pt x="284786" y="164145"/>
                    <a:pt x="278435" y="150333"/>
                    <a:pt x="272890" y="137529"/>
                  </a:cubicBezTo>
                  <a:cubicBezTo>
                    <a:pt x="269462" y="129464"/>
                    <a:pt x="265933" y="121499"/>
                    <a:pt x="262505" y="113434"/>
                  </a:cubicBezTo>
                  <a:cubicBezTo>
                    <a:pt x="260388" y="111922"/>
                    <a:pt x="258271" y="110510"/>
                    <a:pt x="256154" y="108998"/>
                  </a:cubicBezTo>
                  <a:cubicBezTo>
                    <a:pt x="258271" y="114946"/>
                    <a:pt x="255347" y="121499"/>
                    <a:pt x="250911" y="124625"/>
                  </a:cubicBezTo>
                  <a:cubicBezTo>
                    <a:pt x="246576" y="127750"/>
                    <a:pt x="241032" y="128355"/>
                    <a:pt x="235688" y="128859"/>
                  </a:cubicBezTo>
                  <a:cubicBezTo>
                    <a:pt x="230446" y="129363"/>
                    <a:pt x="225203" y="129867"/>
                    <a:pt x="219960" y="130371"/>
                  </a:cubicBezTo>
                  <a:cubicBezTo>
                    <a:pt x="217138" y="132186"/>
                    <a:pt x="214315" y="134001"/>
                    <a:pt x="211492" y="135815"/>
                  </a:cubicBezTo>
                  <a:cubicBezTo>
                    <a:pt x="216533" y="142772"/>
                    <a:pt x="216331" y="152349"/>
                    <a:pt x="215928" y="160919"/>
                  </a:cubicBezTo>
                  <a:cubicBezTo>
                    <a:pt x="215625" y="166867"/>
                    <a:pt x="215021" y="173319"/>
                    <a:pt x="211290" y="177050"/>
                  </a:cubicBezTo>
                  <a:cubicBezTo>
                    <a:pt x="207560" y="180780"/>
                    <a:pt x="199595" y="178360"/>
                    <a:pt x="199192" y="172412"/>
                  </a:cubicBezTo>
                  <a:cubicBezTo>
                    <a:pt x="196974" y="177150"/>
                    <a:pt x="190724" y="177352"/>
                    <a:pt x="186489" y="174025"/>
                  </a:cubicBezTo>
                  <a:cubicBezTo>
                    <a:pt x="182356" y="170698"/>
                    <a:pt x="180037" y="165052"/>
                    <a:pt x="178626" y="159608"/>
                  </a:cubicBezTo>
                  <a:cubicBezTo>
                    <a:pt x="175097" y="146300"/>
                    <a:pt x="175601" y="132085"/>
                    <a:pt x="179936" y="119886"/>
                  </a:cubicBezTo>
                  <a:cubicBezTo>
                    <a:pt x="173685" y="130573"/>
                    <a:pt x="167435" y="141159"/>
                    <a:pt x="161184" y="151845"/>
                  </a:cubicBezTo>
                  <a:cubicBezTo>
                    <a:pt x="159773" y="154164"/>
                    <a:pt x="158260" y="156684"/>
                    <a:pt x="155942" y="157592"/>
                  </a:cubicBezTo>
                  <a:cubicBezTo>
                    <a:pt x="157958" y="161725"/>
                    <a:pt x="154732" y="166665"/>
                    <a:pt x="150901" y="167270"/>
                  </a:cubicBezTo>
                  <a:cubicBezTo>
                    <a:pt x="147070" y="167875"/>
                    <a:pt x="143037" y="165758"/>
                    <a:pt x="139408" y="163641"/>
                  </a:cubicBezTo>
                  <a:cubicBezTo>
                    <a:pt x="131140" y="158902"/>
                    <a:pt x="121160" y="149526"/>
                    <a:pt x="124587" y="140453"/>
                  </a:cubicBezTo>
                  <a:cubicBezTo>
                    <a:pt x="121462" y="140755"/>
                    <a:pt x="118538" y="136219"/>
                    <a:pt x="119647" y="132992"/>
                  </a:cubicBezTo>
                  <a:cubicBezTo>
                    <a:pt x="112086" y="143377"/>
                    <a:pt x="104424" y="153660"/>
                    <a:pt x="96863" y="164044"/>
                  </a:cubicBezTo>
                  <a:cubicBezTo>
                    <a:pt x="99282" y="161423"/>
                    <a:pt x="103920" y="165052"/>
                    <a:pt x="104323" y="169085"/>
                  </a:cubicBezTo>
                  <a:cubicBezTo>
                    <a:pt x="104827" y="173118"/>
                    <a:pt x="102710" y="176545"/>
                    <a:pt x="100795" y="179570"/>
                  </a:cubicBezTo>
                  <a:cubicBezTo>
                    <a:pt x="104525" y="182796"/>
                    <a:pt x="107247" y="187434"/>
                    <a:pt x="108255" y="192575"/>
                  </a:cubicBezTo>
                  <a:cubicBezTo>
                    <a:pt x="112187" y="186224"/>
                    <a:pt x="122672" y="192777"/>
                    <a:pt x="123277" y="200842"/>
                  </a:cubicBezTo>
                  <a:cubicBezTo>
                    <a:pt x="123781" y="208908"/>
                    <a:pt x="117732" y="215158"/>
                    <a:pt x="111279" y="217578"/>
                  </a:cubicBezTo>
                  <a:cubicBezTo>
                    <a:pt x="105936" y="219594"/>
                    <a:pt x="98476" y="218990"/>
                    <a:pt x="95653" y="212840"/>
                  </a:cubicBezTo>
                  <a:cubicBezTo>
                    <a:pt x="89604" y="216066"/>
                    <a:pt x="80732" y="209110"/>
                    <a:pt x="80934" y="201044"/>
                  </a:cubicBezTo>
                  <a:cubicBezTo>
                    <a:pt x="77203" y="205581"/>
                    <a:pt x="70650" y="198322"/>
                    <a:pt x="68533" y="192071"/>
                  </a:cubicBezTo>
                  <a:cubicBezTo>
                    <a:pt x="64803" y="181082"/>
                    <a:pt x="63089" y="169287"/>
                    <a:pt x="63593" y="157894"/>
                  </a:cubicBezTo>
                  <a:cubicBezTo>
                    <a:pt x="63291" y="158902"/>
                    <a:pt x="62383" y="159608"/>
                    <a:pt x="61375" y="159306"/>
                  </a:cubicBezTo>
                  <a:cubicBezTo>
                    <a:pt x="60972" y="159104"/>
                    <a:pt x="60568" y="158701"/>
                    <a:pt x="60367" y="158298"/>
                  </a:cubicBezTo>
                  <a:cubicBezTo>
                    <a:pt x="58855" y="172412"/>
                    <a:pt x="57443" y="186526"/>
                    <a:pt x="55931" y="200641"/>
                  </a:cubicBezTo>
                  <a:cubicBezTo>
                    <a:pt x="54721" y="212638"/>
                    <a:pt x="53511" y="225039"/>
                    <a:pt x="56738" y="236935"/>
                  </a:cubicBezTo>
                  <a:cubicBezTo>
                    <a:pt x="58048" y="241774"/>
                    <a:pt x="59459" y="248529"/>
                    <a:pt x="55527" y="250243"/>
                  </a:cubicBezTo>
                  <a:cubicBezTo>
                    <a:pt x="54419" y="250646"/>
                    <a:pt x="53209" y="250545"/>
                    <a:pt x="52100" y="250344"/>
                  </a:cubicBezTo>
                  <a:cubicBezTo>
                    <a:pt x="38691" y="248025"/>
                    <a:pt x="26290" y="238851"/>
                    <a:pt x="16511" y="227257"/>
                  </a:cubicBezTo>
                  <a:cubicBezTo>
                    <a:pt x="13285" y="223325"/>
                    <a:pt x="10160" y="219090"/>
                    <a:pt x="8244" y="214251"/>
                  </a:cubicBezTo>
                  <a:cubicBezTo>
                    <a:pt x="4111" y="204270"/>
                    <a:pt x="5522" y="192979"/>
                    <a:pt x="3203" y="182393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2A26062A-C904-40C9-9FD9-E6781546B569}"/>
                </a:ext>
              </a:extLst>
            </p:cNvPr>
            <p:cNvSpPr/>
            <p:nvPr/>
          </p:nvSpPr>
          <p:spPr>
            <a:xfrm>
              <a:off x="10713519" y="3145925"/>
              <a:ext cx="77919" cy="71172"/>
            </a:xfrm>
            <a:custGeom>
              <a:avLst/>
              <a:gdLst>
                <a:gd name="connsiteX0" fmla="*/ 8754 w 77919"/>
                <a:gd name="connsiteY0" fmla="*/ 71139 h 71172"/>
                <a:gd name="connsiteX1" fmla="*/ 2907 w 77919"/>
                <a:gd name="connsiteY1" fmla="*/ 64990 h 71172"/>
                <a:gd name="connsiteX2" fmla="*/ 3008 w 77919"/>
                <a:gd name="connsiteY2" fmla="*/ 55815 h 71172"/>
                <a:gd name="connsiteX3" fmla="*/ 12888 w 77919"/>
                <a:gd name="connsiteY3" fmla="*/ 49968 h 71172"/>
                <a:gd name="connsiteX4" fmla="*/ 15408 w 77919"/>
                <a:gd name="connsiteY4" fmla="*/ 50069 h 71172"/>
                <a:gd name="connsiteX5" fmla="*/ 13795 w 77919"/>
                <a:gd name="connsiteY5" fmla="*/ 48153 h 71172"/>
                <a:gd name="connsiteX6" fmla="*/ 13089 w 77919"/>
                <a:gd name="connsiteY6" fmla="*/ 34845 h 71172"/>
                <a:gd name="connsiteX7" fmla="*/ 27204 w 77919"/>
                <a:gd name="connsiteY7" fmla="*/ 31317 h 71172"/>
                <a:gd name="connsiteX8" fmla="*/ 28514 w 77919"/>
                <a:gd name="connsiteY8" fmla="*/ 28998 h 71172"/>
                <a:gd name="connsiteX9" fmla="*/ 27305 w 77919"/>
                <a:gd name="connsiteY9" fmla="*/ 27788 h 71172"/>
                <a:gd name="connsiteX10" fmla="*/ 26700 w 77919"/>
                <a:gd name="connsiteY10" fmla="*/ 22243 h 71172"/>
                <a:gd name="connsiteX11" fmla="*/ 30430 w 77919"/>
                <a:gd name="connsiteY11" fmla="*/ 18009 h 71172"/>
                <a:gd name="connsiteX12" fmla="*/ 36076 w 77919"/>
                <a:gd name="connsiteY12" fmla="*/ 16597 h 71172"/>
                <a:gd name="connsiteX13" fmla="*/ 42730 w 77919"/>
                <a:gd name="connsiteY13" fmla="*/ 16194 h 71172"/>
                <a:gd name="connsiteX14" fmla="*/ 46964 w 77919"/>
                <a:gd name="connsiteY14" fmla="*/ 11355 h 71172"/>
                <a:gd name="connsiteX15" fmla="*/ 50493 w 77919"/>
                <a:gd name="connsiteY15" fmla="*/ 7423 h 71172"/>
                <a:gd name="connsiteX16" fmla="*/ 58861 w 77919"/>
                <a:gd name="connsiteY16" fmla="*/ 2785 h 71172"/>
                <a:gd name="connsiteX17" fmla="*/ 72874 w 77919"/>
                <a:gd name="connsiteY17" fmla="*/ 2180 h 71172"/>
                <a:gd name="connsiteX18" fmla="*/ 77915 w 77919"/>
                <a:gd name="connsiteY18" fmla="*/ 3693 h 71172"/>
                <a:gd name="connsiteX19" fmla="*/ 73177 w 77919"/>
                <a:gd name="connsiteY19" fmla="*/ 1172 h 71172"/>
                <a:gd name="connsiteX20" fmla="*/ 58357 w 77919"/>
                <a:gd name="connsiteY20" fmla="*/ 1071 h 71172"/>
                <a:gd name="connsiteX21" fmla="*/ 49081 w 77919"/>
                <a:gd name="connsiteY21" fmla="*/ 5810 h 71172"/>
                <a:gd name="connsiteX22" fmla="*/ 45049 w 77919"/>
                <a:gd name="connsiteY22" fmla="*/ 10044 h 71172"/>
                <a:gd name="connsiteX23" fmla="*/ 41621 w 77919"/>
                <a:gd name="connsiteY23" fmla="*/ 14077 h 71172"/>
                <a:gd name="connsiteX24" fmla="*/ 35975 w 77919"/>
                <a:gd name="connsiteY24" fmla="*/ 14178 h 71172"/>
                <a:gd name="connsiteX25" fmla="*/ 29119 w 77919"/>
                <a:gd name="connsiteY25" fmla="*/ 15791 h 71172"/>
                <a:gd name="connsiteX26" fmla="*/ 24079 w 77919"/>
                <a:gd name="connsiteY26" fmla="*/ 21437 h 71172"/>
                <a:gd name="connsiteX27" fmla="*/ 24986 w 77919"/>
                <a:gd name="connsiteY27" fmla="*/ 29300 h 71172"/>
                <a:gd name="connsiteX28" fmla="*/ 26902 w 77919"/>
                <a:gd name="connsiteY28" fmla="*/ 31216 h 71172"/>
                <a:gd name="connsiteX29" fmla="*/ 28212 w 77919"/>
                <a:gd name="connsiteY29" fmla="*/ 28897 h 71172"/>
                <a:gd name="connsiteX30" fmla="*/ 10771 w 77919"/>
                <a:gd name="connsiteY30" fmla="*/ 33434 h 71172"/>
                <a:gd name="connsiteX31" fmla="*/ 11880 w 77919"/>
                <a:gd name="connsiteY31" fmla="*/ 49564 h 71172"/>
                <a:gd name="connsiteX32" fmla="*/ 12787 w 77919"/>
                <a:gd name="connsiteY32" fmla="*/ 47750 h 71172"/>
                <a:gd name="connsiteX33" fmla="*/ 1092 w 77919"/>
                <a:gd name="connsiteY33" fmla="*/ 55009 h 71172"/>
                <a:gd name="connsiteX34" fmla="*/ 1496 w 77919"/>
                <a:gd name="connsiteY34" fmla="*/ 65594 h 71172"/>
                <a:gd name="connsiteX35" fmla="*/ 6234 w 77919"/>
                <a:gd name="connsiteY35" fmla="*/ 70434 h 71172"/>
                <a:gd name="connsiteX36" fmla="*/ 8754 w 77919"/>
                <a:gd name="connsiteY36" fmla="*/ 71139 h 71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77919" h="71172">
                  <a:moveTo>
                    <a:pt x="8754" y="71139"/>
                  </a:moveTo>
                  <a:cubicBezTo>
                    <a:pt x="9057" y="70837"/>
                    <a:pt x="5327" y="70030"/>
                    <a:pt x="2907" y="64990"/>
                  </a:cubicBezTo>
                  <a:cubicBezTo>
                    <a:pt x="1798" y="62570"/>
                    <a:pt x="1294" y="59041"/>
                    <a:pt x="3008" y="55815"/>
                  </a:cubicBezTo>
                  <a:cubicBezTo>
                    <a:pt x="4621" y="52589"/>
                    <a:pt x="8553" y="49766"/>
                    <a:pt x="12888" y="49968"/>
                  </a:cubicBezTo>
                  <a:lnTo>
                    <a:pt x="15408" y="50069"/>
                  </a:lnTo>
                  <a:lnTo>
                    <a:pt x="13795" y="48153"/>
                  </a:lnTo>
                  <a:cubicBezTo>
                    <a:pt x="10972" y="44826"/>
                    <a:pt x="10367" y="39080"/>
                    <a:pt x="13089" y="34845"/>
                  </a:cubicBezTo>
                  <a:cubicBezTo>
                    <a:pt x="15812" y="30712"/>
                    <a:pt x="22264" y="28796"/>
                    <a:pt x="27204" y="31317"/>
                  </a:cubicBezTo>
                  <a:lnTo>
                    <a:pt x="28514" y="28998"/>
                  </a:lnTo>
                  <a:cubicBezTo>
                    <a:pt x="28111" y="28695"/>
                    <a:pt x="27708" y="28292"/>
                    <a:pt x="27305" y="27788"/>
                  </a:cubicBezTo>
                  <a:cubicBezTo>
                    <a:pt x="26296" y="26276"/>
                    <a:pt x="26095" y="24058"/>
                    <a:pt x="26700" y="22243"/>
                  </a:cubicBezTo>
                  <a:cubicBezTo>
                    <a:pt x="27204" y="20428"/>
                    <a:pt x="28716" y="19017"/>
                    <a:pt x="30430" y="18009"/>
                  </a:cubicBezTo>
                  <a:cubicBezTo>
                    <a:pt x="32144" y="17101"/>
                    <a:pt x="34160" y="16698"/>
                    <a:pt x="36076" y="16597"/>
                  </a:cubicBezTo>
                  <a:cubicBezTo>
                    <a:pt x="37991" y="16496"/>
                    <a:pt x="40310" y="17202"/>
                    <a:pt x="42730" y="16194"/>
                  </a:cubicBezTo>
                  <a:cubicBezTo>
                    <a:pt x="45250" y="14883"/>
                    <a:pt x="45855" y="12565"/>
                    <a:pt x="46964" y="11355"/>
                  </a:cubicBezTo>
                  <a:cubicBezTo>
                    <a:pt x="47972" y="9842"/>
                    <a:pt x="49283" y="8532"/>
                    <a:pt x="50493" y="7423"/>
                  </a:cubicBezTo>
                  <a:cubicBezTo>
                    <a:pt x="53114" y="5205"/>
                    <a:pt x="56038" y="3693"/>
                    <a:pt x="58861" y="2785"/>
                  </a:cubicBezTo>
                  <a:cubicBezTo>
                    <a:pt x="64506" y="870"/>
                    <a:pt x="69547" y="1374"/>
                    <a:pt x="72874" y="2180"/>
                  </a:cubicBezTo>
                  <a:cubicBezTo>
                    <a:pt x="76100" y="2987"/>
                    <a:pt x="77814" y="3995"/>
                    <a:pt x="77915" y="3693"/>
                  </a:cubicBezTo>
                  <a:cubicBezTo>
                    <a:pt x="78016" y="3592"/>
                    <a:pt x="76504" y="2281"/>
                    <a:pt x="73177" y="1172"/>
                  </a:cubicBezTo>
                  <a:cubicBezTo>
                    <a:pt x="69850" y="63"/>
                    <a:pt x="64506" y="-743"/>
                    <a:pt x="58357" y="1071"/>
                  </a:cubicBezTo>
                  <a:cubicBezTo>
                    <a:pt x="55332" y="1979"/>
                    <a:pt x="52106" y="3491"/>
                    <a:pt x="49081" y="5810"/>
                  </a:cubicBezTo>
                  <a:cubicBezTo>
                    <a:pt x="47670" y="7020"/>
                    <a:pt x="46158" y="8431"/>
                    <a:pt x="45049" y="10044"/>
                  </a:cubicBezTo>
                  <a:cubicBezTo>
                    <a:pt x="43738" y="11657"/>
                    <a:pt x="43032" y="13573"/>
                    <a:pt x="41621" y="14077"/>
                  </a:cubicBezTo>
                  <a:cubicBezTo>
                    <a:pt x="40310" y="14682"/>
                    <a:pt x="38294" y="14278"/>
                    <a:pt x="35975" y="14178"/>
                  </a:cubicBezTo>
                  <a:cubicBezTo>
                    <a:pt x="33656" y="14178"/>
                    <a:pt x="31237" y="14682"/>
                    <a:pt x="29119" y="15791"/>
                  </a:cubicBezTo>
                  <a:cubicBezTo>
                    <a:pt x="27002" y="16900"/>
                    <a:pt x="24885" y="18916"/>
                    <a:pt x="24079" y="21437"/>
                  </a:cubicBezTo>
                  <a:cubicBezTo>
                    <a:pt x="23272" y="23957"/>
                    <a:pt x="23474" y="26881"/>
                    <a:pt x="24986" y="29300"/>
                  </a:cubicBezTo>
                  <a:cubicBezTo>
                    <a:pt x="25490" y="30006"/>
                    <a:pt x="26196" y="30712"/>
                    <a:pt x="26902" y="31216"/>
                  </a:cubicBezTo>
                  <a:lnTo>
                    <a:pt x="28212" y="28897"/>
                  </a:lnTo>
                  <a:cubicBezTo>
                    <a:pt x="21961" y="25772"/>
                    <a:pt x="14199" y="28090"/>
                    <a:pt x="10771" y="33434"/>
                  </a:cubicBezTo>
                  <a:cubicBezTo>
                    <a:pt x="7343" y="38777"/>
                    <a:pt x="8351" y="45532"/>
                    <a:pt x="11880" y="49564"/>
                  </a:cubicBezTo>
                  <a:lnTo>
                    <a:pt x="12787" y="47750"/>
                  </a:lnTo>
                  <a:cubicBezTo>
                    <a:pt x="7242" y="47649"/>
                    <a:pt x="2907" y="51178"/>
                    <a:pt x="1092" y="55009"/>
                  </a:cubicBezTo>
                  <a:cubicBezTo>
                    <a:pt x="-823" y="58941"/>
                    <a:pt x="84" y="63074"/>
                    <a:pt x="1496" y="65594"/>
                  </a:cubicBezTo>
                  <a:cubicBezTo>
                    <a:pt x="2907" y="68216"/>
                    <a:pt x="4923" y="69728"/>
                    <a:pt x="6234" y="70434"/>
                  </a:cubicBezTo>
                  <a:cubicBezTo>
                    <a:pt x="7847" y="71139"/>
                    <a:pt x="8754" y="71240"/>
                    <a:pt x="8754" y="71139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896E32C-3EF1-43BA-A5C1-1F69005AA9F0}"/>
                </a:ext>
              </a:extLst>
            </p:cNvPr>
            <p:cNvSpPr/>
            <p:nvPr/>
          </p:nvSpPr>
          <p:spPr>
            <a:xfrm>
              <a:off x="10652675" y="3140936"/>
              <a:ext cx="86132" cy="110539"/>
            </a:xfrm>
            <a:custGeom>
              <a:avLst/>
              <a:gdLst>
                <a:gd name="connsiteX0" fmla="*/ 11729 w 86132"/>
                <a:gd name="connsiteY0" fmla="*/ 110507 h 110539"/>
                <a:gd name="connsiteX1" fmla="*/ 4874 w 86132"/>
                <a:gd name="connsiteY1" fmla="*/ 104861 h 110539"/>
                <a:gd name="connsiteX2" fmla="*/ 2656 w 86132"/>
                <a:gd name="connsiteY2" fmla="*/ 95183 h 110539"/>
                <a:gd name="connsiteX3" fmla="*/ 10419 w 86132"/>
                <a:gd name="connsiteY3" fmla="*/ 85202 h 110539"/>
                <a:gd name="connsiteX4" fmla="*/ 12133 w 86132"/>
                <a:gd name="connsiteY4" fmla="*/ 84395 h 110539"/>
                <a:gd name="connsiteX5" fmla="*/ 10520 w 86132"/>
                <a:gd name="connsiteY5" fmla="*/ 83387 h 110539"/>
                <a:gd name="connsiteX6" fmla="*/ 2252 w 86132"/>
                <a:gd name="connsiteY6" fmla="*/ 70987 h 110539"/>
                <a:gd name="connsiteX7" fmla="*/ 5680 w 86132"/>
                <a:gd name="connsiteY7" fmla="*/ 63828 h 110539"/>
                <a:gd name="connsiteX8" fmla="*/ 13342 w 86132"/>
                <a:gd name="connsiteY8" fmla="*/ 62619 h 110539"/>
                <a:gd name="connsiteX9" fmla="*/ 22718 w 86132"/>
                <a:gd name="connsiteY9" fmla="*/ 68164 h 110539"/>
                <a:gd name="connsiteX10" fmla="*/ 14855 w 86132"/>
                <a:gd name="connsiteY10" fmla="*/ 60602 h 110539"/>
                <a:gd name="connsiteX11" fmla="*/ 11024 w 86132"/>
                <a:gd name="connsiteY11" fmla="*/ 49916 h 110539"/>
                <a:gd name="connsiteX12" fmla="*/ 17577 w 86132"/>
                <a:gd name="connsiteY12" fmla="*/ 39935 h 110539"/>
                <a:gd name="connsiteX13" fmla="*/ 26247 w 86132"/>
                <a:gd name="connsiteY13" fmla="*/ 38322 h 110539"/>
                <a:gd name="connsiteX14" fmla="*/ 29574 w 86132"/>
                <a:gd name="connsiteY14" fmla="*/ 38927 h 110539"/>
                <a:gd name="connsiteX15" fmla="*/ 27457 w 86132"/>
                <a:gd name="connsiteY15" fmla="*/ 36205 h 110539"/>
                <a:gd name="connsiteX16" fmla="*/ 31590 w 86132"/>
                <a:gd name="connsiteY16" fmla="*/ 24308 h 110539"/>
                <a:gd name="connsiteX17" fmla="*/ 45806 w 86132"/>
                <a:gd name="connsiteY17" fmla="*/ 23804 h 110539"/>
                <a:gd name="connsiteX18" fmla="*/ 48628 w 86132"/>
                <a:gd name="connsiteY18" fmla="*/ 24409 h 110539"/>
                <a:gd name="connsiteX19" fmla="*/ 47116 w 86132"/>
                <a:gd name="connsiteY19" fmla="*/ 21989 h 110539"/>
                <a:gd name="connsiteX20" fmla="*/ 47519 w 86132"/>
                <a:gd name="connsiteY20" fmla="*/ 12210 h 110539"/>
                <a:gd name="connsiteX21" fmla="*/ 54980 w 86132"/>
                <a:gd name="connsiteY21" fmla="*/ 5858 h 110539"/>
                <a:gd name="connsiteX22" fmla="*/ 71211 w 86132"/>
                <a:gd name="connsiteY22" fmla="*/ 1523 h 110539"/>
                <a:gd name="connsiteX23" fmla="*/ 86133 w 86132"/>
                <a:gd name="connsiteY23" fmla="*/ 2431 h 110539"/>
                <a:gd name="connsiteX24" fmla="*/ 82301 w 86132"/>
                <a:gd name="connsiteY24" fmla="*/ 1120 h 110539"/>
                <a:gd name="connsiteX25" fmla="*/ 71111 w 86132"/>
                <a:gd name="connsiteY25" fmla="*/ 11 h 110539"/>
                <a:gd name="connsiteX26" fmla="*/ 54173 w 86132"/>
                <a:gd name="connsiteY26" fmla="*/ 3943 h 110539"/>
                <a:gd name="connsiteX27" fmla="*/ 45705 w 86132"/>
                <a:gd name="connsiteY27" fmla="*/ 10899 h 110539"/>
                <a:gd name="connsiteX28" fmla="*/ 45100 w 86132"/>
                <a:gd name="connsiteY28" fmla="*/ 23098 h 110539"/>
                <a:gd name="connsiteX29" fmla="*/ 46410 w 86132"/>
                <a:gd name="connsiteY29" fmla="*/ 21284 h 110539"/>
                <a:gd name="connsiteX30" fmla="*/ 30582 w 86132"/>
                <a:gd name="connsiteY30" fmla="*/ 21889 h 110539"/>
                <a:gd name="connsiteX31" fmla="*/ 24533 w 86132"/>
                <a:gd name="connsiteY31" fmla="*/ 28442 h 110539"/>
                <a:gd name="connsiteX32" fmla="*/ 25440 w 86132"/>
                <a:gd name="connsiteY32" fmla="*/ 37717 h 110539"/>
                <a:gd name="connsiteX33" fmla="*/ 26650 w 86132"/>
                <a:gd name="connsiteY33" fmla="*/ 35600 h 110539"/>
                <a:gd name="connsiteX34" fmla="*/ 16266 w 86132"/>
                <a:gd name="connsiteY34" fmla="*/ 37515 h 110539"/>
                <a:gd name="connsiteX35" fmla="*/ 8402 w 86132"/>
                <a:gd name="connsiteY35" fmla="*/ 49512 h 110539"/>
                <a:gd name="connsiteX36" fmla="*/ 13141 w 86132"/>
                <a:gd name="connsiteY36" fmla="*/ 62316 h 110539"/>
                <a:gd name="connsiteX37" fmla="*/ 14653 w 86132"/>
                <a:gd name="connsiteY37" fmla="*/ 60300 h 110539"/>
                <a:gd name="connsiteX38" fmla="*/ 4168 w 86132"/>
                <a:gd name="connsiteY38" fmla="*/ 61812 h 110539"/>
                <a:gd name="connsiteX39" fmla="*/ 34 w 86132"/>
                <a:gd name="connsiteY39" fmla="*/ 70886 h 110539"/>
                <a:gd name="connsiteX40" fmla="*/ 9612 w 86132"/>
                <a:gd name="connsiteY40" fmla="*/ 85000 h 110539"/>
                <a:gd name="connsiteX41" fmla="*/ 9713 w 86132"/>
                <a:gd name="connsiteY41" fmla="*/ 83185 h 110539"/>
                <a:gd name="connsiteX42" fmla="*/ 1143 w 86132"/>
                <a:gd name="connsiteY42" fmla="*/ 94779 h 110539"/>
                <a:gd name="connsiteX43" fmla="*/ 3966 w 86132"/>
                <a:gd name="connsiteY43" fmla="*/ 105365 h 110539"/>
                <a:gd name="connsiteX44" fmla="*/ 9410 w 86132"/>
                <a:gd name="connsiteY44" fmla="*/ 109700 h 110539"/>
                <a:gd name="connsiteX45" fmla="*/ 11729 w 86132"/>
                <a:gd name="connsiteY45" fmla="*/ 110507 h 110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86132" h="110539">
                  <a:moveTo>
                    <a:pt x="11729" y="110507"/>
                  </a:moveTo>
                  <a:cubicBezTo>
                    <a:pt x="11931" y="110204"/>
                    <a:pt x="8302" y="109600"/>
                    <a:pt x="4874" y="104861"/>
                  </a:cubicBezTo>
                  <a:cubicBezTo>
                    <a:pt x="3261" y="102542"/>
                    <a:pt x="1950" y="99115"/>
                    <a:pt x="2656" y="95183"/>
                  </a:cubicBezTo>
                  <a:cubicBezTo>
                    <a:pt x="3261" y="91352"/>
                    <a:pt x="5983" y="87117"/>
                    <a:pt x="10419" y="85202"/>
                  </a:cubicBezTo>
                  <a:lnTo>
                    <a:pt x="12133" y="84395"/>
                  </a:lnTo>
                  <a:lnTo>
                    <a:pt x="10520" y="83387"/>
                  </a:lnTo>
                  <a:cubicBezTo>
                    <a:pt x="6487" y="80867"/>
                    <a:pt x="2454" y="76431"/>
                    <a:pt x="2252" y="70987"/>
                  </a:cubicBezTo>
                  <a:cubicBezTo>
                    <a:pt x="2152" y="68264"/>
                    <a:pt x="3462" y="65643"/>
                    <a:pt x="5680" y="63828"/>
                  </a:cubicBezTo>
                  <a:cubicBezTo>
                    <a:pt x="7898" y="62014"/>
                    <a:pt x="11024" y="61207"/>
                    <a:pt x="13342" y="62619"/>
                  </a:cubicBezTo>
                  <a:lnTo>
                    <a:pt x="22718" y="68164"/>
                  </a:lnTo>
                  <a:lnTo>
                    <a:pt x="14855" y="60602"/>
                  </a:lnTo>
                  <a:cubicBezTo>
                    <a:pt x="12133" y="57981"/>
                    <a:pt x="10620" y="53948"/>
                    <a:pt x="11024" y="49916"/>
                  </a:cubicBezTo>
                  <a:cubicBezTo>
                    <a:pt x="11326" y="45883"/>
                    <a:pt x="13745" y="42052"/>
                    <a:pt x="17577" y="39935"/>
                  </a:cubicBezTo>
                  <a:cubicBezTo>
                    <a:pt x="20198" y="38423"/>
                    <a:pt x="23323" y="37818"/>
                    <a:pt x="26247" y="38322"/>
                  </a:cubicBezTo>
                  <a:lnTo>
                    <a:pt x="29574" y="38927"/>
                  </a:lnTo>
                  <a:lnTo>
                    <a:pt x="27457" y="36205"/>
                  </a:lnTo>
                  <a:cubicBezTo>
                    <a:pt x="24533" y="32373"/>
                    <a:pt x="27457" y="26123"/>
                    <a:pt x="31590" y="24308"/>
                  </a:cubicBezTo>
                  <a:cubicBezTo>
                    <a:pt x="36026" y="22191"/>
                    <a:pt x="41269" y="22796"/>
                    <a:pt x="45806" y="23804"/>
                  </a:cubicBezTo>
                  <a:lnTo>
                    <a:pt x="48628" y="24409"/>
                  </a:lnTo>
                  <a:lnTo>
                    <a:pt x="47116" y="21989"/>
                  </a:lnTo>
                  <a:cubicBezTo>
                    <a:pt x="45201" y="19066"/>
                    <a:pt x="45806" y="15033"/>
                    <a:pt x="47519" y="12210"/>
                  </a:cubicBezTo>
                  <a:cubicBezTo>
                    <a:pt x="49334" y="9286"/>
                    <a:pt x="52157" y="7270"/>
                    <a:pt x="54980" y="5858"/>
                  </a:cubicBezTo>
                  <a:cubicBezTo>
                    <a:pt x="60827" y="3036"/>
                    <a:pt x="66473" y="1927"/>
                    <a:pt x="71211" y="1523"/>
                  </a:cubicBezTo>
                  <a:cubicBezTo>
                    <a:pt x="80688" y="919"/>
                    <a:pt x="86032" y="2834"/>
                    <a:pt x="86133" y="2431"/>
                  </a:cubicBezTo>
                  <a:cubicBezTo>
                    <a:pt x="86133" y="2330"/>
                    <a:pt x="84922" y="1725"/>
                    <a:pt x="82301" y="1120"/>
                  </a:cubicBezTo>
                  <a:cubicBezTo>
                    <a:pt x="79781" y="515"/>
                    <a:pt x="75950" y="-90"/>
                    <a:pt x="71111" y="11"/>
                  </a:cubicBezTo>
                  <a:cubicBezTo>
                    <a:pt x="66272" y="213"/>
                    <a:pt x="60323" y="1120"/>
                    <a:pt x="54173" y="3943"/>
                  </a:cubicBezTo>
                  <a:cubicBezTo>
                    <a:pt x="51149" y="5354"/>
                    <a:pt x="47822" y="7472"/>
                    <a:pt x="45705" y="10899"/>
                  </a:cubicBezTo>
                  <a:cubicBezTo>
                    <a:pt x="43588" y="14226"/>
                    <a:pt x="42680" y="19066"/>
                    <a:pt x="45100" y="23098"/>
                  </a:cubicBezTo>
                  <a:lnTo>
                    <a:pt x="46410" y="21284"/>
                  </a:lnTo>
                  <a:cubicBezTo>
                    <a:pt x="41672" y="20175"/>
                    <a:pt x="35925" y="19368"/>
                    <a:pt x="30582" y="21889"/>
                  </a:cubicBezTo>
                  <a:cubicBezTo>
                    <a:pt x="27860" y="23199"/>
                    <a:pt x="25642" y="25518"/>
                    <a:pt x="24533" y="28442"/>
                  </a:cubicBezTo>
                  <a:cubicBezTo>
                    <a:pt x="23323" y="31264"/>
                    <a:pt x="23323" y="34995"/>
                    <a:pt x="25440" y="37717"/>
                  </a:cubicBezTo>
                  <a:lnTo>
                    <a:pt x="26650" y="35600"/>
                  </a:lnTo>
                  <a:cubicBezTo>
                    <a:pt x="23122" y="34995"/>
                    <a:pt x="19391" y="35700"/>
                    <a:pt x="16266" y="37515"/>
                  </a:cubicBezTo>
                  <a:cubicBezTo>
                    <a:pt x="11830" y="39935"/>
                    <a:pt x="8705" y="44673"/>
                    <a:pt x="8402" y="49512"/>
                  </a:cubicBezTo>
                  <a:cubicBezTo>
                    <a:pt x="7999" y="54352"/>
                    <a:pt x="9814" y="59090"/>
                    <a:pt x="13141" y="62316"/>
                  </a:cubicBezTo>
                  <a:lnTo>
                    <a:pt x="14653" y="60300"/>
                  </a:lnTo>
                  <a:cubicBezTo>
                    <a:pt x="11024" y="58283"/>
                    <a:pt x="6688" y="59493"/>
                    <a:pt x="4168" y="61812"/>
                  </a:cubicBezTo>
                  <a:cubicBezTo>
                    <a:pt x="1446" y="64030"/>
                    <a:pt x="-268" y="67559"/>
                    <a:pt x="34" y="70886"/>
                  </a:cubicBezTo>
                  <a:cubicBezTo>
                    <a:pt x="438" y="77641"/>
                    <a:pt x="5176" y="82278"/>
                    <a:pt x="9612" y="85000"/>
                  </a:cubicBezTo>
                  <a:lnTo>
                    <a:pt x="9713" y="83185"/>
                  </a:lnTo>
                  <a:cubicBezTo>
                    <a:pt x="4571" y="85605"/>
                    <a:pt x="1748" y="90444"/>
                    <a:pt x="1143" y="94779"/>
                  </a:cubicBezTo>
                  <a:cubicBezTo>
                    <a:pt x="538" y="99215"/>
                    <a:pt x="2152" y="102946"/>
                    <a:pt x="3966" y="105365"/>
                  </a:cubicBezTo>
                  <a:cubicBezTo>
                    <a:pt x="5882" y="107785"/>
                    <a:pt x="7898" y="109095"/>
                    <a:pt x="9410" y="109700"/>
                  </a:cubicBezTo>
                  <a:cubicBezTo>
                    <a:pt x="10923" y="110507"/>
                    <a:pt x="11729" y="110608"/>
                    <a:pt x="11729" y="110507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681371DA-1EFB-43DD-B393-F80F37878092}"/>
                </a:ext>
              </a:extLst>
            </p:cNvPr>
            <p:cNvSpPr/>
            <p:nvPr/>
          </p:nvSpPr>
          <p:spPr>
            <a:xfrm>
              <a:off x="10531690" y="3185602"/>
              <a:ext cx="98032" cy="116661"/>
            </a:xfrm>
            <a:custGeom>
              <a:avLst/>
              <a:gdLst>
                <a:gd name="connsiteX0" fmla="*/ 1147 w 98032"/>
                <a:gd name="connsiteY0" fmla="*/ 116652 h 116661"/>
                <a:gd name="connsiteX1" fmla="*/ 2357 w 98032"/>
                <a:gd name="connsiteY1" fmla="*/ 108789 h 116661"/>
                <a:gd name="connsiteX2" fmla="*/ 9818 w 98032"/>
                <a:gd name="connsiteY2" fmla="*/ 103345 h 116661"/>
                <a:gd name="connsiteX3" fmla="*/ 22621 w 98032"/>
                <a:gd name="connsiteY3" fmla="*/ 102740 h 116661"/>
                <a:gd name="connsiteX4" fmla="*/ 24134 w 98032"/>
                <a:gd name="connsiteY4" fmla="*/ 102841 h 116661"/>
                <a:gd name="connsiteX5" fmla="*/ 23529 w 98032"/>
                <a:gd name="connsiteY5" fmla="*/ 101429 h 116661"/>
                <a:gd name="connsiteX6" fmla="*/ 29275 w 98032"/>
                <a:gd name="connsiteY6" fmla="*/ 88323 h 116661"/>
                <a:gd name="connsiteX7" fmla="*/ 47927 w 98032"/>
                <a:gd name="connsiteY7" fmla="*/ 86004 h 116661"/>
                <a:gd name="connsiteX8" fmla="*/ 56597 w 98032"/>
                <a:gd name="connsiteY8" fmla="*/ 86609 h 116661"/>
                <a:gd name="connsiteX9" fmla="*/ 48431 w 98032"/>
                <a:gd name="connsiteY9" fmla="*/ 83584 h 116661"/>
                <a:gd name="connsiteX10" fmla="*/ 45406 w 98032"/>
                <a:gd name="connsiteY10" fmla="*/ 70579 h 116661"/>
                <a:gd name="connsiteX11" fmla="*/ 60025 w 98032"/>
                <a:gd name="connsiteY11" fmla="*/ 62312 h 116661"/>
                <a:gd name="connsiteX12" fmla="*/ 60831 w 98032"/>
                <a:gd name="connsiteY12" fmla="*/ 62211 h 116661"/>
                <a:gd name="connsiteX13" fmla="*/ 65872 w 98032"/>
                <a:gd name="connsiteY13" fmla="*/ 61203 h 116661"/>
                <a:gd name="connsiteX14" fmla="*/ 60932 w 98032"/>
                <a:gd name="connsiteY14" fmla="*/ 59590 h 116661"/>
                <a:gd name="connsiteX15" fmla="*/ 57605 w 98032"/>
                <a:gd name="connsiteY15" fmla="*/ 44165 h 116661"/>
                <a:gd name="connsiteX16" fmla="*/ 74139 w 98032"/>
                <a:gd name="connsiteY16" fmla="*/ 41039 h 116661"/>
                <a:gd name="connsiteX17" fmla="*/ 80491 w 98032"/>
                <a:gd name="connsiteY17" fmla="*/ 43661 h 116661"/>
                <a:gd name="connsiteX18" fmla="*/ 75450 w 98032"/>
                <a:gd name="connsiteY18" fmla="*/ 39023 h 116661"/>
                <a:gd name="connsiteX19" fmla="*/ 69098 w 98032"/>
                <a:gd name="connsiteY19" fmla="*/ 16944 h 116661"/>
                <a:gd name="connsiteX20" fmla="*/ 81196 w 98032"/>
                <a:gd name="connsiteY20" fmla="*/ 3132 h 116661"/>
                <a:gd name="connsiteX21" fmla="*/ 93496 w 98032"/>
                <a:gd name="connsiteY21" fmla="*/ 1217 h 116661"/>
                <a:gd name="connsiteX22" fmla="*/ 98033 w 98032"/>
                <a:gd name="connsiteY22" fmla="*/ 2023 h 116661"/>
                <a:gd name="connsiteX23" fmla="*/ 97025 w 98032"/>
                <a:gd name="connsiteY23" fmla="*/ 1418 h 116661"/>
                <a:gd name="connsiteX24" fmla="*/ 93698 w 98032"/>
                <a:gd name="connsiteY24" fmla="*/ 410 h 116661"/>
                <a:gd name="connsiteX25" fmla="*/ 80692 w 98032"/>
                <a:gd name="connsiteY25" fmla="*/ 1721 h 116661"/>
                <a:gd name="connsiteX26" fmla="*/ 67183 w 98032"/>
                <a:gd name="connsiteY26" fmla="*/ 16339 h 116661"/>
                <a:gd name="connsiteX27" fmla="*/ 73837 w 98032"/>
                <a:gd name="connsiteY27" fmla="*/ 40737 h 116661"/>
                <a:gd name="connsiteX28" fmla="*/ 75147 w 98032"/>
                <a:gd name="connsiteY28" fmla="*/ 38721 h 116661"/>
                <a:gd name="connsiteX29" fmla="*/ 55689 w 98032"/>
                <a:gd name="connsiteY29" fmla="*/ 42350 h 116661"/>
                <a:gd name="connsiteX30" fmla="*/ 52867 w 98032"/>
                <a:gd name="connsiteY30" fmla="*/ 53138 h 116661"/>
                <a:gd name="connsiteX31" fmla="*/ 60125 w 98032"/>
                <a:gd name="connsiteY31" fmla="*/ 62009 h 116661"/>
                <a:gd name="connsiteX32" fmla="*/ 60327 w 98032"/>
                <a:gd name="connsiteY32" fmla="*/ 59489 h 116661"/>
                <a:gd name="connsiteX33" fmla="*/ 59521 w 98032"/>
                <a:gd name="connsiteY33" fmla="*/ 59691 h 116661"/>
                <a:gd name="connsiteX34" fmla="*/ 43188 w 98032"/>
                <a:gd name="connsiteY34" fmla="*/ 69268 h 116661"/>
                <a:gd name="connsiteX35" fmla="*/ 41777 w 98032"/>
                <a:gd name="connsiteY35" fmla="*/ 78644 h 116661"/>
                <a:gd name="connsiteX36" fmla="*/ 47523 w 98032"/>
                <a:gd name="connsiteY36" fmla="*/ 85903 h 116661"/>
                <a:gd name="connsiteX37" fmla="*/ 48028 w 98032"/>
                <a:gd name="connsiteY37" fmla="*/ 83484 h 116661"/>
                <a:gd name="connsiteX38" fmla="*/ 28066 w 98032"/>
                <a:gd name="connsiteY38" fmla="*/ 86407 h 116661"/>
                <a:gd name="connsiteX39" fmla="*/ 21714 w 98032"/>
                <a:gd name="connsiteY39" fmla="*/ 102236 h 116661"/>
                <a:gd name="connsiteX40" fmla="*/ 22621 w 98032"/>
                <a:gd name="connsiteY40" fmla="*/ 100925 h 116661"/>
                <a:gd name="connsiteX41" fmla="*/ 9313 w 98032"/>
                <a:gd name="connsiteY41" fmla="*/ 102034 h 116661"/>
                <a:gd name="connsiteX42" fmla="*/ 1349 w 98032"/>
                <a:gd name="connsiteY42" fmla="*/ 108386 h 116661"/>
                <a:gd name="connsiteX43" fmla="*/ 139 w 98032"/>
                <a:gd name="connsiteY43" fmla="*/ 114636 h 116661"/>
                <a:gd name="connsiteX44" fmla="*/ 1147 w 98032"/>
                <a:gd name="connsiteY44" fmla="*/ 116652 h 116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8032" h="116661">
                  <a:moveTo>
                    <a:pt x="1147" y="116652"/>
                  </a:moveTo>
                  <a:cubicBezTo>
                    <a:pt x="1450" y="116753"/>
                    <a:pt x="-466" y="113426"/>
                    <a:pt x="2357" y="108789"/>
                  </a:cubicBezTo>
                  <a:cubicBezTo>
                    <a:pt x="3769" y="106571"/>
                    <a:pt x="6188" y="104353"/>
                    <a:pt x="9818" y="103345"/>
                  </a:cubicBezTo>
                  <a:cubicBezTo>
                    <a:pt x="13447" y="102236"/>
                    <a:pt x="17782" y="102336"/>
                    <a:pt x="22621" y="102740"/>
                  </a:cubicBezTo>
                  <a:lnTo>
                    <a:pt x="24134" y="102841"/>
                  </a:lnTo>
                  <a:lnTo>
                    <a:pt x="23529" y="101429"/>
                  </a:lnTo>
                  <a:cubicBezTo>
                    <a:pt x="21613" y="97094"/>
                    <a:pt x="24335" y="91146"/>
                    <a:pt x="29275" y="88323"/>
                  </a:cubicBezTo>
                  <a:cubicBezTo>
                    <a:pt x="34316" y="85399"/>
                    <a:pt x="41071" y="85500"/>
                    <a:pt x="47927" y="86004"/>
                  </a:cubicBezTo>
                  <a:lnTo>
                    <a:pt x="56597" y="86609"/>
                  </a:lnTo>
                  <a:lnTo>
                    <a:pt x="48431" y="83584"/>
                  </a:lnTo>
                  <a:cubicBezTo>
                    <a:pt x="43995" y="81971"/>
                    <a:pt x="42785" y="75015"/>
                    <a:pt x="45406" y="70579"/>
                  </a:cubicBezTo>
                  <a:cubicBezTo>
                    <a:pt x="48229" y="65941"/>
                    <a:pt x="54076" y="63421"/>
                    <a:pt x="60025" y="62312"/>
                  </a:cubicBezTo>
                  <a:lnTo>
                    <a:pt x="60831" y="62211"/>
                  </a:lnTo>
                  <a:lnTo>
                    <a:pt x="65872" y="61203"/>
                  </a:lnTo>
                  <a:lnTo>
                    <a:pt x="60932" y="59590"/>
                  </a:lnTo>
                  <a:cubicBezTo>
                    <a:pt x="54883" y="57674"/>
                    <a:pt x="53572" y="48399"/>
                    <a:pt x="57605" y="44165"/>
                  </a:cubicBezTo>
                  <a:cubicBezTo>
                    <a:pt x="61739" y="39527"/>
                    <a:pt x="68897" y="38922"/>
                    <a:pt x="74139" y="41039"/>
                  </a:cubicBezTo>
                  <a:lnTo>
                    <a:pt x="80491" y="43661"/>
                  </a:lnTo>
                  <a:lnTo>
                    <a:pt x="75450" y="39023"/>
                  </a:lnTo>
                  <a:cubicBezTo>
                    <a:pt x="68897" y="33075"/>
                    <a:pt x="67183" y="23901"/>
                    <a:pt x="69098" y="16944"/>
                  </a:cubicBezTo>
                  <a:cubicBezTo>
                    <a:pt x="70913" y="9786"/>
                    <a:pt x="76357" y="5249"/>
                    <a:pt x="81196" y="3132"/>
                  </a:cubicBezTo>
                  <a:cubicBezTo>
                    <a:pt x="86137" y="914"/>
                    <a:pt x="90573" y="914"/>
                    <a:pt x="93496" y="1217"/>
                  </a:cubicBezTo>
                  <a:cubicBezTo>
                    <a:pt x="96420" y="1519"/>
                    <a:pt x="97932" y="2225"/>
                    <a:pt x="98033" y="2023"/>
                  </a:cubicBezTo>
                  <a:cubicBezTo>
                    <a:pt x="98033" y="1922"/>
                    <a:pt x="97730" y="1721"/>
                    <a:pt x="97025" y="1418"/>
                  </a:cubicBezTo>
                  <a:cubicBezTo>
                    <a:pt x="96319" y="1116"/>
                    <a:pt x="95210" y="713"/>
                    <a:pt x="93698" y="410"/>
                  </a:cubicBezTo>
                  <a:cubicBezTo>
                    <a:pt x="90774" y="-195"/>
                    <a:pt x="86036" y="-396"/>
                    <a:pt x="80692" y="1721"/>
                  </a:cubicBezTo>
                  <a:cubicBezTo>
                    <a:pt x="75450" y="3737"/>
                    <a:pt x="69401" y="8476"/>
                    <a:pt x="67183" y="16339"/>
                  </a:cubicBezTo>
                  <a:cubicBezTo>
                    <a:pt x="64965" y="23901"/>
                    <a:pt x="66578" y="33982"/>
                    <a:pt x="73837" y="40737"/>
                  </a:cubicBezTo>
                  <a:lnTo>
                    <a:pt x="75147" y="38721"/>
                  </a:lnTo>
                  <a:cubicBezTo>
                    <a:pt x="69098" y="36301"/>
                    <a:pt x="60932" y="36704"/>
                    <a:pt x="55689" y="42350"/>
                  </a:cubicBezTo>
                  <a:cubicBezTo>
                    <a:pt x="53068" y="45173"/>
                    <a:pt x="52161" y="49307"/>
                    <a:pt x="52867" y="53138"/>
                  </a:cubicBezTo>
                  <a:cubicBezTo>
                    <a:pt x="53471" y="56868"/>
                    <a:pt x="55992" y="60800"/>
                    <a:pt x="60125" y="62009"/>
                  </a:cubicBezTo>
                  <a:lnTo>
                    <a:pt x="60327" y="59489"/>
                  </a:lnTo>
                  <a:lnTo>
                    <a:pt x="59521" y="59691"/>
                  </a:lnTo>
                  <a:cubicBezTo>
                    <a:pt x="53371" y="60900"/>
                    <a:pt x="46717" y="63421"/>
                    <a:pt x="43188" y="69268"/>
                  </a:cubicBezTo>
                  <a:cubicBezTo>
                    <a:pt x="41575" y="72192"/>
                    <a:pt x="41172" y="75519"/>
                    <a:pt x="41777" y="78644"/>
                  </a:cubicBezTo>
                  <a:cubicBezTo>
                    <a:pt x="42382" y="81770"/>
                    <a:pt x="44499" y="84794"/>
                    <a:pt x="47523" y="85903"/>
                  </a:cubicBezTo>
                  <a:lnTo>
                    <a:pt x="48028" y="83484"/>
                  </a:lnTo>
                  <a:cubicBezTo>
                    <a:pt x="41172" y="83080"/>
                    <a:pt x="33913" y="82879"/>
                    <a:pt x="28066" y="86407"/>
                  </a:cubicBezTo>
                  <a:cubicBezTo>
                    <a:pt x="22420" y="89835"/>
                    <a:pt x="19295" y="96791"/>
                    <a:pt x="21714" y="102236"/>
                  </a:cubicBezTo>
                  <a:lnTo>
                    <a:pt x="22621" y="100925"/>
                  </a:lnTo>
                  <a:cubicBezTo>
                    <a:pt x="17782" y="100723"/>
                    <a:pt x="13145" y="100723"/>
                    <a:pt x="9313" y="102034"/>
                  </a:cubicBezTo>
                  <a:cubicBezTo>
                    <a:pt x="5382" y="103244"/>
                    <a:pt x="2660" y="105865"/>
                    <a:pt x="1349" y="108386"/>
                  </a:cubicBezTo>
                  <a:cubicBezTo>
                    <a:pt x="-62" y="110906"/>
                    <a:pt x="-163" y="113225"/>
                    <a:pt x="139" y="114636"/>
                  </a:cubicBezTo>
                  <a:cubicBezTo>
                    <a:pt x="643" y="116048"/>
                    <a:pt x="1147" y="116753"/>
                    <a:pt x="1147" y="116652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55F6AB05-C9B5-43C4-B996-27051EB555B7}"/>
                </a:ext>
              </a:extLst>
            </p:cNvPr>
            <p:cNvSpPr/>
            <p:nvPr/>
          </p:nvSpPr>
          <p:spPr>
            <a:xfrm>
              <a:off x="10566308" y="3135808"/>
              <a:ext cx="117761" cy="30041"/>
            </a:xfrm>
            <a:custGeom>
              <a:avLst/>
              <a:gdLst>
                <a:gd name="connsiteX0" fmla="*/ 0 w 117761"/>
                <a:gd name="connsiteY0" fmla="*/ 17540 h 30041"/>
                <a:gd name="connsiteX1" fmla="*/ 3630 w 117761"/>
                <a:gd name="connsiteY1" fmla="*/ 17741 h 30041"/>
                <a:gd name="connsiteX2" fmla="*/ 13610 w 117761"/>
                <a:gd name="connsiteY2" fmla="*/ 15423 h 30041"/>
                <a:gd name="connsiteX3" fmla="*/ 28330 w 117761"/>
                <a:gd name="connsiteY3" fmla="*/ 13406 h 30041"/>
                <a:gd name="connsiteX4" fmla="*/ 35085 w 117761"/>
                <a:gd name="connsiteY4" fmla="*/ 18145 h 30041"/>
                <a:gd name="connsiteX5" fmla="*/ 34681 w 117761"/>
                <a:gd name="connsiteY5" fmla="*/ 26311 h 30041"/>
                <a:gd name="connsiteX6" fmla="*/ 36798 w 117761"/>
                <a:gd name="connsiteY6" fmla="*/ 27017 h 30041"/>
                <a:gd name="connsiteX7" fmla="*/ 42746 w 117761"/>
                <a:gd name="connsiteY7" fmla="*/ 17237 h 30041"/>
                <a:gd name="connsiteX8" fmla="*/ 53131 w 117761"/>
                <a:gd name="connsiteY8" fmla="*/ 8769 h 30041"/>
                <a:gd name="connsiteX9" fmla="*/ 65632 w 117761"/>
                <a:gd name="connsiteY9" fmla="*/ 7156 h 30041"/>
                <a:gd name="connsiteX10" fmla="*/ 73496 w 117761"/>
                <a:gd name="connsiteY10" fmla="*/ 14918 h 30041"/>
                <a:gd name="connsiteX11" fmla="*/ 74000 w 117761"/>
                <a:gd name="connsiteY11" fmla="*/ 18145 h 30041"/>
                <a:gd name="connsiteX12" fmla="*/ 75714 w 117761"/>
                <a:gd name="connsiteY12" fmla="*/ 15423 h 30041"/>
                <a:gd name="connsiteX13" fmla="*/ 90232 w 117761"/>
                <a:gd name="connsiteY13" fmla="*/ 3829 h 30041"/>
                <a:gd name="connsiteX14" fmla="*/ 104951 w 117761"/>
                <a:gd name="connsiteY14" fmla="*/ 1812 h 30041"/>
                <a:gd name="connsiteX15" fmla="*/ 117755 w 117761"/>
                <a:gd name="connsiteY15" fmla="*/ 5543 h 30041"/>
                <a:gd name="connsiteX16" fmla="*/ 114831 w 117761"/>
                <a:gd name="connsiteY16" fmla="*/ 3425 h 30041"/>
                <a:gd name="connsiteX17" fmla="*/ 105152 w 117761"/>
                <a:gd name="connsiteY17" fmla="*/ 300 h 30041"/>
                <a:gd name="connsiteX18" fmla="*/ 89526 w 117761"/>
                <a:gd name="connsiteY18" fmla="*/ 1913 h 30041"/>
                <a:gd name="connsiteX19" fmla="*/ 73597 w 117761"/>
                <a:gd name="connsiteY19" fmla="*/ 14112 h 30041"/>
                <a:gd name="connsiteX20" fmla="*/ 75815 w 117761"/>
                <a:gd name="connsiteY20" fmla="*/ 14616 h 30041"/>
                <a:gd name="connsiteX21" fmla="*/ 66237 w 117761"/>
                <a:gd name="connsiteY21" fmla="*/ 4736 h 30041"/>
                <a:gd name="connsiteX22" fmla="*/ 51719 w 117761"/>
                <a:gd name="connsiteY22" fmla="*/ 6551 h 30041"/>
                <a:gd name="connsiteX23" fmla="*/ 40730 w 117761"/>
                <a:gd name="connsiteY23" fmla="*/ 15624 h 30041"/>
                <a:gd name="connsiteX24" fmla="*/ 36294 w 117761"/>
                <a:gd name="connsiteY24" fmla="*/ 20766 h 30041"/>
                <a:gd name="connsiteX25" fmla="*/ 34177 w 117761"/>
                <a:gd name="connsiteY25" fmla="*/ 27521 h 30041"/>
                <a:gd name="connsiteX26" fmla="*/ 34480 w 117761"/>
                <a:gd name="connsiteY26" fmla="*/ 30041 h 30041"/>
                <a:gd name="connsiteX27" fmla="*/ 36193 w 117761"/>
                <a:gd name="connsiteY27" fmla="*/ 28327 h 30041"/>
                <a:gd name="connsiteX28" fmla="*/ 36899 w 117761"/>
                <a:gd name="connsiteY28" fmla="*/ 17237 h 30041"/>
                <a:gd name="connsiteX29" fmla="*/ 28632 w 117761"/>
                <a:gd name="connsiteY29" fmla="*/ 11592 h 30041"/>
                <a:gd name="connsiteX30" fmla="*/ 13006 w 117761"/>
                <a:gd name="connsiteY30" fmla="*/ 14213 h 30041"/>
                <a:gd name="connsiteX31" fmla="*/ 3428 w 117761"/>
                <a:gd name="connsiteY31" fmla="*/ 17136 h 30041"/>
                <a:gd name="connsiteX32" fmla="*/ 0 w 117761"/>
                <a:gd name="connsiteY32" fmla="*/ 17540 h 3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7761" h="30041">
                  <a:moveTo>
                    <a:pt x="0" y="17540"/>
                  </a:moveTo>
                  <a:cubicBezTo>
                    <a:pt x="0" y="17641"/>
                    <a:pt x="1311" y="17943"/>
                    <a:pt x="3630" y="17741"/>
                  </a:cubicBezTo>
                  <a:cubicBezTo>
                    <a:pt x="6049" y="17641"/>
                    <a:pt x="9477" y="16733"/>
                    <a:pt x="13610" y="15423"/>
                  </a:cubicBezTo>
                  <a:cubicBezTo>
                    <a:pt x="17643" y="14213"/>
                    <a:pt x="22785" y="12398"/>
                    <a:pt x="28330" y="13406"/>
                  </a:cubicBezTo>
                  <a:cubicBezTo>
                    <a:pt x="31052" y="13910"/>
                    <a:pt x="33673" y="15423"/>
                    <a:pt x="35085" y="18145"/>
                  </a:cubicBezTo>
                  <a:cubicBezTo>
                    <a:pt x="36597" y="20665"/>
                    <a:pt x="36798" y="24295"/>
                    <a:pt x="34681" y="26311"/>
                  </a:cubicBezTo>
                  <a:lnTo>
                    <a:pt x="36798" y="27017"/>
                  </a:lnTo>
                  <a:cubicBezTo>
                    <a:pt x="36395" y="23589"/>
                    <a:pt x="39823" y="20363"/>
                    <a:pt x="42746" y="17237"/>
                  </a:cubicBezTo>
                  <a:cubicBezTo>
                    <a:pt x="45771" y="14011"/>
                    <a:pt x="49098" y="10886"/>
                    <a:pt x="53131" y="8769"/>
                  </a:cubicBezTo>
                  <a:cubicBezTo>
                    <a:pt x="57164" y="6551"/>
                    <a:pt x="61600" y="5845"/>
                    <a:pt x="65632" y="7156"/>
                  </a:cubicBezTo>
                  <a:cubicBezTo>
                    <a:pt x="69665" y="8265"/>
                    <a:pt x="72992" y="11289"/>
                    <a:pt x="73496" y="14918"/>
                  </a:cubicBezTo>
                  <a:lnTo>
                    <a:pt x="74000" y="18145"/>
                  </a:lnTo>
                  <a:lnTo>
                    <a:pt x="75714" y="15423"/>
                  </a:lnTo>
                  <a:cubicBezTo>
                    <a:pt x="79343" y="9676"/>
                    <a:pt x="84888" y="5845"/>
                    <a:pt x="90232" y="3829"/>
                  </a:cubicBezTo>
                  <a:cubicBezTo>
                    <a:pt x="95575" y="1711"/>
                    <a:pt x="100817" y="1409"/>
                    <a:pt x="104951" y="1812"/>
                  </a:cubicBezTo>
                  <a:cubicBezTo>
                    <a:pt x="113419" y="2619"/>
                    <a:pt x="117553" y="6047"/>
                    <a:pt x="117755" y="5543"/>
                  </a:cubicBezTo>
                  <a:cubicBezTo>
                    <a:pt x="117855" y="5442"/>
                    <a:pt x="116847" y="4635"/>
                    <a:pt x="114831" y="3425"/>
                  </a:cubicBezTo>
                  <a:cubicBezTo>
                    <a:pt x="112815" y="2316"/>
                    <a:pt x="109488" y="905"/>
                    <a:pt x="105152" y="300"/>
                  </a:cubicBezTo>
                  <a:cubicBezTo>
                    <a:pt x="100817" y="-305"/>
                    <a:pt x="95272" y="-103"/>
                    <a:pt x="89526" y="1913"/>
                  </a:cubicBezTo>
                  <a:cubicBezTo>
                    <a:pt x="83779" y="3829"/>
                    <a:pt x="77730" y="7861"/>
                    <a:pt x="73597" y="14112"/>
                  </a:cubicBezTo>
                  <a:lnTo>
                    <a:pt x="75815" y="14616"/>
                  </a:lnTo>
                  <a:cubicBezTo>
                    <a:pt x="75109" y="9777"/>
                    <a:pt x="70875" y="6047"/>
                    <a:pt x="66237" y="4736"/>
                  </a:cubicBezTo>
                  <a:cubicBezTo>
                    <a:pt x="61600" y="3224"/>
                    <a:pt x="56054" y="4030"/>
                    <a:pt x="51719" y="6551"/>
                  </a:cubicBezTo>
                  <a:cubicBezTo>
                    <a:pt x="47283" y="8970"/>
                    <a:pt x="43856" y="12297"/>
                    <a:pt x="40730" y="15624"/>
                  </a:cubicBezTo>
                  <a:cubicBezTo>
                    <a:pt x="39218" y="17338"/>
                    <a:pt x="37605" y="18850"/>
                    <a:pt x="36294" y="20766"/>
                  </a:cubicBezTo>
                  <a:cubicBezTo>
                    <a:pt x="34984" y="22581"/>
                    <a:pt x="33875" y="25000"/>
                    <a:pt x="34177" y="27521"/>
                  </a:cubicBezTo>
                  <a:lnTo>
                    <a:pt x="34480" y="30041"/>
                  </a:lnTo>
                  <a:lnTo>
                    <a:pt x="36193" y="28327"/>
                  </a:lnTo>
                  <a:cubicBezTo>
                    <a:pt x="39420" y="25101"/>
                    <a:pt x="38714" y="20262"/>
                    <a:pt x="36899" y="17237"/>
                  </a:cubicBezTo>
                  <a:cubicBezTo>
                    <a:pt x="35185" y="14011"/>
                    <a:pt x="31657" y="12096"/>
                    <a:pt x="28632" y="11592"/>
                  </a:cubicBezTo>
                  <a:cubicBezTo>
                    <a:pt x="22281" y="10583"/>
                    <a:pt x="17038" y="12801"/>
                    <a:pt x="13006" y="14213"/>
                  </a:cubicBezTo>
                  <a:cubicBezTo>
                    <a:pt x="8973" y="15725"/>
                    <a:pt x="5747" y="16834"/>
                    <a:pt x="3428" y="17136"/>
                  </a:cubicBezTo>
                  <a:cubicBezTo>
                    <a:pt x="1311" y="17439"/>
                    <a:pt x="0" y="17338"/>
                    <a:pt x="0" y="17540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789A0BBE-FBF7-46ED-9F8D-55E1D7376DDF}"/>
                </a:ext>
              </a:extLst>
            </p:cNvPr>
            <p:cNvSpPr/>
            <p:nvPr/>
          </p:nvSpPr>
          <p:spPr>
            <a:xfrm>
              <a:off x="10677409" y="3066227"/>
              <a:ext cx="69119" cy="51733"/>
            </a:xfrm>
            <a:custGeom>
              <a:avLst/>
              <a:gdLst>
                <a:gd name="connsiteX0" fmla="*/ 0 w 69119"/>
                <a:gd name="connsiteY0" fmla="*/ 2333 h 51733"/>
                <a:gd name="connsiteX1" fmla="*/ 6856 w 69119"/>
                <a:gd name="connsiteY1" fmla="*/ 1325 h 51733"/>
                <a:gd name="connsiteX2" fmla="*/ 14316 w 69119"/>
                <a:gd name="connsiteY2" fmla="*/ 3543 h 51733"/>
                <a:gd name="connsiteX3" fmla="*/ 20768 w 69119"/>
                <a:gd name="connsiteY3" fmla="*/ 10903 h 51733"/>
                <a:gd name="connsiteX4" fmla="*/ 21272 w 69119"/>
                <a:gd name="connsiteY4" fmla="*/ 12213 h 51733"/>
                <a:gd name="connsiteX5" fmla="*/ 22482 w 69119"/>
                <a:gd name="connsiteY5" fmla="*/ 11407 h 51733"/>
                <a:gd name="connsiteX6" fmla="*/ 33169 w 69119"/>
                <a:gd name="connsiteY6" fmla="*/ 13927 h 51733"/>
                <a:gd name="connsiteX7" fmla="*/ 37706 w 69119"/>
                <a:gd name="connsiteY7" fmla="*/ 27739 h 51733"/>
                <a:gd name="connsiteX8" fmla="*/ 38411 w 69119"/>
                <a:gd name="connsiteY8" fmla="*/ 32881 h 51733"/>
                <a:gd name="connsiteX9" fmla="*/ 40327 w 69119"/>
                <a:gd name="connsiteY9" fmla="*/ 27941 h 51733"/>
                <a:gd name="connsiteX10" fmla="*/ 40629 w 69119"/>
                <a:gd name="connsiteY10" fmla="*/ 27134 h 51733"/>
                <a:gd name="connsiteX11" fmla="*/ 48291 w 69119"/>
                <a:gd name="connsiteY11" fmla="*/ 20985 h 51733"/>
                <a:gd name="connsiteX12" fmla="*/ 57567 w 69119"/>
                <a:gd name="connsiteY12" fmla="*/ 22194 h 51733"/>
                <a:gd name="connsiteX13" fmla="*/ 66943 w 69119"/>
                <a:gd name="connsiteY13" fmla="*/ 35603 h 51733"/>
                <a:gd name="connsiteX14" fmla="*/ 67245 w 69119"/>
                <a:gd name="connsiteY14" fmla="*/ 47298 h 51733"/>
                <a:gd name="connsiteX15" fmla="*/ 66842 w 69119"/>
                <a:gd name="connsiteY15" fmla="*/ 51734 h 51733"/>
                <a:gd name="connsiteX16" fmla="*/ 68253 w 69119"/>
                <a:gd name="connsiteY16" fmla="*/ 47499 h 51733"/>
                <a:gd name="connsiteX17" fmla="*/ 68757 w 69119"/>
                <a:gd name="connsiteY17" fmla="*/ 35200 h 51733"/>
                <a:gd name="connsiteX18" fmla="*/ 58675 w 69119"/>
                <a:gd name="connsiteY18" fmla="*/ 19976 h 51733"/>
                <a:gd name="connsiteX19" fmla="*/ 38109 w 69119"/>
                <a:gd name="connsiteY19" fmla="*/ 26025 h 51733"/>
                <a:gd name="connsiteX20" fmla="*/ 37706 w 69119"/>
                <a:gd name="connsiteY20" fmla="*/ 27034 h 51733"/>
                <a:gd name="connsiteX21" fmla="*/ 40226 w 69119"/>
                <a:gd name="connsiteY21" fmla="*/ 27235 h 51733"/>
                <a:gd name="connsiteX22" fmla="*/ 34983 w 69119"/>
                <a:gd name="connsiteY22" fmla="*/ 12113 h 51733"/>
                <a:gd name="connsiteX23" fmla="*/ 21071 w 69119"/>
                <a:gd name="connsiteY23" fmla="*/ 9491 h 51733"/>
                <a:gd name="connsiteX24" fmla="*/ 22785 w 69119"/>
                <a:gd name="connsiteY24" fmla="*/ 9995 h 51733"/>
                <a:gd name="connsiteX25" fmla="*/ 15022 w 69119"/>
                <a:gd name="connsiteY25" fmla="*/ 1829 h 51733"/>
                <a:gd name="connsiteX26" fmla="*/ 6654 w 69119"/>
                <a:gd name="connsiteY26" fmla="*/ 15 h 51733"/>
                <a:gd name="connsiteX27" fmla="*/ 1310 w 69119"/>
                <a:gd name="connsiteY27" fmla="*/ 1224 h 51733"/>
                <a:gd name="connsiteX28" fmla="*/ 0 w 69119"/>
                <a:gd name="connsiteY28" fmla="*/ 2333 h 5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9119" h="51733">
                  <a:moveTo>
                    <a:pt x="0" y="2333"/>
                  </a:moveTo>
                  <a:cubicBezTo>
                    <a:pt x="101" y="2636"/>
                    <a:pt x="2420" y="1124"/>
                    <a:pt x="6856" y="1325"/>
                  </a:cubicBezTo>
                  <a:cubicBezTo>
                    <a:pt x="9073" y="1426"/>
                    <a:pt x="11695" y="1930"/>
                    <a:pt x="14316" y="3543"/>
                  </a:cubicBezTo>
                  <a:cubicBezTo>
                    <a:pt x="16937" y="4955"/>
                    <a:pt x="19558" y="7475"/>
                    <a:pt x="20768" y="10903"/>
                  </a:cubicBezTo>
                  <a:lnTo>
                    <a:pt x="21272" y="12213"/>
                  </a:lnTo>
                  <a:lnTo>
                    <a:pt x="22482" y="11407"/>
                  </a:lnTo>
                  <a:cubicBezTo>
                    <a:pt x="25406" y="9391"/>
                    <a:pt x="30346" y="10600"/>
                    <a:pt x="33169" y="13927"/>
                  </a:cubicBezTo>
                  <a:cubicBezTo>
                    <a:pt x="36092" y="17355"/>
                    <a:pt x="37000" y="22497"/>
                    <a:pt x="37706" y="27739"/>
                  </a:cubicBezTo>
                  <a:lnTo>
                    <a:pt x="38411" y="32881"/>
                  </a:lnTo>
                  <a:lnTo>
                    <a:pt x="40327" y="27941"/>
                  </a:lnTo>
                  <a:cubicBezTo>
                    <a:pt x="40428" y="27739"/>
                    <a:pt x="40528" y="27437"/>
                    <a:pt x="40629" y="27134"/>
                  </a:cubicBezTo>
                  <a:cubicBezTo>
                    <a:pt x="41940" y="24009"/>
                    <a:pt x="45065" y="21791"/>
                    <a:pt x="48291" y="20985"/>
                  </a:cubicBezTo>
                  <a:cubicBezTo>
                    <a:pt x="51518" y="20077"/>
                    <a:pt x="54844" y="20682"/>
                    <a:pt x="57567" y="22194"/>
                  </a:cubicBezTo>
                  <a:cubicBezTo>
                    <a:pt x="63111" y="25219"/>
                    <a:pt x="66035" y="30965"/>
                    <a:pt x="66943" y="35603"/>
                  </a:cubicBezTo>
                  <a:cubicBezTo>
                    <a:pt x="67951" y="40442"/>
                    <a:pt x="67547" y="44576"/>
                    <a:pt x="67245" y="47298"/>
                  </a:cubicBezTo>
                  <a:cubicBezTo>
                    <a:pt x="66943" y="50121"/>
                    <a:pt x="66640" y="51633"/>
                    <a:pt x="66842" y="51734"/>
                  </a:cubicBezTo>
                  <a:cubicBezTo>
                    <a:pt x="67043" y="51734"/>
                    <a:pt x="67648" y="50322"/>
                    <a:pt x="68253" y="47499"/>
                  </a:cubicBezTo>
                  <a:cubicBezTo>
                    <a:pt x="68858" y="44677"/>
                    <a:pt x="69564" y="40442"/>
                    <a:pt x="68757" y="35200"/>
                  </a:cubicBezTo>
                  <a:cubicBezTo>
                    <a:pt x="67951" y="30058"/>
                    <a:pt x="65027" y="23707"/>
                    <a:pt x="58675" y="19976"/>
                  </a:cubicBezTo>
                  <a:cubicBezTo>
                    <a:pt x="52526" y="16045"/>
                    <a:pt x="41940" y="17658"/>
                    <a:pt x="38109" y="26025"/>
                  </a:cubicBezTo>
                  <a:cubicBezTo>
                    <a:pt x="38008" y="26328"/>
                    <a:pt x="37806" y="26731"/>
                    <a:pt x="37706" y="27034"/>
                  </a:cubicBezTo>
                  <a:lnTo>
                    <a:pt x="40226" y="27235"/>
                  </a:lnTo>
                  <a:cubicBezTo>
                    <a:pt x="39520" y="21993"/>
                    <a:pt x="38613" y="16246"/>
                    <a:pt x="34983" y="12113"/>
                  </a:cubicBezTo>
                  <a:cubicBezTo>
                    <a:pt x="31455" y="8181"/>
                    <a:pt x="25305" y="6467"/>
                    <a:pt x="21071" y="9491"/>
                  </a:cubicBezTo>
                  <a:lnTo>
                    <a:pt x="22785" y="9995"/>
                  </a:lnTo>
                  <a:cubicBezTo>
                    <a:pt x="21171" y="6064"/>
                    <a:pt x="18046" y="3342"/>
                    <a:pt x="15022" y="1829"/>
                  </a:cubicBezTo>
                  <a:cubicBezTo>
                    <a:pt x="11997" y="317"/>
                    <a:pt x="9073" y="-86"/>
                    <a:pt x="6654" y="15"/>
                  </a:cubicBezTo>
                  <a:cubicBezTo>
                    <a:pt x="4234" y="115"/>
                    <a:pt x="2520" y="720"/>
                    <a:pt x="1310" y="1224"/>
                  </a:cubicBezTo>
                  <a:cubicBezTo>
                    <a:pt x="504" y="1829"/>
                    <a:pt x="0" y="2233"/>
                    <a:pt x="0" y="2333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1FD1D1C2-4A35-4AA7-87F1-50FF3E6C7B5C}"/>
                </a:ext>
              </a:extLst>
            </p:cNvPr>
            <p:cNvSpPr/>
            <p:nvPr/>
          </p:nvSpPr>
          <p:spPr>
            <a:xfrm>
              <a:off x="10810061" y="3034686"/>
              <a:ext cx="16260" cy="78551"/>
            </a:xfrm>
            <a:custGeom>
              <a:avLst/>
              <a:gdLst>
                <a:gd name="connsiteX0" fmla="*/ 24 w 16260"/>
                <a:gd name="connsiteY0" fmla="*/ 78537 h 78551"/>
                <a:gd name="connsiteX1" fmla="*/ 3149 w 16260"/>
                <a:gd name="connsiteY1" fmla="*/ 76823 h 78551"/>
                <a:gd name="connsiteX2" fmla="*/ 9199 w 16260"/>
                <a:gd name="connsiteY2" fmla="*/ 69261 h 78551"/>
                <a:gd name="connsiteX3" fmla="*/ 11316 w 16260"/>
                <a:gd name="connsiteY3" fmla="*/ 54945 h 78551"/>
                <a:gd name="connsiteX4" fmla="*/ 11013 w 16260"/>
                <a:gd name="connsiteY4" fmla="*/ 47586 h 78551"/>
                <a:gd name="connsiteX5" fmla="*/ 15752 w 16260"/>
                <a:gd name="connsiteY5" fmla="*/ 39924 h 78551"/>
                <a:gd name="connsiteX6" fmla="*/ 7585 w 16260"/>
                <a:gd name="connsiteY6" fmla="*/ 23793 h 78551"/>
                <a:gd name="connsiteX7" fmla="*/ 8190 w 16260"/>
                <a:gd name="connsiteY7" fmla="*/ 25608 h 78551"/>
                <a:gd name="connsiteX8" fmla="*/ 14643 w 16260"/>
                <a:gd name="connsiteY8" fmla="*/ 7461 h 78551"/>
                <a:gd name="connsiteX9" fmla="*/ 14441 w 16260"/>
                <a:gd name="connsiteY9" fmla="*/ 0 h 78551"/>
                <a:gd name="connsiteX10" fmla="*/ 13231 w 16260"/>
                <a:gd name="connsiteY10" fmla="*/ 7158 h 78551"/>
                <a:gd name="connsiteX11" fmla="*/ 6275 w 16260"/>
                <a:gd name="connsiteY11" fmla="*/ 24196 h 78551"/>
                <a:gd name="connsiteX12" fmla="*/ 5367 w 16260"/>
                <a:gd name="connsiteY12" fmla="*/ 25507 h 78551"/>
                <a:gd name="connsiteX13" fmla="*/ 6880 w 16260"/>
                <a:gd name="connsiteY13" fmla="*/ 26011 h 78551"/>
                <a:gd name="connsiteX14" fmla="*/ 13231 w 16260"/>
                <a:gd name="connsiteY14" fmla="*/ 39016 h 78551"/>
                <a:gd name="connsiteX15" fmla="*/ 8695 w 16260"/>
                <a:gd name="connsiteY15" fmla="*/ 46477 h 78551"/>
                <a:gd name="connsiteX16" fmla="*/ 8997 w 16260"/>
                <a:gd name="connsiteY16" fmla="*/ 55349 h 78551"/>
                <a:gd name="connsiteX17" fmla="*/ 7585 w 16260"/>
                <a:gd name="connsiteY17" fmla="*/ 68455 h 78551"/>
                <a:gd name="connsiteX18" fmla="*/ 24 w 16260"/>
                <a:gd name="connsiteY18" fmla="*/ 78537 h 7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260" h="78551">
                  <a:moveTo>
                    <a:pt x="24" y="78537"/>
                  </a:moveTo>
                  <a:cubicBezTo>
                    <a:pt x="125" y="78638"/>
                    <a:pt x="1335" y="78234"/>
                    <a:pt x="3149" y="76823"/>
                  </a:cubicBezTo>
                  <a:cubicBezTo>
                    <a:pt x="4964" y="75411"/>
                    <a:pt x="7384" y="72992"/>
                    <a:pt x="9199" y="69261"/>
                  </a:cubicBezTo>
                  <a:cubicBezTo>
                    <a:pt x="11013" y="65531"/>
                    <a:pt x="12324" y="60490"/>
                    <a:pt x="11316" y="54945"/>
                  </a:cubicBezTo>
                  <a:cubicBezTo>
                    <a:pt x="10812" y="52223"/>
                    <a:pt x="9904" y="49703"/>
                    <a:pt x="11013" y="47586"/>
                  </a:cubicBezTo>
                  <a:cubicBezTo>
                    <a:pt x="11921" y="45368"/>
                    <a:pt x="14643" y="43351"/>
                    <a:pt x="15752" y="39924"/>
                  </a:cubicBezTo>
                  <a:cubicBezTo>
                    <a:pt x="17768" y="32866"/>
                    <a:pt x="13534" y="25608"/>
                    <a:pt x="7585" y="23793"/>
                  </a:cubicBezTo>
                  <a:lnTo>
                    <a:pt x="8190" y="25608"/>
                  </a:lnTo>
                  <a:cubicBezTo>
                    <a:pt x="12526" y="18853"/>
                    <a:pt x="14139" y="12098"/>
                    <a:pt x="14643" y="7461"/>
                  </a:cubicBezTo>
                  <a:cubicBezTo>
                    <a:pt x="15147" y="2722"/>
                    <a:pt x="14643" y="0"/>
                    <a:pt x="14441" y="0"/>
                  </a:cubicBezTo>
                  <a:cubicBezTo>
                    <a:pt x="14139" y="0"/>
                    <a:pt x="14139" y="2722"/>
                    <a:pt x="13231" y="7158"/>
                  </a:cubicBezTo>
                  <a:cubicBezTo>
                    <a:pt x="12324" y="11594"/>
                    <a:pt x="10509" y="17945"/>
                    <a:pt x="6275" y="24196"/>
                  </a:cubicBezTo>
                  <a:lnTo>
                    <a:pt x="5367" y="25507"/>
                  </a:lnTo>
                  <a:lnTo>
                    <a:pt x="6880" y="26011"/>
                  </a:lnTo>
                  <a:cubicBezTo>
                    <a:pt x="11417" y="27422"/>
                    <a:pt x="14945" y="33572"/>
                    <a:pt x="13231" y="39016"/>
                  </a:cubicBezTo>
                  <a:cubicBezTo>
                    <a:pt x="12626" y="41537"/>
                    <a:pt x="10106" y="43351"/>
                    <a:pt x="8695" y="46477"/>
                  </a:cubicBezTo>
                  <a:cubicBezTo>
                    <a:pt x="7182" y="49804"/>
                    <a:pt x="8594" y="53030"/>
                    <a:pt x="8997" y="55349"/>
                  </a:cubicBezTo>
                  <a:cubicBezTo>
                    <a:pt x="10005" y="60289"/>
                    <a:pt x="9098" y="64926"/>
                    <a:pt x="7585" y="68455"/>
                  </a:cubicBezTo>
                  <a:cubicBezTo>
                    <a:pt x="4359" y="75613"/>
                    <a:pt x="-379" y="78133"/>
                    <a:pt x="24" y="78537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9B1C7CDC-F508-442E-ADB7-F324BE6897F2}"/>
                </a:ext>
              </a:extLst>
            </p:cNvPr>
            <p:cNvSpPr/>
            <p:nvPr/>
          </p:nvSpPr>
          <p:spPr>
            <a:xfrm>
              <a:off x="10848998" y="3053839"/>
              <a:ext cx="92793" cy="72224"/>
            </a:xfrm>
            <a:custGeom>
              <a:avLst/>
              <a:gdLst>
                <a:gd name="connsiteX0" fmla="*/ 2 w 92793"/>
                <a:gd name="connsiteY0" fmla="*/ 72187 h 72224"/>
                <a:gd name="connsiteX1" fmla="*/ 2220 w 92793"/>
                <a:gd name="connsiteY1" fmla="*/ 71885 h 72224"/>
                <a:gd name="connsiteX2" fmla="*/ 8068 w 92793"/>
                <a:gd name="connsiteY2" fmla="*/ 69667 h 72224"/>
                <a:gd name="connsiteX3" fmla="*/ 23695 w 92793"/>
                <a:gd name="connsiteY3" fmla="*/ 53637 h 72224"/>
                <a:gd name="connsiteX4" fmla="*/ 22081 w 92793"/>
                <a:gd name="connsiteY4" fmla="*/ 54040 h 72224"/>
                <a:gd name="connsiteX5" fmla="*/ 39220 w 92793"/>
                <a:gd name="connsiteY5" fmla="*/ 57569 h 72224"/>
                <a:gd name="connsiteX6" fmla="*/ 48294 w 92793"/>
                <a:gd name="connsiteY6" fmla="*/ 53737 h 72224"/>
                <a:gd name="connsiteX7" fmla="*/ 54545 w 92793"/>
                <a:gd name="connsiteY7" fmla="*/ 45067 h 72224"/>
                <a:gd name="connsiteX8" fmla="*/ 54444 w 92793"/>
                <a:gd name="connsiteY8" fmla="*/ 41135 h 72224"/>
                <a:gd name="connsiteX9" fmla="*/ 55351 w 92793"/>
                <a:gd name="connsiteY9" fmla="*/ 38312 h 72224"/>
                <a:gd name="connsiteX10" fmla="*/ 60392 w 92793"/>
                <a:gd name="connsiteY10" fmla="*/ 34078 h 72224"/>
                <a:gd name="connsiteX11" fmla="*/ 66139 w 92793"/>
                <a:gd name="connsiteY11" fmla="*/ 29541 h 72224"/>
                <a:gd name="connsiteX12" fmla="*/ 67953 w 92793"/>
                <a:gd name="connsiteY12" fmla="*/ 22282 h 72224"/>
                <a:gd name="connsiteX13" fmla="*/ 66643 w 92793"/>
                <a:gd name="connsiteY13" fmla="*/ 23896 h 72224"/>
                <a:gd name="connsiteX14" fmla="*/ 82169 w 92793"/>
                <a:gd name="connsiteY14" fmla="*/ 19762 h 72224"/>
                <a:gd name="connsiteX15" fmla="*/ 90436 w 92793"/>
                <a:gd name="connsiteY15" fmla="*/ 10487 h 72224"/>
                <a:gd name="connsiteX16" fmla="*/ 92754 w 92793"/>
                <a:gd name="connsiteY16" fmla="*/ 2825 h 72224"/>
                <a:gd name="connsiteX17" fmla="*/ 92553 w 92793"/>
                <a:gd name="connsiteY17" fmla="*/ 2 h 72224"/>
                <a:gd name="connsiteX18" fmla="*/ 89125 w 92793"/>
                <a:gd name="connsiteY18" fmla="*/ 9882 h 72224"/>
                <a:gd name="connsiteX19" fmla="*/ 80959 w 92793"/>
                <a:gd name="connsiteY19" fmla="*/ 18250 h 72224"/>
                <a:gd name="connsiteX20" fmla="*/ 66844 w 92793"/>
                <a:gd name="connsiteY20" fmla="*/ 21678 h 72224"/>
                <a:gd name="connsiteX21" fmla="*/ 64929 w 92793"/>
                <a:gd name="connsiteY21" fmla="*/ 21476 h 72224"/>
                <a:gd name="connsiteX22" fmla="*/ 65534 w 92793"/>
                <a:gd name="connsiteY22" fmla="*/ 23291 h 72224"/>
                <a:gd name="connsiteX23" fmla="*/ 64122 w 92793"/>
                <a:gd name="connsiteY23" fmla="*/ 28130 h 72224"/>
                <a:gd name="connsiteX24" fmla="*/ 58981 w 92793"/>
                <a:gd name="connsiteY24" fmla="*/ 32062 h 72224"/>
                <a:gd name="connsiteX25" fmla="*/ 53032 w 92793"/>
                <a:gd name="connsiteY25" fmla="*/ 37103 h 72224"/>
                <a:gd name="connsiteX26" fmla="*/ 51722 w 92793"/>
                <a:gd name="connsiteY26" fmla="*/ 41337 h 72224"/>
                <a:gd name="connsiteX27" fmla="*/ 51822 w 92793"/>
                <a:gd name="connsiteY27" fmla="*/ 44966 h 72224"/>
                <a:gd name="connsiteX28" fmla="*/ 46681 w 92793"/>
                <a:gd name="connsiteY28" fmla="*/ 51822 h 72224"/>
                <a:gd name="connsiteX29" fmla="*/ 38615 w 92793"/>
                <a:gd name="connsiteY29" fmla="*/ 55351 h 72224"/>
                <a:gd name="connsiteX30" fmla="*/ 23190 w 92793"/>
                <a:gd name="connsiteY30" fmla="*/ 52528 h 72224"/>
                <a:gd name="connsiteX31" fmla="*/ 22081 w 92793"/>
                <a:gd name="connsiteY31" fmla="*/ 51721 h 72224"/>
                <a:gd name="connsiteX32" fmla="*/ 21577 w 92793"/>
                <a:gd name="connsiteY32" fmla="*/ 52931 h 72224"/>
                <a:gd name="connsiteX33" fmla="*/ 7362 w 92793"/>
                <a:gd name="connsiteY33" fmla="*/ 68759 h 72224"/>
                <a:gd name="connsiteX34" fmla="*/ 2 w 92793"/>
                <a:gd name="connsiteY34" fmla="*/ 72187 h 7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2793" h="72224">
                  <a:moveTo>
                    <a:pt x="2" y="72187"/>
                  </a:moveTo>
                  <a:cubicBezTo>
                    <a:pt x="2" y="72288"/>
                    <a:pt x="809" y="72187"/>
                    <a:pt x="2220" y="71885"/>
                  </a:cubicBezTo>
                  <a:cubicBezTo>
                    <a:pt x="3632" y="71481"/>
                    <a:pt x="5648" y="70876"/>
                    <a:pt x="8068" y="69667"/>
                  </a:cubicBezTo>
                  <a:cubicBezTo>
                    <a:pt x="12806" y="67247"/>
                    <a:pt x="19460" y="62307"/>
                    <a:pt x="23695" y="53637"/>
                  </a:cubicBezTo>
                  <a:lnTo>
                    <a:pt x="22081" y="54040"/>
                  </a:lnTo>
                  <a:cubicBezTo>
                    <a:pt x="26517" y="57266"/>
                    <a:pt x="32869" y="58778"/>
                    <a:pt x="39220" y="57569"/>
                  </a:cubicBezTo>
                  <a:cubicBezTo>
                    <a:pt x="42346" y="56964"/>
                    <a:pt x="45572" y="55653"/>
                    <a:pt x="48294" y="53737"/>
                  </a:cubicBezTo>
                  <a:cubicBezTo>
                    <a:pt x="50915" y="51620"/>
                    <a:pt x="53738" y="49201"/>
                    <a:pt x="54545" y="45067"/>
                  </a:cubicBezTo>
                  <a:cubicBezTo>
                    <a:pt x="54746" y="43454"/>
                    <a:pt x="54444" y="42143"/>
                    <a:pt x="54444" y="41135"/>
                  </a:cubicBezTo>
                  <a:cubicBezTo>
                    <a:pt x="54444" y="40127"/>
                    <a:pt x="54746" y="39220"/>
                    <a:pt x="55351" y="38312"/>
                  </a:cubicBezTo>
                  <a:cubicBezTo>
                    <a:pt x="56460" y="36598"/>
                    <a:pt x="58476" y="35288"/>
                    <a:pt x="60392" y="34078"/>
                  </a:cubicBezTo>
                  <a:cubicBezTo>
                    <a:pt x="62408" y="32868"/>
                    <a:pt x="64525" y="31457"/>
                    <a:pt x="66139" y="29541"/>
                  </a:cubicBezTo>
                  <a:cubicBezTo>
                    <a:pt x="67752" y="27727"/>
                    <a:pt x="68861" y="24904"/>
                    <a:pt x="67953" y="22282"/>
                  </a:cubicBezTo>
                  <a:lnTo>
                    <a:pt x="66643" y="23896"/>
                  </a:lnTo>
                  <a:cubicBezTo>
                    <a:pt x="72692" y="24500"/>
                    <a:pt x="78237" y="22585"/>
                    <a:pt x="82169" y="19762"/>
                  </a:cubicBezTo>
                  <a:cubicBezTo>
                    <a:pt x="86201" y="17040"/>
                    <a:pt x="88822" y="13511"/>
                    <a:pt x="90436" y="10487"/>
                  </a:cubicBezTo>
                  <a:cubicBezTo>
                    <a:pt x="92049" y="7362"/>
                    <a:pt x="92553" y="4639"/>
                    <a:pt x="92754" y="2825"/>
                  </a:cubicBezTo>
                  <a:cubicBezTo>
                    <a:pt x="92855" y="1010"/>
                    <a:pt x="92754" y="2"/>
                    <a:pt x="92553" y="2"/>
                  </a:cubicBezTo>
                  <a:cubicBezTo>
                    <a:pt x="92149" y="-99"/>
                    <a:pt x="92553" y="4135"/>
                    <a:pt x="89125" y="9882"/>
                  </a:cubicBezTo>
                  <a:cubicBezTo>
                    <a:pt x="87411" y="12705"/>
                    <a:pt x="84790" y="15830"/>
                    <a:pt x="80959" y="18250"/>
                  </a:cubicBezTo>
                  <a:cubicBezTo>
                    <a:pt x="77229" y="20669"/>
                    <a:pt x="72188" y="22282"/>
                    <a:pt x="66844" y="21678"/>
                  </a:cubicBezTo>
                  <a:lnTo>
                    <a:pt x="64929" y="21476"/>
                  </a:lnTo>
                  <a:lnTo>
                    <a:pt x="65534" y="23291"/>
                  </a:lnTo>
                  <a:cubicBezTo>
                    <a:pt x="66038" y="24803"/>
                    <a:pt x="65433" y="26618"/>
                    <a:pt x="64122" y="28130"/>
                  </a:cubicBezTo>
                  <a:cubicBezTo>
                    <a:pt x="62812" y="29743"/>
                    <a:pt x="61098" y="30852"/>
                    <a:pt x="58981" y="32062"/>
                  </a:cubicBezTo>
                  <a:cubicBezTo>
                    <a:pt x="56964" y="33372"/>
                    <a:pt x="54746" y="34683"/>
                    <a:pt x="53032" y="37103"/>
                  </a:cubicBezTo>
                  <a:cubicBezTo>
                    <a:pt x="52226" y="38312"/>
                    <a:pt x="51722" y="39825"/>
                    <a:pt x="51722" y="41337"/>
                  </a:cubicBezTo>
                  <a:cubicBezTo>
                    <a:pt x="51722" y="42849"/>
                    <a:pt x="51923" y="43958"/>
                    <a:pt x="51822" y="44966"/>
                  </a:cubicBezTo>
                  <a:cubicBezTo>
                    <a:pt x="51419" y="47588"/>
                    <a:pt x="49000" y="50108"/>
                    <a:pt x="46681" y="51822"/>
                  </a:cubicBezTo>
                  <a:cubicBezTo>
                    <a:pt x="44261" y="53536"/>
                    <a:pt x="41438" y="54746"/>
                    <a:pt x="38615" y="55351"/>
                  </a:cubicBezTo>
                  <a:cubicBezTo>
                    <a:pt x="32970" y="56460"/>
                    <a:pt x="27223" y="55250"/>
                    <a:pt x="23190" y="52528"/>
                  </a:cubicBezTo>
                  <a:lnTo>
                    <a:pt x="22081" y="51721"/>
                  </a:lnTo>
                  <a:lnTo>
                    <a:pt x="21577" y="52931"/>
                  </a:lnTo>
                  <a:cubicBezTo>
                    <a:pt x="17847" y="61097"/>
                    <a:pt x="11798" y="66138"/>
                    <a:pt x="7362" y="68759"/>
                  </a:cubicBezTo>
                  <a:cubicBezTo>
                    <a:pt x="2926" y="71179"/>
                    <a:pt x="-98" y="71885"/>
                    <a:pt x="2" y="72187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1DD44370-1EB9-4A30-A243-A3C08CB8AB4F}"/>
                </a:ext>
              </a:extLst>
            </p:cNvPr>
            <p:cNvSpPr/>
            <p:nvPr/>
          </p:nvSpPr>
          <p:spPr>
            <a:xfrm>
              <a:off x="10901627" y="3099119"/>
              <a:ext cx="169650" cy="46672"/>
            </a:xfrm>
            <a:custGeom>
              <a:avLst/>
              <a:gdLst>
                <a:gd name="connsiteX0" fmla="*/ 169575 w 169650"/>
                <a:gd name="connsiteY0" fmla="*/ 46667 h 46672"/>
                <a:gd name="connsiteX1" fmla="*/ 169575 w 169650"/>
                <a:gd name="connsiteY1" fmla="*/ 45760 h 46672"/>
                <a:gd name="connsiteX2" fmla="*/ 169272 w 169650"/>
                <a:gd name="connsiteY2" fmla="*/ 43038 h 46672"/>
                <a:gd name="connsiteX3" fmla="*/ 165139 w 169650"/>
                <a:gd name="connsiteY3" fmla="*/ 33359 h 46672"/>
                <a:gd name="connsiteX4" fmla="*/ 154250 w 169650"/>
                <a:gd name="connsiteY4" fmla="*/ 21161 h 46672"/>
                <a:gd name="connsiteX5" fmla="*/ 146286 w 169650"/>
                <a:gd name="connsiteY5" fmla="*/ 14809 h 46672"/>
                <a:gd name="connsiteX6" fmla="*/ 140942 w 169650"/>
                <a:gd name="connsiteY6" fmla="*/ 12692 h 46672"/>
                <a:gd name="connsiteX7" fmla="*/ 134793 w 169650"/>
                <a:gd name="connsiteY7" fmla="*/ 14507 h 46672"/>
                <a:gd name="connsiteX8" fmla="*/ 136708 w 169650"/>
                <a:gd name="connsiteY8" fmla="*/ 15111 h 46672"/>
                <a:gd name="connsiteX9" fmla="*/ 124207 w 169650"/>
                <a:gd name="connsiteY9" fmla="*/ 1400 h 46672"/>
                <a:gd name="connsiteX10" fmla="*/ 105051 w 169650"/>
                <a:gd name="connsiteY10" fmla="*/ 8357 h 46672"/>
                <a:gd name="connsiteX11" fmla="*/ 107370 w 169650"/>
                <a:gd name="connsiteY11" fmla="*/ 8760 h 46672"/>
                <a:gd name="connsiteX12" fmla="*/ 99910 w 169650"/>
                <a:gd name="connsiteY12" fmla="*/ 695 h 46672"/>
                <a:gd name="connsiteX13" fmla="*/ 88719 w 169650"/>
                <a:gd name="connsiteY13" fmla="*/ 2509 h 46672"/>
                <a:gd name="connsiteX14" fmla="*/ 84888 w 169650"/>
                <a:gd name="connsiteY14" fmla="*/ 7752 h 46672"/>
                <a:gd name="connsiteX15" fmla="*/ 87408 w 169650"/>
                <a:gd name="connsiteY15" fmla="*/ 7953 h 46672"/>
                <a:gd name="connsiteX16" fmla="*/ 82972 w 169650"/>
                <a:gd name="connsiteY16" fmla="*/ 2812 h 46672"/>
                <a:gd name="connsiteX17" fmla="*/ 76520 w 169650"/>
                <a:gd name="connsiteY17" fmla="*/ 2106 h 46672"/>
                <a:gd name="connsiteX18" fmla="*/ 66539 w 169650"/>
                <a:gd name="connsiteY18" fmla="*/ 8054 h 46672"/>
                <a:gd name="connsiteX19" fmla="*/ 68253 w 169650"/>
                <a:gd name="connsiteY19" fmla="*/ 8054 h 46672"/>
                <a:gd name="connsiteX20" fmla="*/ 55046 w 169650"/>
                <a:gd name="connsiteY20" fmla="*/ 3618 h 46672"/>
                <a:gd name="connsiteX21" fmla="*/ 42646 w 169650"/>
                <a:gd name="connsiteY21" fmla="*/ 7248 h 46672"/>
                <a:gd name="connsiteX22" fmla="*/ 26313 w 169650"/>
                <a:gd name="connsiteY22" fmla="*/ 22270 h 46672"/>
                <a:gd name="connsiteX23" fmla="*/ 27926 w 169650"/>
                <a:gd name="connsiteY23" fmla="*/ 22975 h 46672"/>
                <a:gd name="connsiteX24" fmla="*/ 26112 w 169650"/>
                <a:gd name="connsiteY24" fmla="*/ 18741 h 46672"/>
                <a:gd name="connsiteX25" fmla="*/ 22281 w 169650"/>
                <a:gd name="connsiteY25" fmla="*/ 17229 h 46672"/>
                <a:gd name="connsiteX26" fmla="*/ 15224 w 169650"/>
                <a:gd name="connsiteY26" fmla="*/ 18136 h 46672"/>
                <a:gd name="connsiteX27" fmla="*/ 6049 w 169650"/>
                <a:gd name="connsiteY27" fmla="*/ 24084 h 46672"/>
                <a:gd name="connsiteX28" fmla="*/ 1311 w 169650"/>
                <a:gd name="connsiteY28" fmla="*/ 29125 h 46672"/>
                <a:gd name="connsiteX29" fmla="*/ 0 w 169650"/>
                <a:gd name="connsiteY29" fmla="*/ 31141 h 46672"/>
                <a:gd name="connsiteX30" fmla="*/ 6654 w 169650"/>
                <a:gd name="connsiteY30" fmla="*/ 24891 h 46672"/>
                <a:gd name="connsiteX31" fmla="*/ 15727 w 169650"/>
                <a:gd name="connsiteY31" fmla="*/ 19547 h 46672"/>
                <a:gd name="connsiteX32" fmla="*/ 21877 w 169650"/>
                <a:gd name="connsiteY32" fmla="*/ 18943 h 46672"/>
                <a:gd name="connsiteX33" fmla="*/ 25809 w 169650"/>
                <a:gd name="connsiteY33" fmla="*/ 22773 h 46672"/>
                <a:gd name="connsiteX34" fmla="*/ 25204 w 169650"/>
                <a:gd name="connsiteY34" fmla="*/ 26000 h 46672"/>
                <a:gd name="connsiteX35" fmla="*/ 27422 w 169650"/>
                <a:gd name="connsiteY35" fmla="*/ 23580 h 46672"/>
                <a:gd name="connsiteX36" fmla="*/ 43452 w 169650"/>
                <a:gd name="connsiteY36" fmla="*/ 9264 h 46672"/>
                <a:gd name="connsiteX37" fmla="*/ 54744 w 169650"/>
                <a:gd name="connsiteY37" fmla="*/ 6139 h 46672"/>
                <a:gd name="connsiteX38" fmla="*/ 66136 w 169650"/>
                <a:gd name="connsiteY38" fmla="*/ 10071 h 46672"/>
                <a:gd name="connsiteX39" fmla="*/ 66943 w 169650"/>
                <a:gd name="connsiteY39" fmla="*/ 10776 h 46672"/>
                <a:gd name="connsiteX40" fmla="*/ 67850 w 169650"/>
                <a:gd name="connsiteY40" fmla="*/ 10071 h 46672"/>
                <a:gd name="connsiteX41" fmla="*/ 76722 w 169650"/>
                <a:gd name="connsiteY41" fmla="*/ 4727 h 46672"/>
                <a:gd name="connsiteX42" fmla="*/ 84384 w 169650"/>
                <a:gd name="connsiteY42" fmla="*/ 8558 h 46672"/>
                <a:gd name="connsiteX43" fmla="*/ 85291 w 169650"/>
                <a:gd name="connsiteY43" fmla="*/ 13095 h 46672"/>
                <a:gd name="connsiteX44" fmla="*/ 86904 w 169650"/>
                <a:gd name="connsiteY44" fmla="*/ 8760 h 46672"/>
                <a:gd name="connsiteX45" fmla="*/ 89929 w 169650"/>
                <a:gd name="connsiteY45" fmla="*/ 4727 h 46672"/>
                <a:gd name="connsiteX46" fmla="*/ 98599 w 169650"/>
                <a:gd name="connsiteY46" fmla="*/ 3316 h 46672"/>
                <a:gd name="connsiteX47" fmla="*/ 104447 w 169650"/>
                <a:gd name="connsiteY47" fmla="*/ 9667 h 46672"/>
                <a:gd name="connsiteX48" fmla="*/ 105152 w 169650"/>
                <a:gd name="connsiteY48" fmla="*/ 12389 h 46672"/>
                <a:gd name="connsiteX49" fmla="*/ 106766 w 169650"/>
                <a:gd name="connsiteY49" fmla="*/ 10071 h 46672"/>
                <a:gd name="connsiteX50" fmla="*/ 123098 w 169650"/>
                <a:gd name="connsiteY50" fmla="*/ 4021 h 46672"/>
                <a:gd name="connsiteX51" fmla="*/ 134087 w 169650"/>
                <a:gd name="connsiteY51" fmla="*/ 15716 h 46672"/>
                <a:gd name="connsiteX52" fmla="*/ 134490 w 169650"/>
                <a:gd name="connsiteY52" fmla="*/ 17834 h 46672"/>
                <a:gd name="connsiteX53" fmla="*/ 136002 w 169650"/>
                <a:gd name="connsiteY53" fmla="*/ 16220 h 46672"/>
                <a:gd name="connsiteX54" fmla="*/ 144975 w 169650"/>
                <a:gd name="connsiteY54" fmla="*/ 16725 h 46672"/>
                <a:gd name="connsiteX55" fmla="*/ 152738 w 169650"/>
                <a:gd name="connsiteY55" fmla="*/ 22673 h 46672"/>
                <a:gd name="connsiteX56" fmla="*/ 163828 w 169650"/>
                <a:gd name="connsiteY56" fmla="*/ 34267 h 46672"/>
                <a:gd name="connsiteX57" fmla="*/ 169575 w 169650"/>
                <a:gd name="connsiteY57" fmla="*/ 46667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69650" h="46672">
                  <a:moveTo>
                    <a:pt x="169575" y="46667"/>
                  </a:moveTo>
                  <a:cubicBezTo>
                    <a:pt x="169675" y="46667"/>
                    <a:pt x="169675" y="46365"/>
                    <a:pt x="169575" y="45760"/>
                  </a:cubicBezTo>
                  <a:cubicBezTo>
                    <a:pt x="169575" y="45155"/>
                    <a:pt x="169474" y="44248"/>
                    <a:pt x="169272" y="43038"/>
                  </a:cubicBezTo>
                  <a:cubicBezTo>
                    <a:pt x="168768" y="40618"/>
                    <a:pt x="167659" y="37190"/>
                    <a:pt x="165139" y="33359"/>
                  </a:cubicBezTo>
                  <a:cubicBezTo>
                    <a:pt x="162719" y="29528"/>
                    <a:pt x="158888" y="25395"/>
                    <a:pt x="154250" y="21161"/>
                  </a:cubicBezTo>
                  <a:cubicBezTo>
                    <a:pt x="151831" y="19144"/>
                    <a:pt x="149512" y="16725"/>
                    <a:pt x="146286" y="14809"/>
                  </a:cubicBezTo>
                  <a:cubicBezTo>
                    <a:pt x="144673" y="13902"/>
                    <a:pt x="142959" y="12994"/>
                    <a:pt x="140942" y="12692"/>
                  </a:cubicBezTo>
                  <a:cubicBezTo>
                    <a:pt x="138926" y="12289"/>
                    <a:pt x="136406" y="12793"/>
                    <a:pt x="134793" y="14507"/>
                  </a:cubicBezTo>
                  <a:lnTo>
                    <a:pt x="136708" y="15111"/>
                  </a:lnTo>
                  <a:cubicBezTo>
                    <a:pt x="135599" y="9062"/>
                    <a:pt x="130861" y="3417"/>
                    <a:pt x="124207" y="1400"/>
                  </a:cubicBezTo>
                  <a:cubicBezTo>
                    <a:pt x="117553" y="-515"/>
                    <a:pt x="109487" y="2106"/>
                    <a:pt x="105051" y="8357"/>
                  </a:cubicBezTo>
                  <a:lnTo>
                    <a:pt x="107370" y="8760"/>
                  </a:lnTo>
                  <a:cubicBezTo>
                    <a:pt x="106362" y="5030"/>
                    <a:pt x="103539" y="2005"/>
                    <a:pt x="99910" y="695"/>
                  </a:cubicBezTo>
                  <a:cubicBezTo>
                    <a:pt x="96280" y="-717"/>
                    <a:pt x="91844" y="90"/>
                    <a:pt x="88719" y="2509"/>
                  </a:cubicBezTo>
                  <a:cubicBezTo>
                    <a:pt x="87005" y="3820"/>
                    <a:pt x="85594" y="5635"/>
                    <a:pt x="84888" y="7752"/>
                  </a:cubicBezTo>
                  <a:lnTo>
                    <a:pt x="87408" y="7953"/>
                  </a:lnTo>
                  <a:cubicBezTo>
                    <a:pt x="86904" y="5534"/>
                    <a:pt x="84989" y="3719"/>
                    <a:pt x="82972" y="2812"/>
                  </a:cubicBezTo>
                  <a:cubicBezTo>
                    <a:pt x="80956" y="1904"/>
                    <a:pt x="78738" y="1602"/>
                    <a:pt x="76520" y="2106"/>
                  </a:cubicBezTo>
                  <a:cubicBezTo>
                    <a:pt x="72286" y="3013"/>
                    <a:pt x="69261" y="5735"/>
                    <a:pt x="66539" y="8054"/>
                  </a:cubicBezTo>
                  <a:lnTo>
                    <a:pt x="68253" y="8054"/>
                  </a:lnTo>
                  <a:cubicBezTo>
                    <a:pt x="64523" y="4727"/>
                    <a:pt x="59583" y="3417"/>
                    <a:pt x="55046" y="3618"/>
                  </a:cubicBezTo>
                  <a:cubicBezTo>
                    <a:pt x="50510" y="3719"/>
                    <a:pt x="46275" y="5130"/>
                    <a:pt x="42646" y="7248"/>
                  </a:cubicBezTo>
                  <a:cubicBezTo>
                    <a:pt x="35488" y="11482"/>
                    <a:pt x="30649" y="17329"/>
                    <a:pt x="26313" y="22270"/>
                  </a:cubicBezTo>
                  <a:lnTo>
                    <a:pt x="27926" y="22975"/>
                  </a:lnTo>
                  <a:cubicBezTo>
                    <a:pt x="28128" y="21362"/>
                    <a:pt x="27422" y="19648"/>
                    <a:pt x="26112" y="18741"/>
                  </a:cubicBezTo>
                  <a:cubicBezTo>
                    <a:pt x="24902" y="17834"/>
                    <a:pt x="23591" y="17430"/>
                    <a:pt x="22281" y="17229"/>
                  </a:cubicBezTo>
                  <a:cubicBezTo>
                    <a:pt x="19760" y="16926"/>
                    <a:pt x="17341" y="17229"/>
                    <a:pt x="15224" y="18136"/>
                  </a:cubicBezTo>
                  <a:cubicBezTo>
                    <a:pt x="11291" y="19951"/>
                    <a:pt x="8267" y="22169"/>
                    <a:pt x="6049" y="24084"/>
                  </a:cubicBezTo>
                  <a:cubicBezTo>
                    <a:pt x="3831" y="26100"/>
                    <a:pt x="2319" y="27814"/>
                    <a:pt x="1311" y="29125"/>
                  </a:cubicBezTo>
                  <a:cubicBezTo>
                    <a:pt x="403" y="30335"/>
                    <a:pt x="0" y="31141"/>
                    <a:pt x="0" y="31141"/>
                  </a:cubicBezTo>
                  <a:cubicBezTo>
                    <a:pt x="202" y="31343"/>
                    <a:pt x="2117" y="28520"/>
                    <a:pt x="6654" y="24891"/>
                  </a:cubicBezTo>
                  <a:cubicBezTo>
                    <a:pt x="8973" y="23076"/>
                    <a:pt x="11997" y="21060"/>
                    <a:pt x="15727" y="19547"/>
                  </a:cubicBezTo>
                  <a:cubicBezTo>
                    <a:pt x="17542" y="18842"/>
                    <a:pt x="19760" y="18539"/>
                    <a:pt x="21877" y="18943"/>
                  </a:cubicBezTo>
                  <a:cubicBezTo>
                    <a:pt x="24095" y="19245"/>
                    <a:pt x="26213" y="20555"/>
                    <a:pt x="25809" y="22773"/>
                  </a:cubicBezTo>
                  <a:lnTo>
                    <a:pt x="25204" y="26000"/>
                  </a:lnTo>
                  <a:lnTo>
                    <a:pt x="27422" y="23580"/>
                  </a:lnTo>
                  <a:cubicBezTo>
                    <a:pt x="31858" y="18741"/>
                    <a:pt x="36697" y="13095"/>
                    <a:pt x="43452" y="9264"/>
                  </a:cubicBezTo>
                  <a:cubicBezTo>
                    <a:pt x="46779" y="7348"/>
                    <a:pt x="50711" y="6139"/>
                    <a:pt x="54744" y="6139"/>
                  </a:cubicBezTo>
                  <a:cubicBezTo>
                    <a:pt x="58776" y="6038"/>
                    <a:pt x="63011" y="7248"/>
                    <a:pt x="66136" y="10071"/>
                  </a:cubicBezTo>
                  <a:lnTo>
                    <a:pt x="66943" y="10776"/>
                  </a:lnTo>
                  <a:lnTo>
                    <a:pt x="67850" y="10071"/>
                  </a:lnTo>
                  <a:cubicBezTo>
                    <a:pt x="70572" y="7752"/>
                    <a:pt x="73395" y="5433"/>
                    <a:pt x="76722" y="4727"/>
                  </a:cubicBezTo>
                  <a:cubicBezTo>
                    <a:pt x="79747" y="4021"/>
                    <a:pt x="83779" y="5635"/>
                    <a:pt x="84384" y="8558"/>
                  </a:cubicBezTo>
                  <a:lnTo>
                    <a:pt x="85291" y="13095"/>
                  </a:lnTo>
                  <a:lnTo>
                    <a:pt x="86904" y="8760"/>
                  </a:lnTo>
                  <a:cubicBezTo>
                    <a:pt x="87509" y="7248"/>
                    <a:pt x="88518" y="5836"/>
                    <a:pt x="89929" y="4727"/>
                  </a:cubicBezTo>
                  <a:cubicBezTo>
                    <a:pt x="92449" y="2812"/>
                    <a:pt x="95776" y="2207"/>
                    <a:pt x="98599" y="3316"/>
                  </a:cubicBezTo>
                  <a:cubicBezTo>
                    <a:pt x="101422" y="4324"/>
                    <a:pt x="103741" y="6844"/>
                    <a:pt x="104447" y="9667"/>
                  </a:cubicBezTo>
                  <a:lnTo>
                    <a:pt x="105152" y="12389"/>
                  </a:lnTo>
                  <a:lnTo>
                    <a:pt x="106766" y="10071"/>
                  </a:lnTo>
                  <a:cubicBezTo>
                    <a:pt x="110395" y="4828"/>
                    <a:pt x="117452" y="2408"/>
                    <a:pt x="123098" y="4021"/>
                  </a:cubicBezTo>
                  <a:cubicBezTo>
                    <a:pt x="128845" y="5534"/>
                    <a:pt x="133079" y="10575"/>
                    <a:pt x="134087" y="15716"/>
                  </a:cubicBezTo>
                  <a:lnTo>
                    <a:pt x="134490" y="17834"/>
                  </a:lnTo>
                  <a:lnTo>
                    <a:pt x="136002" y="16220"/>
                  </a:lnTo>
                  <a:cubicBezTo>
                    <a:pt x="138220" y="13801"/>
                    <a:pt x="142152" y="15111"/>
                    <a:pt x="144975" y="16725"/>
                  </a:cubicBezTo>
                  <a:cubicBezTo>
                    <a:pt x="147899" y="18338"/>
                    <a:pt x="150319" y="20757"/>
                    <a:pt x="152738" y="22673"/>
                  </a:cubicBezTo>
                  <a:cubicBezTo>
                    <a:pt x="157477" y="26705"/>
                    <a:pt x="161308" y="30637"/>
                    <a:pt x="163828" y="34267"/>
                  </a:cubicBezTo>
                  <a:cubicBezTo>
                    <a:pt x="169272" y="41324"/>
                    <a:pt x="169171" y="46869"/>
                    <a:pt x="169575" y="46667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50C06687-0A70-4BD7-9BCA-C8F011860448}"/>
                </a:ext>
              </a:extLst>
            </p:cNvPr>
            <p:cNvSpPr/>
            <p:nvPr/>
          </p:nvSpPr>
          <p:spPr>
            <a:xfrm>
              <a:off x="10927731" y="3155879"/>
              <a:ext cx="153519" cy="68141"/>
            </a:xfrm>
            <a:custGeom>
              <a:avLst/>
              <a:gdLst>
                <a:gd name="connsiteX0" fmla="*/ 150830 w 153519"/>
                <a:gd name="connsiteY0" fmla="*/ 68141 h 68141"/>
                <a:gd name="connsiteX1" fmla="*/ 151637 w 153519"/>
                <a:gd name="connsiteY1" fmla="*/ 66125 h 68141"/>
                <a:gd name="connsiteX2" fmla="*/ 153149 w 153519"/>
                <a:gd name="connsiteY2" fmla="*/ 60177 h 68141"/>
                <a:gd name="connsiteX3" fmla="*/ 152443 w 153519"/>
                <a:gd name="connsiteY3" fmla="*/ 50297 h 68141"/>
                <a:gd name="connsiteX4" fmla="*/ 148814 w 153519"/>
                <a:gd name="connsiteY4" fmla="*/ 45054 h 68141"/>
                <a:gd name="connsiteX5" fmla="*/ 142059 w 153519"/>
                <a:gd name="connsiteY5" fmla="*/ 42433 h 68141"/>
                <a:gd name="connsiteX6" fmla="*/ 142966 w 153519"/>
                <a:gd name="connsiteY6" fmla="*/ 43643 h 68141"/>
                <a:gd name="connsiteX7" fmla="*/ 139841 w 153519"/>
                <a:gd name="connsiteY7" fmla="*/ 30940 h 68141"/>
                <a:gd name="connsiteX8" fmla="*/ 125122 w 153519"/>
                <a:gd name="connsiteY8" fmla="*/ 29125 h 68141"/>
                <a:gd name="connsiteX9" fmla="*/ 126836 w 153519"/>
                <a:gd name="connsiteY9" fmla="*/ 30536 h 68141"/>
                <a:gd name="connsiteX10" fmla="*/ 123206 w 153519"/>
                <a:gd name="connsiteY10" fmla="*/ 19346 h 68141"/>
                <a:gd name="connsiteX11" fmla="*/ 110907 w 153519"/>
                <a:gd name="connsiteY11" fmla="*/ 17430 h 68141"/>
                <a:gd name="connsiteX12" fmla="*/ 105261 w 153519"/>
                <a:gd name="connsiteY12" fmla="*/ 19043 h 68141"/>
                <a:gd name="connsiteX13" fmla="*/ 100926 w 153519"/>
                <a:gd name="connsiteY13" fmla="*/ 17027 h 68141"/>
                <a:gd name="connsiteX14" fmla="*/ 96086 w 153519"/>
                <a:gd name="connsiteY14" fmla="*/ 12490 h 68141"/>
                <a:gd name="connsiteX15" fmla="*/ 89130 w 153519"/>
                <a:gd name="connsiteY15" fmla="*/ 10978 h 68141"/>
                <a:gd name="connsiteX16" fmla="*/ 75520 w 153519"/>
                <a:gd name="connsiteY16" fmla="*/ 14607 h 68141"/>
                <a:gd name="connsiteX17" fmla="*/ 63724 w 153519"/>
                <a:gd name="connsiteY17" fmla="*/ 14607 h 68141"/>
                <a:gd name="connsiteX18" fmla="*/ 58885 w 153519"/>
                <a:gd name="connsiteY18" fmla="*/ 10776 h 68141"/>
                <a:gd name="connsiteX19" fmla="*/ 52634 w 153519"/>
                <a:gd name="connsiteY19" fmla="*/ 8357 h 68141"/>
                <a:gd name="connsiteX20" fmla="*/ 40939 w 153519"/>
                <a:gd name="connsiteY20" fmla="*/ 12389 h 68141"/>
                <a:gd name="connsiteX21" fmla="*/ 42855 w 153519"/>
                <a:gd name="connsiteY21" fmla="*/ 13498 h 68141"/>
                <a:gd name="connsiteX22" fmla="*/ 38117 w 153519"/>
                <a:gd name="connsiteY22" fmla="*/ 2207 h 68141"/>
                <a:gd name="connsiteX23" fmla="*/ 27329 w 153519"/>
                <a:gd name="connsiteY23" fmla="*/ 291 h 68141"/>
                <a:gd name="connsiteX24" fmla="*/ 11400 w 153519"/>
                <a:gd name="connsiteY24" fmla="*/ 7147 h 68141"/>
                <a:gd name="connsiteX25" fmla="*/ 2629 w 153519"/>
                <a:gd name="connsiteY25" fmla="*/ 14002 h 68141"/>
                <a:gd name="connsiteX26" fmla="*/ 8 w 153519"/>
                <a:gd name="connsiteY26" fmla="*/ 16926 h 68141"/>
                <a:gd name="connsiteX27" fmla="*/ 12106 w 153519"/>
                <a:gd name="connsiteY27" fmla="*/ 8357 h 68141"/>
                <a:gd name="connsiteX28" fmla="*/ 27631 w 153519"/>
                <a:gd name="connsiteY28" fmla="*/ 2207 h 68141"/>
                <a:gd name="connsiteX29" fmla="*/ 37008 w 153519"/>
                <a:gd name="connsiteY29" fmla="*/ 4021 h 68141"/>
                <a:gd name="connsiteX30" fmla="*/ 40738 w 153519"/>
                <a:gd name="connsiteY30" fmla="*/ 12793 h 68141"/>
                <a:gd name="connsiteX31" fmla="*/ 39225 w 153519"/>
                <a:gd name="connsiteY31" fmla="*/ 17531 h 68141"/>
                <a:gd name="connsiteX32" fmla="*/ 42653 w 153519"/>
                <a:gd name="connsiteY32" fmla="*/ 13902 h 68141"/>
                <a:gd name="connsiteX33" fmla="*/ 52332 w 153519"/>
                <a:gd name="connsiteY33" fmla="*/ 10675 h 68141"/>
                <a:gd name="connsiteX34" fmla="*/ 57373 w 153519"/>
                <a:gd name="connsiteY34" fmla="*/ 12692 h 68141"/>
                <a:gd name="connsiteX35" fmla="*/ 62514 w 153519"/>
                <a:gd name="connsiteY35" fmla="*/ 16724 h 68141"/>
                <a:gd name="connsiteX36" fmla="*/ 69471 w 153519"/>
                <a:gd name="connsiteY36" fmla="*/ 18338 h 68141"/>
                <a:gd name="connsiteX37" fmla="*/ 76326 w 153519"/>
                <a:gd name="connsiteY37" fmla="*/ 17027 h 68141"/>
                <a:gd name="connsiteX38" fmla="*/ 89332 w 153519"/>
                <a:gd name="connsiteY38" fmla="*/ 13599 h 68141"/>
                <a:gd name="connsiteX39" fmla="*/ 94776 w 153519"/>
                <a:gd name="connsiteY39" fmla="*/ 14809 h 68141"/>
                <a:gd name="connsiteX40" fmla="*/ 99111 w 153519"/>
                <a:gd name="connsiteY40" fmla="*/ 18842 h 68141"/>
                <a:gd name="connsiteX41" fmla="*/ 105664 w 153519"/>
                <a:gd name="connsiteY41" fmla="*/ 21564 h 68141"/>
                <a:gd name="connsiteX42" fmla="*/ 111713 w 153519"/>
                <a:gd name="connsiteY42" fmla="*/ 19850 h 68141"/>
                <a:gd name="connsiteX43" fmla="*/ 121896 w 153519"/>
                <a:gd name="connsiteY43" fmla="*/ 21261 h 68141"/>
                <a:gd name="connsiteX44" fmla="*/ 124819 w 153519"/>
                <a:gd name="connsiteY44" fmla="*/ 29528 h 68141"/>
                <a:gd name="connsiteX45" fmla="*/ 123610 w 153519"/>
                <a:gd name="connsiteY45" fmla="*/ 32654 h 68141"/>
                <a:gd name="connsiteX46" fmla="*/ 126533 w 153519"/>
                <a:gd name="connsiteY46" fmla="*/ 30940 h 68141"/>
                <a:gd name="connsiteX47" fmla="*/ 138631 w 153519"/>
                <a:gd name="connsiteY47" fmla="*/ 32250 h 68141"/>
                <a:gd name="connsiteX48" fmla="*/ 141454 w 153519"/>
                <a:gd name="connsiteY48" fmla="*/ 42836 h 68141"/>
                <a:gd name="connsiteX49" fmla="*/ 141051 w 153519"/>
                <a:gd name="connsiteY49" fmla="*/ 44147 h 68141"/>
                <a:gd name="connsiteX50" fmla="*/ 142362 w 153519"/>
                <a:gd name="connsiteY50" fmla="*/ 44046 h 68141"/>
                <a:gd name="connsiteX51" fmla="*/ 151334 w 153519"/>
                <a:gd name="connsiteY51" fmla="*/ 50599 h 68141"/>
                <a:gd name="connsiteX52" fmla="*/ 152342 w 153519"/>
                <a:gd name="connsiteY52" fmla="*/ 59773 h 68141"/>
                <a:gd name="connsiteX53" fmla="*/ 150830 w 153519"/>
                <a:gd name="connsiteY53" fmla="*/ 68141 h 68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53519" h="68141">
                  <a:moveTo>
                    <a:pt x="150830" y="68141"/>
                  </a:moveTo>
                  <a:cubicBezTo>
                    <a:pt x="150931" y="68141"/>
                    <a:pt x="151234" y="67536"/>
                    <a:pt x="151637" y="66125"/>
                  </a:cubicBezTo>
                  <a:cubicBezTo>
                    <a:pt x="152040" y="64814"/>
                    <a:pt x="152645" y="62798"/>
                    <a:pt x="153149" y="60177"/>
                  </a:cubicBezTo>
                  <a:cubicBezTo>
                    <a:pt x="153552" y="57555"/>
                    <a:pt x="153956" y="54128"/>
                    <a:pt x="152443" y="50297"/>
                  </a:cubicBezTo>
                  <a:cubicBezTo>
                    <a:pt x="151738" y="48482"/>
                    <a:pt x="150528" y="46566"/>
                    <a:pt x="148814" y="45054"/>
                  </a:cubicBezTo>
                  <a:cubicBezTo>
                    <a:pt x="147100" y="43542"/>
                    <a:pt x="144781" y="42332"/>
                    <a:pt x="142059" y="42433"/>
                  </a:cubicBezTo>
                  <a:lnTo>
                    <a:pt x="142966" y="43643"/>
                  </a:lnTo>
                  <a:cubicBezTo>
                    <a:pt x="144277" y="39610"/>
                    <a:pt x="143370" y="34468"/>
                    <a:pt x="139841" y="30940"/>
                  </a:cubicBezTo>
                  <a:cubicBezTo>
                    <a:pt x="136212" y="27411"/>
                    <a:pt x="130062" y="26403"/>
                    <a:pt x="125122" y="29125"/>
                  </a:cubicBezTo>
                  <a:lnTo>
                    <a:pt x="126836" y="30536"/>
                  </a:lnTo>
                  <a:cubicBezTo>
                    <a:pt x="128348" y="26504"/>
                    <a:pt x="126533" y="21967"/>
                    <a:pt x="123206" y="19346"/>
                  </a:cubicBezTo>
                  <a:cubicBezTo>
                    <a:pt x="119678" y="16724"/>
                    <a:pt x="115040" y="16422"/>
                    <a:pt x="110907" y="17430"/>
                  </a:cubicBezTo>
                  <a:cubicBezTo>
                    <a:pt x="108790" y="17934"/>
                    <a:pt x="106975" y="18842"/>
                    <a:pt x="105261" y="19043"/>
                  </a:cubicBezTo>
                  <a:cubicBezTo>
                    <a:pt x="103648" y="19245"/>
                    <a:pt x="102236" y="18438"/>
                    <a:pt x="100926" y="17027"/>
                  </a:cubicBezTo>
                  <a:cubicBezTo>
                    <a:pt x="99514" y="15716"/>
                    <a:pt x="98304" y="13700"/>
                    <a:pt x="96086" y="12490"/>
                  </a:cubicBezTo>
                  <a:cubicBezTo>
                    <a:pt x="94070" y="11180"/>
                    <a:pt x="91449" y="10675"/>
                    <a:pt x="89130" y="10978"/>
                  </a:cubicBezTo>
                  <a:cubicBezTo>
                    <a:pt x="84089" y="11381"/>
                    <a:pt x="79754" y="13297"/>
                    <a:pt x="75520" y="14607"/>
                  </a:cubicBezTo>
                  <a:cubicBezTo>
                    <a:pt x="71386" y="15918"/>
                    <a:pt x="67051" y="16523"/>
                    <a:pt x="63724" y="14607"/>
                  </a:cubicBezTo>
                  <a:cubicBezTo>
                    <a:pt x="62111" y="13700"/>
                    <a:pt x="60700" y="12087"/>
                    <a:pt x="58885" y="10776"/>
                  </a:cubicBezTo>
                  <a:cubicBezTo>
                    <a:pt x="57070" y="9365"/>
                    <a:pt x="54852" y="8558"/>
                    <a:pt x="52634" y="8357"/>
                  </a:cubicBezTo>
                  <a:cubicBezTo>
                    <a:pt x="48198" y="7853"/>
                    <a:pt x="43863" y="9365"/>
                    <a:pt x="40939" y="12389"/>
                  </a:cubicBezTo>
                  <a:lnTo>
                    <a:pt x="42855" y="13498"/>
                  </a:lnTo>
                  <a:cubicBezTo>
                    <a:pt x="44266" y="8760"/>
                    <a:pt x="41343" y="4425"/>
                    <a:pt x="38117" y="2207"/>
                  </a:cubicBezTo>
                  <a:cubicBezTo>
                    <a:pt x="34689" y="-112"/>
                    <a:pt x="30656" y="-314"/>
                    <a:pt x="27329" y="291"/>
                  </a:cubicBezTo>
                  <a:cubicBezTo>
                    <a:pt x="20574" y="1602"/>
                    <a:pt x="15433" y="4727"/>
                    <a:pt x="11400" y="7147"/>
                  </a:cubicBezTo>
                  <a:cubicBezTo>
                    <a:pt x="7367" y="9768"/>
                    <a:pt x="4444" y="12188"/>
                    <a:pt x="2629" y="14002"/>
                  </a:cubicBezTo>
                  <a:cubicBezTo>
                    <a:pt x="814" y="15817"/>
                    <a:pt x="-93" y="16825"/>
                    <a:pt x="8" y="16926"/>
                  </a:cubicBezTo>
                  <a:cubicBezTo>
                    <a:pt x="209" y="17229"/>
                    <a:pt x="4040" y="13095"/>
                    <a:pt x="12106" y="8357"/>
                  </a:cubicBezTo>
                  <a:cubicBezTo>
                    <a:pt x="16138" y="6139"/>
                    <a:pt x="21381" y="3215"/>
                    <a:pt x="27631" y="2207"/>
                  </a:cubicBezTo>
                  <a:cubicBezTo>
                    <a:pt x="30757" y="1803"/>
                    <a:pt x="34285" y="2005"/>
                    <a:pt x="37008" y="4021"/>
                  </a:cubicBezTo>
                  <a:cubicBezTo>
                    <a:pt x="39730" y="5937"/>
                    <a:pt x="41847" y="9566"/>
                    <a:pt x="40738" y="12793"/>
                  </a:cubicBezTo>
                  <a:lnTo>
                    <a:pt x="39225" y="17531"/>
                  </a:lnTo>
                  <a:lnTo>
                    <a:pt x="42653" y="13902"/>
                  </a:lnTo>
                  <a:cubicBezTo>
                    <a:pt x="44972" y="11482"/>
                    <a:pt x="48702" y="10171"/>
                    <a:pt x="52332" y="10675"/>
                  </a:cubicBezTo>
                  <a:cubicBezTo>
                    <a:pt x="54146" y="10877"/>
                    <a:pt x="55860" y="11583"/>
                    <a:pt x="57373" y="12692"/>
                  </a:cubicBezTo>
                  <a:cubicBezTo>
                    <a:pt x="58885" y="13801"/>
                    <a:pt x="60397" y="15515"/>
                    <a:pt x="62514" y="16724"/>
                  </a:cubicBezTo>
                  <a:cubicBezTo>
                    <a:pt x="64632" y="17833"/>
                    <a:pt x="67152" y="18438"/>
                    <a:pt x="69471" y="18338"/>
                  </a:cubicBezTo>
                  <a:cubicBezTo>
                    <a:pt x="71890" y="18237"/>
                    <a:pt x="74108" y="17632"/>
                    <a:pt x="76326" y="17027"/>
                  </a:cubicBezTo>
                  <a:cubicBezTo>
                    <a:pt x="80762" y="15716"/>
                    <a:pt x="84997" y="13902"/>
                    <a:pt x="89332" y="13599"/>
                  </a:cubicBezTo>
                  <a:cubicBezTo>
                    <a:pt x="91348" y="13398"/>
                    <a:pt x="93163" y="13801"/>
                    <a:pt x="94776" y="14809"/>
                  </a:cubicBezTo>
                  <a:cubicBezTo>
                    <a:pt x="96389" y="15615"/>
                    <a:pt x="97498" y="17329"/>
                    <a:pt x="99111" y="18842"/>
                  </a:cubicBezTo>
                  <a:cubicBezTo>
                    <a:pt x="100522" y="20455"/>
                    <a:pt x="103144" y="22068"/>
                    <a:pt x="105664" y="21564"/>
                  </a:cubicBezTo>
                  <a:cubicBezTo>
                    <a:pt x="108084" y="21261"/>
                    <a:pt x="109898" y="20253"/>
                    <a:pt x="111713" y="19850"/>
                  </a:cubicBezTo>
                  <a:cubicBezTo>
                    <a:pt x="115343" y="18942"/>
                    <a:pt x="119174" y="19245"/>
                    <a:pt x="121896" y="21261"/>
                  </a:cubicBezTo>
                  <a:cubicBezTo>
                    <a:pt x="124517" y="23177"/>
                    <a:pt x="125928" y="26806"/>
                    <a:pt x="124819" y="29528"/>
                  </a:cubicBezTo>
                  <a:lnTo>
                    <a:pt x="123610" y="32654"/>
                  </a:lnTo>
                  <a:lnTo>
                    <a:pt x="126533" y="30940"/>
                  </a:lnTo>
                  <a:cubicBezTo>
                    <a:pt x="130465" y="28621"/>
                    <a:pt x="135708" y="29427"/>
                    <a:pt x="138631" y="32250"/>
                  </a:cubicBezTo>
                  <a:cubicBezTo>
                    <a:pt x="141656" y="35073"/>
                    <a:pt x="142563" y="39509"/>
                    <a:pt x="141454" y="42836"/>
                  </a:cubicBezTo>
                  <a:lnTo>
                    <a:pt x="141051" y="44147"/>
                  </a:lnTo>
                  <a:lnTo>
                    <a:pt x="142362" y="44046"/>
                  </a:lnTo>
                  <a:cubicBezTo>
                    <a:pt x="146697" y="43844"/>
                    <a:pt x="149923" y="47474"/>
                    <a:pt x="151334" y="50599"/>
                  </a:cubicBezTo>
                  <a:cubicBezTo>
                    <a:pt x="152746" y="53926"/>
                    <a:pt x="152645" y="57253"/>
                    <a:pt x="152342" y="59773"/>
                  </a:cubicBezTo>
                  <a:cubicBezTo>
                    <a:pt x="151435" y="65218"/>
                    <a:pt x="150629" y="68141"/>
                    <a:pt x="150830" y="68141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2C9EB390-A7BE-4038-AD29-E55C7B12C6FA}"/>
                </a:ext>
              </a:extLst>
            </p:cNvPr>
            <p:cNvSpPr/>
            <p:nvPr/>
          </p:nvSpPr>
          <p:spPr>
            <a:xfrm>
              <a:off x="11062520" y="3247513"/>
              <a:ext cx="83280" cy="106677"/>
            </a:xfrm>
            <a:custGeom>
              <a:avLst/>
              <a:gdLst>
                <a:gd name="connsiteX0" fmla="*/ 75019 w 83280"/>
                <a:gd name="connsiteY0" fmla="*/ 106663 h 106677"/>
                <a:gd name="connsiteX1" fmla="*/ 77237 w 83280"/>
                <a:gd name="connsiteY1" fmla="*/ 105151 h 106677"/>
                <a:gd name="connsiteX2" fmla="*/ 81673 w 83280"/>
                <a:gd name="connsiteY2" fmla="*/ 98900 h 106677"/>
                <a:gd name="connsiteX3" fmla="*/ 82782 w 83280"/>
                <a:gd name="connsiteY3" fmla="*/ 86903 h 106677"/>
                <a:gd name="connsiteX4" fmla="*/ 73507 w 83280"/>
                <a:gd name="connsiteY4" fmla="*/ 74301 h 106677"/>
                <a:gd name="connsiteX5" fmla="*/ 74011 w 83280"/>
                <a:gd name="connsiteY5" fmla="*/ 75611 h 106677"/>
                <a:gd name="connsiteX6" fmla="*/ 76935 w 83280"/>
                <a:gd name="connsiteY6" fmla="*/ 61094 h 106677"/>
                <a:gd name="connsiteX7" fmla="*/ 74011 w 83280"/>
                <a:gd name="connsiteY7" fmla="*/ 53129 h 106677"/>
                <a:gd name="connsiteX8" fmla="*/ 66147 w 83280"/>
                <a:gd name="connsiteY8" fmla="*/ 48592 h 106677"/>
                <a:gd name="connsiteX9" fmla="*/ 67054 w 83280"/>
                <a:gd name="connsiteY9" fmla="*/ 50709 h 106677"/>
                <a:gd name="connsiteX10" fmla="*/ 69575 w 83280"/>
                <a:gd name="connsiteY10" fmla="*/ 35687 h 106677"/>
                <a:gd name="connsiteX11" fmla="*/ 64534 w 83280"/>
                <a:gd name="connsiteY11" fmla="*/ 28227 h 106677"/>
                <a:gd name="connsiteX12" fmla="*/ 56469 w 83280"/>
                <a:gd name="connsiteY12" fmla="*/ 24900 h 106677"/>
                <a:gd name="connsiteX13" fmla="*/ 51529 w 83280"/>
                <a:gd name="connsiteY13" fmla="*/ 21271 h 106677"/>
                <a:gd name="connsiteX14" fmla="*/ 47698 w 83280"/>
                <a:gd name="connsiteY14" fmla="*/ 14314 h 106677"/>
                <a:gd name="connsiteX15" fmla="*/ 35297 w 83280"/>
                <a:gd name="connsiteY15" fmla="*/ 6955 h 106677"/>
                <a:gd name="connsiteX16" fmla="*/ 23804 w 83280"/>
                <a:gd name="connsiteY16" fmla="*/ 2922 h 106677"/>
                <a:gd name="connsiteX17" fmla="*/ 6262 w 83280"/>
                <a:gd name="connsiteY17" fmla="*/ 99 h 106677"/>
                <a:gd name="connsiteX18" fmla="*/ 1523 w 83280"/>
                <a:gd name="connsiteY18" fmla="*/ 1107 h 106677"/>
                <a:gd name="connsiteX19" fmla="*/ 11 w 83280"/>
                <a:gd name="connsiteY19" fmla="*/ 1813 h 106677"/>
                <a:gd name="connsiteX20" fmla="*/ 6362 w 83280"/>
                <a:gd name="connsiteY20" fmla="*/ 1107 h 106677"/>
                <a:gd name="connsiteX21" fmla="*/ 23300 w 83280"/>
                <a:gd name="connsiteY21" fmla="*/ 4636 h 106677"/>
                <a:gd name="connsiteX22" fmla="*/ 34692 w 83280"/>
                <a:gd name="connsiteY22" fmla="*/ 8971 h 106677"/>
                <a:gd name="connsiteX23" fmla="*/ 45984 w 83280"/>
                <a:gd name="connsiteY23" fmla="*/ 15826 h 106677"/>
                <a:gd name="connsiteX24" fmla="*/ 49311 w 83280"/>
                <a:gd name="connsiteY24" fmla="*/ 22077 h 106677"/>
                <a:gd name="connsiteX25" fmla="*/ 51932 w 83280"/>
                <a:gd name="connsiteY25" fmla="*/ 25807 h 106677"/>
                <a:gd name="connsiteX26" fmla="*/ 56166 w 83280"/>
                <a:gd name="connsiteY26" fmla="*/ 27320 h 106677"/>
                <a:gd name="connsiteX27" fmla="*/ 67155 w 83280"/>
                <a:gd name="connsiteY27" fmla="*/ 36393 h 106677"/>
                <a:gd name="connsiteX28" fmla="*/ 65240 w 83280"/>
                <a:gd name="connsiteY28" fmla="*/ 48895 h 106677"/>
                <a:gd name="connsiteX29" fmla="*/ 63425 w 83280"/>
                <a:gd name="connsiteY29" fmla="*/ 50911 h 106677"/>
                <a:gd name="connsiteX30" fmla="*/ 66046 w 83280"/>
                <a:gd name="connsiteY30" fmla="*/ 51113 h 106677"/>
                <a:gd name="connsiteX31" fmla="*/ 74515 w 83280"/>
                <a:gd name="connsiteY31" fmla="*/ 61194 h 106677"/>
                <a:gd name="connsiteX32" fmla="*/ 71894 w 83280"/>
                <a:gd name="connsiteY32" fmla="*/ 74805 h 106677"/>
                <a:gd name="connsiteX33" fmla="*/ 71591 w 83280"/>
                <a:gd name="connsiteY33" fmla="*/ 75712 h 106677"/>
                <a:gd name="connsiteX34" fmla="*/ 72398 w 83280"/>
                <a:gd name="connsiteY34" fmla="*/ 76115 h 106677"/>
                <a:gd name="connsiteX35" fmla="*/ 81068 w 83280"/>
                <a:gd name="connsiteY35" fmla="*/ 87205 h 106677"/>
                <a:gd name="connsiteX36" fmla="*/ 80463 w 83280"/>
                <a:gd name="connsiteY36" fmla="*/ 98194 h 106677"/>
                <a:gd name="connsiteX37" fmla="*/ 75019 w 83280"/>
                <a:gd name="connsiteY37" fmla="*/ 106663 h 10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3280" h="106677">
                  <a:moveTo>
                    <a:pt x="75019" y="106663"/>
                  </a:moveTo>
                  <a:cubicBezTo>
                    <a:pt x="75120" y="106764"/>
                    <a:pt x="75926" y="106361"/>
                    <a:pt x="77237" y="105151"/>
                  </a:cubicBezTo>
                  <a:cubicBezTo>
                    <a:pt x="78548" y="103941"/>
                    <a:pt x="80362" y="102025"/>
                    <a:pt x="81673" y="98900"/>
                  </a:cubicBezTo>
                  <a:cubicBezTo>
                    <a:pt x="82984" y="95875"/>
                    <a:pt x="83891" y="91641"/>
                    <a:pt x="82782" y="86903"/>
                  </a:cubicBezTo>
                  <a:cubicBezTo>
                    <a:pt x="81673" y="82265"/>
                    <a:pt x="78649" y="77325"/>
                    <a:pt x="73507" y="74301"/>
                  </a:cubicBezTo>
                  <a:lnTo>
                    <a:pt x="74011" y="75611"/>
                  </a:lnTo>
                  <a:cubicBezTo>
                    <a:pt x="75422" y="71377"/>
                    <a:pt x="77338" y="66638"/>
                    <a:pt x="76935" y="61094"/>
                  </a:cubicBezTo>
                  <a:cubicBezTo>
                    <a:pt x="76733" y="58371"/>
                    <a:pt x="75725" y="55549"/>
                    <a:pt x="74011" y="53129"/>
                  </a:cubicBezTo>
                  <a:cubicBezTo>
                    <a:pt x="72297" y="50810"/>
                    <a:pt x="69474" y="48794"/>
                    <a:pt x="66147" y="48592"/>
                  </a:cubicBezTo>
                  <a:lnTo>
                    <a:pt x="67054" y="50709"/>
                  </a:lnTo>
                  <a:cubicBezTo>
                    <a:pt x="70583" y="46777"/>
                    <a:pt x="71289" y="40728"/>
                    <a:pt x="69575" y="35687"/>
                  </a:cubicBezTo>
                  <a:cubicBezTo>
                    <a:pt x="68567" y="32764"/>
                    <a:pt x="66853" y="30143"/>
                    <a:pt x="64534" y="28227"/>
                  </a:cubicBezTo>
                  <a:cubicBezTo>
                    <a:pt x="62316" y="26211"/>
                    <a:pt x="59090" y="25102"/>
                    <a:pt x="56469" y="24900"/>
                  </a:cubicBezTo>
                  <a:cubicBezTo>
                    <a:pt x="53747" y="24497"/>
                    <a:pt x="52335" y="23690"/>
                    <a:pt x="51529" y="21271"/>
                  </a:cubicBezTo>
                  <a:cubicBezTo>
                    <a:pt x="50722" y="18851"/>
                    <a:pt x="49411" y="16331"/>
                    <a:pt x="47698" y="14314"/>
                  </a:cubicBezTo>
                  <a:cubicBezTo>
                    <a:pt x="44270" y="10181"/>
                    <a:pt x="39330" y="8366"/>
                    <a:pt x="35297" y="6955"/>
                  </a:cubicBezTo>
                  <a:cubicBezTo>
                    <a:pt x="31163" y="5442"/>
                    <a:pt x="27332" y="4031"/>
                    <a:pt x="23804" y="2922"/>
                  </a:cubicBezTo>
                  <a:cubicBezTo>
                    <a:pt x="16646" y="502"/>
                    <a:pt x="10496" y="-304"/>
                    <a:pt x="6262" y="99"/>
                  </a:cubicBezTo>
                  <a:cubicBezTo>
                    <a:pt x="4144" y="301"/>
                    <a:pt x="2531" y="704"/>
                    <a:pt x="1523" y="1107"/>
                  </a:cubicBezTo>
                  <a:cubicBezTo>
                    <a:pt x="515" y="1510"/>
                    <a:pt x="-90" y="1712"/>
                    <a:pt x="11" y="1813"/>
                  </a:cubicBezTo>
                  <a:cubicBezTo>
                    <a:pt x="112" y="2115"/>
                    <a:pt x="2229" y="1208"/>
                    <a:pt x="6362" y="1107"/>
                  </a:cubicBezTo>
                  <a:cubicBezTo>
                    <a:pt x="10496" y="1006"/>
                    <a:pt x="16343" y="2015"/>
                    <a:pt x="23300" y="4636"/>
                  </a:cubicBezTo>
                  <a:cubicBezTo>
                    <a:pt x="26828" y="5946"/>
                    <a:pt x="30659" y="7459"/>
                    <a:pt x="34692" y="8971"/>
                  </a:cubicBezTo>
                  <a:cubicBezTo>
                    <a:pt x="38725" y="10483"/>
                    <a:pt x="43060" y="12197"/>
                    <a:pt x="45984" y="15826"/>
                  </a:cubicBezTo>
                  <a:cubicBezTo>
                    <a:pt x="47496" y="17641"/>
                    <a:pt x="48504" y="19658"/>
                    <a:pt x="49311" y="22077"/>
                  </a:cubicBezTo>
                  <a:cubicBezTo>
                    <a:pt x="49815" y="23287"/>
                    <a:pt x="50521" y="24900"/>
                    <a:pt x="51932" y="25807"/>
                  </a:cubicBezTo>
                  <a:cubicBezTo>
                    <a:pt x="53343" y="26816"/>
                    <a:pt x="54856" y="27017"/>
                    <a:pt x="56166" y="27320"/>
                  </a:cubicBezTo>
                  <a:cubicBezTo>
                    <a:pt x="61308" y="27622"/>
                    <a:pt x="65441" y="31453"/>
                    <a:pt x="67155" y="36393"/>
                  </a:cubicBezTo>
                  <a:cubicBezTo>
                    <a:pt x="68668" y="40728"/>
                    <a:pt x="68063" y="45769"/>
                    <a:pt x="65240" y="48895"/>
                  </a:cubicBezTo>
                  <a:lnTo>
                    <a:pt x="63425" y="50911"/>
                  </a:lnTo>
                  <a:lnTo>
                    <a:pt x="66046" y="51113"/>
                  </a:lnTo>
                  <a:cubicBezTo>
                    <a:pt x="70885" y="51415"/>
                    <a:pt x="74213" y="56658"/>
                    <a:pt x="74515" y="61194"/>
                  </a:cubicBezTo>
                  <a:cubicBezTo>
                    <a:pt x="74918" y="65933"/>
                    <a:pt x="73305" y="70570"/>
                    <a:pt x="71894" y="74805"/>
                  </a:cubicBezTo>
                  <a:lnTo>
                    <a:pt x="71591" y="75712"/>
                  </a:lnTo>
                  <a:lnTo>
                    <a:pt x="72398" y="76115"/>
                  </a:lnTo>
                  <a:cubicBezTo>
                    <a:pt x="77036" y="78737"/>
                    <a:pt x="79959" y="83072"/>
                    <a:pt x="81068" y="87205"/>
                  </a:cubicBezTo>
                  <a:cubicBezTo>
                    <a:pt x="82177" y="91439"/>
                    <a:pt x="81572" y="95371"/>
                    <a:pt x="80463" y="98194"/>
                  </a:cubicBezTo>
                  <a:cubicBezTo>
                    <a:pt x="78144" y="104344"/>
                    <a:pt x="74717" y="106361"/>
                    <a:pt x="75019" y="106663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968CE80F-B94F-4DCB-8CAA-564967281A87}"/>
                </a:ext>
              </a:extLst>
            </p:cNvPr>
            <p:cNvSpPr/>
            <p:nvPr/>
          </p:nvSpPr>
          <p:spPr>
            <a:xfrm>
              <a:off x="10848570" y="3171472"/>
              <a:ext cx="13080" cy="45709"/>
            </a:xfrm>
            <a:custGeom>
              <a:avLst/>
              <a:gdLst>
                <a:gd name="connsiteX0" fmla="*/ 26 w 13080"/>
                <a:gd name="connsiteY0" fmla="*/ 45693 h 45709"/>
                <a:gd name="connsiteX1" fmla="*/ 6680 w 13080"/>
                <a:gd name="connsiteY1" fmla="*/ 40551 h 45709"/>
                <a:gd name="connsiteX2" fmla="*/ 11721 w 13080"/>
                <a:gd name="connsiteY2" fmla="*/ 32687 h 45709"/>
                <a:gd name="connsiteX3" fmla="*/ 11016 w 13080"/>
                <a:gd name="connsiteY3" fmla="*/ 20992 h 45709"/>
                <a:gd name="connsiteX4" fmla="*/ 9201 w 13080"/>
                <a:gd name="connsiteY4" fmla="*/ 18674 h 45709"/>
                <a:gd name="connsiteX5" fmla="*/ 9201 w 13080"/>
                <a:gd name="connsiteY5" fmla="*/ 20589 h 45709"/>
                <a:gd name="connsiteX6" fmla="*/ 13032 w 13080"/>
                <a:gd name="connsiteY6" fmla="*/ 10407 h 45709"/>
                <a:gd name="connsiteX7" fmla="*/ 8999 w 13080"/>
                <a:gd name="connsiteY7" fmla="*/ 2644 h 45709"/>
                <a:gd name="connsiteX8" fmla="*/ 1741 w 13080"/>
                <a:gd name="connsiteY8" fmla="*/ 224 h 45709"/>
                <a:gd name="connsiteX9" fmla="*/ 7790 w 13080"/>
                <a:gd name="connsiteY9" fmla="*/ 3954 h 45709"/>
                <a:gd name="connsiteX10" fmla="*/ 10713 w 13080"/>
                <a:gd name="connsiteY10" fmla="*/ 10608 h 45709"/>
                <a:gd name="connsiteX11" fmla="*/ 7487 w 13080"/>
                <a:gd name="connsiteY11" fmla="*/ 18674 h 45709"/>
                <a:gd name="connsiteX12" fmla="*/ 6580 w 13080"/>
                <a:gd name="connsiteY12" fmla="*/ 19581 h 45709"/>
                <a:gd name="connsiteX13" fmla="*/ 7487 w 13080"/>
                <a:gd name="connsiteY13" fmla="*/ 20589 h 45709"/>
                <a:gd name="connsiteX14" fmla="*/ 8798 w 13080"/>
                <a:gd name="connsiteY14" fmla="*/ 22404 h 45709"/>
                <a:gd name="connsiteX15" fmla="*/ 9503 w 13080"/>
                <a:gd name="connsiteY15" fmla="*/ 32082 h 45709"/>
                <a:gd name="connsiteX16" fmla="*/ 5370 w 13080"/>
                <a:gd name="connsiteY16" fmla="*/ 39442 h 45709"/>
                <a:gd name="connsiteX17" fmla="*/ 26 w 13080"/>
                <a:gd name="connsiteY17" fmla="*/ 45693 h 45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080" h="45709">
                  <a:moveTo>
                    <a:pt x="26" y="45693"/>
                  </a:moveTo>
                  <a:cubicBezTo>
                    <a:pt x="228" y="45894"/>
                    <a:pt x="2950" y="44281"/>
                    <a:pt x="6680" y="40551"/>
                  </a:cubicBezTo>
                  <a:cubicBezTo>
                    <a:pt x="8495" y="38635"/>
                    <a:pt x="10512" y="36115"/>
                    <a:pt x="11721" y="32687"/>
                  </a:cubicBezTo>
                  <a:cubicBezTo>
                    <a:pt x="12830" y="29259"/>
                    <a:pt x="13234" y="24924"/>
                    <a:pt x="11016" y="20992"/>
                  </a:cubicBezTo>
                  <a:cubicBezTo>
                    <a:pt x="10512" y="20085"/>
                    <a:pt x="9907" y="19379"/>
                    <a:pt x="9201" y="18674"/>
                  </a:cubicBezTo>
                  <a:lnTo>
                    <a:pt x="9201" y="20589"/>
                  </a:lnTo>
                  <a:cubicBezTo>
                    <a:pt x="12225" y="17766"/>
                    <a:pt x="13334" y="13834"/>
                    <a:pt x="13032" y="10407"/>
                  </a:cubicBezTo>
                  <a:cubicBezTo>
                    <a:pt x="12730" y="6979"/>
                    <a:pt x="10915" y="4257"/>
                    <a:pt x="8999" y="2644"/>
                  </a:cubicBezTo>
                  <a:cubicBezTo>
                    <a:pt x="5067" y="-583"/>
                    <a:pt x="1640" y="-78"/>
                    <a:pt x="1741" y="224"/>
                  </a:cubicBezTo>
                  <a:cubicBezTo>
                    <a:pt x="1640" y="627"/>
                    <a:pt x="4664" y="829"/>
                    <a:pt x="7790" y="3954"/>
                  </a:cubicBezTo>
                  <a:cubicBezTo>
                    <a:pt x="9302" y="5467"/>
                    <a:pt x="10612" y="7785"/>
                    <a:pt x="10713" y="10608"/>
                  </a:cubicBezTo>
                  <a:cubicBezTo>
                    <a:pt x="10814" y="13330"/>
                    <a:pt x="9806" y="16557"/>
                    <a:pt x="7487" y="18674"/>
                  </a:cubicBezTo>
                  <a:lnTo>
                    <a:pt x="6580" y="19581"/>
                  </a:lnTo>
                  <a:lnTo>
                    <a:pt x="7487" y="20589"/>
                  </a:lnTo>
                  <a:cubicBezTo>
                    <a:pt x="7991" y="21093"/>
                    <a:pt x="8495" y="21698"/>
                    <a:pt x="8798" y="22404"/>
                  </a:cubicBezTo>
                  <a:cubicBezTo>
                    <a:pt x="10512" y="25428"/>
                    <a:pt x="10411" y="29058"/>
                    <a:pt x="9503" y="32082"/>
                  </a:cubicBezTo>
                  <a:cubicBezTo>
                    <a:pt x="8596" y="35107"/>
                    <a:pt x="6882" y="37526"/>
                    <a:pt x="5370" y="39442"/>
                  </a:cubicBezTo>
                  <a:cubicBezTo>
                    <a:pt x="2043" y="43071"/>
                    <a:pt x="-276" y="45390"/>
                    <a:pt x="26" y="45693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B51CF50E-DBB5-4974-BD91-ACEEF97C855B}"/>
                </a:ext>
              </a:extLst>
            </p:cNvPr>
            <p:cNvSpPr/>
            <p:nvPr/>
          </p:nvSpPr>
          <p:spPr>
            <a:xfrm>
              <a:off x="10775917" y="3150892"/>
              <a:ext cx="61388" cy="56105"/>
            </a:xfrm>
            <a:custGeom>
              <a:avLst/>
              <a:gdLst>
                <a:gd name="connsiteX0" fmla="*/ 5939 w 61388"/>
                <a:gd name="connsiteY0" fmla="*/ 56091 h 56105"/>
                <a:gd name="connsiteX1" fmla="*/ 1503 w 61388"/>
                <a:gd name="connsiteY1" fmla="*/ 47320 h 56105"/>
                <a:gd name="connsiteX2" fmla="*/ 5132 w 61388"/>
                <a:gd name="connsiteY2" fmla="*/ 37641 h 56105"/>
                <a:gd name="connsiteX3" fmla="*/ 17734 w 61388"/>
                <a:gd name="connsiteY3" fmla="*/ 36028 h 56105"/>
                <a:gd name="connsiteX4" fmla="*/ 19751 w 61388"/>
                <a:gd name="connsiteY4" fmla="*/ 37036 h 56105"/>
                <a:gd name="connsiteX5" fmla="*/ 19549 w 61388"/>
                <a:gd name="connsiteY5" fmla="*/ 34718 h 56105"/>
                <a:gd name="connsiteX6" fmla="*/ 20255 w 61388"/>
                <a:gd name="connsiteY6" fmla="*/ 26451 h 56105"/>
                <a:gd name="connsiteX7" fmla="*/ 25296 w 61388"/>
                <a:gd name="connsiteY7" fmla="*/ 20099 h 56105"/>
                <a:gd name="connsiteX8" fmla="*/ 34672 w 61388"/>
                <a:gd name="connsiteY8" fmla="*/ 24434 h 56105"/>
                <a:gd name="connsiteX9" fmla="*/ 37192 w 61388"/>
                <a:gd name="connsiteY9" fmla="*/ 24233 h 56105"/>
                <a:gd name="connsiteX10" fmla="*/ 40519 w 61388"/>
                <a:gd name="connsiteY10" fmla="*/ 9614 h 56105"/>
                <a:gd name="connsiteX11" fmla="*/ 50198 w 61388"/>
                <a:gd name="connsiteY11" fmla="*/ 2355 h 56105"/>
                <a:gd name="connsiteX12" fmla="*/ 61388 w 61388"/>
                <a:gd name="connsiteY12" fmla="*/ 1145 h 56105"/>
                <a:gd name="connsiteX13" fmla="*/ 58464 w 61388"/>
                <a:gd name="connsiteY13" fmla="*/ 238 h 56105"/>
                <a:gd name="connsiteX14" fmla="*/ 49794 w 61388"/>
                <a:gd name="connsiteY14" fmla="*/ 843 h 56105"/>
                <a:gd name="connsiteX15" fmla="*/ 38906 w 61388"/>
                <a:gd name="connsiteY15" fmla="*/ 8404 h 56105"/>
                <a:gd name="connsiteX16" fmla="*/ 34873 w 61388"/>
                <a:gd name="connsiteY16" fmla="*/ 24737 h 56105"/>
                <a:gd name="connsiteX17" fmla="*/ 37394 w 61388"/>
                <a:gd name="connsiteY17" fmla="*/ 24535 h 56105"/>
                <a:gd name="connsiteX18" fmla="*/ 32756 w 61388"/>
                <a:gd name="connsiteY18" fmla="*/ 17881 h 56105"/>
                <a:gd name="connsiteX19" fmla="*/ 24489 w 61388"/>
                <a:gd name="connsiteY19" fmla="*/ 17679 h 56105"/>
                <a:gd name="connsiteX20" fmla="*/ 18037 w 61388"/>
                <a:gd name="connsiteY20" fmla="*/ 25745 h 56105"/>
                <a:gd name="connsiteX21" fmla="*/ 17331 w 61388"/>
                <a:gd name="connsiteY21" fmla="*/ 35020 h 56105"/>
                <a:gd name="connsiteX22" fmla="*/ 19146 w 61388"/>
                <a:gd name="connsiteY22" fmla="*/ 33810 h 56105"/>
                <a:gd name="connsiteX23" fmla="*/ 4023 w 61388"/>
                <a:gd name="connsiteY23" fmla="*/ 36028 h 56105"/>
                <a:gd name="connsiteX24" fmla="*/ 192 w 61388"/>
                <a:gd name="connsiteY24" fmla="*/ 47521 h 56105"/>
                <a:gd name="connsiteX25" fmla="*/ 3822 w 61388"/>
                <a:gd name="connsiteY25" fmla="*/ 54478 h 56105"/>
                <a:gd name="connsiteX26" fmla="*/ 5939 w 61388"/>
                <a:gd name="connsiteY26" fmla="*/ 56091 h 56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1388" h="56105">
                  <a:moveTo>
                    <a:pt x="5939" y="56091"/>
                  </a:moveTo>
                  <a:cubicBezTo>
                    <a:pt x="6342" y="55889"/>
                    <a:pt x="2309" y="53671"/>
                    <a:pt x="1503" y="47320"/>
                  </a:cubicBezTo>
                  <a:cubicBezTo>
                    <a:pt x="1200" y="44295"/>
                    <a:pt x="2007" y="40263"/>
                    <a:pt x="5132" y="37641"/>
                  </a:cubicBezTo>
                  <a:cubicBezTo>
                    <a:pt x="8157" y="35020"/>
                    <a:pt x="13500" y="33810"/>
                    <a:pt x="17734" y="36028"/>
                  </a:cubicBezTo>
                  <a:lnTo>
                    <a:pt x="19751" y="37036"/>
                  </a:lnTo>
                  <a:lnTo>
                    <a:pt x="19549" y="34718"/>
                  </a:lnTo>
                  <a:cubicBezTo>
                    <a:pt x="19347" y="31996"/>
                    <a:pt x="19448" y="29173"/>
                    <a:pt x="20255" y="26451"/>
                  </a:cubicBezTo>
                  <a:cubicBezTo>
                    <a:pt x="21061" y="23829"/>
                    <a:pt x="22775" y="21208"/>
                    <a:pt x="25296" y="20099"/>
                  </a:cubicBezTo>
                  <a:cubicBezTo>
                    <a:pt x="29127" y="18385"/>
                    <a:pt x="34772" y="20805"/>
                    <a:pt x="34672" y="24434"/>
                  </a:cubicBezTo>
                  <a:lnTo>
                    <a:pt x="37192" y="24233"/>
                  </a:lnTo>
                  <a:cubicBezTo>
                    <a:pt x="36285" y="18788"/>
                    <a:pt x="37797" y="13445"/>
                    <a:pt x="40519" y="9614"/>
                  </a:cubicBezTo>
                  <a:cubicBezTo>
                    <a:pt x="43140" y="5783"/>
                    <a:pt x="46870" y="3464"/>
                    <a:pt x="50198" y="2355"/>
                  </a:cubicBezTo>
                  <a:cubicBezTo>
                    <a:pt x="56952" y="137"/>
                    <a:pt x="61287" y="1650"/>
                    <a:pt x="61388" y="1145"/>
                  </a:cubicBezTo>
                  <a:cubicBezTo>
                    <a:pt x="61388" y="1045"/>
                    <a:pt x="60380" y="541"/>
                    <a:pt x="58464" y="238"/>
                  </a:cubicBezTo>
                  <a:cubicBezTo>
                    <a:pt x="56448" y="-64"/>
                    <a:pt x="53424" y="-266"/>
                    <a:pt x="49794" y="843"/>
                  </a:cubicBezTo>
                  <a:cubicBezTo>
                    <a:pt x="46165" y="1851"/>
                    <a:pt x="41931" y="4170"/>
                    <a:pt x="38906" y="8404"/>
                  </a:cubicBezTo>
                  <a:cubicBezTo>
                    <a:pt x="35781" y="12538"/>
                    <a:pt x="33966" y="18486"/>
                    <a:pt x="34873" y="24737"/>
                  </a:cubicBezTo>
                  <a:lnTo>
                    <a:pt x="37394" y="24535"/>
                  </a:lnTo>
                  <a:cubicBezTo>
                    <a:pt x="37495" y="21611"/>
                    <a:pt x="35277" y="18990"/>
                    <a:pt x="32756" y="17881"/>
                  </a:cubicBezTo>
                  <a:cubicBezTo>
                    <a:pt x="30236" y="16772"/>
                    <a:pt x="27211" y="16570"/>
                    <a:pt x="24489" y="17679"/>
                  </a:cubicBezTo>
                  <a:cubicBezTo>
                    <a:pt x="20960" y="19293"/>
                    <a:pt x="18944" y="22519"/>
                    <a:pt x="18037" y="25745"/>
                  </a:cubicBezTo>
                  <a:cubicBezTo>
                    <a:pt x="17129" y="28971"/>
                    <a:pt x="17029" y="32096"/>
                    <a:pt x="17331" y="35020"/>
                  </a:cubicBezTo>
                  <a:lnTo>
                    <a:pt x="19146" y="33810"/>
                  </a:lnTo>
                  <a:cubicBezTo>
                    <a:pt x="13601" y="31189"/>
                    <a:pt x="7552" y="32802"/>
                    <a:pt x="4023" y="36028"/>
                  </a:cubicBezTo>
                  <a:cubicBezTo>
                    <a:pt x="293" y="39355"/>
                    <a:pt x="-413" y="44194"/>
                    <a:pt x="192" y="47521"/>
                  </a:cubicBezTo>
                  <a:cubicBezTo>
                    <a:pt x="797" y="50949"/>
                    <a:pt x="2511" y="53268"/>
                    <a:pt x="3822" y="54478"/>
                  </a:cubicBezTo>
                  <a:cubicBezTo>
                    <a:pt x="4930" y="55788"/>
                    <a:pt x="5838" y="56192"/>
                    <a:pt x="5939" y="56091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D5D47C36-C8AE-4CB8-830A-88984C074065}"/>
                </a:ext>
              </a:extLst>
            </p:cNvPr>
            <p:cNvSpPr/>
            <p:nvPr/>
          </p:nvSpPr>
          <p:spPr>
            <a:xfrm>
              <a:off x="10983087" y="3302098"/>
              <a:ext cx="79715" cy="102162"/>
            </a:xfrm>
            <a:custGeom>
              <a:avLst/>
              <a:gdLst>
                <a:gd name="connsiteX0" fmla="*/ 0 w 79715"/>
                <a:gd name="connsiteY0" fmla="*/ 14473 h 102162"/>
                <a:gd name="connsiteX1" fmla="*/ 75210 w 79715"/>
                <a:gd name="connsiteY1" fmla="*/ 33325 h 102162"/>
                <a:gd name="connsiteX2" fmla="*/ 30951 w 79715"/>
                <a:gd name="connsiteY2" fmla="*/ 101982 h 102162"/>
                <a:gd name="connsiteX3" fmla="*/ 0 w 79715"/>
                <a:gd name="connsiteY3" fmla="*/ 14473 h 10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715" h="102162">
                  <a:moveTo>
                    <a:pt x="0" y="14473"/>
                  </a:moveTo>
                  <a:cubicBezTo>
                    <a:pt x="1210" y="13263"/>
                    <a:pt x="53131" y="-27467"/>
                    <a:pt x="75210" y="33325"/>
                  </a:cubicBezTo>
                  <a:cubicBezTo>
                    <a:pt x="97188" y="94118"/>
                    <a:pt x="31657" y="103696"/>
                    <a:pt x="30951" y="101982"/>
                  </a:cubicBezTo>
                  <a:cubicBezTo>
                    <a:pt x="30145" y="100167"/>
                    <a:pt x="0" y="14473"/>
                    <a:pt x="0" y="14473"/>
                  </a:cubicBez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DBDCDF1-A969-4065-A147-DAB6A3AAECAC}"/>
                </a:ext>
              </a:extLst>
            </p:cNvPr>
            <p:cNvSpPr/>
            <p:nvPr/>
          </p:nvSpPr>
          <p:spPr>
            <a:xfrm>
              <a:off x="11012758" y="3321344"/>
              <a:ext cx="32615" cy="55612"/>
            </a:xfrm>
            <a:custGeom>
              <a:avLst/>
              <a:gdLst>
                <a:gd name="connsiteX0" fmla="*/ 11463 w 32615"/>
                <a:gd name="connsiteY0" fmla="*/ 52894 h 55612"/>
                <a:gd name="connsiteX1" fmla="*/ 14890 w 32615"/>
                <a:gd name="connsiteY1" fmla="*/ 53398 h 55612"/>
                <a:gd name="connsiteX2" fmla="*/ 22855 w 32615"/>
                <a:gd name="connsiteY2" fmla="*/ 50676 h 55612"/>
                <a:gd name="connsiteX3" fmla="*/ 26484 w 32615"/>
                <a:gd name="connsiteY3" fmla="*/ 22750 h 55612"/>
                <a:gd name="connsiteX4" fmla="*/ 18016 w 32615"/>
                <a:gd name="connsiteY4" fmla="*/ 8635 h 55612"/>
                <a:gd name="connsiteX5" fmla="*/ 7127 w 32615"/>
                <a:gd name="connsiteY5" fmla="*/ 3393 h 55612"/>
                <a:gd name="connsiteX6" fmla="*/ 1885 w 32615"/>
                <a:gd name="connsiteY6" fmla="*/ 8534 h 55612"/>
                <a:gd name="connsiteX7" fmla="*/ 2187 w 32615"/>
                <a:gd name="connsiteY7" fmla="*/ 11861 h 55612"/>
                <a:gd name="connsiteX8" fmla="*/ 70 w 32615"/>
                <a:gd name="connsiteY8" fmla="*/ 8635 h 55612"/>
                <a:gd name="connsiteX9" fmla="*/ 1078 w 32615"/>
                <a:gd name="connsiteY9" fmla="*/ 3998 h 55612"/>
                <a:gd name="connsiteX10" fmla="*/ 6321 w 32615"/>
                <a:gd name="connsiteY10" fmla="*/ 368 h 55612"/>
                <a:gd name="connsiteX11" fmla="*/ 20839 w 32615"/>
                <a:gd name="connsiteY11" fmla="*/ 5812 h 55612"/>
                <a:gd name="connsiteX12" fmla="*/ 30618 w 32615"/>
                <a:gd name="connsiteY12" fmla="*/ 21439 h 55612"/>
                <a:gd name="connsiteX13" fmla="*/ 24670 w 32615"/>
                <a:gd name="connsiteY13" fmla="*/ 53297 h 55612"/>
                <a:gd name="connsiteX14" fmla="*/ 14386 w 32615"/>
                <a:gd name="connsiteY14" fmla="*/ 55213 h 55612"/>
                <a:gd name="connsiteX15" fmla="*/ 11463 w 32615"/>
                <a:gd name="connsiteY15" fmla="*/ 52894 h 5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615" h="55612">
                  <a:moveTo>
                    <a:pt x="11463" y="52894"/>
                  </a:moveTo>
                  <a:cubicBezTo>
                    <a:pt x="11664" y="52592"/>
                    <a:pt x="12773" y="53297"/>
                    <a:pt x="14890" y="53398"/>
                  </a:cubicBezTo>
                  <a:cubicBezTo>
                    <a:pt x="16907" y="53600"/>
                    <a:pt x="20133" y="52995"/>
                    <a:pt x="22855" y="50676"/>
                  </a:cubicBezTo>
                  <a:cubicBezTo>
                    <a:pt x="28400" y="46039"/>
                    <a:pt x="30114" y="33840"/>
                    <a:pt x="26484" y="22750"/>
                  </a:cubicBezTo>
                  <a:cubicBezTo>
                    <a:pt x="24670" y="17205"/>
                    <a:pt x="21544" y="12366"/>
                    <a:pt x="18016" y="8635"/>
                  </a:cubicBezTo>
                  <a:cubicBezTo>
                    <a:pt x="14588" y="4905"/>
                    <a:pt x="10555" y="2788"/>
                    <a:pt x="7127" y="3393"/>
                  </a:cubicBezTo>
                  <a:cubicBezTo>
                    <a:pt x="3599" y="3796"/>
                    <a:pt x="2086" y="6619"/>
                    <a:pt x="1885" y="8534"/>
                  </a:cubicBezTo>
                  <a:cubicBezTo>
                    <a:pt x="1683" y="10551"/>
                    <a:pt x="2490" y="11559"/>
                    <a:pt x="2187" y="11861"/>
                  </a:cubicBezTo>
                  <a:cubicBezTo>
                    <a:pt x="2086" y="12063"/>
                    <a:pt x="474" y="11357"/>
                    <a:pt x="70" y="8635"/>
                  </a:cubicBezTo>
                  <a:cubicBezTo>
                    <a:pt x="-131" y="7325"/>
                    <a:pt x="70" y="5611"/>
                    <a:pt x="1078" y="3998"/>
                  </a:cubicBezTo>
                  <a:cubicBezTo>
                    <a:pt x="2086" y="2284"/>
                    <a:pt x="4002" y="872"/>
                    <a:pt x="6321" y="368"/>
                  </a:cubicBezTo>
                  <a:cubicBezTo>
                    <a:pt x="11160" y="-1043"/>
                    <a:pt x="16907" y="1780"/>
                    <a:pt x="20839" y="5812"/>
                  </a:cubicBezTo>
                  <a:cubicBezTo>
                    <a:pt x="24972" y="9744"/>
                    <a:pt x="28601" y="15188"/>
                    <a:pt x="30618" y="21439"/>
                  </a:cubicBezTo>
                  <a:cubicBezTo>
                    <a:pt x="34650" y="33840"/>
                    <a:pt x="32533" y="47551"/>
                    <a:pt x="24670" y="53297"/>
                  </a:cubicBezTo>
                  <a:cubicBezTo>
                    <a:pt x="20839" y="55919"/>
                    <a:pt x="16806" y="55919"/>
                    <a:pt x="14386" y="55213"/>
                  </a:cubicBezTo>
                  <a:cubicBezTo>
                    <a:pt x="12068" y="54305"/>
                    <a:pt x="11261" y="53096"/>
                    <a:pt x="11463" y="52894"/>
                  </a:cubicBez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4745CE46-BD0C-408F-A4F0-B10F3BAB3758}"/>
                </a:ext>
              </a:extLst>
            </p:cNvPr>
            <p:cNvSpPr/>
            <p:nvPr/>
          </p:nvSpPr>
          <p:spPr>
            <a:xfrm>
              <a:off x="10842044" y="3946881"/>
              <a:ext cx="392986" cy="300803"/>
            </a:xfrm>
            <a:custGeom>
              <a:avLst/>
              <a:gdLst>
                <a:gd name="connsiteX0" fmla="*/ 9275 w 392986"/>
                <a:gd name="connsiteY0" fmla="*/ 299024 h 300803"/>
                <a:gd name="connsiteX1" fmla="*/ 211313 w 392986"/>
                <a:gd name="connsiteY1" fmla="*/ 260209 h 300803"/>
                <a:gd name="connsiteX2" fmla="*/ 392986 w 392986"/>
                <a:gd name="connsiteY2" fmla="*/ 0 h 300803"/>
                <a:gd name="connsiteX3" fmla="*/ 0 w 392986"/>
                <a:gd name="connsiteY3" fmla="*/ 263436 h 300803"/>
                <a:gd name="connsiteX4" fmla="*/ 9275 w 392986"/>
                <a:gd name="connsiteY4" fmla="*/ 299024 h 300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2986" h="300803">
                  <a:moveTo>
                    <a:pt x="9275" y="299024"/>
                  </a:moveTo>
                  <a:cubicBezTo>
                    <a:pt x="9275" y="299024"/>
                    <a:pt x="130458" y="313441"/>
                    <a:pt x="211313" y="260209"/>
                  </a:cubicBezTo>
                  <a:cubicBezTo>
                    <a:pt x="292169" y="206877"/>
                    <a:pt x="392986" y="0"/>
                    <a:pt x="392986" y="0"/>
                  </a:cubicBezTo>
                  <a:cubicBezTo>
                    <a:pt x="392986" y="0"/>
                    <a:pt x="190847" y="233392"/>
                    <a:pt x="0" y="263436"/>
                  </a:cubicBezTo>
                  <a:lnTo>
                    <a:pt x="9275" y="299024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2212E414-E9B5-4300-AC1C-147F97589525}"/>
                </a:ext>
              </a:extLst>
            </p:cNvPr>
            <p:cNvSpPr/>
            <p:nvPr/>
          </p:nvSpPr>
          <p:spPr>
            <a:xfrm>
              <a:off x="10401976" y="3700098"/>
              <a:ext cx="898567" cy="536430"/>
            </a:xfrm>
            <a:custGeom>
              <a:avLst/>
              <a:gdLst>
                <a:gd name="connsiteX0" fmla="*/ 678803 w 898567"/>
                <a:gd name="connsiteY0" fmla="*/ 47870 h 536430"/>
                <a:gd name="connsiteX1" fmla="*/ 480193 w 898567"/>
                <a:gd name="connsiteY1" fmla="*/ 306769 h 536430"/>
                <a:gd name="connsiteX2" fmla="*/ 0 w 898567"/>
                <a:gd name="connsiteY2" fmla="*/ 377240 h 536430"/>
                <a:gd name="connsiteX3" fmla="*/ 25103 w 898567"/>
                <a:gd name="connsiteY3" fmla="*/ 536431 h 536430"/>
                <a:gd name="connsiteX4" fmla="*/ 502171 w 898567"/>
                <a:gd name="connsiteY4" fmla="*/ 509008 h 536430"/>
                <a:gd name="connsiteX5" fmla="*/ 684751 w 898567"/>
                <a:gd name="connsiteY5" fmla="*/ 417265 h 536430"/>
                <a:gd name="connsiteX6" fmla="*/ 872170 w 898567"/>
                <a:gd name="connsiteY6" fmla="*/ 198592 h 536430"/>
                <a:gd name="connsiteX7" fmla="*/ 842732 w 898567"/>
                <a:gd name="connsiteY7" fmla="*/ 19843 h 536430"/>
                <a:gd name="connsiteX8" fmla="*/ 842732 w 898567"/>
                <a:gd name="connsiteY8" fmla="*/ 19843 h 536430"/>
                <a:gd name="connsiteX9" fmla="*/ 678803 w 898567"/>
                <a:gd name="connsiteY9" fmla="*/ 47870 h 53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8567" h="536430">
                  <a:moveTo>
                    <a:pt x="678803" y="47870"/>
                  </a:moveTo>
                  <a:cubicBezTo>
                    <a:pt x="609844" y="137497"/>
                    <a:pt x="480193" y="306769"/>
                    <a:pt x="480193" y="306769"/>
                  </a:cubicBezTo>
                  <a:lnTo>
                    <a:pt x="0" y="377240"/>
                  </a:lnTo>
                  <a:lnTo>
                    <a:pt x="25103" y="536431"/>
                  </a:lnTo>
                  <a:lnTo>
                    <a:pt x="502171" y="509008"/>
                  </a:lnTo>
                  <a:cubicBezTo>
                    <a:pt x="572441" y="502657"/>
                    <a:pt x="637670" y="469891"/>
                    <a:pt x="684751" y="417265"/>
                  </a:cubicBezTo>
                  <a:cubicBezTo>
                    <a:pt x="743124" y="351935"/>
                    <a:pt x="822568" y="261401"/>
                    <a:pt x="872170" y="198592"/>
                  </a:cubicBezTo>
                  <a:cubicBezTo>
                    <a:pt x="916933" y="141933"/>
                    <a:pt x="903222" y="59161"/>
                    <a:pt x="842732" y="19843"/>
                  </a:cubicBezTo>
                  <a:lnTo>
                    <a:pt x="842732" y="19843"/>
                  </a:lnTo>
                  <a:cubicBezTo>
                    <a:pt x="789198" y="-15040"/>
                    <a:pt x="717819" y="-2841"/>
                    <a:pt x="678803" y="47870"/>
                  </a:cubicBez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35656257-D6FF-480C-9287-149EE80588AC}"/>
                </a:ext>
              </a:extLst>
            </p:cNvPr>
            <p:cNvSpPr/>
            <p:nvPr/>
          </p:nvSpPr>
          <p:spPr>
            <a:xfrm>
              <a:off x="11153116" y="4744849"/>
              <a:ext cx="133078" cy="632629"/>
            </a:xfrm>
            <a:custGeom>
              <a:avLst/>
              <a:gdLst>
                <a:gd name="connsiteX0" fmla="*/ 133028 w 133078"/>
                <a:gd name="connsiteY0" fmla="*/ 632629 h 632629"/>
                <a:gd name="connsiteX1" fmla="*/ 63968 w 133078"/>
                <a:gd name="connsiteY1" fmla="*/ 316870 h 632629"/>
                <a:gd name="connsiteX2" fmla="*/ 50 w 133078"/>
                <a:gd name="connsiteY2" fmla="*/ 0 h 632629"/>
                <a:gd name="connsiteX3" fmla="*/ 69110 w 133078"/>
                <a:gd name="connsiteY3" fmla="*/ 315861 h 632629"/>
                <a:gd name="connsiteX4" fmla="*/ 133028 w 133078"/>
                <a:gd name="connsiteY4" fmla="*/ 632629 h 632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078" h="632629">
                  <a:moveTo>
                    <a:pt x="133028" y="632629"/>
                  </a:moveTo>
                  <a:cubicBezTo>
                    <a:pt x="131617" y="632932"/>
                    <a:pt x="100666" y="491485"/>
                    <a:pt x="63968" y="316870"/>
                  </a:cubicBezTo>
                  <a:cubicBezTo>
                    <a:pt x="27271" y="142153"/>
                    <a:pt x="-1361" y="303"/>
                    <a:pt x="50" y="0"/>
                  </a:cubicBezTo>
                  <a:cubicBezTo>
                    <a:pt x="1462" y="-302"/>
                    <a:pt x="32413" y="141044"/>
                    <a:pt x="69110" y="315861"/>
                  </a:cubicBezTo>
                  <a:cubicBezTo>
                    <a:pt x="105808" y="490376"/>
                    <a:pt x="134440" y="632327"/>
                    <a:pt x="133028" y="632629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BD63DD1B-8C38-4C2B-AA86-2B0AEAFF3C80}"/>
                </a:ext>
              </a:extLst>
            </p:cNvPr>
            <p:cNvSpPr/>
            <p:nvPr/>
          </p:nvSpPr>
          <p:spPr>
            <a:xfrm>
              <a:off x="11535269" y="5262356"/>
              <a:ext cx="35780" cy="37467"/>
            </a:xfrm>
            <a:custGeom>
              <a:avLst/>
              <a:gdLst>
                <a:gd name="connsiteX0" fmla="*/ 35684 w 35780"/>
                <a:gd name="connsiteY0" fmla="*/ 90 h 37467"/>
                <a:gd name="connsiteX1" fmla="*/ 19755 w 35780"/>
                <a:gd name="connsiteY1" fmla="*/ 20556 h 37467"/>
                <a:gd name="connsiteX2" fmla="*/ 96 w 35780"/>
                <a:gd name="connsiteY2" fmla="*/ 37393 h 37467"/>
                <a:gd name="connsiteX3" fmla="*/ 16025 w 35780"/>
                <a:gd name="connsiteY3" fmla="*/ 16927 h 37467"/>
                <a:gd name="connsiteX4" fmla="*/ 35684 w 35780"/>
                <a:gd name="connsiteY4" fmla="*/ 90 h 3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80" h="37467">
                  <a:moveTo>
                    <a:pt x="35684" y="90"/>
                  </a:moveTo>
                  <a:cubicBezTo>
                    <a:pt x="36693" y="1098"/>
                    <a:pt x="29636" y="10273"/>
                    <a:pt x="19755" y="20556"/>
                  </a:cubicBezTo>
                  <a:cubicBezTo>
                    <a:pt x="9875" y="30840"/>
                    <a:pt x="1104" y="38300"/>
                    <a:pt x="96" y="37393"/>
                  </a:cubicBezTo>
                  <a:cubicBezTo>
                    <a:pt x="-912" y="36384"/>
                    <a:pt x="6145" y="27210"/>
                    <a:pt x="16025" y="16927"/>
                  </a:cubicBezTo>
                  <a:cubicBezTo>
                    <a:pt x="25905" y="6644"/>
                    <a:pt x="34676" y="-918"/>
                    <a:pt x="35684" y="90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1C0190A5-1BCF-4CD0-A1EE-7EA0F8DF4E2D}"/>
                </a:ext>
              </a:extLst>
            </p:cNvPr>
            <p:cNvSpPr/>
            <p:nvPr/>
          </p:nvSpPr>
          <p:spPr>
            <a:xfrm>
              <a:off x="10398952" y="3657132"/>
              <a:ext cx="861786" cy="584135"/>
            </a:xfrm>
            <a:custGeom>
              <a:avLst/>
              <a:gdLst>
                <a:gd name="connsiteX0" fmla="*/ 758953 w 861786"/>
                <a:gd name="connsiteY0" fmla="*/ 0 h 584135"/>
                <a:gd name="connsiteX1" fmla="*/ 754214 w 861786"/>
                <a:gd name="connsiteY1" fmla="*/ 6553 h 584135"/>
                <a:gd name="connsiteX2" fmla="*/ 739898 w 861786"/>
                <a:gd name="connsiteY2" fmla="*/ 25204 h 584135"/>
                <a:gd name="connsiteX3" fmla="*/ 684751 w 861786"/>
                <a:gd name="connsiteY3" fmla="*/ 96079 h 584135"/>
                <a:gd name="connsiteX4" fmla="*/ 484931 w 861786"/>
                <a:gd name="connsiteY4" fmla="*/ 350945 h 584135"/>
                <a:gd name="connsiteX5" fmla="*/ 484427 w 861786"/>
                <a:gd name="connsiteY5" fmla="*/ 351651 h 584135"/>
                <a:gd name="connsiteX6" fmla="*/ 483621 w 861786"/>
                <a:gd name="connsiteY6" fmla="*/ 351752 h 584135"/>
                <a:gd name="connsiteX7" fmla="*/ 3529 w 861786"/>
                <a:gd name="connsiteY7" fmla="*/ 422626 h 584135"/>
                <a:gd name="connsiteX8" fmla="*/ 5747 w 861786"/>
                <a:gd name="connsiteY8" fmla="*/ 419602 h 584135"/>
                <a:gd name="connsiteX9" fmla="*/ 20668 w 861786"/>
                <a:gd name="connsiteY9" fmla="*/ 511345 h 584135"/>
                <a:gd name="connsiteX10" fmla="*/ 31959 w 861786"/>
                <a:gd name="connsiteY10" fmla="*/ 580909 h 584135"/>
                <a:gd name="connsiteX11" fmla="*/ 29237 w 861786"/>
                <a:gd name="connsiteY11" fmla="*/ 578691 h 584135"/>
                <a:gd name="connsiteX12" fmla="*/ 537659 w 861786"/>
                <a:gd name="connsiteY12" fmla="*/ 547035 h 584135"/>
                <a:gd name="connsiteX13" fmla="*/ 537457 w 861786"/>
                <a:gd name="connsiteY13" fmla="*/ 547035 h 584135"/>
                <a:gd name="connsiteX14" fmla="*/ 624967 w 861786"/>
                <a:gd name="connsiteY14" fmla="*/ 510640 h 584135"/>
                <a:gd name="connsiteX15" fmla="*/ 689893 w 861786"/>
                <a:gd name="connsiteY15" fmla="*/ 454888 h 584135"/>
                <a:gd name="connsiteX16" fmla="*/ 781637 w 861786"/>
                <a:gd name="connsiteY16" fmla="*/ 349231 h 584135"/>
                <a:gd name="connsiteX17" fmla="*/ 840615 w 861786"/>
                <a:gd name="connsiteY17" fmla="*/ 281683 h 584135"/>
                <a:gd name="connsiteX18" fmla="*/ 856242 w 861786"/>
                <a:gd name="connsiteY18" fmla="*/ 264040 h 584135"/>
                <a:gd name="connsiteX19" fmla="*/ 861786 w 861786"/>
                <a:gd name="connsiteY19" fmla="*/ 258193 h 584135"/>
                <a:gd name="connsiteX20" fmla="*/ 856746 w 861786"/>
                <a:gd name="connsiteY20" fmla="*/ 264545 h 584135"/>
                <a:gd name="connsiteX21" fmla="*/ 841623 w 861786"/>
                <a:gd name="connsiteY21" fmla="*/ 282591 h 584135"/>
                <a:gd name="connsiteX22" fmla="*/ 783552 w 861786"/>
                <a:gd name="connsiteY22" fmla="*/ 350945 h 584135"/>
                <a:gd name="connsiteX23" fmla="*/ 692514 w 861786"/>
                <a:gd name="connsiteY23" fmla="*/ 457307 h 584135"/>
                <a:gd name="connsiteX24" fmla="*/ 538163 w 861786"/>
                <a:gd name="connsiteY24" fmla="*/ 551370 h 584135"/>
                <a:gd name="connsiteX25" fmla="*/ 538062 w 861786"/>
                <a:gd name="connsiteY25" fmla="*/ 551370 h 584135"/>
                <a:gd name="connsiteX26" fmla="*/ 537860 w 861786"/>
                <a:gd name="connsiteY26" fmla="*/ 551370 h 584135"/>
                <a:gd name="connsiteX27" fmla="*/ 29439 w 861786"/>
                <a:gd name="connsiteY27" fmla="*/ 583934 h 584135"/>
                <a:gd name="connsiteX28" fmla="*/ 27019 w 861786"/>
                <a:gd name="connsiteY28" fmla="*/ 584136 h 584135"/>
                <a:gd name="connsiteX29" fmla="*/ 26616 w 861786"/>
                <a:gd name="connsiteY29" fmla="*/ 581817 h 584135"/>
                <a:gd name="connsiteX30" fmla="*/ 15324 w 861786"/>
                <a:gd name="connsiteY30" fmla="*/ 512253 h 584135"/>
                <a:gd name="connsiteX31" fmla="*/ 403 w 861786"/>
                <a:gd name="connsiteY31" fmla="*/ 420509 h 584135"/>
                <a:gd name="connsiteX32" fmla="*/ 0 w 861786"/>
                <a:gd name="connsiteY32" fmla="*/ 417888 h 584135"/>
                <a:gd name="connsiteX33" fmla="*/ 2621 w 861786"/>
                <a:gd name="connsiteY33" fmla="*/ 417484 h 584135"/>
                <a:gd name="connsiteX34" fmla="*/ 482814 w 861786"/>
                <a:gd name="connsiteY34" fmla="*/ 347517 h 584135"/>
                <a:gd name="connsiteX35" fmla="*/ 481403 w 861786"/>
                <a:gd name="connsiteY35" fmla="*/ 348324 h 584135"/>
                <a:gd name="connsiteX36" fmla="*/ 682735 w 861786"/>
                <a:gd name="connsiteY36" fmla="*/ 94567 h 584135"/>
                <a:gd name="connsiteX37" fmla="*/ 738789 w 861786"/>
                <a:gd name="connsiteY37" fmla="*/ 24398 h 584135"/>
                <a:gd name="connsiteX38" fmla="*/ 753609 w 861786"/>
                <a:gd name="connsiteY38" fmla="*/ 6049 h 584135"/>
                <a:gd name="connsiteX39" fmla="*/ 758953 w 861786"/>
                <a:gd name="connsiteY39" fmla="*/ 0 h 584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861786" h="584135">
                  <a:moveTo>
                    <a:pt x="758953" y="0"/>
                  </a:moveTo>
                  <a:cubicBezTo>
                    <a:pt x="758953" y="0"/>
                    <a:pt x="757440" y="2319"/>
                    <a:pt x="754214" y="6553"/>
                  </a:cubicBezTo>
                  <a:cubicBezTo>
                    <a:pt x="750887" y="10989"/>
                    <a:pt x="746048" y="17240"/>
                    <a:pt x="739898" y="25204"/>
                  </a:cubicBezTo>
                  <a:cubicBezTo>
                    <a:pt x="727095" y="41738"/>
                    <a:pt x="708443" y="65632"/>
                    <a:pt x="684751" y="96079"/>
                  </a:cubicBezTo>
                  <a:cubicBezTo>
                    <a:pt x="636762" y="157275"/>
                    <a:pt x="568106" y="244885"/>
                    <a:pt x="484931" y="350945"/>
                  </a:cubicBezTo>
                  <a:lnTo>
                    <a:pt x="484427" y="351651"/>
                  </a:lnTo>
                  <a:lnTo>
                    <a:pt x="483621" y="351752"/>
                  </a:lnTo>
                  <a:cubicBezTo>
                    <a:pt x="346005" y="372016"/>
                    <a:pt x="181471" y="396313"/>
                    <a:pt x="3529" y="422626"/>
                  </a:cubicBezTo>
                  <a:lnTo>
                    <a:pt x="5747" y="419602"/>
                  </a:lnTo>
                  <a:cubicBezTo>
                    <a:pt x="10485" y="448839"/>
                    <a:pt x="15526" y="479890"/>
                    <a:pt x="20668" y="511345"/>
                  </a:cubicBezTo>
                  <a:cubicBezTo>
                    <a:pt x="24499" y="534735"/>
                    <a:pt x="28229" y="558024"/>
                    <a:pt x="31959" y="580909"/>
                  </a:cubicBezTo>
                  <a:lnTo>
                    <a:pt x="29237" y="578691"/>
                  </a:lnTo>
                  <a:cubicBezTo>
                    <a:pt x="217463" y="566996"/>
                    <a:pt x="391574" y="556209"/>
                    <a:pt x="537659" y="547035"/>
                  </a:cubicBezTo>
                  <a:lnTo>
                    <a:pt x="537457" y="547035"/>
                  </a:lnTo>
                  <a:cubicBezTo>
                    <a:pt x="569820" y="540179"/>
                    <a:pt x="599359" y="526468"/>
                    <a:pt x="624967" y="510640"/>
                  </a:cubicBezTo>
                  <a:cubicBezTo>
                    <a:pt x="650675" y="494509"/>
                    <a:pt x="672351" y="475354"/>
                    <a:pt x="689893" y="454888"/>
                  </a:cubicBezTo>
                  <a:cubicBezTo>
                    <a:pt x="725381" y="414057"/>
                    <a:pt x="756231" y="378468"/>
                    <a:pt x="781637" y="349231"/>
                  </a:cubicBezTo>
                  <a:cubicBezTo>
                    <a:pt x="806942" y="320196"/>
                    <a:pt x="826904" y="297411"/>
                    <a:pt x="840615" y="281683"/>
                  </a:cubicBezTo>
                  <a:cubicBezTo>
                    <a:pt x="847370" y="274122"/>
                    <a:pt x="852511" y="268174"/>
                    <a:pt x="856242" y="264040"/>
                  </a:cubicBezTo>
                  <a:cubicBezTo>
                    <a:pt x="859770" y="260109"/>
                    <a:pt x="861786" y="258193"/>
                    <a:pt x="861786" y="258193"/>
                  </a:cubicBezTo>
                  <a:cubicBezTo>
                    <a:pt x="861786" y="258193"/>
                    <a:pt x="860173" y="260411"/>
                    <a:pt x="856746" y="264545"/>
                  </a:cubicBezTo>
                  <a:cubicBezTo>
                    <a:pt x="853217" y="268779"/>
                    <a:pt x="848176" y="274828"/>
                    <a:pt x="841623" y="282591"/>
                  </a:cubicBezTo>
                  <a:cubicBezTo>
                    <a:pt x="828113" y="298520"/>
                    <a:pt x="808454" y="321506"/>
                    <a:pt x="783552" y="350945"/>
                  </a:cubicBezTo>
                  <a:cubicBezTo>
                    <a:pt x="758348" y="380384"/>
                    <a:pt x="727700" y="416174"/>
                    <a:pt x="692514" y="457307"/>
                  </a:cubicBezTo>
                  <a:cubicBezTo>
                    <a:pt x="657430" y="498642"/>
                    <a:pt x="604501" y="536146"/>
                    <a:pt x="538163" y="551370"/>
                  </a:cubicBezTo>
                  <a:lnTo>
                    <a:pt x="538062" y="551370"/>
                  </a:lnTo>
                  <a:lnTo>
                    <a:pt x="537860" y="551370"/>
                  </a:lnTo>
                  <a:cubicBezTo>
                    <a:pt x="391776" y="560746"/>
                    <a:pt x="217765" y="571836"/>
                    <a:pt x="29439" y="583934"/>
                  </a:cubicBezTo>
                  <a:lnTo>
                    <a:pt x="27019" y="584136"/>
                  </a:lnTo>
                  <a:lnTo>
                    <a:pt x="26616" y="581817"/>
                  </a:lnTo>
                  <a:cubicBezTo>
                    <a:pt x="22885" y="558830"/>
                    <a:pt x="19155" y="535642"/>
                    <a:pt x="15324" y="512253"/>
                  </a:cubicBezTo>
                  <a:cubicBezTo>
                    <a:pt x="10182" y="480798"/>
                    <a:pt x="5142" y="449746"/>
                    <a:pt x="403" y="420509"/>
                  </a:cubicBezTo>
                  <a:lnTo>
                    <a:pt x="0" y="417888"/>
                  </a:lnTo>
                  <a:lnTo>
                    <a:pt x="2621" y="417484"/>
                  </a:lnTo>
                  <a:cubicBezTo>
                    <a:pt x="180665" y="391574"/>
                    <a:pt x="345199" y="367580"/>
                    <a:pt x="482814" y="347517"/>
                  </a:cubicBezTo>
                  <a:lnTo>
                    <a:pt x="481403" y="348324"/>
                  </a:lnTo>
                  <a:cubicBezTo>
                    <a:pt x="565182" y="242667"/>
                    <a:pt x="634343" y="155561"/>
                    <a:pt x="682735" y="94567"/>
                  </a:cubicBezTo>
                  <a:cubicBezTo>
                    <a:pt x="706830" y="64422"/>
                    <a:pt x="725784" y="40730"/>
                    <a:pt x="738789" y="24398"/>
                  </a:cubicBezTo>
                  <a:cubicBezTo>
                    <a:pt x="745141" y="16534"/>
                    <a:pt x="750182" y="10384"/>
                    <a:pt x="753609" y="6049"/>
                  </a:cubicBezTo>
                  <a:cubicBezTo>
                    <a:pt x="757138" y="2016"/>
                    <a:pt x="758953" y="0"/>
                    <a:pt x="758953" y="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F43F4C3-84C3-49E2-9300-00B5612D5C25}"/>
                </a:ext>
              </a:extLst>
            </p:cNvPr>
            <p:cNvSpPr/>
            <p:nvPr/>
          </p:nvSpPr>
          <p:spPr>
            <a:xfrm>
              <a:off x="10982277" y="4199415"/>
              <a:ext cx="235037" cy="189217"/>
            </a:xfrm>
            <a:custGeom>
              <a:avLst/>
              <a:gdLst>
                <a:gd name="connsiteX0" fmla="*/ 235009 w 235037"/>
                <a:gd name="connsiteY0" fmla="*/ 13 h 189217"/>
                <a:gd name="connsiteX1" fmla="*/ 229061 w 235037"/>
                <a:gd name="connsiteY1" fmla="*/ 10498 h 189217"/>
                <a:gd name="connsiteX2" fmla="*/ 210107 w 235037"/>
                <a:gd name="connsiteY2" fmla="*/ 37416 h 189217"/>
                <a:gd name="connsiteX3" fmla="*/ 133991 w 235037"/>
                <a:gd name="connsiteY3" fmla="*/ 115045 h 189217"/>
                <a:gd name="connsiteX4" fmla="*/ 41944 w 235037"/>
                <a:gd name="connsiteY4" fmla="*/ 172814 h 189217"/>
                <a:gd name="connsiteX5" fmla="*/ 11598 w 235037"/>
                <a:gd name="connsiteY5" fmla="*/ 185617 h 189217"/>
                <a:gd name="connsiteX6" fmla="*/ 4 w 235037"/>
                <a:gd name="connsiteY6" fmla="*/ 189146 h 189217"/>
                <a:gd name="connsiteX7" fmla="*/ 40331 w 235037"/>
                <a:gd name="connsiteY7" fmla="*/ 169487 h 189217"/>
                <a:gd name="connsiteX8" fmla="*/ 130764 w 235037"/>
                <a:gd name="connsiteY8" fmla="*/ 110912 h 189217"/>
                <a:gd name="connsiteX9" fmla="*/ 207184 w 235037"/>
                <a:gd name="connsiteY9" fmla="*/ 35097 h 189217"/>
                <a:gd name="connsiteX10" fmla="*/ 235009 w 235037"/>
                <a:gd name="connsiteY10" fmla="*/ 13 h 18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037" h="189217">
                  <a:moveTo>
                    <a:pt x="235009" y="13"/>
                  </a:moveTo>
                  <a:cubicBezTo>
                    <a:pt x="235312" y="214"/>
                    <a:pt x="233195" y="3945"/>
                    <a:pt x="229061" y="10498"/>
                  </a:cubicBezTo>
                  <a:cubicBezTo>
                    <a:pt x="225029" y="17152"/>
                    <a:pt x="218576" y="26427"/>
                    <a:pt x="210107" y="37416"/>
                  </a:cubicBezTo>
                  <a:cubicBezTo>
                    <a:pt x="193271" y="59596"/>
                    <a:pt x="167159" y="88329"/>
                    <a:pt x="133991" y="115045"/>
                  </a:cubicBezTo>
                  <a:cubicBezTo>
                    <a:pt x="100721" y="141762"/>
                    <a:pt x="67149" y="161119"/>
                    <a:pt x="41944" y="172814"/>
                  </a:cubicBezTo>
                  <a:cubicBezTo>
                    <a:pt x="29342" y="178762"/>
                    <a:pt x="18958" y="182996"/>
                    <a:pt x="11598" y="185617"/>
                  </a:cubicBezTo>
                  <a:cubicBezTo>
                    <a:pt x="4238" y="188239"/>
                    <a:pt x="206" y="189549"/>
                    <a:pt x="4" y="189146"/>
                  </a:cubicBezTo>
                  <a:cubicBezTo>
                    <a:pt x="-298" y="188239"/>
                    <a:pt x="15631" y="182089"/>
                    <a:pt x="40331" y="169487"/>
                  </a:cubicBezTo>
                  <a:cubicBezTo>
                    <a:pt x="64931" y="156985"/>
                    <a:pt x="97898" y="137326"/>
                    <a:pt x="130764" y="110912"/>
                  </a:cubicBezTo>
                  <a:cubicBezTo>
                    <a:pt x="163530" y="84397"/>
                    <a:pt x="189743" y="56470"/>
                    <a:pt x="207184" y="35097"/>
                  </a:cubicBezTo>
                  <a:cubicBezTo>
                    <a:pt x="224726" y="13825"/>
                    <a:pt x="234203" y="-491"/>
                    <a:pt x="235009" y="13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9ABF0A36-9024-4AA7-A3EF-1C227494AE75}"/>
                </a:ext>
              </a:extLst>
            </p:cNvPr>
            <p:cNvSpPr/>
            <p:nvPr/>
          </p:nvSpPr>
          <p:spPr>
            <a:xfrm>
              <a:off x="11067967" y="4270755"/>
              <a:ext cx="193384" cy="109994"/>
            </a:xfrm>
            <a:custGeom>
              <a:avLst/>
              <a:gdLst>
                <a:gd name="connsiteX0" fmla="*/ 193376 w 193384"/>
                <a:gd name="connsiteY0" fmla="*/ 52 h 109994"/>
                <a:gd name="connsiteX1" fmla="*/ 98003 w 193384"/>
                <a:gd name="connsiteY1" fmla="*/ 57316 h 109994"/>
                <a:gd name="connsiteX2" fmla="*/ 9 w 193384"/>
                <a:gd name="connsiteY2" fmla="*/ 109943 h 109994"/>
                <a:gd name="connsiteX3" fmla="*/ 95382 w 193384"/>
                <a:gd name="connsiteY3" fmla="*/ 52679 h 109994"/>
                <a:gd name="connsiteX4" fmla="*/ 193376 w 193384"/>
                <a:gd name="connsiteY4" fmla="*/ 52 h 109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384" h="109994">
                  <a:moveTo>
                    <a:pt x="193376" y="52"/>
                  </a:moveTo>
                  <a:cubicBezTo>
                    <a:pt x="194082" y="1262"/>
                    <a:pt x="151336" y="26970"/>
                    <a:pt x="98003" y="57316"/>
                  </a:cubicBezTo>
                  <a:cubicBezTo>
                    <a:pt x="44570" y="87662"/>
                    <a:pt x="714" y="111254"/>
                    <a:pt x="9" y="109943"/>
                  </a:cubicBezTo>
                  <a:cubicBezTo>
                    <a:pt x="-697" y="108733"/>
                    <a:pt x="41949" y="83025"/>
                    <a:pt x="95382" y="52679"/>
                  </a:cubicBezTo>
                  <a:cubicBezTo>
                    <a:pt x="148815" y="22333"/>
                    <a:pt x="192670" y="-1259"/>
                    <a:pt x="193376" y="52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FC1D4ECE-3327-418C-BE5F-9914144ECBDF}"/>
                </a:ext>
              </a:extLst>
            </p:cNvPr>
            <p:cNvSpPr/>
            <p:nvPr/>
          </p:nvSpPr>
          <p:spPr>
            <a:xfrm>
              <a:off x="10710711" y="3725585"/>
              <a:ext cx="71508" cy="262429"/>
            </a:xfrm>
            <a:custGeom>
              <a:avLst/>
              <a:gdLst>
                <a:gd name="connsiteX0" fmla="*/ 71346 w 71508"/>
                <a:gd name="connsiteY0" fmla="*/ 262430 h 262429"/>
                <a:gd name="connsiteX1" fmla="*/ 68020 w 71508"/>
                <a:gd name="connsiteY1" fmla="*/ 252247 h 262429"/>
                <a:gd name="connsiteX2" fmla="*/ 59853 w 71508"/>
                <a:gd name="connsiteY2" fmla="*/ 224321 h 262429"/>
                <a:gd name="connsiteX3" fmla="*/ 33842 w 71508"/>
                <a:gd name="connsiteY3" fmla="*/ 131770 h 262429"/>
                <a:gd name="connsiteX4" fmla="*/ 8940 w 71508"/>
                <a:gd name="connsiteY4" fmla="*/ 38918 h 262429"/>
                <a:gd name="connsiteX5" fmla="*/ 1984 w 71508"/>
                <a:gd name="connsiteY5" fmla="*/ 10588 h 262429"/>
                <a:gd name="connsiteX6" fmla="*/ 69 w 71508"/>
                <a:gd name="connsiteY6" fmla="*/ 2 h 262429"/>
                <a:gd name="connsiteX7" fmla="*/ 3900 w 71508"/>
                <a:gd name="connsiteY7" fmla="*/ 9983 h 262429"/>
                <a:gd name="connsiteX8" fmla="*/ 12469 w 71508"/>
                <a:gd name="connsiteY8" fmla="*/ 37809 h 262429"/>
                <a:gd name="connsiteX9" fmla="*/ 38783 w 71508"/>
                <a:gd name="connsiteY9" fmla="*/ 130258 h 262429"/>
                <a:gd name="connsiteX10" fmla="*/ 63281 w 71508"/>
                <a:gd name="connsiteY10" fmla="*/ 223212 h 262429"/>
                <a:gd name="connsiteX11" fmla="*/ 71346 w 71508"/>
                <a:gd name="connsiteY11" fmla="*/ 262430 h 262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1508" h="262429">
                  <a:moveTo>
                    <a:pt x="71346" y="262430"/>
                  </a:moveTo>
                  <a:cubicBezTo>
                    <a:pt x="70943" y="262329"/>
                    <a:pt x="70036" y="258901"/>
                    <a:pt x="68020" y="252247"/>
                  </a:cubicBezTo>
                  <a:cubicBezTo>
                    <a:pt x="65802" y="244484"/>
                    <a:pt x="63080" y="235209"/>
                    <a:pt x="59853" y="224321"/>
                  </a:cubicBezTo>
                  <a:cubicBezTo>
                    <a:pt x="52897" y="199419"/>
                    <a:pt x="43823" y="167258"/>
                    <a:pt x="33842" y="131770"/>
                  </a:cubicBezTo>
                  <a:cubicBezTo>
                    <a:pt x="23861" y="95577"/>
                    <a:pt x="15090" y="62710"/>
                    <a:pt x="8940" y="38918"/>
                  </a:cubicBezTo>
                  <a:cubicBezTo>
                    <a:pt x="6218" y="27828"/>
                    <a:pt x="3900" y="18452"/>
                    <a:pt x="1984" y="10588"/>
                  </a:cubicBezTo>
                  <a:cubicBezTo>
                    <a:pt x="472" y="3833"/>
                    <a:pt x="-234" y="103"/>
                    <a:pt x="69" y="2"/>
                  </a:cubicBezTo>
                  <a:cubicBezTo>
                    <a:pt x="371" y="-99"/>
                    <a:pt x="1782" y="3430"/>
                    <a:pt x="3900" y="9983"/>
                  </a:cubicBezTo>
                  <a:cubicBezTo>
                    <a:pt x="6017" y="16536"/>
                    <a:pt x="8940" y="26013"/>
                    <a:pt x="12469" y="37809"/>
                  </a:cubicBezTo>
                  <a:cubicBezTo>
                    <a:pt x="19526" y="61400"/>
                    <a:pt x="28902" y="94065"/>
                    <a:pt x="38783" y="130258"/>
                  </a:cubicBezTo>
                  <a:cubicBezTo>
                    <a:pt x="48763" y="166451"/>
                    <a:pt x="57434" y="199318"/>
                    <a:pt x="63281" y="223212"/>
                  </a:cubicBezTo>
                  <a:cubicBezTo>
                    <a:pt x="69330" y="247206"/>
                    <a:pt x="72254" y="262329"/>
                    <a:pt x="71346" y="26243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EAFB57C-D364-4F0F-A361-5D90E42FB448}"/>
                </a:ext>
              </a:extLst>
            </p:cNvPr>
            <p:cNvSpPr/>
            <p:nvPr/>
          </p:nvSpPr>
          <p:spPr>
            <a:xfrm>
              <a:off x="10128661" y="4268351"/>
              <a:ext cx="158682" cy="209433"/>
            </a:xfrm>
            <a:custGeom>
              <a:avLst/>
              <a:gdLst>
                <a:gd name="connsiteX0" fmla="*/ 64825 w 158682"/>
                <a:gd name="connsiteY0" fmla="*/ 16469 h 209433"/>
                <a:gd name="connsiteX1" fmla="*/ 46678 w 158682"/>
                <a:gd name="connsiteY1" fmla="*/ 34213 h 209433"/>
                <a:gd name="connsiteX2" fmla="*/ 26717 w 158682"/>
                <a:gd name="connsiteY2" fmla="*/ 67483 h 209433"/>
                <a:gd name="connsiteX3" fmla="*/ 19659 w 158682"/>
                <a:gd name="connsiteY3" fmla="*/ 93695 h 209433"/>
                <a:gd name="connsiteX4" fmla="*/ 0 w 158682"/>
                <a:gd name="connsiteY4" fmla="*/ 156202 h 209433"/>
                <a:gd name="connsiteX5" fmla="*/ 72588 w 158682"/>
                <a:gd name="connsiteY5" fmla="*/ 209433 h 209433"/>
                <a:gd name="connsiteX6" fmla="*/ 84182 w 158682"/>
                <a:gd name="connsiteY6" fmla="*/ 157008 h 209433"/>
                <a:gd name="connsiteX7" fmla="*/ 130457 w 158682"/>
                <a:gd name="connsiteY7" fmla="*/ 129586 h 209433"/>
                <a:gd name="connsiteX8" fmla="*/ 157880 w 158682"/>
                <a:gd name="connsiteY8" fmla="*/ 93897 h 209433"/>
                <a:gd name="connsiteX9" fmla="*/ 155863 w 158682"/>
                <a:gd name="connsiteY9" fmla="*/ 78976 h 209433"/>
                <a:gd name="connsiteX10" fmla="*/ 144572 w 158682"/>
                <a:gd name="connsiteY10" fmla="*/ 49436 h 209433"/>
                <a:gd name="connsiteX11" fmla="*/ 146588 w 158682"/>
                <a:gd name="connsiteY11" fmla="*/ 26450 h 209433"/>
                <a:gd name="connsiteX12" fmla="*/ 119771 w 158682"/>
                <a:gd name="connsiteY12" fmla="*/ 13142 h 209433"/>
                <a:gd name="connsiteX13" fmla="*/ 119065 w 158682"/>
                <a:gd name="connsiteY13" fmla="*/ 1851 h 209433"/>
                <a:gd name="connsiteX14" fmla="*/ 105858 w 158682"/>
                <a:gd name="connsiteY14" fmla="*/ 4169 h 209433"/>
                <a:gd name="connsiteX15" fmla="*/ 65330 w 158682"/>
                <a:gd name="connsiteY15" fmla="*/ 40262 h 209433"/>
                <a:gd name="connsiteX16" fmla="*/ 64825 w 158682"/>
                <a:gd name="connsiteY16" fmla="*/ 16469 h 20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8682" h="209433">
                  <a:moveTo>
                    <a:pt x="64825" y="16469"/>
                  </a:moveTo>
                  <a:cubicBezTo>
                    <a:pt x="63817" y="17578"/>
                    <a:pt x="54945" y="26148"/>
                    <a:pt x="46678" y="34213"/>
                  </a:cubicBezTo>
                  <a:cubicBezTo>
                    <a:pt x="37000" y="43589"/>
                    <a:pt x="30044" y="55183"/>
                    <a:pt x="26717" y="67483"/>
                  </a:cubicBezTo>
                  <a:cubicBezTo>
                    <a:pt x="22785" y="81698"/>
                    <a:pt x="20264" y="92788"/>
                    <a:pt x="19659" y="93695"/>
                  </a:cubicBezTo>
                  <a:lnTo>
                    <a:pt x="0" y="156202"/>
                  </a:lnTo>
                  <a:lnTo>
                    <a:pt x="72588" y="209433"/>
                  </a:lnTo>
                  <a:lnTo>
                    <a:pt x="84182" y="157008"/>
                  </a:lnTo>
                  <a:cubicBezTo>
                    <a:pt x="84182" y="157008"/>
                    <a:pt x="114327" y="145011"/>
                    <a:pt x="130457" y="129586"/>
                  </a:cubicBezTo>
                  <a:cubicBezTo>
                    <a:pt x="146488" y="114161"/>
                    <a:pt x="153746" y="107204"/>
                    <a:pt x="157880" y="93897"/>
                  </a:cubicBezTo>
                  <a:cubicBezTo>
                    <a:pt x="160501" y="85226"/>
                    <a:pt x="155863" y="78976"/>
                    <a:pt x="155863" y="78976"/>
                  </a:cubicBezTo>
                  <a:cubicBezTo>
                    <a:pt x="155863" y="78976"/>
                    <a:pt x="154956" y="50344"/>
                    <a:pt x="144572" y="49436"/>
                  </a:cubicBezTo>
                  <a:cubicBezTo>
                    <a:pt x="144572" y="49436"/>
                    <a:pt x="150319" y="34415"/>
                    <a:pt x="146588" y="26450"/>
                  </a:cubicBezTo>
                  <a:cubicBezTo>
                    <a:pt x="139934" y="12033"/>
                    <a:pt x="119771" y="13142"/>
                    <a:pt x="119771" y="13142"/>
                  </a:cubicBezTo>
                  <a:cubicBezTo>
                    <a:pt x="119771" y="13142"/>
                    <a:pt x="126727" y="7093"/>
                    <a:pt x="119065" y="1851"/>
                  </a:cubicBezTo>
                  <a:cubicBezTo>
                    <a:pt x="111504" y="-3392"/>
                    <a:pt x="105858" y="4169"/>
                    <a:pt x="105858" y="4169"/>
                  </a:cubicBezTo>
                  <a:lnTo>
                    <a:pt x="65330" y="40262"/>
                  </a:lnTo>
                  <a:lnTo>
                    <a:pt x="64825" y="16469"/>
                  </a:lnTo>
                  <a:close/>
                </a:path>
              </a:pathLst>
            </a:custGeom>
            <a:solidFill>
              <a:srgbClr val="FFBE9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33CEFDF4-DAB0-4316-B304-87A8D5BD3B2C}"/>
                </a:ext>
              </a:extLst>
            </p:cNvPr>
            <p:cNvSpPr/>
            <p:nvPr/>
          </p:nvSpPr>
          <p:spPr>
            <a:xfrm>
              <a:off x="9594851" y="4406608"/>
              <a:ext cx="635332" cy="426866"/>
            </a:xfrm>
            <a:custGeom>
              <a:avLst/>
              <a:gdLst>
                <a:gd name="connsiteX0" fmla="*/ 17524 w 635332"/>
                <a:gd name="connsiteY0" fmla="*/ 59684 h 426866"/>
                <a:gd name="connsiteX1" fmla="*/ 38393 w 635332"/>
                <a:gd name="connsiteY1" fmla="*/ 204458 h 426866"/>
                <a:gd name="connsiteX2" fmla="*/ 432186 w 635332"/>
                <a:gd name="connsiteY2" fmla="*/ 426659 h 426866"/>
                <a:gd name="connsiteX3" fmla="*/ 635332 w 635332"/>
                <a:gd name="connsiteY3" fmla="*/ 90131 h 426866"/>
                <a:gd name="connsiteX4" fmla="*/ 526047 w 635332"/>
                <a:gd name="connsiteY4" fmla="*/ 0 h 426866"/>
                <a:gd name="connsiteX5" fmla="*/ 389237 w 635332"/>
                <a:gd name="connsiteY5" fmla="*/ 221697 h 426866"/>
                <a:gd name="connsiteX6" fmla="*/ 188107 w 635332"/>
                <a:gd name="connsiteY6" fmla="*/ 45267 h 426866"/>
                <a:gd name="connsiteX7" fmla="*/ 17524 w 635332"/>
                <a:gd name="connsiteY7" fmla="*/ 59684 h 426866"/>
                <a:gd name="connsiteX8" fmla="*/ 17524 w 635332"/>
                <a:gd name="connsiteY8" fmla="*/ 59684 h 426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5332" h="426866">
                  <a:moveTo>
                    <a:pt x="17524" y="59684"/>
                  </a:moveTo>
                  <a:cubicBezTo>
                    <a:pt x="-12217" y="106463"/>
                    <a:pt x="-3345" y="167962"/>
                    <a:pt x="38393" y="204458"/>
                  </a:cubicBezTo>
                  <a:cubicBezTo>
                    <a:pt x="134069" y="287934"/>
                    <a:pt x="393270" y="433111"/>
                    <a:pt x="432186" y="426659"/>
                  </a:cubicBezTo>
                  <a:cubicBezTo>
                    <a:pt x="488341" y="417283"/>
                    <a:pt x="635332" y="90131"/>
                    <a:pt x="635332" y="90131"/>
                  </a:cubicBezTo>
                  <a:lnTo>
                    <a:pt x="526047" y="0"/>
                  </a:lnTo>
                  <a:lnTo>
                    <a:pt x="389237" y="221697"/>
                  </a:lnTo>
                  <a:cubicBezTo>
                    <a:pt x="389237" y="221697"/>
                    <a:pt x="276423" y="115133"/>
                    <a:pt x="188107" y="45267"/>
                  </a:cubicBezTo>
                  <a:cubicBezTo>
                    <a:pt x="134472" y="2823"/>
                    <a:pt x="54221" y="1916"/>
                    <a:pt x="17524" y="59684"/>
                  </a:cubicBezTo>
                  <a:lnTo>
                    <a:pt x="17524" y="59684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C19235BA-0BDF-482F-BEC2-8FF8FF87F3CE}"/>
                </a:ext>
              </a:extLst>
            </p:cNvPr>
            <p:cNvSpPr/>
            <p:nvPr/>
          </p:nvSpPr>
          <p:spPr>
            <a:xfrm>
              <a:off x="9633237" y="4402877"/>
              <a:ext cx="600071" cy="433052"/>
            </a:xfrm>
            <a:custGeom>
              <a:avLst/>
              <a:gdLst>
                <a:gd name="connsiteX0" fmla="*/ 144377 w 600071"/>
                <a:gd name="connsiteY0" fmla="*/ 44460 h 433052"/>
                <a:gd name="connsiteX1" fmla="*/ 148208 w 600071"/>
                <a:gd name="connsiteY1" fmla="*/ 47485 h 433052"/>
                <a:gd name="connsiteX2" fmla="*/ 159197 w 600071"/>
                <a:gd name="connsiteY2" fmla="*/ 56659 h 433052"/>
                <a:gd name="connsiteX3" fmla="*/ 200835 w 600071"/>
                <a:gd name="connsiteY3" fmla="*/ 92449 h 433052"/>
                <a:gd name="connsiteX4" fmla="*/ 352162 w 600071"/>
                <a:gd name="connsiteY4" fmla="*/ 223915 h 433052"/>
                <a:gd name="connsiteX5" fmla="*/ 349137 w 600071"/>
                <a:gd name="connsiteY5" fmla="*/ 224319 h 433052"/>
                <a:gd name="connsiteX6" fmla="*/ 485442 w 600071"/>
                <a:gd name="connsiteY6" fmla="*/ 2420 h 433052"/>
                <a:gd name="connsiteX7" fmla="*/ 486954 w 600071"/>
                <a:gd name="connsiteY7" fmla="*/ 0 h 433052"/>
                <a:gd name="connsiteX8" fmla="*/ 489172 w 600071"/>
                <a:gd name="connsiteY8" fmla="*/ 1815 h 433052"/>
                <a:gd name="connsiteX9" fmla="*/ 598559 w 600071"/>
                <a:gd name="connsiteY9" fmla="*/ 91844 h 433052"/>
                <a:gd name="connsiteX10" fmla="*/ 600071 w 600071"/>
                <a:gd name="connsiteY10" fmla="*/ 93155 h 433052"/>
                <a:gd name="connsiteX11" fmla="*/ 599265 w 600071"/>
                <a:gd name="connsiteY11" fmla="*/ 94970 h 433052"/>
                <a:gd name="connsiteX12" fmla="*/ 561761 w 600071"/>
                <a:gd name="connsiteY12" fmla="*/ 174716 h 433052"/>
                <a:gd name="connsiteX13" fmla="*/ 490483 w 600071"/>
                <a:gd name="connsiteY13" fmla="*/ 311525 h 433052"/>
                <a:gd name="connsiteX14" fmla="*/ 452072 w 600071"/>
                <a:gd name="connsiteY14" fmla="*/ 374133 h 433052"/>
                <a:gd name="connsiteX15" fmla="*/ 430900 w 600071"/>
                <a:gd name="connsiteY15" fmla="*/ 402967 h 433052"/>
                <a:gd name="connsiteX16" fmla="*/ 405696 w 600071"/>
                <a:gd name="connsiteY16" fmla="*/ 427768 h 433052"/>
                <a:gd name="connsiteX17" fmla="*/ 388254 w 600071"/>
                <a:gd name="connsiteY17" fmla="*/ 432910 h 433052"/>
                <a:gd name="connsiteX18" fmla="*/ 371317 w 600071"/>
                <a:gd name="connsiteY18" fmla="*/ 429179 h 433052"/>
                <a:gd name="connsiteX19" fmla="*/ 340265 w 600071"/>
                <a:gd name="connsiteY19" fmla="*/ 417485 h 433052"/>
                <a:gd name="connsiteX20" fmla="*/ 283203 w 600071"/>
                <a:gd name="connsiteY20" fmla="*/ 390365 h 433052"/>
                <a:gd name="connsiteX21" fmla="*/ 184099 w 600071"/>
                <a:gd name="connsiteY21" fmla="*/ 335520 h 433052"/>
                <a:gd name="connsiteX22" fmla="*/ 46786 w 600071"/>
                <a:gd name="connsiteY22" fmla="*/ 245994 h 433052"/>
                <a:gd name="connsiteX23" fmla="*/ 11601 w 600071"/>
                <a:gd name="connsiteY23" fmla="*/ 218572 h 433052"/>
                <a:gd name="connsiteX24" fmla="*/ 2830 w 600071"/>
                <a:gd name="connsiteY24" fmla="*/ 210910 h 433052"/>
                <a:gd name="connsiteX25" fmla="*/ 7 w 600071"/>
                <a:gd name="connsiteY25" fmla="*/ 208188 h 433052"/>
                <a:gd name="connsiteX26" fmla="*/ 3233 w 600071"/>
                <a:gd name="connsiteY26" fmla="*/ 210507 h 433052"/>
                <a:gd name="connsiteX27" fmla="*/ 12306 w 600071"/>
                <a:gd name="connsiteY27" fmla="*/ 217765 h 433052"/>
                <a:gd name="connsiteX28" fmla="*/ 47996 w 600071"/>
                <a:gd name="connsiteY28" fmla="*/ 244381 h 433052"/>
                <a:gd name="connsiteX29" fmla="*/ 186015 w 600071"/>
                <a:gd name="connsiteY29" fmla="*/ 332294 h 433052"/>
                <a:gd name="connsiteX30" fmla="*/ 285219 w 600071"/>
                <a:gd name="connsiteY30" fmla="*/ 386433 h 433052"/>
                <a:gd name="connsiteX31" fmla="*/ 342181 w 600071"/>
                <a:gd name="connsiteY31" fmla="*/ 413149 h 433052"/>
                <a:gd name="connsiteX32" fmla="*/ 372829 w 600071"/>
                <a:gd name="connsiteY32" fmla="*/ 424542 h 433052"/>
                <a:gd name="connsiteX33" fmla="*/ 388758 w 600071"/>
                <a:gd name="connsiteY33" fmla="*/ 427969 h 433052"/>
                <a:gd name="connsiteX34" fmla="*/ 403175 w 600071"/>
                <a:gd name="connsiteY34" fmla="*/ 423533 h 433052"/>
                <a:gd name="connsiteX35" fmla="*/ 427170 w 600071"/>
                <a:gd name="connsiteY35" fmla="*/ 399640 h 433052"/>
                <a:gd name="connsiteX36" fmla="*/ 448039 w 600071"/>
                <a:gd name="connsiteY36" fmla="*/ 371209 h 433052"/>
                <a:gd name="connsiteX37" fmla="*/ 486148 w 600071"/>
                <a:gd name="connsiteY37" fmla="*/ 308803 h 433052"/>
                <a:gd name="connsiteX38" fmla="*/ 557224 w 600071"/>
                <a:gd name="connsiteY38" fmla="*/ 172297 h 433052"/>
                <a:gd name="connsiteX39" fmla="*/ 594728 w 600071"/>
                <a:gd name="connsiteY39" fmla="*/ 92752 h 433052"/>
                <a:gd name="connsiteX40" fmla="*/ 595434 w 600071"/>
                <a:gd name="connsiteY40" fmla="*/ 95877 h 433052"/>
                <a:gd name="connsiteX41" fmla="*/ 486148 w 600071"/>
                <a:gd name="connsiteY41" fmla="*/ 5747 h 433052"/>
                <a:gd name="connsiteX42" fmla="*/ 489878 w 600071"/>
                <a:gd name="connsiteY42" fmla="*/ 5141 h 433052"/>
                <a:gd name="connsiteX43" fmla="*/ 352666 w 600071"/>
                <a:gd name="connsiteY43" fmla="*/ 226537 h 433052"/>
                <a:gd name="connsiteX44" fmla="*/ 351456 w 600071"/>
                <a:gd name="connsiteY44" fmla="*/ 228553 h 433052"/>
                <a:gd name="connsiteX45" fmla="*/ 349641 w 600071"/>
                <a:gd name="connsiteY45" fmla="*/ 226940 h 433052"/>
                <a:gd name="connsiteX46" fmla="*/ 199524 w 600071"/>
                <a:gd name="connsiteY46" fmla="*/ 94163 h 433052"/>
                <a:gd name="connsiteX47" fmla="*/ 158593 w 600071"/>
                <a:gd name="connsiteY47" fmla="*/ 57567 h 433052"/>
                <a:gd name="connsiteX48" fmla="*/ 148007 w 600071"/>
                <a:gd name="connsiteY48" fmla="*/ 47888 h 433052"/>
                <a:gd name="connsiteX49" fmla="*/ 144377 w 600071"/>
                <a:gd name="connsiteY49" fmla="*/ 44460 h 43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00071" h="433052">
                  <a:moveTo>
                    <a:pt x="144377" y="44460"/>
                  </a:moveTo>
                  <a:cubicBezTo>
                    <a:pt x="144478" y="44360"/>
                    <a:pt x="145789" y="45368"/>
                    <a:pt x="148208" y="47485"/>
                  </a:cubicBezTo>
                  <a:cubicBezTo>
                    <a:pt x="150830" y="49703"/>
                    <a:pt x="154560" y="52828"/>
                    <a:pt x="159197" y="56659"/>
                  </a:cubicBezTo>
                  <a:cubicBezTo>
                    <a:pt x="168977" y="65027"/>
                    <a:pt x="182990" y="77024"/>
                    <a:pt x="200835" y="92449"/>
                  </a:cubicBezTo>
                  <a:cubicBezTo>
                    <a:pt x="236928" y="123804"/>
                    <a:pt x="288748" y="168768"/>
                    <a:pt x="352162" y="223915"/>
                  </a:cubicBezTo>
                  <a:lnTo>
                    <a:pt x="349137" y="224319"/>
                  </a:lnTo>
                  <a:cubicBezTo>
                    <a:pt x="388254" y="160703"/>
                    <a:pt x="434630" y="85190"/>
                    <a:pt x="485442" y="2420"/>
                  </a:cubicBezTo>
                  <a:lnTo>
                    <a:pt x="486954" y="0"/>
                  </a:lnTo>
                  <a:lnTo>
                    <a:pt x="489172" y="1815"/>
                  </a:lnTo>
                  <a:cubicBezTo>
                    <a:pt x="524257" y="30648"/>
                    <a:pt x="560854" y="60793"/>
                    <a:pt x="598559" y="91844"/>
                  </a:cubicBezTo>
                  <a:lnTo>
                    <a:pt x="600071" y="93155"/>
                  </a:lnTo>
                  <a:lnTo>
                    <a:pt x="599265" y="94970"/>
                  </a:lnTo>
                  <a:cubicBezTo>
                    <a:pt x="587671" y="120678"/>
                    <a:pt x="574968" y="147496"/>
                    <a:pt x="561761" y="174716"/>
                  </a:cubicBezTo>
                  <a:cubicBezTo>
                    <a:pt x="538573" y="222201"/>
                    <a:pt x="515083" y="268174"/>
                    <a:pt x="490483" y="311525"/>
                  </a:cubicBezTo>
                  <a:cubicBezTo>
                    <a:pt x="478183" y="333201"/>
                    <a:pt x="465480" y="354171"/>
                    <a:pt x="452072" y="374133"/>
                  </a:cubicBezTo>
                  <a:cubicBezTo>
                    <a:pt x="445216" y="384013"/>
                    <a:pt x="438461" y="393792"/>
                    <a:pt x="430900" y="402967"/>
                  </a:cubicBezTo>
                  <a:cubicBezTo>
                    <a:pt x="423339" y="412040"/>
                    <a:pt x="415677" y="421013"/>
                    <a:pt x="405696" y="427768"/>
                  </a:cubicBezTo>
                  <a:cubicBezTo>
                    <a:pt x="400756" y="430994"/>
                    <a:pt x="394505" y="433716"/>
                    <a:pt x="388254" y="432910"/>
                  </a:cubicBezTo>
                  <a:cubicBezTo>
                    <a:pt x="382205" y="432405"/>
                    <a:pt x="376761" y="430792"/>
                    <a:pt x="371317" y="429179"/>
                  </a:cubicBezTo>
                  <a:cubicBezTo>
                    <a:pt x="360530" y="425852"/>
                    <a:pt x="350246" y="421719"/>
                    <a:pt x="340265" y="417485"/>
                  </a:cubicBezTo>
                  <a:cubicBezTo>
                    <a:pt x="320303" y="408915"/>
                    <a:pt x="301350" y="399640"/>
                    <a:pt x="283203" y="390365"/>
                  </a:cubicBezTo>
                  <a:cubicBezTo>
                    <a:pt x="246908" y="371814"/>
                    <a:pt x="213941" y="353163"/>
                    <a:pt x="184099" y="335520"/>
                  </a:cubicBezTo>
                  <a:cubicBezTo>
                    <a:pt x="124516" y="300234"/>
                    <a:pt x="77939" y="268981"/>
                    <a:pt x="46786" y="245994"/>
                  </a:cubicBezTo>
                  <a:cubicBezTo>
                    <a:pt x="31159" y="234501"/>
                    <a:pt x="19465" y="225125"/>
                    <a:pt x="11601" y="218572"/>
                  </a:cubicBezTo>
                  <a:cubicBezTo>
                    <a:pt x="7669" y="215346"/>
                    <a:pt x="4846" y="212624"/>
                    <a:pt x="2830" y="210910"/>
                  </a:cubicBezTo>
                  <a:cubicBezTo>
                    <a:pt x="914" y="209196"/>
                    <a:pt x="-94" y="208188"/>
                    <a:pt x="7" y="208188"/>
                  </a:cubicBezTo>
                  <a:cubicBezTo>
                    <a:pt x="108" y="208087"/>
                    <a:pt x="1116" y="208893"/>
                    <a:pt x="3233" y="210507"/>
                  </a:cubicBezTo>
                  <a:cubicBezTo>
                    <a:pt x="5451" y="212321"/>
                    <a:pt x="8476" y="214640"/>
                    <a:pt x="12306" y="217765"/>
                  </a:cubicBezTo>
                  <a:cubicBezTo>
                    <a:pt x="20271" y="224117"/>
                    <a:pt x="32268" y="233190"/>
                    <a:pt x="47996" y="244381"/>
                  </a:cubicBezTo>
                  <a:cubicBezTo>
                    <a:pt x="79451" y="266763"/>
                    <a:pt x="126230" y="297613"/>
                    <a:pt x="186015" y="332294"/>
                  </a:cubicBezTo>
                  <a:cubicBezTo>
                    <a:pt x="215857" y="349634"/>
                    <a:pt x="249026" y="368084"/>
                    <a:pt x="285219" y="386433"/>
                  </a:cubicBezTo>
                  <a:cubicBezTo>
                    <a:pt x="303366" y="395607"/>
                    <a:pt x="322320" y="404681"/>
                    <a:pt x="342181" y="413149"/>
                  </a:cubicBezTo>
                  <a:cubicBezTo>
                    <a:pt x="352162" y="417283"/>
                    <a:pt x="362344" y="421315"/>
                    <a:pt x="372829" y="424542"/>
                  </a:cubicBezTo>
                  <a:cubicBezTo>
                    <a:pt x="378072" y="426054"/>
                    <a:pt x="383415" y="427566"/>
                    <a:pt x="388758" y="427969"/>
                  </a:cubicBezTo>
                  <a:cubicBezTo>
                    <a:pt x="393900" y="428574"/>
                    <a:pt x="398538" y="426457"/>
                    <a:pt x="403175" y="423533"/>
                  </a:cubicBezTo>
                  <a:cubicBezTo>
                    <a:pt x="412249" y="417384"/>
                    <a:pt x="419810" y="408613"/>
                    <a:pt x="427170" y="399640"/>
                  </a:cubicBezTo>
                  <a:cubicBezTo>
                    <a:pt x="434529" y="390667"/>
                    <a:pt x="441284" y="380988"/>
                    <a:pt x="448039" y="371209"/>
                  </a:cubicBezTo>
                  <a:cubicBezTo>
                    <a:pt x="461347" y="351348"/>
                    <a:pt x="473848" y="330479"/>
                    <a:pt x="486148" y="308803"/>
                  </a:cubicBezTo>
                  <a:cubicBezTo>
                    <a:pt x="510647" y="265553"/>
                    <a:pt x="534137" y="219681"/>
                    <a:pt x="557224" y="172297"/>
                  </a:cubicBezTo>
                  <a:cubicBezTo>
                    <a:pt x="570431" y="145177"/>
                    <a:pt x="583134" y="118359"/>
                    <a:pt x="594728" y="92752"/>
                  </a:cubicBezTo>
                  <a:lnTo>
                    <a:pt x="595434" y="95877"/>
                  </a:lnTo>
                  <a:cubicBezTo>
                    <a:pt x="557829" y="64825"/>
                    <a:pt x="521232" y="34580"/>
                    <a:pt x="486148" y="5747"/>
                  </a:cubicBezTo>
                  <a:lnTo>
                    <a:pt x="489878" y="5141"/>
                  </a:lnTo>
                  <a:cubicBezTo>
                    <a:pt x="438764" y="87711"/>
                    <a:pt x="391985" y="163122"/>
                    <a:pt x="352666" y="226537"/>
                  </a:cubicBezTo>
                  <a:lnTo>
                    <a:pt x="351456" y="228553"/>
                  </a:lnTo>
                  <a:lnTo>
                    <a:pt x="349641" y="226940"/>
                  </a:lnTo>
                  <a:cubicBezTo>
                    <a:pt x="286731" y="171289"/>
                    <a:pt x="235314" y="125820"/>
                    <a:pt x="199524" y="94163"/>
                  </a:cubicBezTo>
                  <a:cubicBezTo>
                    <a:pt x="181982" y="78436"/>
                    <a:pt x="168170" y="66136"/>
                    <a:pt x="158593" y="57567"/>
                  </a:cubicBezTo>
                  <a:cubicBezTo>
                    <a:pt x="154157" y="53433"/>
                    <a:pt x="150628" y="50308"/>
                    <a:pt x="148007" y="47888"/>
                  </a:cubicBezTo>
                  <a:cubicBezTo>
                    <a:pt x="145486" y="45670"/>
                    <a:pt x="144377" y="44561"/>
                    <a:pt x="144377" y="4446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5593653D-16C4-4264-83C6-FC14677BE1E6}"/>
                </a:ext>
              </a:extLst>
            </p:cNvPr>
            <p:cNvSpPr/>
            <p:nvPr/>
          </p:nvSpPr>
          <p:spPr>
            <a:xfrm>
              <a:off x="9637396" y="2570440"/>
              <a:ext cx="167242" cy="295679"/>
            </a:xfrm>
            <a:custGeom>
              <a:avLst/>
              <a:gdLst>
                <a:gd name="connsiteX0" fmla="*/ 13391 w 167242"/>
                <a:gd name="connsiteY0" fmla="*/ 101908 h 295679"/>
                <a:gd name="connsiteX1" fmla="*/ 8652 w 167242"/>
                <a:gd name="connsiteY1" fmla="*/ 111486 h 295679"/>
                <a:gd name="connsiteX2" fmla="*/ 10366 w 167242"/>
                <a:gd name="connsiteY2" fmla="*/ 178429 h 295679"/>
                <a:gd name="connsiteX3" fmla="*/ 33252 w 167242"/>
                <a:gd name="connsiteY3" fmla="*/ 213513 h 295679"/>
                <a:gd name="connsiteX4" fmla="*/ 36075 w 167242"/>
                <a:gd name="connsiteY4" fmla="*/ 267551 h 295679"/>
                <a:gd name="connsiteX5" fmla="*/ 153224 w 167242"/>
                <a:gd name="connsiteY5" fmla="*/ 295679 h 295679"/>
                <a:gd name="connsiteX6" fmla="*/ 147680 w 167242"/>
                <a:gd name="connsiteY6" fmla="*/ 200508 h 295679"/>
                <a:gd name="connsiteX7" fmla="*/ 167238 w 167242"/>
                <a:gd name="connsiteY7" fmla="*/ 133162 h 295679"/>
                <a:gd name="connsiteX8" fmla="*/ 151309 w 167242"/>
                <a:gd name="connsiteY8" fmla="*/ 75897 h 295679"/>
                <a:gd name="connsiteX9" fmla="*/ 139715 w 167242"/>
                <a:gd name="connsiteY9" fmla="*/ 74284 h 295679"/>
                <a:gd name="connsiteX10" fmla="*/ 116426 w 167242"/>
                <a:gd name="connsiteY10" fmla="*/ 55734 h 295679"/>
                <a:gd name="connsiteX11" fmla="*/ 97271 w 167242"/>
                <a:gd name="connsiteY11" fmla="*/ 17524 h 295679"/>
                <a:gd name="connsiteX12" fmla="*/ 74385 w 167242"/>
                <a:gd name="connsiteY12" fmla="*/ 26900 h 295679"/>
                <a:gd name="connsiteX13" fmla="*/ 46661 w 167242"/>
                <a:gd name="connsiteY13" fmla="*/ 83 h 295679"/>
                <a:gd name="connsiteX14" fmla="*/ 20650 w 167242"/>
                <a:gd name="connsiteY14" fmla="*/ 30026 h 295679"/>
                <a:gd name="connsiteX15" fmla="*/ 12887 w 167242"/>
                <a:gd name="connsiteY15" fmla="*/ 104227 h 295679"/>
                <a:gd name="connsiteX16" fmla="*/ 13391 w 167242"/>
                <a:gd name="connsiteY16" fmla="*/ 101908 h 29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7242" h="295679">
                  <a:moveTo>
                    <a:pt x="13391" y="101908"/>
                  </a:moveTo>
                  <a:cubicBezTo>
                    <a:pt x="13492" y="102916"/>
                    <a:pt x="11475" y="106647"/>
                    <a:pt x="8652" y="111486"/>
                  </a:cubicBezTo>
                  <a:cubicBezTo>
                    <a:pt x="-3446" y="132355"/>
                    <a:pt x="-2841" y="158265"/>
                    <a:pt x="10366" y="178429"/>
                  </a:cubicBezTo>
                  <a:lnTo>
                    <a:pt x="33252" y="213513"/>
                  </a:lnTo>
                  <a:lnTo>
                    <a:pt x="36075" y="267551"/>
                  </a:lnTo>
                  <a:lnTo>
                    <a:pt x="153224" y="295679"/>
                  </a:lnTo>
                  <a:lnTo>
                    <a:pt x="147680" y="200508"/>
                  </a:lnTo>
                  <a:cubicBezTo>
                    <a:pt x="147680" y="200508"/>
                    <a:pt x="167036" y="160382"/>
                    <a:pt x="167238" y="133162"/>
                  </a:cubicBezTo>
                  <a:cubicBezTo>
                    <a:pt x="167440" y="106042"/>
                    <a:pt x="160282" y="77107"/>
                    <a:pt x="151309" y="75897"/>
                  </a:cubicBezTo>
                  <a:cubicBezTo>
                    <a:pt x="142437" y="74688"/>
                    <a:pt x="139715" y="74284"/>
                    <a:pt x="139715" y="74284"/>
                  </a:cubicBezTo>
                  <a:cubicBezTo>
                    <a:pt x="139715" y="74284"/>
                    <a:pt x="130742" y="58456"/>
                    <a:pt x="116426" y="55734"/>
                  </a:cubicBezTo>
                  <a:cubicBezTo>
                    <a:pt x="116426" y="55734"/>
                    <a:pt x="109369" y="20649"/>
                    <a:pt x="97271" y="17524"/>
                  </a:cubicBezTo>
                  <a:cubicBezTo>
                    <a:pt x="85173" y="14500"/>
                    <a:pt x="74385" y="26900"/>
                    <a:pt x="74385" y="26900"/>
                  </a:cubicBezTo>
                  <a:cubicBezTo>
                    <a:pt x="74385" y="26900"/>
                    <a:pt x="59464" y="-1732"/>
                    <a:pt x="46661" y="83"/>
                  </a:cubicBezTo>
                  <a:cubicBezTo>
                    <a:pt x="20650" y="3914"/>
                    <a:pt x="20650" y="30026"/>
                    <a:pt x="20650" y="30026"/>
                  </a:cubicBezTo>
                  <a:lnTo>
                    <a:pt x="12887" y="104227"/>
                  </a:lnTo>
                  <a:lnTo>
                    <a:pt x="13391" y="101908"/>
                  </a:ln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F20B9C46-F797-48EC-9206-ACFB6B4F76DF}"/>
                </a:ext>
              </a:extLst>
            </p:cNvPr>
            <p:cNvSpPr/>
            <p:nvPr/>
          </p:nvSpPr>
          <p:spPr>
            <a:xfrm>
              <a:off x="9319433" y="1541514"/>
              <a:ext cx="1476032" cy="4541987"/>
            </a:xfrm>
            <a:custGeom>
              <a:avLst/>
              <a:gdLst>
                <a:gd name="connsiteX0" fmla="*/ 58037 w 1476032"/>
                <a:gd name="connsiteY0" fmla="*/ 20836 h 4541987"/>
                <a:gd name="connsiteX1" fmla="*/ 20836 w 1476032"/>
                <a:gd name="connsiteY1" fmla="*/ 1378 h 4541987"/>
                <a:gd name="connsiteX2" fmla="*/ 1378 w 1476032"/>
                <a:gd name="connsiteY2" fmla="*/ 38580 h 4541987"/>
                <a:gd name="connsiteX3" fmla="*/ 1414131 w 1476032"/>
                <a:gd name="connsiteY3" fmla="*/ 4539468 h 4541987"/>
                <a:gd name="connsiteX4" fmla="*/ 1476033 w 1476032"/>
                <a:gd name="connsiteY4" fmla="*/ 4541988 h 4541987"/>
                <a:gd name="connsiteX5" fmla="*/ 58037 w 1476032"/>
                <a:gd name="connsiteY5" fmla="*/ 20836 h 45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6032" h="4541987">
                  <a:moveTo>
                    <a:pt x="58037" y="20836"/>
                  </a:moveTo>
                  <a:cubicBezTo>
                    <a:pt x="53097" y="5209"/>
                    <a:pt x="36462" y="-3562"/>
                    <a:pt x="20836" y="1378"/>
                  </a:cubicBezTo>
                  <a:cubicBezTo>
                    <a:pt x="5209" y="6318"/>
                    <a:pt x="-3562" y="22953"/>
                    <a:pt x="1378" y="38580"/>
                  </a:cubicBezTo>
                  <a:lnTo>
                    <a:pt x="1414131" y="4539468"/>
                  </a:lnTo>
                  <a:lnTo>
                    <a:pt x="1476033" y="4541988"/>
                  </a:lnTo>
                  <a:lnTo>
                    <a:pt x="58037" y="20836"/>
                  </a:ln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709C8195-F4FD-447B-B3D7-25F0EBD10C60}"/>
                </a:ext>
              </a:extLst>
            </p:cNvPr>
            <p:cNvSpPr/>
            <p:nvPr/>
          </p:nvSpPr>
          <p:spPr>
            <a:xfrm>
              <a:off x="7956249" y="1621933"/>
              <a:ext cx="1686472" cy="1180369"/>
            </a:xfrm>
            <a:custGeom>
              <a:avLst/>
              <a:gdLst>
                <a:gd name="connsiteX0" fmla="*/ 1457718 w 1686472"/>
                <a:gd name="connsiteY0" fmla="*/ 0 h 1180369"/>
                <a:gd name="connsiteX1" fmla="*/ 791819 w 1686472"/>
                <a:gd name="connsiteY1" fmla="*/ 279062 h 1180369"/>
                <a:gd name="connsiteX2" fmla="*/ 0 w 1686472"/>
                <a:gd name="connsiteY2" fmla="*/ 518302 h 1180369"/>
                <a:gd name="connsiteX3" fmla="*/ 674165 w 1686472"/>
                <a:gd name="connsiteY3" fmla="*/ 703302 h 1180369"/>
                <a:gd name="connsiteX4" fmla="*/ 234804 w 1686472"/>
                <a:gd name="connsiteY4" fmla="*/ 1180369 h 1180369"/>
                <a:gd name="connsiteX5" fmla="*/ 565888 w 1686472"/>
                <a:gd name="connsiteY5" fmla="*/ 1059086 h 1180369"/>
                <a:gd name="connsiteX6" fmla="*/ 1259108 w 1686472"/>
                <a:gd name="connsiteY6" fmla="*/ 964620 h 1180369"/>
                <a:gd name="connsiteX7" fmla="*/ 1686472 w 1686472"/>
                <a:gd name="connsiteY7" fmla="*/ 728002 h 1180369"/>
                <a:gd name="connsiteX8" fmla="*/ 1457718 w 1686472"/>
                <a:gd name="connsiteY8" fmla="*/ 0 h 118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6472" h="1180369">
                  <a:moveTo>
                    <a:pt x="1457718" y="0"/>
                  </a:moveTo>
                  <a:cubicBezTo>
                    <a:pt x="1457718" y="0"/>
                    <a:pt x="1082274" y="255975"/>
                    <a:pt x="791819" y="279062"/>
                  </a:cubicBezTo>
                  <a:cubicBezTo>
                    <a:pt x="501365" y="302150"/>
                    <a:pt x="172801" y="324329"/>
                    <a:pt x="0" y="518302"/>
                  </a:cubicBezTo>
                  <a:cubicBezTo>
                    <a:pt x="0" y="518302"/>
                    <a:pt x="638274" y="618514"/>
                    <a:pt x="674165" y="703302"/>
                  </a:cubicBezTo>
                  <a:cubicBezTo>
                    <a:pt x="674165" y="703302"/>
                    <a:pt x="292673" y="1006358"/>
                    <a:pt x="234804" y="1180369"/>
                  </a:cubicBezTo>
                  <a:cubicBezTo>
                    <a:pt x="234804" y="1180369"/>
                    <a:pt x="509329" y="1083080"/>
                    <a:pt x="565888" y="1059086"/>
                  </a:cubicBezTo>
                  <a:cubicBezTo>
                    <a:pt x="754013" y="979339"/>
                    <a:pt x="1119778" y="1014928"/>
                    <a:pt x="1259108" y="964620"/>
                  </a:cubicBezTo>
                  <a:cubicBezTo>
                    <a:pt x="1413459" y="908969"/>
                    <a:pt x="1559442" y="752400"/>
                    <a:pt x="1686472" y="728002"/>
                  </a:cubicBezTo>
                  <a:lnTo>
                    <a:pt x="1457718" y="0"/>
                  </a:lnTo>
                  <a:close/>
                </a:path>
              </a:pathLst>
            </a:custGeom>
            <a:solidFill>
              <a:srgbClr val="094A4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9B21E56B-4C2B-4586-BACC-D6430218AD7F}"/>
                </a:ext>
              </a:extLst>
            </p:cNvPr>
            <p:cNvSpPr/>
            <p:nvPr/>
          </p:nvSpPr>
          <p:spPr>
            <a:xfrm>
              <a:off x="8806744" y="1948480"/>
              <a:ext cx="459827" cy="481906"/>
            </a:xfrm>
            <a:custGeom>
              <a:avLst/>
              <a:gdLst>
                <a:gd name="connsiteX0" fmla="*/ 172700 w 459827"/>
                <a:gd name="connsiteY0" fmla="*/ 0 h 481906"/>
                <a:gd name="connsiteX1" fmla="*/ 291362 w 459827"/>
                <a:gd name="connsiteY1" fmla="*/ 119267 h 481906"/>
                <a:gd name="connsiteX2" fmla="*/ 456904 w 459827"/>
                <a:gd name="connsiteY2" fmla="*/ 89223 h 481906"/>
                <a:gd name="connsiteX3" fmla="*/ 380081 w 459827"/>
                <a:gd name="connsiteY3" fmla="*/ 238937 h 481906"/>
                <a:gd name="connsiteX4" fmla="*/ 459828 w 459827"/>
                <a:gd name="connsiteY4" fmla="*/ 387038 h 481906"/>
                <a:gd name="connsiteX5" fmla="*/ 293782 w 459827"/>
                <a:gd name="connsiteY5" fmla="*/ 360321 h 481906"/>
                <a:gd name="connsiteX6" fmla="*/ 177539 w 459827"/>
                <a:gd name="connsiteY6" fmla="*/ 481907 h 481906"/>
                <a:gd name="connsiteX7" fmla="*/ 151629 w 459827"/>
                <a:gd name="connsiteY7" fmla="*/ 315659 h 481906"/>
                <a:gd name="connsiteX8" fmla="*/ 0 w 459827"/>
                <a:gd name="connsiteY8" fmla="*/ 242667 h 481906"/>
                <a:gd name="connsiteX9" fmla="*/ 150117 w 459827"/>
                <a:gd name="connsiteY9" fmla="*/ 166752 h 48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9827" h="481906">
                  <a:moveTo>
                    <a:pt x="172700" y="0"/>
                  </a:moveTo>
                  <a:lnTo>
                    <a:pt x="291362" y="119267"/>
                  </a:lnTo>
                  <a:lnTo>
                    <a:pt x="456904" y="89223"/>
                  </a:lnTo>
                  <a:lnTo>
                    <a:pt x="380081" y="238937"/>
                  </a:lnTo>
                  <a:lnTo>
                    <a:pt x="459828" y="387038"/>
                  </a:lnTo>
                  <a:lnTo>
                    <a:pt x="293782" y="360321"/>
                  </a:lnTo>
                  <a:lnTo>
                    <a:pt x="177539" y="481907"/>
                  </a:lnTo>
                  <a:lnTo>
                    <a:pt x="151629" y="315659"/>
                  </a:lnTo>
                  <a:lnTo>
                    <a:pt x="0" y="242667"/>
                  </a:lnTo>
                  <a:lnTo>
                    <a:pt x="150117" y="166752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6F5865DA-BF95-4EBD-A73C-D5B5F6C54E92}"/>
                </a:ext>
              </a:extLst>
            </p:cNvPr>
            <p:cNvSpPr/>
            <p:nvPr/>
          </p:nvSpPr>
          <p:spPr>
            <a:xfrm>
              <a:off x="10082870" y="4031567"/>
              <a:ext cx="342294" cy="202046"/>
            </a:xfrm>
            <a:custGeom>
              <a:avLst/>
              <a:gdLst>
                <a:gd name="connsiteX0" fmla="*/ 69483 w 342294"/>
                <a:gd name="connsiteY0" fmla="*/ 0 h 202046"/>
                <a:gd name="connsiteX1" fmla="*/ 144390 w 342294"/>
                <a:gd name="connsiteY1" fmla="*/ 101 h 202046"/>
                <a:gd name="connsiteX2" fmla="*/ 178870 w 342294"/>
                <a:gd name="connsiteY2" fmla="*/ 13207 h 202046"/>
                <a:gd name="connsiteX3" fmla="*/ 235933 w 342294"/>
                <a:gd name="connsiteY3" fmla="*/ 64523 h 202046"/>
                <a:gd name="connsiteX4" fmla="*/ 319208 w 342294"/>
                <a:gd name="connsiteY4" fmla="*/ 54945 h 202046"/>
                <a:gd name="connsiteX5" fmla="*/ 342295 w 342294"/>
                <a:gd name="connsiteY5" fmla="*/ 192561 h 202046"/>
                <a:gd name="connsiteX6" fmla="*/ 227061 w 342294"/>
                <a:gd name="connsiteY6" fmla="*/ 188226 h 202046"/>
                <a:gd name="connsiteX7" fmla="*/ 147012 w 342294"/>
                <a:gd name="connsiteY7" fmla="*/ 202038 h 202046"/>
                <a:gd name="connsiteX8" fmla="*/ 82791 w 342294"/>
                <a:gd name="connsiteY8" fmla="*/ 182681 h 202046"/>
                <a:gd name="connsiteX9" fmla="*/ 81279 w 342294"/>
                <a:gd name="connsiteY9" fmla="*/ 169474 h 202046"/>
                <a:gd name="connsiteX10" fmla="*/ 61014 w 342294"/>
                <a:gd name="connsiteY10" fmla="*/ 142757 h 202046"/>
                <a:gd name="connsiteX11" fmla="*/ 18470 w 342294"/>
                <a:gd name="connsiteY11" fmla="*/ 120174 h 202046"/>
                <a:gd name="connsiteX12" fmla="*/ 29660 w 342294"/>
                <a:gd name="connsiteY12" fmla="*/ 94567 h 202046"/>
                <a:gd name="connsiteX13" fmla="*/ 121 w 342294"/>
                <a:gd name="connsiteY13" fmla="*/ 62607 h 202046"/>
                <a:gd name="connsiteX14" fmla="*/ 16252 w 342294"/>
                <a:gd name="connsiteY14" fmla="*/ 40327 h 202046"/>
                <a:gd name="connsiteX15" fmla="*/ 78657 w 342294"/>
                <a:gd name="connsiteY15" fmla="*/ 31959 h 202046"/>
                <a:gd name="connsiteX16" fmla="*/ 69483 w 342294"/>
                <a:gd name="connsiteY16" fmla="*/ 0 h 202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2294" h="202046">
                  <a:moveTo>
                    <a:pt x="69483" y="0"/>
                  </a:moveTo>
                  <a:cubicBezTo>
                    <a:pt x="72306" y="202"/>
                    <a:pt x="117472" y="101"/>
                    <a:pt x="144390" y="101"/>
                  </a:cubicBezTo>
                  <a:cubicBezTo>
                    <a:pt x="157093" y="101"/>
                    <a:pt x="169393" y="4738"/>
                    <a:pt x="178870" y="13207"/>
                  </a:cubicBezTo>
                  <a:cubicBezTo>
                    <a:pt x="199941" y="32060"/>
                    <a:pt x="235933" y="64523"/>
                    <a:pt x="235933" y="64523"/>
                  </a:cubicBezTo>
                  <a:lnTo>
                    <a:pt x="319208" y="54945"/>
                  </a:lnTo>
                  <a:lnTo>
                    <a:pt x="342295" y="192561"/>
                  </a:lnTo>
                  <a:lnTo>
                    <a:pt x="227061" y="188226"/>
                  </a:lnTo>
                  <a:cubicBezTo>
                    <a:pt x="227061" y="188226"/>
                    <a:pt x="177660" y="202441"/>
                    <a:pt x="147012" y="202038"/>
                  </a:cubicBezTo>
                  <a:cubicBezTo>
                    <a:pt x="116363" y="201634"/>
                    <a:pt x="84001" y="192763"/>
                    <a:pt x="82791" y="182681"/>
                  </a:cubicBezTo>
                  <a:cubicBezTo>
                    <a:pt x="81682" y="172599"/>
                    <a:pt x="81279" y="169474"/>
                    <a:pt x="81279" y="169474"/>
                  </a:cubicBezTo>
                  <a:cubicBezTo>
                    <a:pt x="81279" y="169474"/>
                    <a:pt x="63636" y="158888"/>
                    <a:pt x="61014" y="142757"/>
                  </a:cubicBezTo>
                  <a:cubicBezTo>
                    <a:pt x="61014" y="142757"/>
                    <a:pt x="21595" y="133885"/>
                    <a:pt x="18470" y="120174"/>
                  </a:cubicBezTo>
                  <a:cubicBezTo>
                    <a:pt x="15344" y="106362"/>
                    <a:pt x="29660" y="94567"/>
                    <a:pt x="29660" y="94567"/>
                  </a:cubicBezTo>
                  <a:cubicBezTo>
                    <a:pt x="29660" y="94567"/>
                    <a:pt x="-2198" y="77024"/>
                    <a:pt x="121" y="62607"/>
                  </a:cubicBezTo>
                  <a:cubicBezTo>
                    <a:pt x="2440" y="48191"/>
                    <a:pt x="16252" y="40327"/>
                    <a:pt x="16252" y="40327"/>
                  </a:cubicBezTo>
                  <a:lnTo>
                    <a:pt x="78657" y="31959"/>
                  </a:lnTo>
                  <a:lnTo>
                    <a:pt x="69483" y="0"/>
                  </a:ln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F000EF4E-DA1F-4AB5-983B-D510AE31F467}"/>
                </a:ext>
              </a:extLst>
            </p:cNvPr>
            <p:cNvSpPr/>
            <p:nvPr/>
          </p:nvSpPr>
          <p:spPr>
            <a:xfrm>
              <a:off x="9662985" y="3976118"/>
              <a:ext cx="390062" cy="397131"/>
            </a:xfrm>
            <a:custGeom>
              <a:avLst/>
              <a:gdLst>
                <a:gd name="connsiteX0" fmla="*/ 304972 w 390062"/>
                <a:gd name="connsiteY0" fmla="*/ 0 h 397131"/>
                <a:gd name="connsiteX1" fmla="*/ 324430 w 390062"/>
                <a:gd name="connsiteY1" fmla="*/ 130256 h 397131"/>
                <a:gd name="connsiteX2" fmla="*/ 313945 w 390062"/>
                <a:gd name="connsiteY2" fmla="*/ 194073 h 397131"/>
                <a:gd name="connsiteX3" fmla="*/ 359111 w 390062"/>
                <a:gd name="connsiteY3" fmla="*/ 241054 h 397131"/>
                <a:gd name="connsiteX4" fmla="*/ 347416 w 390062"/>
                <a:gd name="connsiteY4" fmla="*/ 316264 h 397131"/>
                <a:gd name="connsiteX5" fmla="*/ 390062 w 390062"/>
                <a:gd name="connsiteY5" fmla="*/ 367278 h 397131"/>
                <a:gd name="connsiteX6" fmla="*/ 283196 w 390062"/>
                <a:gd name="connsiteY6" fmla="*/ 382803 h 397131"/>
                <a:gd name="connsiteX7" fmla="*/ 265754 w 390062"/>
                <a:gd name="connsiteY7" fmla="*/ 341166 h 397131"/>
                <a:gd name="connsiteX8" fmla="*/ 251539 w 390062"/>
                <a:gd name="connsiteY8" fmla="*/ 384013 h 397131"/>
                <a:gd name="connsiteX9" fmla="*/ 205062 w 390062"/>
                <a:gd name="connsiteY9" fmla="*/ 396918 h 397131"/>
                <a:gd name="connsiteX10" fmla="*/ 0 w 390062"/>
                <a:gd name="connsiteY10" fmla="*/ 303863 h 397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0062" h="397131">
                  <a:moveTo>
                    <a:pt x="304972" y="0"/>
                  </a:moveTo>
                  <a:cubicBezTo>
                    <a:pt x="332193" y="36697"/>
                    <a:pt x="339754" y="87207"/>
                    <a:pt x="324430" y="130256"/>
                  </a:cubicBezTo>
                  <a:cubicBezTo>
                    <a:pt x="316970" y="151125"/>
                    <a:pt x="304468" y="173910"/>
                    <a:pt x="313945" y="194073"/>
                  </a:cubicBezTo>
                  <a:cubicBezTo>
                    <a:pt x="323321" y="213934"/>
                    <a:pt x="350441" y="220790"/>
                    <a:pt x="359111" y="241054"/>
                  </a:cubicBezTo>
                  <a:cubicBezTo>
                    <a:pt x="369294" y="264847"/>
                    <a:pt x="348425" y="290455"/>
                    <a:pt x="347416" y="316264"/>
                  </a:cubicBezTo>
                  <a:cubicBezTo>
                    <a:pt x="346408" y="340561"/>
                    <a:pt x="365967" y="363950"/>
                    <a:pt x="390062" y="367278"/>
                  </a:cubicBezTo>
                  <a:cubicBezTo>
                    <a:pt x="356792" y="382098"/>
                    <a:pt x="319288" y="387542"/>
                    <a:pt x="283196" y="382803"/>
                  </a:cubicBezTo>
                  <a:cubicBezTo>
                    <a:pt x="277348" y="368890"/>
                    <a:pt x="271602" y="355078"/>
                    <a:pt x="265754" y="341166"/>
                  </a:cubicBezTo>
                  <a:cubicBezTo>
                    <a:pt x="272610" y="355986"/>
                    <a:pt x="264746" y="374435"/>
                    <a:pt x="251539" y="384013"/>
                  </a:cubicBezTo>
                  <a:cubicBezTo>
                    <a:pt x="238332" y="393591"/>
                    <a:pt x="221395" y="396212"/>
                    <a:pt x="205062" y="396918"/>
                  </a:cubicBezTo>
                  <a:cubicBezTo>
                    <a:pt x="127231" y="400245"/>
                    <a:pt x="48695" y="364555"/>
                    <a:pt x="0" y="303863"/>
                  </a:cubicBezTo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F3693D7-D2B6-4EAB-8F54-549D9C2BBDB6}"/>
                </a:ext>
              </a:extLst>
            </p:cNvPr>
            <p:cNvSpPr/>
            <p:nvPr/>
          </p:nvSpPr>
          <p:spPr>
            <a:xfrm>
              <a:off x="9500829" y="3819098"/>
              <a:ext cx="490206" cy="485468"/>
            </a:xfrm>
            <a:custGeom>
              <a:avLst/>
              <a:gdLst>
                <a:gd name="connsiteX0" fmla="*/ 14257 w 490206"/>
                <a:gd name="connsiteY0" fmla="*/ 236867 h 485468"/>
                <a:gd name="connsiteX1" fmla="*/ 45309 w 490206"/>
                <a:gd name="connsiteY1" fmla="*/ 193314 h 485468"/>
                <a:gd name="connsiteX2" fmla="*/ 82712 w 490206"/>
                <a:gd name="connsiteY2" fmla="*/ 85842 h 485468"/>
                <a:gd name="connsiteX3" fmla="*/ 158527 w 490206"/>
                <a:gd name="connsiteY3" fmla="*/ 60941 h 485468"/>
                <a:gd name="connsiteX4" fmla="*/ 238475 w 490206"/>
                <a:gd name="connsiteY4" fmla="*/ 47431 h 485468"/>
                <a:gd name="connsiteX5" fmla="*/ 286262 w 490206"/>
                <a:gd name="connsiteY5" fmla="*/ 11137 h 485468"/>
                <a:gd name="connsiteX6" fmla="*/ 369739 w 490206"/>
                <a:gd name="connsiteY6" fmla="*/ 4080 h 485468"/>
                <a:gd name="connsiteX7" fmla="*/ 448881 w 490206"/>
                <a:gd name="connsiteY7" fmla="*/ 39971 h 485468"/>
                <a:gd name="connsiteX8" fmla="*/ 482554 w 490206"/>
                <a:gd name="connsiteY8" fmla="*/ 117600 h 485468"/>
                <a:gd name="connsiteX9" fmla="*/ 476303 w 490206"/>
                <a:gd name="connsiteY9" fmla="*/ 159943 h 485468"/>
                <a:gd name="connsiteX10" fmla="*/ 488703 w 490206"/>
                <a:gd name="connsiteY10" fmla="*/ 205311 h 485468"/>
                <a:gd name="connsiteX11" fmla="*/ 446965 w 490206"/>
                <a:gd name="connsiteY11" fmla="*/ 287376 h 485468"/>
                <a:gd name="connsiteX12" fmla="*/ 185142 w 490206"/>
                <a:gd name="connsiteY12" fmla="*/ 485180 h 485468"/>
                <a:gd name="connsiteX13" fmla="*/ 23331 w 490206"/>
                <a:gd name="connsiteY13" fmla="*/ 405534 h 485468"/>
                <a:gd name="connsiteX14" fmla="*/ 14257 w 490206"/>
                <a:gd name="connsiteY14" fmla="*/ 236867 h 48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0206" h="485468">
                  <a:moveTo>
                    <a:pt x="14257" y="236867"/>
                  </a:moveTo>
                  <a:cubicBezTo>
                    <a:pt x="24036" y="221946"/>
                    <a:pt x="37143" y="209243"/>
                    <a:pt x="45309" y="193314"/>
                  </a:cubicBezTo>
                  <a:cubicBezTo>
                    <a:pt x="62851" y="159237"/>
                    <a:pt x="56298" y="113668"/>
                    <a:pt x="82712" y="85842"/>
                  </a:cubicBezTo>
                  <a:cubicBezTo>
                    <a:pt x="101565" y="66082"/>
                    <a:pt x="131205" y="61949"/>
                    <a:pt x="158527" y="60941"/>
                  </a:cubicBezTo>
                  <a:cubicBezTo>
                    <a:pt x="185848" y="60033"/>
                    <a:pt x="214682" y="60739"/>
                    <a:pt x="238475" y="47431"/>
                  </a:cubicBezTo>
                  <a:cubicBezTo>
                    <a:pt x="255916" y="37652"/>
                    <a:pt x="268821" y="21017"/>
                    <a:pt x="286262" y="11137"/>
                  </a:cubicBezTo>
                  <a:cubicBezTo>
                    <a:pt x="311063" y="-2978"/>
                    <a:pt x="341812" y="-1667"/>
                    <a:pt x="369739" y="4080"/>
                  </a:cubicBezTo>
                  <a:cubicBezTo>
                    <a:pt x="398472" y="10028"/>
                    <a:pt x="426902" y="20614"/>
                    <a:pt x="448881" y="39971"/>
                  </a:cubicBezTo>
                  <a:cubicBezTo>
                    <a:pt x="470859" y="59328"/>
                    <a:pt x="485679" y="88464"/>
                    <a:pt x="482554" y="117600"/>
                  </a:cubicBezTo>
                  <a:cubicBezTo>
                    <a:pt x="481041" y="131815"/>
                    <a:pt x="475496" y="145627"/>
                    <a:pt x="476303" y="159943"/>
                  </a:cubicBezTo>
                  <a:cubicBezTo>
                    <a:pt x="477109" y="175671"/>
                    <a:pt x="485376" y="189886"/>
                    <a:pt x="488703" y="205311"/>
                  </a:cubicBezTo>
                  <a:cubicBezTo>
                    <a:pt x="495761" y="237774"/>
                    <a:pt x="477311" y="273967"/>
                    <a:pt x="446965" y="287376"/>
                  </a:cubicBezTo>
                  <a:lnTo>
                    <a:pt x="185142" y="485180"/>
                  </a:lnTo>
                  <a:cubicBezTo>
                    <a:pt x="140279" y="489515"/>
                    <a:pt x="46619" y="444147"/>
                    <a:pt x="23331" y="405534"/>
                  </a:cubicBezTo>
                  <a:cubicBezTo>
                    <a:pt x="-59" y="366820"/>
                    <a:pt x="-10544" y="274572"/>
                    <a:pt x="14257" y="23686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9F57C60B-EB48-45C3-8134-AF9C38D41AB1}"/>
                </a:ext>
              </a:extLst>
            </p:cNvPr>
            <p:cNvSpPr/>
            <p:nvPr/>
          </p:nvSpPr>
          <p:spPr>
            <a:xfrm>
              <a:off x="9581827" y="3930347"/>
              <a:ext cx="370778" cy="599284"/>
            </a:xfrm>
            <a:custGeom>
              <a:avLst/>
              <a:gdLst>
                <a:gd name="connsiteX0" fmla="*/ 369495 w 370778"/>
                <a:gd name="connsiteY0" fmla="*/ 142858 h 599284"/>
                <a:gd name="connsiteX1" fmla="*/ 292673 w 370778"/>
                <a:gd name="connsiteY1" fmla="*/ 0 h 599284"/>
                <a:gd name="connsiteX2" fmla="*/ 102430 w 370778"/>
                <a:gd name="connsiteY2" fmla="*/ 11292 h 599284"/>
                <a:gd name="connsiteX3" fmla="*/ 65229 w 370778"/>
                <a:gd name="connsiteY3" fmla="*/ 40125 h 599284"/>
                <a:gd name="connsiteX4" fmla="*/ 1311 w 370778"/>
                <a:gd name="connsiteY4" fmla="*/ 481403 h 599284"/>
                <a:gd name="connsiteX5" fmla="*/ 0 w 370778"/>
                <a:gd name="connsiteY5" fmla="*/ 481403 h 599284"/>
                <a:gd name="connsiteX6" fmla="*/ 144673 w 370778"/>
                <a:gd name="connsiteY6" fmla="*/ 598149 h 599284"/>
                <a:gd name="connsiteX7" fmla="*/ 188125 w 370778"/>
                <a:gd name="connsiteY7" fmla="*/ 580103 h 599284"/>
                <a:gd name="connsiteX8" fmla="*/ 188125 w 370778"/>
                <a:gd name="connsiteY8" fmla="*/ 580103 h 599284"/>
                <a:gd name="connsiteX9" fmla="*/ 188831 w 370778"/>
                <a:gd name="connsiteY9" fmla="*/ 576977 h 599284"/>
                <a:gd name="connsiteX10" fmla="*/ 211011 w 370778"/>
                <a:gd name="connsiteY10" fmla="*/ 476866 h 599284"/>
                <a:gd name="connsiteX11" fmla="*/ 211011 w 370778"/>
                <a:gd name="connsiteY11" fmla="*/ 476866 h 599284"/>
                <a:gd name="connsiteX12" fmla="*/ 220891 w 370778"/>
                <a:gd name="connsiteY12" fmla="*/ 427466 h 599284"/>
                <a:gd name="connsiteX13" fmla="*/ 331689 w 370778"/>
                <a:gd name="connsiteY13" fmla="*/ 335016 h 599284"/>
                <a:gd name="connsiteX14" fmla="*/ 369495 w 370778"/>
                <a:gd name="connsiteY14" fmla="*/ 142858 h 599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0778" h="599284">
                  <a:moveTo>
                    <a:pt x="369495" y="142858"/>
                  </a:moveTo>
                  <a:cubicBezTo>
                    <a:pt x="376956" y="83880"/>
                    <a:pt x="351953" y="4940"/>
                    <a:pt x="292673" y="0"/>
                  </a:cubicBezTo>
                  <a:lnTo>
                    <a:pt x="102430" y="11292"/>
                  </a:lnTo>
                  <a:cubicBezTo>
                    <a:pt x="84384" y="9779"/>
                    <a:pt x="68253" y="22281"/>
                    <a:pt x="65229" y="40125"/>
                  </a:cubicBezTo>
                  <a:lnTo>
                    <a:pt x="1311" y="481403"/>
                  </a:lnTo>
                  <a:cubicBezTo>
                    <a:pt x="907" y="481403"/>
                    <a:pt x="504" y="481403"/>
                    <a:pt x="0" y="481403"/>
                  </a:cubicBezTo>
                  <a:cubicBezTo>
                    <a:pt x="0" y="481403"/>
                    <a:pt x="17542" y="612768"/>
                    <a:pt x="144673" y="598149"/>
                  </a:cubicBezTo>
                  <a:cubicBezTo>
                    <a:pt x="169877" y="595225"/>
                    <a:pt x="178245" y="605912"/>
                    <a:pt x="188125" y="580103"/>
                  </a:cubicBezTo>
                  <a:lnTo>
                    <a:pt x="188125" y="580103"/>
                  </a:lnTo>
                  <a:cubicBezTo>
                    <a:pt x="188831" y="576977"/>
                    <a:pt x="188125" y="580002"/>
                    <a:pt x="188831" y="576977"/>
                  </a:cubicBezTo>
                  <a:cubicBezTo>
                    <a:pt x="196594" y="544414"/>
                    <a:pt x="211011" y="476866"/>
                    <a:pt x="211011" y="476866"/>
                  </a:cubicBezTo>
                  <a:lnTo>
                    <a:pt x="211011" y="476866"/>
                  </a:lnTo>
                  <a:cubicBezTo>
                    <a:pt x="218169" y="441580"/>
                    <a:pt x="220891" y="427163"/>
                    <a:pt x="220891" y="427466"/>
                  </a:cubicBezTo>
                  <a:cubicBezTo>
                    <a:pt x="220891" y="427466"/>
                    <a:pt x="297714" y="429280"/>
                    <a:pt x="331689" y="335016"/>
                  </a:cubicBezTo>
                  <a:cubicBezTo>
                    <a:pt x="348525" y="288136"/>
                    <a:pt x="361228" y="208490"/>
                    <a:pt x="369495" y="142858"/>
                  </a:cubicBezTo>
                  <a:close/>
                </a:path>
              </a:pathLst>
            </a:custGeom>
            <a:solidFill>
              <a:srgbClr val="FFBE9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07" name="Graphic 5">
              <a:extLst>
                <a:ext uri="{FF2B5EF4-FFF2-40B4-BE49-F238E27FC236}">
                  <a16:creationId xmlns:a16="http://schemas.microsoft.com/office/drawing/2014/main" id="{F852EFD6-D310-4445-BE48-AE3E474CC9E2}"/>
                </a:ext>
              </a:extLst>
            </p:cNvPr>
            <p:cNvGrpSpPr/>
            <p:nvPr/>
          </p:nvGrpSpPr>
          <p:grpSpPr>
            <a:xfrm>
              <a:off x="9679015" y="4032119"/>
              <a:ext cx="252339" cy="348477"/>
              <a:chOff x="9679015" y="4032119"/>
              <a:chExt cx="252339" cy="348477"/>
            </a:xfrm>
          </p:grpSpPr>
          <p:grpSp>
            <p:nvGrpSpPr>
              <p:cNvPr id="208" name="Graphic 5">
                <a:extLst>
                  <a:ext uri="{FF2B5EF4-FFF2-40B4-BE49-F238E27FC236}">
                    <a16:creationId xmlns:a16="http://schemas.microsoft.com/office/drawing/2014/main" id="{61D9CE33-E525-455F-94D6-1000FD98A44F}"/>
                  </a:ext>
                </a:extLst>
              </p:cNvPr>
              <p:cNvGrpSpPr/>
              <p:nvPr/>
            </p:nvGrpSpPr>
            <p:grpSpPr>
              <a:xfrm>
                <a:off x="9679015" y="4069590"/>
                <a:ext cx="252339" cy="311006"/>
                <a:chOff x="9679015" y="4069590"/>
                <a:chExt cx="252339" cy="311006"/>
              </a:xfrm>
            </p:grpSpPr>
            <p:grpSp>
              <p:nvGrpSpPr>
                <p:cNvPr id="209" name="Graphic 5">
                  <a:extLst>
                    <a:ext uri="{FF2B5EF4-FFF2-40B4-BE49-F238E27FC236}">
                      <a16:creationId xmlns:a16="http://schemas.microsoft.com/office/drawing/2014/main" id="{5A7EF718-96F4-4BBB-9BEC-5F10CE205069}"/>
                    </a:ext>
                  </a:extLst>
                </p:cNvPr>
                <p:cNvGrpSpPr/>
                <p:nvPr/>
              </p:nvGrpSpPr>
              <p:grpSpPr>
                <a:xfrm>
                  <a:off x="9764172" y="4093493"/>
                  <a:ext cx="167183" cy="67739"/>
                  <a:chOff x="9764172" y="4093493"/>
                  <a:chExt cx="167183" cy="67739"/>
                </a:xfrm>
                <a:solidFill>
                  <a:srgbClr val="263238"/>
                </a:solidFill>
              </p:grpSpPr>
              <p:sp>
                <p:nvSpPr>
                  <p:cNvPr id="210" name="Freeform: Shape 209">
                    <a:extLst>
                      <a:ext uri="{FF2B5EF4-FFF2-40B4-BE49-F238E27FC236}">
                        <a16:creationId xmlns:a16="http://schemas.microsoft.com/office/drawing/2014/main" id="{2B2E143F-62A6-4471-BAD3-6448CFEA576E}"/>
                      </a:ext>
                    </a:extLst>
                  </p:cNvPr>
                  <p:cNvSpPr/>
                  <p:nvPr/>
                </p:nvSpPr>
                <p:spPr>
                  <a:xfrm>
                    <a:off x="9764172" y="4117953"/>
                    <a:ext cx="25373" cy="24225"/>
                  </a:xfrm>
                  <a:custGeom>
                    <a:avLst/>
                    <a:gdLst>
                      <a:gd name="connsiteX0" fmla="*/ 25239 w 25373"/>
                      <a:gd name="connsiteY0" fmla="*/ 13826 h 24225"/>
                      <a:gd name="connsiteX1" fmla="*/ 10822 w 25373"/>
                      <a:gd name="connsiteY1" fmla="*/ 24110 h 24225"/>
                      <a:gd name="connsiteX2" fmla="*/ 135 w 25373"/>
                      <a:gd name="connsiteY2" fmla="*/ 10399 h 24225"/>
                      <a:gd name="connsiteX3" fmla="*/ 14552 w 25373"/>
                      <a:gd name="connsiteY3" fmla="*/ 115 h 24225"/>
                      <a:gd name="connsiteX4" fmla="*/ 25239 w 25373"/>
                      <a:gd name="connsiteY4" fmla="*/ 13826 h 24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373" h="24225">
                        <a:moveTo>
                          <a:pt x="25239" y="13826"/>
                        </a:moveTo>
                        <a:cubicBezTo>
                          <a:pt x="24230" y="20480"/>
                          <a:pt x="17778" y="25017"/>
                          <a:pt x="10822" y="24110"/>
                        </a:cubicBezTo>
                        <a:cubicBezTo>
                          <a:pt x="3865" y="23202"/>
                          <a:pt x="-873" y="17053"/>
                          <a:pt x="135" y="10399"/>
                        </a:cubicBezTo>
                        <a:cubicBezTo>
                          <a:pt x="1143" y="3745"/>
                          <a:pt x="7596" y="-792"/>
                          <a:pt x="14552" y="115"/>
                        </a:cubicBezTo>
                        <a:cubicBezTo>
                          <a:pt x="21508" y="1023"/>
                          <a:pt x="26247" y="7172"/>
                          <a:pt x="25239" y="13826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100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1" name="Freeform: Shape 210">
                    <a:extLst>
                      <a:ext uri="{FF2B5EF4-FFF2-40B4-BE49-F238E27FC236}">
                        <a16:creationId xmlns:a16="http://schemas.microsoft.com/office/drawing/2014/main" id="{C6CC27D6-E991-4478-89F3-B681D41D8DC4}"/>
                      </a:ext>
                    </a:extLst>
                  </p:cNvPr>
                  <p:cNvSpPr/>
                  <p:nvPr/>
                </p:nvSpPr>
                <p:spPr>
                  <a:xfrm>
                    <a:off x="9892109" y="4137007"/>
                    <a:ext cx="25371" cy="24225"/>
                  </a:xfrm>
                  <a:custGeom>
                    <a:avLst/>
                    <a:gdLst>
                      <a:gd name="connsiteX0" fmla="*/ 25239 w 25371"/>
                      <a:gd name="connsiteY0" fmla="*/ 13827 h 24225"/>
                      <a:gd name="connsiteX1" fmla="*/ 10822 w 25371"/>
                      <a:gd name="connsiteY1" fmla="*/ 24110 h 24225"/>
                      <a:gd name="connsiteX2" fmla="*/ 135 w 25371"/>
                      <a:gd name="connsiteY2" fmla="*/ 10399 h 24225"/>
                      <a:gd name="connsiteX3" fmla="*/ 14552 w 25371"/>
                      <a:gd name="connsiteY3" fmla="*/ 115 h 24225"/>
                      <a:gd name="connsiteX4" fmla="*/ 25239 w 25371"/>
                      <a:gd name="connsiteY4" fmla="*/ 13827 h 24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371" h="24225">
                        <a:moveTo>
                          <a:pt x="25239" y="13827"/>
                        </a:moveTo>
                        <a:cubicBezTo>
                          <a:pt x="24230" y="20481"/>
                          <a:pt x="17778" y="25017"/>
                          <a:pt x="10822" y="24110"/>
                        </a:cubicBezTo>
                        <a:cubicBezTo>
                          <a:pt x="3865" y="23203"/>
                          <a:pt x="-873" y="17053"/>
                          <a:pt x="135" y="10399"/>
                        </a:cubicBezTo>
                        <a:cubicBezTo>
                          <a:pt x="1143" y="3745"/>
                          <a:pt x="7596" y="-792"/>
                          <a:pt x="14552" y="115"/>
                        </a:cubicBezTo>
                        <a:cubicBezTo>
                          <a:pt x="21408" y="1023"/>
                          <a:pt x="26247" y="7173"/>
                          <a:pt x="25239" y="13827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100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2" name="Freeform: Shape 211">
                    <a:extLst>
                      <a:ext uri="{FF2B5EF4-FFF2-40B4-BE49-F238E27FC236}">
                        <a16:creationId xmlns:a16="http://schemas.microsoft.com/office/drawing/2014/main" id="{980B4694-D997-419D-B3CC-A38C1962F120}"/>
                      </a:ext>
                    </a:extLst>
                  </p:cNvPr>
                  <p:cNvSpPr/>
                  <p:nvPr/>
                </p:nvSpPr>
                <p:spPr>
                  <a:xfrm>
                    <a:off x="9876893" y="4093493"/>
                    <a:ext cx="54462" cy="20577"/>
                  </a:xfrm>
                  <a:custGeom>
                    <a:avLst/>
                    <a:gdLst>
                      <a:gd name="connsiteX0" fmla="*/ 54166 w 54462"/>
                      <a:gd name="connsiteY0" fmla="*/ 20341 h 20577"/>
                      <a:gd name="connsiteX1" fmla="*/ 28054 w 54462"/>
                      <a:gd name="connsiteY1" fmla="*/ 10158 h 20577"/>
                      <a:gd name="connsiteX2" fmla="*/ 128 w 54462"/>
                      <a:gd name="connsiteY2" fmla="*/ 13385 h 20577"/>
                      <a:gd name="connsiteX3" fmla="*/ 6782 w 54462"/>
                      <a:gd name="connsiteY3" fmla="*/ 5420 h 20577"/>
                      <a:gd name="connsiteX4" fmla="*/ 29466 w 54462"/>
                      <a:gd name="connsiteY4" fmla="*/ 278 h 20577"/>
                      <a:gd name="connsiteX5" fmla="*/ 49932 w 54462"/>
                      <a:gd name="connsiteY5" fmla="*/ 10965 h 20577"/>
                      <a:gd name="connsiteX6" fmla="*/ 54166 w 54462"/>
                      <a:gd name="connsiteY6" fmla="*/ 20341 h 205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4462" h="20577">
                        <a:moveTo>
                          <a:pt x="54166" y="20341"/>
                        </a:moveTo>
                        <a:cubicBezTo>
                          <a:pt x="52250" y="22256"/>
                          <a:pt x="42773" y="11973"/>
                          <a:pt x="28054" y="10158"/>
                        </a:cubicBezTo>
                        <a:cubicBezTo>
                          <a:pt x="13335" y="8142"/>
                          <a:pt x="1438" y="15602"/>
                          <a:pt x="128" y="13385"/>
                        </a:cubicBezTo>
                        <a:cubicBezTo>
                          <a:pt x="-578" y="12376"/>
                          <a:pt x="1640" y="8747"/>
                          <a:pt x="6782" y="5420"/>
                        </a:cubicBezTo>
                        <a:cubicBezTo>
                          <a:pt x="11823" y="1992"/>
                          <a:pt x="20190" y="-932"/>
                          <a:pt x="29466" y="278"/>
                        </a:cubicBezTo>
                        <a:cubicBezTo>
                          <a:pt x="38640" y="1488"/>
                          <a:pt x="46000" y="6428"/>
                          <a:pt x="49932" y="10965"/>
                        </a:cubicBezTo>
                        <a:cubicBezTo>
                          <a:pt x="53964" y="15502"/>
                          <a:pt x="55073" y="19433"/>
                          <a:pt x="54166" y="20341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1007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13" name="Freeform: Shape 212">
                  <a:extLst>
                    <a:ext uri="{FF2B5EF4-FFF2-40B4-BE49-F238E27FC236}">
                      <a16:creationId xmlns:a16="http://schemas.microsoft.com/office/drawing/2014/main" id="{FB75CD44-1A2B-4DDE-AF32-F27E2023B449}"/>
                    </a:ext>
                  </a:extLst>
                </p:cNvPr>
                <p:cNvSpPr/>
                <p:nvPr/>
              </p:nvSpPr>
              <p:spPr>
                <a:xfrm>
                  <a:off x="9738110" y="4069590"/>
                  <a:ext cx="57198" cy="23734"/>
                </a:xfrm>
                <a:custGeom>
                  <a:avLst/>
                  <a:gdLst>
                    <a:gd name="connsiteX0" fmla="*/ 56745 w 57198"/>
                    <a:gd name="connsiteY0" fmla="*/ 23576 h 23734"/>
                    <a:gd name="connsiteX1" fmla="*/ 30028 w 57198"/>
                    <a:gd name="connsiteY1" fmla="*/ 10571 h 23734"/>
                    <a:gd name="connsiteX2" fmla="*/ 85 w 57198"/>
                    <a:gd name="connsiteY2" fmla="*/ 10369 h 23734"/>
                    <a:gd name="connsiteX3" fmla="*/ 7848 w 57198"/>
                    <a:gd name="connsiteY3" fmla="*/ 3312 h 23734"/>
                    <a:gd name="connsiteX4" fmla="*/ 32347 w 57198"/>
                    <a:gd name="connsiteY4" fmla="*/ 993 h 23734"/>
                    <a:gd name="connsiteX5" fmla="*/ 53014 w 57198"/>
                    <a:gd name="connsiteY5" fmla="*/ 13898 h 23734"/>
                    <a:gd name="connsiteX6" fmla="*/ 56745 w 57198"/>
                    <a:gd name="connsiteY6" fmla="*/ 23576 h 23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198" h="23734">
                      <a:moveTo>
                        <a:pt x="56745" y="23576"/>
                      </a:moveTo>
                      <a:cubicBezTo>
                        <a:pt x="54527" y="25189"/>
                        <a:pt x="45554" y="13999"/>
                        <a:pt x="30028" y="10571"/>
                      </a:cubicBezTo>
                      <a:cubicBezTo>
                        <a:pt x="14603" y="6841"/>
                        <a:pt x="1396" y="12789"/>
                        <a:pt x="85" y="10369"/>
                      </a:cubicBezTo>
                      <a:cubicBezTo>
                        <a:pt x="-520" y="9260"/>
                        <a:pt x="2101" y="6034"/>
                        <a:pt x="7848" y="3312"/>
                      </a:cubicBezTo>
                      <a:cubicBezTo>
                        <a:pt x="13595" y="590"/>
                        <a:pt x="22668" y="-1225"/>
                        <a:pt x="32347" y="993"/>
                      </a:cubicBezTo>
                      <a:cubicBezTo>
                        <a:pt x="41924" y="3211"/>
                        <a:pt x="49183" y="8958"/>
                        <a:pt x="53014" y="13898"/>
                      </a:cubicBezTo>
                      <a:cubicBezTo>
                        <a:pt x="57047" y="18939"/>
                        <a:pt x="57854" y="22871"/>
                        <a:pt x="56745" y="2357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0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: Shape 213">
                  <a:extLst>
                    <a:ext uri="{FF2B5EF4-FFF2-40B4-BE49-F238E27FC236}">
                      <a16:creationId xmlns:a16="http://schemas.microsoft.com/office/drawing/2014/main" id="{7B803CA8-8C67-4808-9B6F-79E2F335E707}"/>
                    </a:ext>
                  </a:extLst>
                </p:cNvPr>
                <p:cNvSpPr/>
                <p:nvPr/>
              </p:nvSpPr>
              <p:spPr>
                <a:xfrm>
                  <a:off x="9823687" y="4084293"/>
                  <a:ext cx="36339" cy="117520"/>
                </a:xfrm>
                <a:custGeom>
                  <a:avLst/>
                  <a:gdLst>
                    <a:gd name="connsiteX0" fmla="*/ 1 w 36339"/>
                    <a:gd name="connsiteY0" fmla="*/ 113018 h 117520"/>
                    <a:gd name="connsiteX1" fmla="*/ 22584 w 36339"/>
                    <a:gd name="connsiteY1" fmla="*/ 113220 h 117520"/>
                    <a:gd name="connsiteX2" fmla="*/ 30448 w 36339"/>
                    <a:gd name="connsiteY2" fmla="*/ 111204 h 117520"/>
                    <a:gd name="connsiteX3" fmla="*/ 30145 w 36339"/>
                    <a:gd name="connsiteY3" fmla="*/ 100618 h 117520"/>
                    <a:gd name="connsiteX4" fmla="*/ 25004 w 36339"/>
                    <a:gd name="connsiteY4" fmla="*/ 72591 h 117520"/>
                    <a:gd name="connsiteX5" fmla="*/ 15224 w 36339"/>
                    <a:gd name="connsiteY5" fmla="*/ 2 h 117520"/>
                    <a:gd name="connsiteX6" fmla="*/ 30750 w 36339"/>
                    <a:gd name="connsiteY6" fmla="*/ 71582 h 117520"/>
                    <a:gd name="connsiteX7" fmla="*/ 35488 w 36339"/>
                    <a:gd name="connsiteY7" fmla="*/ 99710 h 117520"/>
                    <a:gd name="connsiteX8" fmla="*/ 34682 w 36339"/>
                    <a:gd name="connsiteY8" fmla="*/ 113523 h 117520"/>
                    <a:gd name="connsiteX9" fmla="*/ 28129 w 36339"/>
                    <a:gd name="connsiteY9" fmla="*/ 117454 h 117520"/>
                    <a:gd name="connsiteX10" fmla="*/ 22181 w 36339"/>
                    <a:gd name="connsiteY10" fmla="*/ 117152 h 117520"/>
                    <a:gd name="connsiteX11" fmla="*/ 1 w 36339"/>
                    <a:gd name="connsiteY11" fmla="*/ 113018 h 117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6339" h="117520">
                      <a:moveTo>
                        <a:pt x="1" y="113018"/>
                      </a:moveTo>
                      <a:cubicBezTo>
                        <a:pt x="102" y="112212"/>
                        <a:pt x="8671" y="112413"/>
                        <a:pt x="22584" y="113220"/>
                      </a:cubicBezTo>
                      <a:cubicBezTo>
                        <a:pt x="26113" y="113523"/>
                        <a:pt x="29440" y="113422"/>
                        <a:pt x="30448" y="111204"/>
                      </a:cubicBezTo>
                      <a:cubicBezTo>
                        <a:pt x="31758" y="108885"/>
                        <a:pt x="30952" y="104953"/>
                        <a:pt x="30145" y="100618"/>
                      </a:cubicBezTo>
                      <a:cubicBezTo>
                        <a:pt x="28532" y="91746"/>
                        <a:pt x="26818" y="82370"/>
                        <a:pt x="25004" y="72591"/>
                      </a:cubicBezTo>
                      <a:cubicBezTo>
                        <a:pt x="18047" y="32768"/>
                        <a:pt x="13611" y="305"/>
                        <a:pt x="15224" y="2"/>
                      </a:cubicBezTo>
                      <a:cubicBezTo>
                        <a:pt x="16837" y="-300"/>
                        <a:pt x="23794" y="31760"/>
                        <a:pt x="30750" y="71582"/>
                      </a:cubicBezTo>
                      <a:cubicBezTo>
                        <a:pt x="32363" y="81362"/>
                        <a:pt x="33976" y="90738"/>
                        <a:pt x="35488" y="99710"/>
                      </a:cubicBezTo>
                      <a:cubicBezTo>
                        <a:pt x="36093" y="103844"/>
                        <a:pt x="37404" y="108683"/>
                        <a:pt x="34682" y="113523"/>
                      </a:cubicBezTo>
                      <a:cubicBezTo>
                        <a:pt x="33270" y="115942"/>
                        <a:pt x="30448" y="117253"/>
                        <a:pt x="28129" y="117454"/>
                      </a:cubicBezTo>
                      <a:cubicBezTo>
                        <a:pt x="25810" y="117656"/>
                        <a:pt x="23895" y="117353"/>
                        <a:pt x="22181" y="117152"/>
                      </a:cubicBezTo>
                      <a:cubicBezTo>
                        <a:pt x="8268" y="115337"/>
                        <a:pt x="-100" y="113825"/>
                        <a:pt x="1" y="11301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0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: Shape 214">
                  <a:extLst>
                    <a:ext uri="{FF2B5EF4-FFF2-40B4-BE49-F238E27FC236}">
                      <a16:creationId xmlns:a16="http://schemas.microsoft.com/office/drawing/2014/main" id="{73EFD8DE-0EA3-46C1-BA86-D81E817C437C}"/>
                    </a:ext>
                  </a:extLst>
                </p:cNvPr>
                <p:cNvSpPr/>
                <p:nvPr/>
              </p:nvSpPr>
              <p:spPr>
                <a:xfrm>
                  <a:off x="9679015" y="4298330"/>
                  <a:ext cx="123601" cy="82266"/>
                </a:xfrm>
                <a:custGeom>
                  <a:avLst/>
                  <a:gdLst>
                    <a:gd name="connsiteX0" fmla="*/ 123602 w 123601"/>
                    <a:gd name="connsiteY0" fmla="*/ 59583 h 82266"/>
                    <a:gd name="connsiteX1" fmla="*/ 0 w 123601"/>
                    <a:gd name="connsiteY1" fmla="*/ 0 h 82266"/>
                    <a:gd name="connsiteX2" fmla="*/ 117855 w 123601"/>
                    <a:gd name="connsiteY2" fmla="*/ 82267 h 82266"/>
                    <a:gd name="connsiteX3" fmla="*/ 123602 w 123601"/>
                    <a:gd name="connsiteY3" fmla="*/ 59583 h 82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3601" h="82266">
                      <a:moveTo>
                        <a:pt x="123602" y="59583"/>
                      </a:moveTo>
                      <a:cubicBezTo>
                        <a:pt x="123602" y="59583"/>
                        <a:pt x="57365" y="51316"/>
                        <a:pt x="0" y="0"/>
                      </a:cubicBezTo>
                      <a:cubicBezTo>
                        <a:pt x="0" y="0"/>
                        <a:pt x="18853" y="72790"/>
                        <a:pt x="117855" y="82267"/>
                      </a:cubicBezTo>
                      <a:lnTo>
                        <a:pt x="123602" y="59583"/>
                      </a:lnTo>
                      <a:close/>
                    </a:path>
                  </a:pathLst>
                </a:custGeom>
                <a:solidFill>
                  <a:srgbClr val="EB996E"/>
                </a:solidFill>
                <a:ln w="100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: Shape 215">
                  <a:extLst>
                    <a:ext uri="{FF2B5EF4-FFF2-40B4-BE49-F238E27FC236}">
                      <a16:creationId xmlns:a16="http://schemas.microsoft.com/office/drawing/2014/main" id="{F246C41D-DEF3-47C1-9BA6-2F237430F4DD}"/>
                    </a:ext>
                  </a:extLst>
                </p:cNvPr>
                <p:cNvSpPr/>
                <p:nvPr/>
              </p:nvSpPr>
              <p:spPr>
                <a:xfrm>
                  <a:off x="9769889" y="4215372"/>
                  <a:ext cx="42742" cy="29004"/>
                </a:xfrm>
                <a:custGeom>
                  <a:avLst/>
                  <a:gdLst>
                    <a:gd name="connsiteX0" fmla="*/ 41902 w 42742"/>
                    <a:gd name="connsiteY0" fmla="*/ 13192 h 29004"/>
                    <a:gd name="connsiteX1" fmla="*/ 21941 w 42742"/>
                    <a:gd name="connsiteY1" fmla="*/ 86 h 29004"/>
                    <a:gd name="connsiteX2" fmla="*/ 5104 w 42742"/>
                    <a:gd name="connsiteY2" fmla="*/ 5328 h 29004"/>
                    <a:gd name="connsiteX3" fmla="*/ 971 w 42742"/>
                    <a:gd name="connsiteY3" fmla="*/ 21157 h 29004"/>
                    <a:gd name="connsiteX4" fmla="*/ 17706 w 42742"/>
                    <a:gd name="connsiteY4" fmla="*/ 28919 h 29004"/>
                    <a:gd name="connsiteX5" fmla="*/ 36761 w 42742"/>
                    <a:gd name="connsiteY5" fmla="*/ 21963 h 29004"/>
                    <a:gd name="connsiteX6" fmla="*/ 41398 w 42742"/>
                    <a:gd name="connsiteY6" fmla="*/ 18737 h 29004"/>
                    <a:gd name="connsiteX7" fmla="*/ 42306 w 42742"/>
                    <a:gd name="connsiteY7" fmla="*/ 13696 h 29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742" h="29004">
                      <a:moveTo>
                        <a:pt x="41902" y="13192"/>
                      </a:moveTo>
                      <a:cubicBezTo>
                        <a:pt x="38273" y="5933"/>
                        <a:pt x="30510" y="791"/>
                        <a:pt x="21941" y="86"/>
                      </a:cubicBezTo>
                      <a:cubicBezTo>
                        <a:pt x="15992" y="-418"/>
                        <a:pt x="9540" y="1296"/>
                        <a:pt x="5104" y="5328"/>
                      </a:cubicBezTo>
                      <a:cubicBezTo>
                        <a:pt x="668" y="9361"/>
                        <a:pt x="-1348" y="16015"/>
                        <a:pt x="971" y="21157"/>
                      </a:cubicBezTo>
                      <a:cubicBezTo>
                        <a:pt x="3592" y="26903"/>
                        <a:pt x="10951" y="29524"/>
                        <a:pt x="17706" y="28919"/>
                      </a:cubicBezTo>
                      <a:cubicBezTo>
                        <a:pt x="24461" y="28315"/>
                        <a:pt x="30812" y="25189"/>
                        <a:pt x="36761" y="21963"/>
                      </a:cubicBezTo>
                      <a:cubicBezTo>
                        <a:pt x="38475" y="21056"/>
                        <a:pt x="40188" y="20148"/>
                        <a:pt x="41398" y="18737"/>
                      </a:cubicBezTo>
                      <a:cubicBezTo>
                        <a:pt x="42608" y="17326"/>
                        <a:pt x="43213" y="15309"/>
                        <a:pt x="42306" y="13696"/>
                      </a:cubicBezTo>
                    </a:path>
                  </a:pathLst>
                </a:custGeom>
                <a:solidFill>
                  <a:srgbClr val="FF725E"/>
                </a:solidFill>
                <a:ln w="100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: Shape 216">
                  <a:extLst>
                    <a:ext uri="{FF2B5EF4-FFF2-40B4-BE49-F238E27FC236}">
                      <a16:creationId xmlns:a16="http://schemas.microsoft.com/office/drawing/2014/main" id="{DA09E2EC-D617-4EA3-A6B3-C0A66D29582C}"/>
                    </a:ext>
                  </a:extLst>
                </p:cNvPr>
                <p:cNvSpPr/>
                <p:nvPr/>
              </p:nvSpPr>
              <p:spPr>
                <a:xfrm>
                  <a:off x="9778308" y="4199107"/>
                  <a:ext cx="40041" cy="45206"/>
                </a:xfrm>
                <a:custGeom>
                  <a:avLst/>
                  <a:gdLst>
                    <a:gd name="connsiteX0" fmla="*/ 4046 w 40041"/>
                    <a:gd name="connsiteY0" fmla="*/ 19 h 45206"/>
                    <a:gd name="connsiteX1" fmla="*/ 14026 w 40041"/>
                    <a:gd name="connsiteY1" fmla="*/ 27542 h 45206"/>
                    <a:gd name="connsiteX2" fmla="*/ 40037 w 40041"/>
                    <a:gd name="connsiteY2" fmla="*/ 43673 h 45206"/>
                    <a:gd name="connsiteX3" fmla="*/ 29452 w 40041"/>
                    <a:gd name="connsiteY3" fmla="*/ 44782 h 45206"/>
                    <a:gd name="connsiteX4" fmla="*/ 7574 w 40041"/>
                    <a:gd name="connsiteY4" fmla="*/ 32180 h 45206"/>
                    <a:gd name="connsiteX5" fmla="*/ 114 w 40041"/>
                    <a:gd name="connsiteY5" fmla="*/ 9193 h 45206"/>
                    <a:gd name="connsiteX6" fmla="*/ 4046 w 40041"/>
                    <a:gd name="connsiteY6" fmla="*/ 19 h 452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041" h="45206">
                      <a:moveTo>
                        <a:pt x="4046" y="19"/>
                      </a:moveTo>
                      <a:cubicBezTo>
                        <a:pt x="6264" y="322"/>
                        <a:pt x="3541" y="14839"/>
                        <a:pt x="14026" y="27542"/>
                      </a:cubicBezTo>
                      <a:cubicBezTo>
                        <a:pt x="24511" y="40245"/>
                        <a:pt x="40340" y="41556"/>
                        <a:pt x="40037" y="43673"/>
                      </a:cubicBezTo>
                      <a:cubicBezTo>
                        <a:pt x="40037" y="44580"/>
                        <a:pt x="36005" y="45891"/>
                        <a:pt x="29452" y="44782"/>
                      </a:cubicBezTo>
                      <a:cubicBezTo>
                        <a:pt x="22999" y="43774"/>
                        <a:pt x="14026" y="39943"/>
                        <a:pt x="7574" y="32180"/>
                      </a:cubicBezTo>
                      <a:cubicBezTo>
                        <a:pt x="1223" y="24417"/>
                        <a:pt x="-491" y="15343"/>
                        <a:pt x="114" y="9193"/>
                      </a:cubicBezTo>
                      <a:cubicBezTo>
                        <a:pt x="819" y="3044"/>
                        <a:pt x="3138" y="-283"/>
                        <a:pt x="4046" y="1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07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9F5FB433-0162-48DC-98F2-25A4D52A2DA2}"/>
                  </a:ext>
                </a:extLst>
              </p:cNvPr>
              <p:cNvSpPr/>
              <p:nvPr/>
            </p:nvSpPr>
            <p:spPr>
              <a:xfrm>
                <a:off x="9743357" y="4032119"/>
                <a:ext cx="62577" cy="17277"/>
              </a:xfrm>
              <a:custGeom>
                <a:avLst/>
                <a:gdLst>
                  <a:gd name="connsiteX0" fmla="*/ 62385 w 62577"/>
                  <a:gd name="connsiteY0" fmla="*/ 15982 h 17277"/>
                  <a:gd name="connsiteX1" fmla="*/ 31233 w 62577"/>
                  <a:gd name="connsiteY1" fmla="*/ 13965 h 17277"/>
                  <a:gd name="connsiteX2" fmla="*/ 80 w 62577"/>
                  <a:gd name="connsiteY2" fmla="*/ 11042 h 17277"/>
                  <a:gd name="connsiteX3" fmla="*/ 8146 w 62577"/>
                  <a:gd name="connsiteY3" fmla="*/ 3783 h 17277"/>
                  <a:gd name="connsiteX4" fmla="*/ 32342 w 62577"/>
                  <a:gd name="connsiteY4" fmla="*/ 154 h 17277"/>
                  <a:gd name="connsiteX5" fmla="*/ 55631 w 62577"/>
                  <a:gd name="connsiteY5" fmla="*/ 7513 h 17277"/>
                  <a:gd name="connsiteX6" fmla="*/ 62385 w 62577"/>
                  <a:gd name="connsiteY6" fmla="*/ 15982 h 17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577" h="17277">
                    <a:moveTo>
                      <a:pt x="62385" y="15982"/>
                    </a:moveTo>
                    <a:cubicBezTo>
                      <a:pt x="60369" y="19410"/>
                      <a:pt x="47263" y="15074"/>
                      <a:pt x="31233" y="13965"/>
                    </a:cubicBezTo>
                    <a:cubicBezTo>
                      <a:pt x="15102" y="12554"/>
                      <a:pt x="1593" y="14772"/>
                      <a:pt x="80" y="11042"/>
                    </a:cubicBezTo>
                    <a:cubicBezTo>
                      <a:pt x="-525" y="9328"/>
                      <a:pt x="2298" y="6303"/>
                      <a:pt x="8146" y="3783"/>
                    </a:cubicBezTo>
                    <a:cubicBezTo>
                      <a:pt x="13892" y="1263"/>
                      <a:pt x="22663" y="-552"/>
                      <a:pt x="32342" y="154"/>
                    </a:cubicBezTo>
                    <a:cubicBezTo>
                      <a:pt x="42020" y="960"/>
                      <a:pt x="50388" y="4085"/>
                      <a:pt x="55631" y="7513"/>
                    </a:cubicBezTo>
                    <a:cubicBezTo>
                      <a:pt x="60974" y="10941"/>
                      <a:pt x="63293" y="14369"/>
                      <a:pt x="62385" y="15982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ABC74A3C-CAA2-4DA4-8DC2-D17CD3A1B17F}"/>
                  </a:ext>
                </a:extLst>
              </p:cNvPr>
              <p:cNvSpPr/>
              <p:nvPr/>
            </p:nvSpPr>
            <p:spPr>
              <a:xfrm>
                <a:off x="9876864" y="4051627"/>
                <a:ext cx="52469" cy="20439"/>
              </a:xfrm>
              <a:custGeom>
                <a:avLst/>
                <a:gdLst>
                  <a:gd name="connsiteX0" fmla="*/ 51775 w 52469"/>
                  <a:gd name="connsiteY0" fmla="*/ 19763 h 20439"/>
                  <a:gd name="connsiteX1" fmla="*/ 25865 w 52469"/>
                  <a:gd name="connsiteY1" fmla="*/ 14520 h 20439"/>
                  <a:gd name="connsiteX2" fmla="*/ 157 w 52469"/>
                  <a:gd name="connsiteY2" fmla="*/ 8472 h 20439"/>
                  <a:gd name="connsiteX3" fmla="*/ 6911 w 52469"/>
                  <a:gd name="connsiteY3" fmla="*/ 2019 h 20439"/>
                  <a:gd name="connsiteX4" fmla="*/ 28990 w 52469"/>
                  <a:gd name="connsiteY4" fmla="*/ 1011 h 20439"/>
                  <a:gd name="connsiteX5" fmla="*/ 48549 w 52469"/>
                  <a:gd name="connsiteY5" fmla="*/ 11093 h 20439"/>
                  <a:gd name="connsiteX6" fmla="*/ 51775 w 52469"/>
                  <a:gd name="connsiteY6" fmla="*/ 19763 h 20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469" h="20439">
                    <a:moveTo>
                      <a:pt x="51775" y="19763"/>
                    </a:moveTo>
                    <a:cubicBezTo>
                      <a:pt x="48448" y="22283"/>
                      <a:pt x="38568" y="17142"/>
                      <a:pt x="25865" y="14520"/>
                    </a:cubicBezTo>
                    <a:cubicBezTo>
                      <a:pt x="13263" y="11597"/>
                      <a:pt x="1971" y="12101"/>
                      <a:pt x="157" y="8472"/>
                    </a:cubicBezTo>
                    <a:cubicBezTo>
                      <a:pt x="-650" y="6758"/>
                      <a:pt x="1669" y="4036"/>
                      <a:pt x="6911" y="2019"/>
                    </a:cubicBezTo>
                    <a:cubicBezTo>
                      <a:pt x="12053" y="3"/>
                      <a:pt x="20320" y="-804"/>
                      <a:pt x="28990" y="1011"/>
                    </a:cubicBezTo>
                    <a:cubicBezTo>
                      <a:pt x="37661" y="2927"/>
                      <a:pt x="44718" y="7161"/>
                      <a:pt x="48549" y="11093"/>
                    </a:cubicBezTo>
                    <a:cubicBezTo>
                      <a:pt x="52380" y="15125"/>
                      <a:pt x="53287" y="18553"/>
                      <a:pt x="51775" y="1976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3C28785E-9AD4-49EF-AC64-604FFDB69947}"/>
                </a:ext>
              </a:extLst>
            </p:cNvPr>
            <p:cNvSpPr/>
            <p:nvPr/>
          </p:nvSpPr>
          <p:spPr>
            <a:xfrm>
              <a:off x="9568419" y="3924467"/>
              <a:ext cx="337203" cy="320224"/>
            </a:xfrm>
            <a:custGeom>
              <a:avLst/>
              <a:gdLst>
                <a:gd name="connsiteX0" fmla="*/ 73597 w 337203"/>
                <a:gd name="connsiteY0" fmla="*/ 20397 h 320224"/>
                <a:gd name="connsiteX1" fmla="*/ 120376 w 337203"/>
                <a:gd name="connsiteY1" fmla="*/ 4871 h 320224"/>
                <a:gd name="connsiteX2" fmla="*/ 336226 w 337203"/>
                <a:gd name="connsiteY2" fmla="*/ 8198 h 320224"/>
                <a:gd name="connsiteX3" fmla="*/ 312030 w 337203"/>
                <a:gd name="connsiteY3" fmla="*/ 48626 h 320224"/>
                <a:gd name="connsiteX4" fmla="*/ 261419 w 337203"/>
                <a:gd name="connsiteY4" fmla="*/ 56590 h 320224"/>
                <a:gd name="connsiteX5" fmla="*/ 215447 w 337203"/>
                <a:gd name="connsiteY5" fmla="*/ 76351 h 320224"/>
                <a:gd name="connsiteX6" fmla="*/ 194275 w 337203"/>
                <a:gd name="connsiteY6" fmla="*/ 126558 h 320224"/>
                <a:gd name="connsiteX7" fmla="*/ 116041 w 337203"/>
                <a:gd name="connsiteY7" fmla="*/ 176563 h 320224"/>
                <a:gd name="connsiteX8" fmla="*/ 105757 w 337203"/>
                <a:gd name="connsiteY8" fmla="*/ 246127 h 320224"/>
                <a:gd name="connsiteX9" fmla="*/ 61700 w 337203"/>
                <a:gd name="connsiteY9" fmla="*/ 310247 h 320224"/>
                <a:gd name="connsiteX10" fmla="*/ 0 w 337203"/>
                <a:gd name="connsiteY10" fmla="*/ 317607 h 320224"/>
                <a:gd name="connsiteX11" fmla="*/ 52425 w 337203"/>
                <a:gd name="connsiteY11" fmla="*/ 68185 h 320224"/>
                <a:gd name="connsiteX12" fmla="*/ 73597 w 337203"/>
                <a:gd name="connsiteY12" fmla="*/ 20397 h 320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7203" h="320224">
                  <a:moveTo>
                    <a:pt x="73597" y="20397"/>
                  </a:moveTo>
                  <a:cubicBezTo>
                    <a:pt x="86098" y="9206"/>
                    <a:pt x="103741" y="6585"/>
                    <a:pt x="120376" y="4871"/>
                  </a:cubicBezTo>
                  <a:cubicBezTo>
                    <a:pt x="192158" y="-2589"/>
                    <a:pt x="264746" y="-1480"/>
                    <a:pt x="336226" y="8198"/>
                  </a:cubicBezTo>
                  <a:cubicBezTo>
                    <a:pt x="340964" y="24732"/>
                    <a:pt x="327757" y="41871"/>
                    <a:pt x="312030" y="48626"/>
                  </a:cubicBezTo>
                  <a:cubicBezTo>
                    <a:pt x="296302" y="55381"/>
                    <a:pt x="278457" y="54978"/>
                    <a:pt x="261419" y="56590"/>
                  </a:cubicBezTo>
                  <a:cubicBezTo>
                    <a:pt x="244280" y="58204"/>
                    <a:pt x="226032" y="62841"/>
                    <a:pt x="215447" y="76351"/>
                  </a:cubicBezTo>
                  <a:cubicBezTo>
                    <a:pt x="204256" y="90768"/>
                    <a:pt x="204760" y="111536"/>
                    <a:pt x="194275" y="126558"/>
                  </a:cubicBezTo>
                  <a:cubicBezTo>
                    <a:pt x="176229" y="152266"/>
                    <a:pt x="133986" y="150653"/>
                    <a:pt x="116041" y="176563"/>
                  </a:cubicBezTo>
                  <a:cubicBezTo>
                    <a:pt x="102531" y="196122"/>
                    <a:pt x="108782" y="222536"/>
                    <a:pt x="105757" y="246127"/>
                  </a:cubicBezTo>
                  <a:cubicBezTo>
                    <a:pt x="102330" y="272844"/>
                    <a:pt x="85392" y="297443"/>
                    <a:pt x="61700" y="310247"/>
                  </a:cubicBezTo>
                  <a:cubicBezTo>
                    <a:pt x="43049" y="320329"/>
                    <a:pt x="20567" y="322748"/>
                    <a:pt x="0" y="317607"/>
                  </a:cubicBezTo>
                  <a:cubicBezTo>
                    <a:pt x="17441" y="234432"/>
                    <a:pt x="34984" y="151359"/>
                    <a:pt x="52425" y="68185"/>
                  </a:cubicBezTo>
                  <a:cubicBezTo>
                    <a:pt x="56054" y="50743"/>
                    <a:pt x="60390" y="32193"/>
                    <a:pt x="73597" y="2039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4D8476F9-A568-4420-9B18-CF3C5B84CD7D}"/>
                </a:ext>
              </a:extLst>
            </p:cNvPr>
            <p:cNvSpPr/>
            <p:nvPr/>
          </p:nvSpPr>
          <p:spPr>
            <a:xfrm>
              <a:off x="9392960" y="3919037"/>
              <a:ext cx="285551" cy="414881"/>
            </a:xfrm>
            <a:custGeom>
              <a:avLst/>
              <a:gdLst>
                <a:gd name="connsiteX0" fmla="*/ 27963 w 285551"/>
                <a:gd name="connsiteY0" fmla="*/ 187841 h 414881"/>
                <a:gd name="connsiteX1" fmla="*/ 72625 w 285551"/>
                <a:gd name="connsiteY1" fmla="*/ 159007 h 414881"/>
                <a:gd name="connsiteX2" fmla="*/ 93494 w 285551"/>
                <a:gd name="connsiteY2" fmla="*/ 84604 h 414881"/>
                <a:gd name="connsiteX3" fmla="*/ 159731 w 285551"/>
                <a:gd name="connsiteY3" fmla="*/ 60105 h 414881"/>
                <a:gd name="connsiteX4" fmla="*/ 173644 w 285551"/>
                <a:gd name="connsiteY4" fmla="*/ 16451 h 414881"/>
                <a:gd name="connsiteX5" fmla="*/ 217701 w 285551"/>
                <a:gd name="connsiteY5" fmla="*/ 1933 h 414881"/>
                <a:gd name="connsiteX6" fmla="*/ 285551 w 285551"/>
                <a:gd name="connsiteY6" fmla="*/ 194293 h 414881"/>
                <a:gd name="connsiteX7" fmla="*/ 263472 w 285551"/>
                <a:gd name="connsiteY7" fmla="*/ 311846 h 414881"/>
                <a:gd name="connsiteX8" fmla="*/ 231917 w 285551"/>
                <a:gd name="connsiteY8" fmla="*/ 360037 h 414881"/>
                <a:gd name="connsiteX9" fmla="*/ 235546 w 285551"/>
                <a:gd name="connsiteY9" fmla="*/ 414881 h 414881"/>
                <a:gd name="connsiteX10" fmla="*/ 65467 w 285551"/>
                <a:gd name="connsiteY10" fmla="*/ 300454 h 414881"/>
                <a:gd name="connsiteX11" fmla="*/ 13950 w 285551"/>
                <a:gd name="connsiteY11" fmla="*/ 248028 h 414881"/>
                <a:gd name="connsiteX12" fmla="*/ 944 w 285551"/>
                <a:gd name="connsiteY12" fmla="*/ 229478 h 414881"/>
                <a:gd name="connsiteX13" fmla="*/ 27963 w 285551"/>
                <a:gd name="connsiteY13" fmla="*/ 187841 h 41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5551" h="414881">
                  <a:moveTo>
                    <a:pt x="27963" y="187841"/>
                  </a:moveTo>
                  <a:cubicBezTo>
                    <a:pt x="43993" y="179775"/>
                    <a:pt x="62947" y="174129"/>
                    <a:pt x="72625" y="159007"/>
                  </a:cubicBezTo>
                  <a:cubicBezTo>
                    <a:pt x="86639" y="136928"/>
                    <a:pt x="74944" y="103255"/>
                    <a:pt x="93494" y="84604"/>
                  </a:cubicBezTo>
                  <a:cubicBezTo>
                    <a:pt x="110331" y="67666"/>
                    <a:pt x="143601" y="77748"/>
                    <a:pt x="159731" y="60105"/>
                  </a:cubicBezTo>
                  <a:cubicBezTo>
                    <a:pt x="172334" y="46394"/>
                    <a:pt x="166688" y="29658"/>
                    <a:pt x="173644" y="16451"/>
                  </a:cubicBezTo>
                  <a:cubicBezTo>
                    <a:pt x="180601" y="3244"/>
                    <a:pt x="203890" y="-3612"/>
                    <a:pt x="217701" y="1933"/>
                  </a:cubicBezTo>
                  <a:lnTo>
                    <a:pt x="285551" y="194293"/>
                  </a:lnTo>
                  <a:cubicBezTo>
                    <a:pt x="281216" y="251456"/>
                    <a:pt x="283737" y="283214"/>
                    <a:pt x="263472" y="311846"/>
                  </a:cubicBezTo>
                  <a:cubicBezTo>
                    <a:pt x="252383" y="327573"/>
                    <a:pt x="239377" y="342293"/>
                    <a:pt x="231917" y="360037"/>
                  </a:cubicBezTo>
                  <a:cubicBezTo>
                    <a:pt x="224456" y="377780"/>
                    <a:pt x="223448" y="399859"/>
                    <a:pt x="235546" y="414881"/>
                  </a:cubicBezTo>
                  <a:cubicBezTo>
                    <a:pt x="167293" y="401977"/>
                    <a:pt x="114162" y="349955"/>
                    <a:pt x="65467" y="300454"/>
                  </a:cubicBezTo>
                  <a:cubicBezTo>
                    <a:pt x="48328" y="283012"/>
                    <a:pt x="31089" y="265470"/>
                    <a:pt x="13950" y="248028"/>
                  </a:cubicBezTo>
                  <a:cubicBezTo>
                    <a:pt x="8606" y="242584"/>
                    <a:pt x="3061" y="236838"/>
                    <a:pt x="944" y="229478"/>
                  </a:cubicBezTo>
                  <a:cubicBezTo>
                    <a:pt x="-4097" y="212137"/>
                    <a:pt x="11933" y="195906"/>
                    <a:pt x="27963" y="18784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BD25245-4AE2-406F-81C8-ED9A81098542}"/>
                </a:ext>
              </a:extLst>
            </p:cNvPr>
            <p:cNvSpPr/>
            <p:nvPr/>
          </p:nvSpPr>
          <p:spPr>
            <a:xfrm>
              <a:off x="9461149" y="3853102"/>
              <a:ext cx="452910" cy="357029"/>
            </a:xfrm>
            <a:custGeom>
              <a:avLst/>
              <a:gdLst>
                <a:gd name="connsiteX0" fmla="*/ 0 w 452910"/>
                <a:gd name="connsiteY0" fmla="*/ 349552 h 357029"/>
                <a:gd name="connsiteX1" fmla="*/ 6755 w 452910"/>
                <a:gd name="connsiteY1" fmla="*/ 352879 h 357029"/>
                <a:gd name="connsiteX2" fmla="*/ 27926 w 452910"/>
                <a:gd name="connsiteY2" fmla="*/ 357013 h 357029"/>
                <a:gd name="connsiteX3" fmla="*/ 61196 w 452910"/>
                <a:gd name="connsiteY3" fmla="*/ 349250 h 357029"/>
                <a:gd name="connsiteX4" fmla="*/ 90937 w 452910"/>
                <a:gd name="connsiteY4" fmla="*/ 315375 h 357029"/>
                <a:gd name="connsiteX5" fmla="*/ 95676 w 452910"/>
                <a:gd name="connsiteY5" fmla="*/ 289163 h 357029"/>
                <a:gd name="connsiteX6" fmla="*/ 90030 w 452910"/>
                <a:gd name="connsiteY6" fmla="*/ 260934 h 357029"/>
                <a:gd name="connsiteX7" fmla="*/ 84183 w 452910"/>
                <a:gd name="connsiteY7" fmla="*/ 231697 h 357029"/>
                <a:gd name="connsiteX8" fmla="*/ 95474 w 452910"/>
                <a:gd name="connsiteY8" fmla="*/ 204375 h 357029"/>
                <a:gd name="connsiteX9" fmla="*/ 127231 w 452910"/>
                <a:gd name="connsiteY9" fmla="*/ 197520 h 357029"/>
                <a:gd name="connsiteX10" fmla="*/ 144370 w 452910"/>
                <a:gd name="connsiteY10" fmla="*/ 190866 h 357029"/>
                <a:gd name="connsiteX11" fmla="*/ 153746 w 452910"/>
                <a:gd name="connsiteY11" fmla="*/ 174634 h 357029"/>
                <a:gd name="connsiteX12" fmla="*/ 155561 w 452910"/>
                <a:gd name="connsiteY12" fmla="*/ 137735 h 357029"/>
                <a:gd name="connsiteX13" fmla="*/ 160098 w 452910"/>
                <a:gd name="connsiteY13" fmla="*/ 120596 h 357029"/>
                <a:gd name="connsiteX14" fmla="*/ 173406 w 452910"/>
                <a:gd name="connsiteY14" fmla="*/ 109708 h 357029"/>
                <a:gd name="connsiteX15" fmla="*/ 209700 w 452910"/>
                <a:gd name="connsiteY15" fmla="*/ 109809 h 357029"/>
                <a:gd name="connsiteX16" fmla="*/ 246902 w 452910"/>
                <a:gd name="connsiteY16" fmla="*/ 109002 h 357029"/>
                <a:gd name="connsiteX17" fmla="*/ 277449 w 452910"/>
                <a:gd name="connsiteY17" fmla="*/ 89847 h 357029"/>
                <a:gd name="connsiteX18" fmla="*/ 294891 w 452910"/>
                <a:gd name="connsiteY18" fmla="*/ 60206 h 357029"/>
                <a:gd name="connsiteX19" fmla="*/ 309610 w 452910"/>
                <a:gd name="connsiteY19" fmla="*/ 31978 h 357029"/>
                <a:gd name="connsiteX20" fmla="*/ 331790 w 452910"/>
                <a:gd name="connsiteY20" fmla="*/ 12520 h 357029"/>
                <a:gd name="connsiteX21" fmla="*/ 383711 w 452910"/>
                <a:gd name="connsiteY21" fmla="*/ 4152 h 357029"/>
                <a:gd name="connsiteX22" fmla="*/ 422727 w 452910"/>
                <a:gd name="connsiteY22" fmla="*/ 24013 h 357029"/>
                <a:gd name="connsiteX23" fmla="*/ 443193 w 452910"/>
                <a:gd name="connsiteY23" fmla="*/ 50629 h 357029"/>
                <a:gd name="connsiteX24" fmla="*/ 452871 w 452910"/>
                <a:gd name="connsiteY24" fmla="*/ 77749 h 357029"/>
                <a:gd name="connsiteX25" fmla="*/ 452670 w 452910"/>
                <a:gd name="connsiteY25" fmla="*/ 75833 h 357029"/>
                <a:gd name="connsiteX26" fmla="*/ 451662 w 452910"/>
                <a:gd name="connsiteY26" fmla="*/ 70288 h 357029"/>
                <a:gd name="connsiteX27" fmla="*/ 444504 w 452910"/>
                <a:gd name="connsiteY27" fmla="*/ 49923 h 357029"/>
                <a:gd name="connsiteX28" fmla="*/ 424239 w 452910"/>
                <a:gd name="connsiteY28" fmla="*/ 22400 h 357029"/>
                <a:gd name="connsiteX29" fmla="*/ 384215 w 452910"/>
                <a:gd name="connsiteY29" fmla="*/ 1430 h 357029"/>
                <a:gd name="connsiteX30" fmla="*/ 330177 w 452910"/>
                <a:gd name="connsiteY30" fmla="*/ 9697 h 357029"/>
                <a:gd name="connsiteX31" fmla="*/ 306787 w 452910"/>
                <a:gd name="connsiteY31" fmla="*/ 29961 h 357029"/>
                <a:gd name="connsiteX32" fmla="*/ 291564 w 452910"/>
                <a:gd name="connsiteY32" fmla="*/ 58795 h 357029"/>
                <a:gd name="connsiteX33" fmla="*/ 274727 w 452910"/>
                <a:gd name="connsiteY33" fmla="*/ 87427 h 357029"/>
                <a:gd name="connsiteX34" fmla="*/ 245994 w 452910"/>
                <a:gd name="connsiteY34" fmla="*/ 105373 h 357029"/>
                <a:gd name="connsiteX35" fmla="*/ 210607 w 452910"/>
                <a:gd name="connsiteY35" fmla="*/ 105978 h 357029"/>
                <a:gd name="connsiteX36" fmla="*/ 172297 w 452910"/>
                <a:gd name="connsiteY36" fmla="*/ 105978 h 357029"/>
                <a:gd name="connsiteX37" fmla="*/ 156872 w 452910"/>
                <a:gd name="connsiteY37" fmla="*/ 118681 h 357029"/>
                <a:gd name="connsiteX38" fmla="*/ 151831 w 452910"/>
                <a:gd name="connsiteY38" fmla="*/ 137533 h 357029"/>
                <a:gd name="connsiteX39" fmla="*/ 150117 w 452910"/>
                <a:gd name="connsiteY39" fmla="*/ 173727 h 357029"/>
                <a:gd name="connsiteX40" fmla="*/ 142052 w 452910"/>
                <a:gd name="connsiteY40" fmla="*/ 188043 h 357029"/>
                <a:gd name="connsiteX41" fmla="*/ 126929 w 452910"/>
                <a:gd name="connsiteY41" fmla="*/ 193890 h 357029"/>
                <a:gd name="connsiteX42" fmla="*/ 109790 w 452910"/>
                <a:gd name="connsiteY42" fmla="*/ 195402 h 357029"/>
                <a:gd name="connsiteX43" fmla="*/ 93357 w 452910"/>
                <a:gd name="connsiteY43" fmla="*/ 201552 h 357029"/>
                <a:gd name="connsiteX44" fmla="*/ 80755 w 452910"/>
                <a:gd name="connsiteY44" fmla="*/ 231898 h 357029"/>
                <a:gd name="connsiteX45" fmla="*/ 86904 w 452910"/>
                <a:gd name="connsiteY45" fmla="*/ 262144 h 357029"/>
                <a:gd name="connsiteX46" fmla="*/ 92651 w 452910"/>
                <a:gd name="connsiteY46" fmla="*/ 289465 h 357029"/>
                <a:gd name="connsiteX47" fmla="*/ 88316 w 452910"/>
                <a:gd name="connsiteY47" fmla="*/ 314568 h 357029"/>
                <a:gd name="connsiteX48" fmla="*/ 60188 w 452910"/>
                <a:gd name="connsiteY48" fmla="*/ 347536 h 357029"/>
                <a:gd name="connsiteX49" fmla="*/ 28027 w 452910"/>
                <a:gd name="connsiteY49" fmla="*/ 355702 h 357029"/>
                <a:gd name="connsiteX50" fmla="*/ 0 w 452910"/>
                <a:gd name="connsiteY50" fmla="*/ 349552 h 357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52910" h="357029">
                  <a:moveTo>
                    <a:pt x="0" y="349552"/>
                  </a:moveTo>
                  <a:cubicBezTo>
                    <a:pt x="0" y="349552"/>
                    <a:pt x="2117" y="351064"/>
                    <a:pt x="6755" y="352879"/>
                  </a:cubicBezTo>
                  <a:cubicBezTo>
                    <a:pt x="11392" y="354593"/>
                    <a:pt x="18450" y="356811"/>
                    <a:pt x="27926" y="357013"/>
                  </a:cubicBezTo>
                  <a:cubicBezTo>
                    <a:pt x="37302" y="357214"/>
                    <a:pt x="49199" y="355702"/>
                    <a:pt x="61196" y="349250"/>
                  </a:cubicBezTo>
                  <a:cubicBezTo>
                    <a:pt x="73193" y="342999"/>
                    <a:pt x="84586" y="331304"/>
                    <a:pt x="90937" y="315375"/>
                  </a:cubicBezTo>
                  <a:cubicBezTo>
                    <a:pt x="94063" y="307411"/>
                    <a:pt x="95877" y="298539"/>
                    <a:pt x="95676" y="289163"/>
                  </a:cubicBezTo>
                  <a:cubicBezTo>
                    <a:pt x="95474" y="279787"/>
                    <a:pt x="92853" y="270310"/>
                    <a:pt x="90030" y="260934"/>
                  </a:cubicBezTo>
                  <a:cubicBezTo>
                    <a:pt x="87308" y="251558"/>
                    <a:pt x="84183" y="241779"/>
                    <a:pt x="84183" y="231697"/>
                  </a:cubicBezTo>
                  <a:cubicBezTo>
                    <a:pt x="84283" y="221716"/>
                    <a:pt x="87207" y="210727"/>
                    <a:pt x="95474" y="204375"/>
                  </a:cubicBezTo>
                  <a:cubicBezTo>
                    <a:pt x="103741" y="197923"/>
                    <a:pt x="115637" y="198931"/>
                    <a:pt x="127231" y="197520"/>
                  </a:cubicBezTo>
                  <a:cubicBezTo>
                    <a:pt x="133079" y="196814"/>
                    <a:pt x="139430" y="194999"/>
                    <a:pt x="144370" y="190866"/>
                  </a:cubicBezTo>
                  <a:cubicBezTo>
                    <a:pt x="149310" y="186631"/>
                    <a:pt x="152234" y="180582"/>
                    <a:pt x="153746" y="174634"/>
                  </a:cubicBezTo>
                  <a:cubicBezTo>
                    <a:pt x="156973" y="162334"/>
                    <a:pt x="154755" y="149732"/>
                    <a:pt x="155561" y="137735"/>
                  </a:cubicBezTo>
                  <a:cubicBezTo>
                    <a:pt x="155964" y="131686"/>
                    <a:pt x="157174" y="125738"/>
                    <a:pt x="160098" y="120596"/>
                  </a:cubicBezTo>
                  <a:cubicBezTo>
                    <a:pt x="163022" y="115555"/>
                    <a:pt x="167760" y="111623"/>
                    <a:pt x="173406" y="109708"/>
                  </a:cubicBezTo>
                  <a:cubicBezTo>
                    <a:pt x="184899" y="105473"/>
                    <a:pt x="197501" y="107691"/>
                    <a:pt x="209700" y="109809"/>
                  </a:cubicBezTo>
                  <a:cubicBezTo>
                    <a:pt x="221899" y="112228"/>
                    <a:pt x="235005" y="112833"/>
                    <a:pt x="246902" y="109002"/>
                  </a:cubicBezTo>
                  <a:cubicBezTo>
                    <a:pt x="258798" y="105473"/>
                    <a:pt x="269384" y="98719"/>
                    <a:pt x="277449" y="89847"/>
                  </a:cubicBezTo>
                  <a:cubicBezTo>
                    <a:pt x="285414" y="80874"/>
                    <a:pt x="290354" y="70288"/>
                    <a:pt x="294891" y="60206"/>
                  </a:cubicBezTo>
                  <a:cubicBezTo>
                    <a:pt x="299327" y="50125"/>
                    <a:pt x="303561" y="40245"/>
                    <a:pt x="309610" y="31978"/>
                  </a:cubicBezTo>
                  <a:cubicBezTo>
                    <a:pt x="315558" y="23711"/>
                    <a:pt x="323422" y="17258"/>
                    <a:pt x="331790" y="12520"/>
                  </a:cubicBezTo>
                  <a:cubicBezTo>
                    <a:pt x="348727" y="3345"/>
                    <a:pt x="367681" y="1127"/>
                    <a:pt x="383711" y="4152"/>
                  </a:cubicBezTo>
                  <a:cubicBezTo>
                    <a:pt x="399942" y="7076"/>
                    <a:pt x="413149" y="15242"/>
                    <a:pt x="422727" y="24013"/>
                  </a:cubicBezTo>
                  <a:cubicBezTo>
                    <a:pt x="432405" y="32885"/>
                    <a:pt x="438858" y="42362"/>
                    <a:pt x="443193" y="50629"/>
                  </a:cubicBezTo>
                  <a:cubicBezTo>
                    <a:pt x="451662" y="67264"/>
                    <a:pt x="452367" y="77950"/>
                    <a:pt x="452871" y="77749"/>
                  </a:cubicBezTo>
                  <a:cubicBezTo>
                    <a:pt x="452972" y="77749"/>
                    <a:pt x="452871" y="77144"/>
                    <a:pt x="452670" y="75833"/>
                  </a:cubicBezTo>
                  <a:cubicBezTo>
                    <a:pt x="452468" y="74623"/>
                    <a:pt x="452267" y="72708"/>
                    <a:pt x="451662" y="70288"/>
                  </a:cubicBezTo>
                  <a:cubicBezTo>
                    <a:pt x="450653" y="65449"/>
                    <a:pt x="448536" y="58392"/>
                    <a:pt x="444504" y="49923"/>
                  </a:cubicBezTo>
                  <a:cubicBezTo>
                    <a:pt x="440370" y="41454"/>
                    <a:pt x="434019" y="31574"/>
                    <a:pt x="424239" y="22400"/>
                  </a:cubicBezTo>
                  <a:cubicBezTo>
                    <a:pt x="414561" y="13226"/>
                    <a:pt x="401051" y="4656"/>
                    <a:pt x="384215" y="1430"/>
                  </a:cubicBezTo>
                  <a:cubicBezTo>
                    <a:pt x="367580" y="-1796"/>
                    <a:pt x="347921" y="220"/>
                    <a:pt x="330177" y="9697"/>
                  </a:cubicBezTo>
                  <a:cubicBezTo>
                    <a:pt x="321406" y="14536"/>
                    <a:pt x="313139" y="21291"/>
                    <a:pt x="306787" y="29961"/>
                  </a:cubicBezTo>
                  <a:cubicBezTo>
                    <a:pt x="300436" y="38632"/>
                    <a:pt x="296100" y="48713"/>
                    <a:pt x="291564" y="58795"/>
                  </a:cubicBezTo>
                  <a:cubicBezTo>
                    <a:pt x="287027" y="68776"/>
                    <a:pt x="282188" y="79059"/>
                    <a:pt x="274727" y="87427"/>
                  </a:cubicBezTo>
                  <a:cubicBezTo>
                    <a:pt x="267166" y="95694"/>
                    <a:pt x="257185" y="102046"/>
                    <a:pt x="245994" y="105373"/>
                  </a:cubicBezTo>
                  <a:cubicBezTo>
                    <a:pt x="234703" y="109002"/>
                    <a:pt x="222705" y="108296"/>
                    <a:pt x="210607" y="105978"/>
                  </a:cubicBezTo>
                  <a:cubicBezTo>
                    <a:pt x="198610" y="103860"/>
                    <a:pt x="185101" y="101239"/>
                    <a:pt x="172297" y="105978"/>
                  </a:cubicBezTo>
                  <a:cubicBezTo>
                    <a:pt x="165945" y="108196"/>
                    <a:pt x="160199" y="112732"/>
                    <a:pt x="156872" y="118681"/>
                  </a:cubicBezTo>
                  <a:cubicBezTo>
                    <a:pt x="153444" y="124528"/>
                    <a:pt x="152234" y="131182"/>
                    <a:pt x="151831" y="137533"/>
                  </a:cubicBezTo>
                  <a:cubicBezTo>
                    <a:pt x="151024" y="150236"/>
                    <a:pt x="153142" y="162435"/>
                    <a:pt x="150117" y="173727"/>
                  </a:cubicBezTo>
                  <a:cubicBezTo>
                    <a:pt x="148706" y="179272"/>
                    <a:pt x="146185" y="184514"/>
                    <a:pt x="142052" y="188043"/>
                  </a:cubicBezTo>
                  <a:cubicBezTo>
                    <a:pt x="137918" y="191571"/>
                    <a:pt x="132575" y="193185"/>
                    <a:pt x="126929" y="193890"/>
                  </a:cubicBezTo>
                  <a:cubicBezTo>
                    <a:pt x="121384" y="194596"/>
                    <a:pt x="115637" y="194596"/>
                    <a:pt x="109790" y="195402"/>
                  </a:cubicBezTo>
                  <a:cubicBezTo>
                    <a:pt x="104044" y="196108"/>
                    <a:pt x="98095" y="197822"/>
                    <a:pt x="93357" y="201552"/>
                  </a:cubicBezTo>
                  <a:cubicBezTo>
                    <a:pt x="83779" y="209114"/>
                    <a:pt x="80856" y="221313"/>
                    <a:pt x="80755" y="231898"/>
                  </a:cubicBezTo>
                  <a:cubicBezTo>
                    <a:pt x="80755" y="242787"/>
                    <a:pt x="84082" y="252768"/>
                    <a:pt x="86904" y="262144"/>
                  </a:cubicBezTo>
                  <a:cubicBezTo>
                    <a:pt x="89828" y="271520"/>
                    <a:pt x="92349" y="280593"/>
                    <a:pt x="92651" y="289465"/>
                  </a:cubicBezTo>
                  <a:cubicBezTo>
                    <a:pt x="92954" y="298337"/>
                    <a:pt x="91240" y="306907"/>
                    <a:pt x="88316" y="314568"/>
                  </a:cubicBezTo>
                  <a:cubicBezTo>
                    <a:pt x="82368" y="329893"/>
                    <a:pt x="71580" y="341285"/>
                    <a:pt x="60188" y="347536"/>
                  </a:cubicBezTo>
                  <a:cubicBezTo>
                    <a:pt x="48695" y="353887"/>
                    <a:pt x="37202" y="355702"/>
                    <a:pt x="28027" y="355702"/>
                  </a:cubicBezTo>
                  <a:cubicBezTo>
                    <a:pt x="9376" y="355198"/>
                    <a:pt x="101" y="348847"/>
                    <a:pt x="0" y="349552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D566F1A8-DF98-4C6A-A7BB-5D27BB7EF600}"/>
                </a:ext>
              </a:extLst>
            </p:cNvPr>
            <p:cNvSpPr/>
            <p:nvPr/>
          </p:nvSpPr>
          <p:spPr>
            <a:xfrm>
              <a:off x="9397121" y="3835066"/>
              <a:ext cx="377771" cy="270401"/>
            </a:xfrm>
            <a:custGeom>
              <a:avLst/>
              <a:gdLst>
                <a:gd name="connsiteX0" fmla="*/ 6159 w 377771"/>
                <a:gd name="connsiteY0" fmla="*/ 228158 h 270401"/>
                <a:gd name="connsiteX1" fmla="*/ 2429 w 377771"/>
                <a:gd name="connsiteY1" fmla="*/ 232997 h 270401"/>
                <a:gd name="connsiteX2" fmla="*/ 816 w 377771"/>
                <a:gd name="connsiteY2" fmla="*/ 250338 h 270401"/>
                <a:gd name="connsiteX3" fmla="*/ 6966 w 377771"/>
                <a:gd name="connsiteY3" fmla="*/ 261629 h 270401"/>
                <a:gd name="connsiteX4" fmla="*/ 20173 w 377771"/>
                <a:gd name="connsiteY4" fmla="*/ 269292 h 270401"/>
                <a:gd name="connsiteX5" fmla="*/ 54451 w 377771"/>
                <a:gd name="connsiteY5" fmla="*/ 258605 h 270401"/>
                <a:gd name="connsiteX6" fmla="*/ 64734 w 377771"/>
                <a:gd name="connsiteY6" fmla="*/ 239550 h 270401"/>
                <a:gd name="connsiteX7" fmla="*/ 66045 w 377771"/>
                <a:gd name="connsiteY7" fmla="*/ 216161 h 270401"/>
                <a:gd name="connsiteX8" fmla="*/ 63222 w 377771"/>
                <a:gd name="connsiteY8" fmla="*/ 166559 h 270401"/>
                <a:gd name="connsiteX9" fmla="*/ 77235 w 377771"/>
                <a:gd name="connsiteY9" fmla="*/ 145690 h 270401"/>
                <a:gd name="connsiteX10" fmla="*/ 103549 w 377771"/>
                <a:gd name="connsiteY10" fmla="*/ 144681 h 270401"/>
                <a:gd name="connsiteX11" fmla="*/ 133290 w 377771"/>
                <a:gd name="connsiteY11" fmla="*/ 149521 h 270401"/>
                <a:gd name="connsiteX12" fmla="*/ 147909 w 377771"/>
                <a:gd name="connsiteY12" fmla="*/ 142766 h 270401"/>
                <a:gd name="connsiteX13" fmla="*/ 156780 w 377771"/>
                <a:gd name="connsiteY13" fmla="*/ 129357 h 270401"/>
                <a:gd name="connsiteX14" fmla="*/ 162426 w 377771"/>
                <a:gd name="connsiteY14" fmla="*/ 99011 h 270401"/>
                <a:gd name="connsiteX15" fmla="*/ 171399 w 377771"/>
                <a:gd name="connsiteY15" fmla="*/ 71891 h 270401"/>
                <a:gd name="connsiteX16" fmla="*/ 213541 w 377771"/>
                <a:gd name="connsiteY16" fmla="*/ 39529 h 270401"/>
                <a:gd name="connsiteX17" fmla="*/ 262739 w 377771"/>
                <a:gd name="connsiteY17" fmla="*/ 41545 h 270401"/>
                <a:gd name="connsiteX18" fmla="*/ 306897 w 377771"/>
                <a:gd name="connsiteY18" fmla="*/ 46385 h 270401"/>
                <a:gd name="connsiteX19" fmla="*/ 341982 w 377771"/>
                <a:gd name="connsiteY19" fmla="*/ 35698 h 270401"/>
                <a:gd name="connsiteX20" fmla="*/ 364061 w 377771"/>
                <a:gd name="connsiteY20" fmla="*/ 19063 h 270401"/>
                <a:gd name="connsiteX21" fmla="*/ 377772 w 377771"/>
                <a:gd name="connsiteY21" fmla="*/ 9 h 270401"/>
                <a:gd name="connsiteX22" fmla="*/ 362952 w 377771"/>
                <a:gd name="connsiteY22" fmla="*/ 17954 h 270401"/>
                <a:gd name="connsiteX23" fmla="*/ 340873 w 377771"/>
                <a:gd name="connsiteY23" fmla="*/ 33681 h 270401"/>
                <a:gd name="connsiteX24" fmla="*/ 306595 w 377771"/>
                <a:gd name="connsiteY24" fmla="*/ 43562 h 270401"/>
                <a:gd name="connsiteX25" fmla="*/ 263445 w 377771"/>
                <a:gd name="connsiteY25" fmla="*/ 38319 h 270401"/>
                <a:gd name="connsiteX26" fmla="*/ 212532 w 377771"/>
                <a:gd name="connsiteY26" fmla="*/ 36000 h 270401"/>
                <a:gd name="connsiteX27" fmla="*/ 167870 w 377771"/>
                <a:gd name="connsiteY27" fmla="*/ 69976 h 270401"/>
                <a:gd name="connsiteX28" fmla="*/ 158293 w 377771"/>
                <a:gd name="connsiteY28" fmla="*/ 98608 h 270401"/>
                <a:gd name="connsiteX29" fmla="*/ 152848 w 377771"/>
                <a:gd name="connsiteY29" fmla="*/ 128046 h 270401"/>
                <a:gd name="connsiteX30" fmla="*/ 132584 w 377771"/>
                <a:gd name="connsiteY30" fmla="*/ 145790 h 270401"/>
                <a:gd name="connsiteX31" fmla="*/ 104255 w 377771"/>
                <a:gd name="connsiteY31" fmla="*/ 141052 h 270401"/>
                <a:gd name="connsiteX32" fmla="*/ 75017 w 377771"/>
                <a:gd name="connsiteY32" fmla="*/ 142564 h 270401"/>
                <a:gd name="connsiteX33" fmla="*/ 59290 w 377771"/>
                <a:gd name="connsiteY33" fmla="*/ 165853 h 270401"/>
                <a:gd name="connsiteX34" fmla="*/ 58685 w 377771"/>
                <a:gd name="connsiteY34" fmla="*/ 192368 h 270401"/>
                <a:gd name="connsiteX35" fmla="*/ 62415 w 377771"/>
                <a:gd name="connsiteY35" fmla="*/ 216564 h 270401"/>
                <a:gd name="connsiteX36" fmla="*/ 61407 w 377771"/>
                <a:gd name="connsiteY36" fmla="*/ 238744 h 270401"/>
                <a:gd name="connsiteX37" fmla="*/ 52031 w 377771"/>
                <a:gd name="connsiteY37" fmla="*/ 256689 h 270401"/>
                <a:gd name="connsiteX38" fmla="*/ 20375 w 377771"/>
                <a:gd name="connsiteY38" fmla="*/ 267074 h 270401"/>
                <a:gd name="connsiteX39" fmla="*/ 7974 w 377771"/>
                <a:gd name="connsiteY39" fmla="*/ 260218 h 270401"/>
                <a:gd name="connsiteX40" fmla="*/ 2026 w 377771"/>
                <a:gd name="connsiteY40" fmla="*/ 249834 h 270401"/>
                <a:gd name="connsiteX41" fmla="*/ 2832 w 377771"/>
                <a:gd name="connsiteY41" fmla="*/ 233199 h 270401"/>
                <a:gd name="connsiteX42" fmla="*/ 6159 w 377771"/>
                <a:gd name="connsiteY42" fmla="*/ 228158 h 2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77771" h="270401">
                  <a:moveTo>
                    <a:pt x="6159" y="228158"/>
                  </a:moveTo>
                  <a:cubicBezTo>
                    <a:pt x="6159" y="228158"/>
                    <a:pt x="4345" y="229469"/>
                    <a:pt x="2429" y="232997"/>
                  </a:cubicBezTo>
                  <a:cubicBezTo>
                    <a:pt x="513" y="236526"/>
                    <a:pt x="-999" y="242777"/>
                    <a:pt x="816" y="250338"/>
                  </a:cubicBezTo>
                  <a:cubicBezTo>
                    <a:pt x="1824" y="254068"/>
                    <a:pt x="3639" y="258202"/>
                    <a:pt x="6966" y="261629"/>
                  </a:cubicBezTo>
                  <a:cubicBezTo>
                    <a:pt x="10192" y="265057"/>
                    <a:pt x="14830" y="267981"/>
                    <a:pt x="20173" y="269292"/>
                  </a:cubicBezTo>
                  <a:cubicBezTo>
                    <a:pt x="30759" y="272316"/>
                    <a:pt x="45075" y="269292"/>
                    <a:pt x="54451" y="258605"/>
                  </a:cubicBezTo>
                  <a:cubicBezTo>
                    <a:pt x="59189" y="253463"/>
                    <a:pt x="62718" y="246809"/>
                    <a:pt x="64734" y="239550"/>
                  </a:cubicBezTo>
                  <a:cubicBezTo>
                    <a:pt x="66751" y="232191"/>
                    <a:pt x="66851" y="224125"/>
                    <a:pt x="66045" y="216161"/>
                  </a:cubicBezTo>
                  <a:cubicBezTo>
                    <a:pt x="64633" y="200232"/>
                    <a:pt x="58887" y="183597"/>
                    <a:pt x="63222" y="166559"/>
                  </a:cubicBezTo>
                  <a:cubicBezTo>
                    <a:pt x="65238" y="158292"/>
                    <a:pt x="69573" y="149924"/>
                    <a:pt x="77235" y="145690"/>
                  </a:cubicBezTo>
                  <a:cubicBezTo>
                    <a:pt x="84797" y="141254"/>
                    <a:pt x="94475" y="142262"/>
                    <a:pt x="103549" y="144681"/>
                  </a:cubicBezTo>
                  <a:cubicBezTo>
                    <a:pt x="112824" y="146899"/>
                    <a:pt x="122502" y="150730"/>
                    <a:pt x="133290" y="149521"/>
                  </a:cubicBezTo>
                  <a:cubicBezTo>
                    <a:pt x="138633" y="148916"/>
                    <a:pt x="143976" y="146496"/>
                    <a:pt x="147909" y="142766"/>
                  </a:cubicBezTo>
                  <a:cubicBezTo>
                    <a:pt x="151941" y="139036"/>
                    <a:pt x="154764" y="134297"/>
                    <a:pt x="156780" y="129357"/>
                  </a:cubicBezTo>
                  <a:cubicBezTo>
                    <a:pt x="160813" y="119275"/>
                    <a:pt x="161116" y="108790"/>
                    <a:pt x="162426" y="99011"/>
                  </a:cubicBezTo>
                  <a:cubicBezTo>
                    <a:pt x="163535" y="89131"/>
                    <a:pt x="166660" y="80058"/>
                    <a:pt x="171399" y="71891"/>
                  </a:cubicBezTo>
                  <a:cubicBezTo>
                    <a:pt x="181077" y="55660"/>
                    <a:pt x="196906" y="44066"/>
                    <a:pt x="213541" y="39529"/>
                  </a:cubicBezTo>
                  <a:cubicBezTo>
                    <a:pt x="230377" y="34690"/>
                    <a:pt x="247415" y="38319"/>
                    <a:pt x="262739" y="41545"/>
                  </a:cubicBezTo>
                  <a:cubicBezTo>
                    <a:pt x="278164" y="44872"/>
                    <a:pt x="293085" y="47897"/>
                    <a:pt x="306897" y="46385"/>
                  </a:cubicBezTo>
                  <a:cubicBezTo>
                    <a:pt x="320608" y="45074"/>
                    <a:pt x="332404" y="40840"/>
                    <a:pt x="341982" y="35698"/>
                  </a:cubicBezTo>
                  <a:cubicBezTo>
                    <a:pt x="351559" y="30556"/>
                    <a:pt x="358818" y="24507"/>
                    <a:pt x="364061" y="19063"/>
                  </a:cubicBezTo>
                  <a:cubicBezTo>
                    <a:pt x="374647" y="8074"/>
                    <a:pt x="377772" y="9"/>
                    <a:pt x="377772" y="9"/>
                  </a:cubicBezTo>
                  <a:cubicBezTo>
                    <a:pt x="377369" y="-294"/>
                    <a:pt x="373739" y="7469"/>
                    <a:pt x="362952" y="17954"/>
                  </a:cubicBezTo>
                  <a:cubicBezTo>
                    <a:pt x="357508" y="23096"/>
                    <a:pt x="350350" y="28943"/>
                    <a:pt x="340873" y="33681"/>
                  </a:cubicBezTo>
                  <a:cubicBezTo>
                    <a:pt x="331497" y="38521"/>
                    <a:pt x="319903" y="42553"/>
                    <a:pt x="306595" y="43562"/>
                  </a:cubicBezTo>
                  <a:cubicBezTo>
                    <a:pt x="293287" y="44872"/>
                    <a:pt x="278870" y="41848"/>
                    <a:pt x="263445" y="38319"/>
                  </a:cubicBezTo>
                  <a:cubicBezTo>
                    <a:pt x="248121" y="34992"/>
                    <a:pt x="230579" y="31060"/>
                    <a:pt x="212532" y="36000"/>
                  </a:cubicBezTo>
                  <a:cubicBezTo>
                    <a:pt x="194788" y="40739"/>
                    <a:pt x="178254" y="52837"/>
                    <a:pt x="167870" y="69976"/>
                  </a:cubicBezTo>
                  <a:cubicBezTo>
                    <a:pt x="162729" y="78545"/>
                    <a:pt x="159402" y="88425"/>
                    <a:pt x="158293" y="98608"/>
                  </a:cubicBezTo>
                  <a:cubicBezTo>
                    <a:pt x="156881" y="108589"/>
                    <a:pt x="156579" y="118872"/>
                    <a:pt x="152848" y="128046"/>
                  </a:cubicBezTo>
                  <a:cubicBezTo>
                    <a:pt x="149320" y="137221"/>
                    <a:pt x="142061" y="144883"/>
                    <a:pt x="132584" y="145790"/>
                  </a:cubicBezTo>
                  <a:cubicBezTo>
                    <a:pt x="123208" y="146899"/>
                    <a:pt x="113731" y="143371"/>
                    <a:pt x="104255" y="141052"/>
                  </a:cubicBezTo>
                  <a:cubicBezTo>
                    <a:pt x="94979" y="138632"/>
                    <a:pt x="83990" y="137322"/>
                    <a:pt x="75017" y="142564"/>
                  </a:cubicBezTo>
                  <a:cubicBezTo>
                    <a:pt x="66045" y="147706"/>
                    <a:pt x="61508" y="157082"/>
                    <a:pt x="59290" y="165853"/>
                  </a:cubicBezTo>
                  <a:cubicBezTo>
                    <a:pt x="57072" y="174826"/>
                    <a:pt x="57374" y="184000"/>
                    <a:pt x="58685" y="192368"/>
                  </a:cubicBezTo>
                  <a:cubicBezTo>
                    <a:pt x="59895" y="200837"/>
                    <a:pt x="61609" y="208801"/>
                    <a:pt x="62415" y="216564"/>
                  </a:cubicBezTo>
                  <a:cubicBezTo>
                    <a:pt x="63323" y="224327"/>
                    <a:pt x="63222" y="231888"/>
                    <a:pt x="61407" y="238744"/>
                  </a:cubicBezTo>
                  <a:cubicBezTo>
                    <a:pt x="59592" y="245600"/>
                    <a:pt x="56366" y="251850"/>
                    <a:pt x="52031" y="256689"/>
                  </a:cubicBezTo>
                  <a:cubicBezTo>
                    <a:pt x="43462" y="266670"/>
                    <a:pt x="30355" y="269594"/>
                    <a:pt x="20375" y="267074"/>
                  </a:cubicBezTo>
                  <a:cubicBezTo>
                    <a:pt x="15334" y="265864"/>
                    <a:pt x="11099" y="263343"/>
                    <a:pt x="7974" y="260218"/>
                  </a:cubicBezTo>
                  <a:cubicBezTo>
                    <a:pt x="4849" y="257093"/>
                    <a:pt x="3034" y="253262"/>
                    <a:pt x="2026" y="249834"/>
                  </a:cubicBezTo>
                  <a:cubicBezTo>
                    <a:pt x="9" y="242676"/>
                    <a:pt x="1320" y="236728"/>
                    <a:pt x="2832" y="233199"/>
                  </a:cubicBezTo>
                  <a:cubicBezTo>
                    <a:pt x="4748" y="229872"/>
                    <a:pt x="6260" y="228360"/>
                    <a:pt x="6159" y="22815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6427C049-85DE-46E1-A9D4-21B996BA13ED}"/>
                </a:ext>
              </a:extLst>
            </p:cNvPr>
            <p:cNvSpPr/>
            <p:nvPr/>
          </p:nvSpPr>
          <p:spPr>
            <a:xfrm>
              <a:off x="9970403" y="3972787"/>
              <a:ext cx="127508" cy="351519"/>
            </a:xfrm>
            <a:custGeom>
              <a:avLst/>
              <a:gdLst>
                <a:gd name="connsiteX0" fmla="*/ 126501 w 127508"/>
                <a:gd name="connsiteY0" fmla="*/ 321611 h 351519"/>
                <a:gd name="connsiteX1" fmla="*/ 121561 w 127508"/>
                <a:gd name="connsiteY1" fmla="*/ 339053 h 351519"/>
                <a:gd name="connsiteX2" fmla="*/ 103817 w 127508"/>
                <a:gd name="connsiteY2" fmla="*/ 349336 h 351519"/>
                <a:gd name="connsiteX3" fmla="*/ 81133 w 127508"/>
                <a:gd name="connsiteY3" fmla="*/ 335927 h 351519"/>
                <a:gd name="connsiteX4" fmla="*/ 79217 w 127508"/>
                <a:gd name="connsiteY4" fmla="*/ 320402 h 351519"/>
                <a:gd name="connsiteX5" fmla="*/ 86375 w 127508"/>
                <a:gd name="connsiteY5" fmla="*/ 304170 h 351519"/>
                <a:gd name="connsiteX6" fmla="*/ 106438 w 127508"/>
                <a:gd name="connsiteY6" fmla="*/ 268380 h 351519"/>
                <a:gd name="connsiteX7" fmla="*/ 96558 w 127508"/>
                <a:gd name="connsiteY7" fmla="*/ 224222 h 351519"/>
                <a:gd name="connsiteX8" fmla="*/ 78713 w 127508"/>
                <a:gd name="connsiteY8" fmla="*/ 207587 h 351519"/>
                <a:gd name="connsiteX9" fmla="*/ 55828 w 127508"/>
                <a:gd name="connsiteY9" fmla="*/ 197707 h 351519"/>
                <a:gd name="connsiteX10" fmla="*/ 33345 w 127508"/>
                <a:gd name="connsiteY10" fmla="*/ 189037 h 351519"/>
                <a:gd name="connsiteX11" fmla="*/ 18424 w 127508"/>
                <a:gd name="connsiteY11" fmla="*/ 173007 h 351519"/>
                <a:gd name="connsiteX12" fmla="*/ 17315 w 127508"/>
                <a:gd name="connsiteY12" fmla="*/ 151432 h 351519"/>
                <a:gd name="connsiteX13" fmla="*/ 24675 w 127508"/>
                <a:gd name="connsiteY13" fmla="*/ 131268 h 351519"/>
                <a:gd name="connsiteX14" fmla="*/ 41310 w 127508"/>
                <a:gd name="connsiteY14" fmla="*/ 93764 h 351519"/>
                <a:gd name="connsiteX15" fmla="*/ 38185 w 127508"/>
                <a:gd name="connsiteY15" fmla="*/ 58075 h 351519"/>
                <a:gd name="connsiteX16" fmla="*/ 21348 w 127508"/>
                <a:gd name="connsiteY16" fmla="*/ 33778 h 351519"/>
                <a:gd name="connsiteX17" fmla="*/ 7234 w 127508"/>
                <a:gd name="connsiteY17" fmla="*/ 17042 h 351519"/>
                <a:gd name="connsiteX18" fmla="*/ 76 w 127508"/>
                <a:gd name="connsiteY18" fmla="*/ 4 h 351519"/>
                <a:gd name="connsiteX19" fmla="*/ 76 w 127508"/>
                <a:gd name="connsiteY19" fmla="*/ 1214 h 351519"/>
                <a:gd name="connsiteX20" fmla="*/ 479 w 127508"/>
                <a:gd name="connsiteY20" fmla="*/ 4843 h 351519"/>
                <a:gd name="connsiteX21" fmla="*/ 5923 w 127508"/>
                <a:gd name="connsiteY21" fmla="*/ 17849 h 351519"/>
                <a:gd name="connsiteX22" fmla="*/ 19735 w 127508"/>
                <a:gd name="connsiteY22" fmla="*/ 35290 h 351519"/>
                <a:gd name="connsiteX23" fmla="*/ 35563 w 127508"/>
                <a:gd name="connsiteY23" fmla="*/ 59184 h 351519"/>
                <a:gd name="connsiteX24" fmla="*/ 38084 w 127508"/>
                <a:gd name="connsiteY24" fmla="*/ 93159 h 351519"/>
                <a:gd name="connsiteX25" fmla="*/ 21449 w 127508"/>
                <a:gd name="connsiteY25" fmla="*/ 129655 h 351519"/>
                <a:gd name="connsiteX26" fmla="*/ 13686 w 127508"/>
                <a:gd name="connsiteY26" fmla="*/ 150726 h 351519"/>
                <a:gd name="connsiteX27" fmla="*/ 14896 w 127508"/>
                <a:gd name="connsiteY27" fmla="*/ 174418 h 351519"/>
                <a:gd name="connsiteX28" fmla="*/ 31631 w 127508"/>
                <a:gd name="connsiteY28" fmla="*/ 192565 h 351519"/>
                <a:gd name="connsiteX29" fmla="*/ 54819 w 127508"/>
                <a:gd name="connsiteY29" fmla="*/ 201538 h 351519"/>
                <a:gd name="connsiteX30" fmla="*/ 76798 w 127508"/>
                <a:gd name="connsiteY30" fmla="*/ 211015 h 351519"/>
                <a:gd name="connsiteX31" fmla="*/ 93634 w 127508"/>
                <a:gd name="connsiteY31" fmla="*/ 226541 h 351519"/>
                <a:gd name="connsiteX32" fmla="*/ 103010 w 127508"/>
                <a:gd name="connsiteY32" fmla="*/ 267573 h 351519"/>
                <a:gd name="connsiteX33" fmla="*/ 83754 w 127508"/>
                <a:gd name="connsiteY33" fmla="*/ 302255 h 351519"/>
                <a:gd name="connsiteX34" fmla="*/ 76394 w 127508"/>
                <a:gd name="connsiteY34" fmla="*/ 319696 h 351519"/>
                <a:gd name="connsiteX35" fmla="*/ 78915 w 127508"/>
                <a:gd name="connsiteY35" fmla="*/ 337137 h 351519"/>
                <a:gd name="connsiteX36" fmla="*/ 104321 w 127508"/>
                <a:gd name="connsiteY36" fmla="*/ 351453 h 351519"/>
                <a:gd name="connsiteX37" fmla="*/ 123174 w 127508"/>
                <a:gd name="connsiteY37" fmla="*/ 339758 h 351519"/>
                <a:gd name="connsiteX38" fmla="*/ 127509 w 127508"/>
                <a:gd name="connsiteY38" fmla="*/ 326350 h 351519"/>
                <a:gd name="connsiteX39" fmla="*/ 126501 w 127508"/>
                <a:gd name="connsiteY39" fmla="*/ 321611 h 351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27508" h="351519">
                  <a:moveTo>
                    <a:pt x="126501" y="321611"/>
                  </a:moveTo>
                  <a:cubicBezTo>
                    <a:pt x="125896" y="321410"/>
                    <a:pt x="128416" y="328971"/>
                    <a:pt x="121561" y="339053"/>
                  </a:cubicBezTo>
                  <a:cubicBezTo>
                    <a:pt x="118234" y="343690"/>
                    <a:pt x="112184" y="348933"/>
                    <a:pt x="103817" y="349336"/>
                  </a:cubicBezTo>
                  <a:cubicBezTo>
                    <a:pt x="95751" y="349840"/>
                    <a:pt x="85972" y="345102"/>
                    <a:pt x="81133" y="335927"/>
                  </a:cubicBezTo>
                  <a:cubicBezTo>
                    <a:pt x="78713" y="331391"/>
                    <a:pt x="78007" y="325946"/>
                    <a:pt x="79217" y="320402"/>
                  </a:cubicBezTo>
                  <a:cubicBezTo>
                    <a:pt x="80326" y="314857"/>
                    <a:pt x="82948" y="309412"/>
                    <a:pt x="86375" y="304170"/>
                  </a:cubicBezTo>
                  <a:cubicBezTo>
                    <a:pt x="93029" y="293786"/>
                    <a:pt x="103615" y="283502"/>
                    <a:pt x="106438" y="268380"/>
                  </a:cubicBezTo>
                  <a:cubicBezTo>
                    <a:pt x="109563" y="253862"/>
                    <a:pt x="106236" y="237227"/>
                    <a:pt x="96558" y="224222"/>
                  </a:cubicBezTo>
                  <a:cubicBezTo>
                    <a:pt x="91819" y="217669"/>
                    <a:pt x="85669" y="212023"/>
                    <a:pt x="78713" y="207587"/>
                  </a:cubicBezTo>
                  <a:cubicBezTo>
                    <a:pt x="71757" y="203050"/>
                    <a:pt x="63691" y="200227"/>
                    <a:pt x="55828" y="197707"/>
                  </a:cubicBezTo>
                  <a:cubicBezTo>
                    <a:pt x="47964" y="195086"/>
                    <a:pt x="40201" y="192767"/>
                    <a:pt x="33345" y="189037"/>
                  </a:cubicBezTo>
                  <a:cubicBezTo>
                    <a:pt x="26591" y="185306"/>
                    <a:pt x="21046" y="179862"/>
                    <a:pt x="18424" y="173007"/>
                  </a:cubicBezTo>
                  <a:cubicBezTo>
                    <a:pt x="15803" y="166151"/>
                    <a:pt x="15904" y="158590"/>
                    <a:pt x="17315" y="151432"/>
                  </a:cubicBezTo>
                  <a:cubicBezTo>
                    <a:pt x="18727" y="144274"/>
                    <a:pt x="21449" y="137620"/>
                    <a:pt x="24675" y="131268"/>
                  </a:cubicBezTo>
                  <a:cubicBezTo>
                    <a:pt x="31027" y="118666"/>
                    <a:pt x="38588" y="106770"/>
                    <a:pt x="41310" y="93764"/>
                  </a:cubicBezTo>
                  <a:cubicBezTo>
                    <a:pt x="44133" y="80859"/>
                    <a:pt x="42318" y="68257"/>
                    <a:pt x="38185" y="58075"/>
                  </a:cubicBezTo>
                  <a:cubicBezTo>
                    <a:pt x="34051" y="47691"/>
                    <a:pt x="27196" y="40029"/>
                    <a:pt x="21348" y="33778"/>
                  </a:cubicBezTo>
                  <a:cubicBezTo>
                    <a:pt x="15501" y="27426"/>
                    <a:pt x="10561" y="21982"/>
                    <a:pt x="7234" y="17042"/>
                  </a:cubicBezTo>
                  <a:cubicBezTo>
                    <a:pt x="378" y="7061"/>
                    <a:pt x="681" y="-198"/>
                    <a:pt x="76" y="4"/>
                  </a:cubicBezTo>
                  <a:cubicBezTo>
                    <a:pt x="-25" y="4"/>
                    <a:pt x="-25" y="407"/>
                    <a:pt x="76" y="1214"/>
                  </a:cubicBezTo>
                  <a:cubicBezTo>
                    <a:pt x="176" y="2020"/>
                    <a:pt x="76" y="3331"/>
                    <a:pt x="479" y="4843"/>
                  </a:cubicBezTo>
                  <a:cubicBezTo>
                    <a:pt x="983" y="8070"/>
                    <a:pt x="2596" y="12606"/>
                    <a:pt x="5923" y="17849"/>
                  </a:cubicBezTo>
                  <a:cubicBezTo>
                    <a:pt x="9149" y="23091"/>
                    <a:pt x="13988" y="28838"/>
                    <a:pt x="19735" y="35290"/>
                  </a:cubicBezTo>
                  <a:cubicBezTo>
                    <a:pt x="25381" y="41742"/>
                    <a:pt x="31833" y="49203"/>
                    <a:pt x="35563" y="59184"/>
                  </a:cubicBezTo>
                  <a:cubicBezTo>
                    <a:pt x="39394" y="69064"/>
                    <a:pt x="40806" y="81061"/>
                    <a:pt x="38084" y="93159"/>
                  </a:cubicBezTo>
                  <a:cubicBezTo>
                    <a:pt x="35362" y="105358"/>
                    <a:pt x="28002" y="116851"/>
                    <a:pt x="21449" y="129655"/>
                  </a:cubicBezTo>
                  <a:cubicBezTo>
                    <a:pt x="18122" y="136107"/>
                    <a:pt x="15198" y="143165"/>
                    <a:pt x="13686" y="150726"/>
                  </a:cubicBezTo>
                  <a:cubicBezTo>
                    <a:pt x="12174" y="158287"/>
                    <a:pt x="11972" y="166655"/>
                    <a:pt x="14896" y="174418"/>
                  </a:cubicBezTo>
                  <a:cubicBezTo>
                    <a:pt x="17819" y="182282"/>
                    <a:pt x="24272" y="188532"/>
                    <a:pt x="31631" y="192565"/>
                  </a:cubicBezTo>
                  <a:cubicBezTo>
                    <a:pt x="38991" y="196598"/>
                    <a:pt x="46956" y="199017"/>
                    <a:pt x="54819" y="201538"/>
                  </a:cubicBezTo>
                  <a:cubicBezTo>
                    <a:pt x="62683" y="204058"/>
                    <a:pt x="70244" y="206680"/>
                    <a:pt x="76798" y="211015"/>
                  </a:cubicBezTo>
                  <a:cubicBezTo>
                    <a:pt x="83351" y="215148"/>
                    <a:pt x="89097" y="220492"/>
                    <a:pt x="93634" y="226541"/>
                  </a:cubicBezTo>
                  <a:cubicBezTo>
                    <a:pt x="102708" y="238639"/>
                    <a:pt x="105833" y="254064"/>
                    <a:pt x="103010" y="267573"/>
                  </a:cubicBezTo>
                  <a:cubicBezTo>
                    <a:pt x="100490" y="281385"/>
                    <a:pt x="90610" y="291366"/>
                    <a:pt x="83754" y="302255"/>
                  </a:cubicBezTo>
                  <a:cubicBezTo>
                    <a:pt x="80326" y="307698"/>
                    <a:pt x="77503" y="313546"/>
                    <a:pt x="76394" y="319696"/>
                  </a:cubicBezTo>
                  <a:cubicBezTo>
                    <a:pt x="75185" y="325745"/>
                    <a:pt x="75991" y="332197"/>
                    <a:pt x="78915" y="337137"/>
                  </a:cubicBezTo>
                  <a:cubicBezTo>
                    <a:pt x="84560" y="347219"/>
                    <a:pt x="95348" y="352159"/>
                    <a:pt x="104321" y="351453"/>
                  </a:cubicBezTo>
                  <a:cubicBezTo>
                    <a:pt x="113495" y="350647"/>
                    <a:pt x="119847" y="344799"/>
                    <a:pt x="123174" y="339758"/>
                  </a:cubicBezTo>
                  <a:cubicBezTo>
                    <a:pt x="126601" y="334516"/>
                    <a:pt x="127408" y="329576"/>
                    <a:pt x="127509" y="326350"/>
                  </a:cubicBezTo>
                  <a:cubicBezTo>
                    <a:pt x="127105" y="323224"/>
                    <a:pt x="126501" y="321611"/>
                    <a:pt x="126501" y="32161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601092B4-F544-41CE-A03B-C40815D13CF9}"/>
                </a:ext>
              </a:extLst>
            </p:cNvPr>
            <p:cNvSpPr/>
            <p:nvPr/>
          </p:nvSpPr>
          <p:spPr>
            <a:xfrm>
              <a:off x="8692619" y="5740824"/>
              <a:ext cx="322111" cy="345198"/>
            </a:xfrm>
            <a:custGeom>
              <a:avLst/>
              <a:gdLst>
                <a:gd name="connsiteX0" fmla="*/ 93256 w 322111"/>
                <a:gd name="connsiteY0" fmla="*/ 41638 h 345198"/>
                <a:gd name="connsiteX1" fmla="*/ 289447 w 322111"/>
                <a:gd name="connsiteY1" fmla="*/ 0 h 345198"/>
                <a:gd name="connsiteX2" fmla="*/ 322111 w 322111"/>
                <a:gd name="connsiteY2" fmla="*/ 160904 h 345198"/>
                <a:gd name="connsiteX3" fmla="*/ 177842 w 322111"/>
                <a:gd name="connsiteY3" fmla="*/ 164131 h 345198"/>
                <a:gd name="connsiteX4" fmla="*/ 179253 w 322111"/>
                <a:gd name="connsiteY4" fmla="*/ 294185 h 345198"/>
                <a:gd name="connsiteX5" fmla="*/ 253052 w 322111"/>
                <a:gd name="connsiteY5" fmla="*/ 345198 h 345198"/>
                <a:gd name="connsiteX6" fmla="*/ 117755 w 322111"/>
                <a:gd name="connsiteY6" fmla="*/ 342073 h 345198"/>
                <a:gd name="connsiteX7" fmla="*/ 0 w 322111"/>
                <a:gd name="connsiteY7" fmla="*/ 102632 h 345198"/>
                <a:gd name="connsiteX8" fmla="*/ 93256 w 322111"/>
                <a:gd name="connsiteY8" fmla="*/ 41638 h 345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111" h="345198">
                  <a:moveTo>
                    <a:pt x="93256" y="41638"/>
                  </a:moveTo>
                  <a:lnTo>
                    <a:pt x="289447" y="0"/>
                  </a:lnTo>
                  <a:lnTo>
                    <a:pt x="322111" y="160904"/>
                  </a:lnTo>
                  <a:lnTo>
                    <a:pt x="177842" y="164131"/>
                  </a:lnTo>
                  <a:lnTo>
                    <a:pt x="179253" y="294185"/>
                  </a:lnTo>
                  <a:cubicBezTo>
                    <a:pt x="243978" y="312433"/>
                    <a:pt x="253052" y="345198"/>
                    <a:pt x="253052" y="345198"/>
                  </a:cubicBezTo>
                  <a:lnTo>
                    <a:pt x="117755" y="342073"/>
                  </a:lnTo>
                  <a:lnTo>
                    <a:pt x="0" y="102632"/>
                  </a:lnTo>
                  <a:lnTo>
                    <a:pt x="93256" y="41638"/>
                  </a:lnTo>
                  <a:close/>
                </a:path>
              </a:pathLst>
            </a:custGeom>
            <a:solidFill>
              <a:srgbClr val="FF725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DFD02A8B-9BEB-480B-80E1-ED7F2B007FA6}"/>
                </a:ext>
              </a:extLst>
            </p:cNvPr>
            <p:cNvSpPr/>
            <p:nvPr/>
          </p:nvSpPr>
          <p:spPr>
            <a:xfrm>
              <a:off x="8692720" y="5830451"/>
              <a:ext cx="253051" cy="255571"/>
            </a:xfrm>
            <a:custGeom>
              <a:avLst/>
              <a:gdLst>
                <a:gd name="connsiteX0" fmla="*/ 0 w 253051"/>
                <a:gd name="connsiteY0" fmla="*/ 13005 h 255571"/>
                <a:gd name="connsiteX1" fmla="*/ 117755 w 253051"/>
                <a:gd name="connsiteY1" fmla="*/ 252446 h 255571"/>
                <a:gd name="connsiteX2" fmla="*/ 253051 w 253051"/>
                <a:gd name="connsiteY2" fmla="*/ 255572 h 255571"/>
                <a:gd name="connsiteX3" fmla="*/ 238332 w 253051"/>
                <a:gd name="connsiteY3" fmla="*/ 234904 h 255571"/>
                <a:gd name="connsiteX4" fmla="*/ 128340 w 253051"/>
                <a:gd name="connsiteY4" fmla="*/ 226335 h 255571"/>
                <a:gd name="connsiteX5" fmla="*/ 19760 w 253051"/>
                <a:gd name="connsiteY5" fmla="*/ 0 h 25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051" h="255571">
                  <a:moveTo>
                    <a:pt x="0" y="13005"/>
                  </a:moveTo>
                  <a:lnTo>
                    <a:pt x="117755" y="252446"/>
                  </a:lnTo>
                  <a:lnTo>
                    <a:pt x="253051" y="255572"/>
                  </a:lnTo>
                  <a:lnTo>
                    <a:pt x="238332" y="234904"/>
                  </a:lnTo>
                  <a:lnTo>
                    <a:pt x="128340" y="226335"/>
                  </a:lnTo>
                  <a:lnTo>
                    <a:pt x="19760" y="0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5EA3AA2D-1E56-4356-8C86-C9A55FCAB1A9}"/>
                </a:ext>
              </a:extLst>
            </p:cNvPr>
            <p:cNvSpPr/>
            <p:nvPr/>
          </p:nvSpPr>
          <p:spPr>
            <a:xfrm>
              <a:off x="8833841" y="5966248"/>
              <a:ext cx="38760" cy="9415"/>
            </a:xfrm>
            <a:custGeom>
              <a:avLst/>
              <a:gdLst>
                <a:gd name="connsiteX0" fmla="*/ 38636 w 38760"/>
                <a:gd name="connsiteY0" fmla="*/ 9178 h 9415"/>
                <a:gd name="connsiteX1" fmla="*/ 19380 w 38760"/>
                <a:gd name="connsiteY1" fmla="*/ 5952 h 9415"/>
                <a:gd name="connsiteX2" fmla="*/ 124 w 38760"/>
                <a:gd name="connsiteY2" fmla="*/ 8775 h 9415"/>
                <a:gd name="connsiteX3" fmla="*/ 19480 w 38760"/>
                <a:gd name="connsiteY3" fmla="*/ 4 h 9415"/>
                <a:gd name="connsiteX4" fmla="*/ 38636 w 38760"/>
                <a:gd name="connsiteY4" fmla="*/ 9178 h 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60" h="9415">
                  <a:moveTo>
                    <a:pt x="38636" y="9178"/>
                  </a:moveTo>
                  <a:cubicBezTo>
                    <a:pt x="37628" y="10489"/>
                    <a:pt x="29865" y="5952"/>
                    <a:pt x="19380" y="5952"/>
                  </a:cubicBezTo>
                  <a:cubicBezTo>
                    <a:pt x="8895" y="5750"/>
                    <a:pt x="1132" y="10186"/>
                    <a:pt x="124" y="8775"/>
                  </a:cubicBezTo>
                  <a:cubicBezTo>
                    <a:pt x="-1086" y="7767"/>
                    <a:pt x="6677" y="-198"/>
                    <a:pt x="19480" y="4"/>
                  </a:cubicBezTo>
                  <a:cubicBezTo>
                    <a:pt x="32183" y="104"/>
                    <a:pt x="39846" y="8170"/>
                    <a:pt x="38636" y="917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42C1AD49-6115-4ABC-AE88-F8055708C983}"/>
                </a:ext>
              </a:extLst>
            </p:cNvPr>
            <p:cNvSpPr/>
            <p:nvPr/>
          </p:nvSpPr>
          <p:spPr>
            <a:xfrm>
              <a:off x="8832594" y="5927205"/>
              <a:ext cx="38660" cy="16029"/>
            </a:xfrm>
            <a:custGeom>
              <a:avLst/>
              <a:gdLst>
                <a:gd name="connsiteX0" fmla="*/ 38371 w 38660"/>
                <a:gd name="connsiteY0" fmla="*/ 15959 h 16029"/>
                <a:gd name="connsiteX1" fmla="*/ 20425 w 38660"/>
                <a:gd name="connsiteY1" fmla="*/ 6381 h 16029"/>
                <a:gd name="connsiteX2" fmla="*/ 60 w 38660"/>
                <a:gd name="connsiteY2" fmla="*/ 7389 h 16029"/>
                <a:gd name="connsiteX3" fmla="*/ 5101 w 38660"/>
                <a:gd name="connsiteY3" fmla="*/ 2550 h 16029"/>
                <a:gd name="connsiteX4" fmla="*/ 21736 w 38660"/>
                <a:gd name="connsiteY4" fmla="*/ 635 h 16029"/>
                <a:gd name="connsiteX5" fmla="*/ 35951 w 38660"/>
                <a:gd name="connsiteY5" fmla="*/ 9507 h 16029"/>
                <a:gd name="connsiteX6" fmla="*/ 38371 w 38660"/>
                <a:gd name="connsiteY6" fmla="*/ 15959 h 16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660" h="16029">
                  <a:moveTo>
                    <a:pt x="38371" y="15959"/>
                  </a:moveTo>
                  <a:cubicBezTo>
                    <a:pt x="36959" y="16866"/>
                    <a:pt x="31112" y="8801"/>
                    <a:pt x="20425" y="6381"/>
                  </a:cubicBezTo>
                  <a:cubicBezTo>
                    <a:pt x="9739" y="3962"/>
                    <a:pt x="968" y="8801"/>
                    <a:pt x="60" y="7389"/>
                  </a:cubicBezTo>
                  <a:cubicBezTo>
                    <a:pt x="-343" y="6785"/>
                    <a:pt x="1270" y="4567"/>
                    <a:pt x="5101" y="2550"/>
                  </a:cubicBezTo>
                  <a:cubicBezTo>
                    <a:pt x="8831" y="534"/>
                    <a:pt x="15082" y="-878"/>
                    <a:pt x="21736" y="635"/>
                  </a:cubicBezTo>
                  <a:cubicBezTo>
                    <a:pt x="28390" y="2147"/>
                    <a:pt x="33330" y="6079"/>
                    <a:pt x="35951" y="9507"/>
                  </a:cubicBezTo>
                  <a:cubicBezTo>
                    <a:pt x="38573" y="12834"/>
                    <a:pt x="39077" y="15556"/>
                    <a:pt x="38371" y="1595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2F3D1A20-EECC-436A-B88C-D5AB91A248EA}"/>
                </a:ext>
              </a:extLst>
            </p:cNvPr>
            <p:cNvSpPr/>
            <p:nvPr/>
          </p:nvSpPr>
          <p:spPr>
            <a:xfrm>
              <a:off x="8838871" y="5883972"/>
              <a:ext cx="34330" cy="17800"/>
            </a:xfrm>
            <a:custGeom>
              <a:avLst/>
              <a:gdLst>
                <a:gd name="connsiteX0" fmla="*/ 33909 w 34330"/>
                <a:gd name="connsiteY0" fmla="*/ 17757 h 17800"/>
                <a:gd name="connsiteX1" fmla="*/ 18584 w 34330"/>
                <a:gd name="connsiteY1" fmla="*/ 7070 h 17800"/>
                <a:gd name="connsiteX2" fmla="*/ 34 w 34330"/>
                <a:gd name="connsiteY2" fmla="*/ 4953 h 17800"/>
                <a:gd name="connsiteX3" fmla="*/ 5176 w 34330"/>
                <a:gd name="connsiteY3" fmla="*/ 1122 h 17800"/>
                <a:gd name="connsiteX4" fmla="*/ 20601 w 34330"/>
                <a:gd name="connsiteY4" fmla="*/ 1525 h 17800"/>
                <a:gd name="connsiteX5" fmla="*/ 32497 w 34330"/>
                <a:gd name="connsiteY5" fmla="*/ 11405 h 17800"/>
                <a:gd name="connsiteX6" fmla="*/ 33909 w 34330"/>
                <a:gd name="connsiteY6" fmla="*/ 17757 h 1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30" h="17800">
                  <a:moveTo>
                    <a:pt x="33909" y="17757"/>
                  </a:moveTo>
                  <a:cubicBezTo>
                    <a:pt x="32396" y="18462"/>
                    <a:pt x="27960" y="10498"/>
                    <a:pt x="18584" y="7070"/>
                  </a:cubicBezTo>
                  <a:cubicBezTo>
                    <a:pt x="9309" y="3441"/>
                    <a:pt x="740" y="6465"/>
                    <a:pt x="34" y="4953"/>
                  </a:cubicBezTo>
                  <a:cubicBezTo>
                    <a:pt x="-268" y="4247"/>
                    <a:pt x="1445" y="2433"/>
                    <a:pt x="5176" y="1122"/>
                  </a:cubicBezTo>
                  <a:cubicBezTo>
                    <a:pt x="8906" y="-189"/>
                    <a:pt x="14753" y="-693"/>
                    <a:pt x="20601" y="1525"/>
                  </a:cubicBezTo>
                  <a:cubicBezTo>
                    <a:pt x="26448" y="3743"/>
                    <a:pt x="30582" y="7977"/>
                    <a:pt x="32497" y="11405"/>
                  </a:cubicBezTo>
                  <a:cubicBezTo>
                    <a:pt x="34614" y="14934"/>
                    <a:pt x="34614" y="17555"/>
                    <a:pt x="33909" y="1775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698EFD1-2294-42CC-BD9B-55DCA36B15B3}"/>
                </a:ext>
              </a:extLst>
            </p:cNvPr>
            <p:cNvSpPr/>
            <p:nvPr/>
          </p:nvSpPr>
          <p:spPr>
            <a:xfrm>
              <a:off x="8868161" y="5867433"/>
              <a:ext cx="17686" cy="34331"/>
            </a:xfrm>
            <a:custGeom>
              <a:avLst/>
              <a:gdLst>
                <a:gd name="connsiteX0" fmla="*/ 14599 w 17686"/>
                <a:gd name="connsiteY0" fmla="*/ 34296 h 34331"/>
                <a:gd name="connsiteX1" fmla="*/ 9861 w 17686"/>
                <a:gd name="connsiteY1" fmla="*/ 16250 h 34331"/>
                <a:gd name="connsiteX2" fmla="*/ 82 w 17686"/>
                <a:gd name="connsiteY2" fmla="*/ 320 h 34331"/>
                <a:gd name="connsiteX3" fmla="*/ 15406 w 17686"/>
                <a:gd name="connsiteY3" fmla="*/ 13931 h 34331"/>
                <a:gd name="connsiteX4" fmla="*/ 14599 w 17686"/>
                <a:gd name="connsiteY4" fmla="*/ 34296 h 34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86" h="34331">
                  <a:moveTo>
                    <a:pt x="14599" y="34296"/>
                  </a:moveTo>
                  <a:cubicBezTo>
                    <a:pt x="12986" y="33893"/>
                    <a:pt x="13995" y="25323"/>
                    <a:pt x="9861" y="16250"/>
                  </a:cubicBezTo>
                  <a:cubicBezTo>
                    <a:pt x="6030" y="6974"/>
                    <a:pt x="-826" y="1832"/>
                    <a:pt x="82" y="320"/>
                  </a:cubicBezTo>
                  <a:cubicBezTo>
                    <a:pt x="586" y="-1192"/>
                    <a:pt x="10567" y="2538"/>
                    <a:pt x="15406" y="13931"/>
                  </a:cubicBezTo>
                  <a:cubicBezTo>
                    <a:pt x="20245" y="25121"/>
                    <a:pt x="16112" y="35001"/>
                    <a:pt x="14599" y="3429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0BB255EE-6929-4A29-97D0-8EB275438111}"/>
                </a:ext>
              </a:extLst>
            </p:cNvPr>
            <p:cNvSpPr/>
            <p:nvPr/>
          </p:nvSpPr>
          <p:spPr>
            <a:xfrm>
              <a:off x="8893233" y="5827829"/>
              <a:ext cx="24673" cy="60834"/>
            </a:xfrm>
            <a:custGeom>
              <a:avLst/>
              <a:gdLst>
                <a:gd name="connsiteX0" fmla="*/ 5557 w 24673"/>
                <a:gd name="connsiteY0" fmla="*/ 58575 h 60834"/>
                <a:gd name="connsiteX1" fmla="*/ 2331 w 24673"/>
                <a:gd name="connsiteY1" fmla="*/ 40428 h 60834"/>
                <a:gd name="connsiteX2" fmla="*/ 516 w 24673"/>
                <a:gd name="connsiteY2" fmla="*/ 20567 h 60834"/>
                <a:gd name="connsiteX3" fmla="*/ 516 w 24673"/>
                <a:gd name="connsiteY3" fmla="*/ 7965 h 60834"/>
                <a:gd name="connsiteX4" fmla="*/ 5355 w 24673"/>
                <a:gd name="connsiteY4" fmla="*/ 1210 h 60834"/>
                <a:gd name="connsiteX5" fmla="*/ 14530 w 24673"/>
                <a:gd name="connsiteY5" fmla="*/ 1613 h 60834"/>
                <a:gd name="connsiteX6" fmla="*/ 22192 w 24673"/>
                <a:gd name="connsiteY6" fmla="*/ 13610 h 60834"/>
                <a:gd name="connsiteX7" fmla="*/ 24611 w 24673"/>
                <a:gd name="connsiteY7" fmla="*/ 25809 h 60834"/>
                <a:gd name="connsiteX8" fmla="*/ 21083 w 24673"/>
                <a:gd name="connsiteY8" fmla="*/ 46275 h 60834"/>
                <a:gd name="connsiteX9" fmla="*/ 9186 w 24673"/>
                <a:gd name="connsiteY9" fmla="*/ 60793 h 60834"/>
                <a:gd name="connsiteX10" fmla="*/ 17151 w 24673"/>
                <a:gd name="connsiteY10" fmla="*/ 44763 h 60834"/>
                <a:gd name="connsiteX11" fmla="*/ 19167 w 24673"/>
                <a:gd name="connsiteY11" fmla="*/ 26212 h 60834"/>
                <a:gd name="connsiteX12" fmla="*/ 16748 w 24673"/>
                <a:gd name="connsiteY12" fmla="*/ 15526 h 60834"/>
                <a:gd name="connsiteX13" fmla="*/ 11203 w 24673"/>
                <a:gd name="connsiteY13" fmla="*/ 6452 h 60834"/>
                <a:gd name="connsiteX14" fmla="*/ 8380 w 24673"/>
                <a:gd name="connsiteY14" fmla="*/ 6250 h 60834"/>
                <a:gd name="connsiteX15" fmla="*/ 6162 w 24673"/>
                <a:gd name="connsiteY15" fmla="*/ 9376 h 60834"/>
                <a:gd name="connsiteX16" fmla="*/ 5960 w 24673"/>
                <a:gd name="connsiteY16" fmla="*/ 20163 h 60834"/>
                <a:gd name="connsiteX17" fmla="*/ 6464 w 24673"/>
                <a:gd name="connsiteY17" fmla="*/ 40024 h 60834"/>
                <a:gd name="connsiteX18" fmla="*/ 5557 w 24673"/>
                <a:gd name="connsiteY18" fmla="*/ 58575 h 60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673" h="60834">
                  <a:moveTo>
                    <a:pt x="5557" y="58575"/>
                  </a:moveTo>
                  <a:cubicBezTo>
                    <a:pt x="4750" y="58575"/>
                    <a:pt x="3541" y="51719"/>
                    <a:pt x="2331" y="40428"/>
                  </a:cubicBezTo>
                  <a:cubicBezTo>
                    <a:pt x="1726" y="33874"/>
                    <a:pt x="1121" y="27321"/>
                    <a:pt x="516" y="20567"/>
                  </a:cubicBezTo>
                  <a:cubicBezTo>
                    <a:pt x="415" y="16836"/>
                    <a:pt x="-593" y="13106"/>
                    <a:pt x="516" y="7965"/>
                  </a:cubicBezTo>
                  <a:cubicBezTo>
                    <a:pt x="1121" y="5444"/>
                    <a:pt x="2734" y="2823"/>
                    <a:pt x="5355" y="1210"/>
                  </a:cubicBezTo>
                  <a:cubicBezTo>
                    <a:pt x="7977" y="-605"/>
                    <a:pt x="12211" y="-303"/>
                    <a:pt x="14530" y="1613"/>
                  </a:cubicBezTo>
                  <a:cubicBezTo>
                    <a:pt x="19268" y="5343"/>
                    <a:pt x="20579" y="9577"/>
                    <a:pt x="22192" y="13610"/>
                  </a:cubicBezTo>
                  <a:cubicBezTo>
                    <a:pt x="23603" y="17744"/>
                    <a:pt x="24410" y="21877"/>
                    <a:pt x="24611" y="25809"/>
                  </a:cubicBezTo>
                  <a:cubicBezTo>
                    <a:pt x="25015" y="33774"/>
                    <a:pt x="23402" y="40831"/>
                    <a:pt x="21083" y="46275"/>
                  </a:cubicBezTo>
                  <a:cubicBezTo>
                    <a:pt x="16244" y="57264"/>
                    <a:pt x="9489" y="61297"/>
                    <a:pt x="9186" y="60793"/>
                  </a:cubicBezTo>
                  <a:cubicBezTo>
                    <a:pt x="8380" y="60087"/>
                    <a:pt x="13723" y="55147"/>
                    <a:pt x="17151" y="44763"/>
                  </a:cubicBezTo>
                  <a:cubicBezTo>
                    <a:pt x="18764" y="39621"/>
                    <a:pt x="19873" y="33169"/>
                    <a:pt x="19167" y="26212"/>
                  </a:cubicBezTo>
                  <a:cubicBezTo>
                    <a:pt x="18764" y="22684"/>
                    <a:pt x="18058" y="19155"/>
                    <a:pt x="16748" y="15526"/>
                  </a:cubicBezTo>
                  <a:cubicBezTo>
                    <a:pt x="15437" y="12098"/>
                    <a:pt x="13421" y="8065"/>
                    <a:pt x="11203" y="6452"/>
                  </a:cubicBezTo>
                  <a:cubicBezTo>
                    <a:pt x="10094" y="5747"/>
                    <a:pt x="9287" y="5747"/>
                    <a:pt x="8380" y="6250"/>
                  </a:cubicBezTo>
                  <a:cubicBezTo>
                    <a:pt x="7372" y="6855"/>
                    <a:pt x="6565" y="7965"/>
                    <a:pt x="6162" y="9376"/>
                  </a:cubicBezTo>
                  <a:cubicBezTo>
                    <a:pt x="5355" y="12199"/>
                    <a:pt x="5960" y="16433"/>
                    <a:pt x="5960" y="20163"/>
                  </a:cubicBezTo>
                  <a:cubicBezTo>
                    <a:pt x="6162" y="26918"/>
                    <a:pt x="6363" y="33471"/>
                    <a:pt x="6464" y="40024"/>
                  </a:cubicBezTo>
                  <a:cubicBezTo>
                    <a:pt x="6666" y="51517"/>
                    <a:pt x="6363" y="58575"/>
                    <a:pt x="5557" y="58575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EA74A305-CB05-48BA-BB63-464F0D3C43AD}"/>
                </a:ext>
              </a:extLst>
            </p:cNvPr>
            <p:cNvSpPr/>
            <p:nvPr/>
          </p:nvSpPr>
          <p:spPr>
            <a:xfrm>
              <a:off x="8900164" y="5881204"/>
              <a:ext cx="53464" cy="24884"/>
            </a:xfrm>
            <a:custGeom>
              <a:avLst/>
              <a:gdLst>
                <a:gd name="connsiteX0" fmla="*/ 844 w 53464"/>
                <a:gd name="connsiteY0" fmla="*/ 11149 h 24884"/>
                <a:gd name="connsiteX1" fmla="*/ 14757 w 53464"/>
                <a:gd name="connsiteY1" fmla="*/ 1470 h 24884"/>
                <a:gd name="connsiteX2" fmla="*/ 53168 w 53464"/>
                <a:gd name="connsiteY2" fmla="*/ 15181 h 24884"/>
                <a:gd name="connsiteX3" fmla="*/ 52564 w 53464"/>
                <a:gd name="connsiteY3" fmla="*/ 20424 h 24884"/>
                <a:gd name="connsiteX4" fmla="*/ 49035 w 53464"/>
                <a:gd name="connsiteY4" fmla="*/ 23347 h 24884"/>
                <a:gd name="connsiteX5" fmla="*/ 42683 w 53464"/>
                <a:gd name="connsiteY5" fmla="*/ 24658 h 24884"/>
                <a:gd name="connsiteX6" fmla="*/ 31694 w 53464"/>
                <a:gd name="connsiteY6" fmla="*/ 24658 h 24884"/>
                <a:gd name="connsiteX7" fmla="*/ 13749 w 53464"/>
                <a:gd name="connsiteY7" fmla="*/ 20122 h 24884"/>
                <a:gd name="connsiteX8" fmla="*/ 38 w 53464"/>
                <a:gd name="connsiteY8" fmla="*/ 10443 h 24884"/>
                <a:gd name="connsiteX9" fmla="*/ 15261 w 53464"/>
                <a:gd name="connsiteY9" fmla="*/ 16190 h 24884"/>
                <a:gd name="connsiteX10" fmla="*/ 32098 w 53464"/>
                <a:gd name="connsiteY10" fmla="*/ 19214 h 24884"/>
                <a:gd name="connsiteX11" fmla="*/ 42179 w 53464"/>
                <a:gd name="connsiteY11" fmla="*/ 18911 h 24884"/>
                <a:gd name="connsiteX12" fmla="*/ 46716 w 53464"/>
                <a:gd name="connsiteY12" fmla="*/ 18004 h 24884"/>
                <a:gd name="connsiteX13" fmla="*/ 47523 w 53464"/>
                <a:gd name="connsiteY13" fmla="*/ 17097 h 24884"/>
                <a:gd name="connsiteX14" fmla="*/ 44801 w 53464"/>
                <a:gd name="connsiteY14" fmla="*/ 13871 h 24884"/>
                <a:gd name="connsiteX15" fmla="*/ 40869 w 53464"/>
                <a:gd name="connsiteY15" fmla="*/ 10745 h 24884"/>
                <a:gd name="connsiteX16" fmla="*/ 32199 w 53464"/>
                <a:gd name="connsiteY16" fmla="*/ 6511 h 24884"/>
                <a:gd name="connsiteX17" fmla="*/ 15866 w 53464"/>
                <a:gd name="connsiteY17" fmla="*/ 5604 h 24884"/>
                <a:gd name="connsiteX18" fmla="*/ 844 w 53464"/>
                <a:gd name="connsiteY18" fmla="*/ 11149 h 24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3464" h="24884">
                  <a:moveTo>
                    <a:pt x="844" y="11149"/>
                  </a:moveTo>
                  <a:cubicBezTo>
                    <a:pt x="340" y="10745"/>
                    <a:pt x="4272" y="4898"/>
                    <a:pt x="14757" y="1470"/>
                  </a:cubicBezTo>
                  <a:cubicBezTo>
                    <a:pt x="24738" y="-1655"/>
                    <a:pt x="42482" y="-950"/>
                    <a:pt x="53168" y="15181"/>
                  </a:cubicBezTo>
                  <a:cubicBezTo>
                    <a:pt x="53673" y="16693"/>
                    <a:pt x="53572" y="18911"/>
                    <a:pt x="52564" y="20424"/>
                  </a:cubicBezTo>
                  <a:cubicBezTo>
                    <a:pt x="51555" y="22037"/>
                    <a:pt x="50144" y="22843"/>
                    <a:pt x="49035" y="23347"/>
                  </a:cubicBezTo>
                  <a:cubicBezTo>
                    <a:pt x="46615" y="24356"/>
                    <a:pt x="44498" y="24356"/>
                    <a:pt x="42683" y="24658"/>
                  </a:cubicBezTo>
                  <a:cubicBezTo>
                    <a:pt x="38852" y="24961"/>
                    <a:pt x="35122" y="24961"/>
                    <a:pt x="31694" y="24658"/>
                  </a:cubicBezTo>
                  <a:cubicBezTo>
                    <a:pt x="24738" y="24053"/>
                    <a:pt x="18588" y="22239"/>
                    <a:pt x="13749" y="20122"/>
                  </a:cubicBezTo>
                  <a:cubicBezTo>
                    <a:pt x="4071" y="15887"/>
                    <a:pt x="-466" y="10947"/>
                    <a:pt x="38" y="10443"/>
                  </a:cubicBezTo>
                  <a:cubicBezTo>
                    <a:pt x="542" y="9636"/>
                    <a:pt x="5885" y="13266"/>
                    <a:pt x="15261" y="16190"/>
                  </a:cubicBezTo>
                  <a:cubicBezTo>
                    <a:pt x="19899" y="17702"/>
                    <a:pt x="25645" y="18911"/>
                    <a:pt x="32098" y="19214"/>
                  </a:cubicBezTo>
                  <a:cubicBezTo>
                    <a:pt x="35324" y="19416"/>
                    <a:pt x="38651" y="19315"/>
                    <a:pt x="42179" y="18911"/>
                  </a:cubicBezTo>
                  <a:cubicBezTo>
                    <a:pt x="43994" y="18710"/>
                    <a:pt x="45708" y="18508"/>
                    <a:pt x="46716" y="18004"/>
                  </a:cubicBezTo>
                  <a:cubicBezTo>
                    <a:pt x="47926" y="17299"/>
                    <a:pt x="47523" y="17500"/>
                    <a:pt x="47523" y="17097"/>
                  </a:cubicBezTo>
                  <a:cubicBezTo>
                    <a:pt x="47422" y="16391"/>
                    <a:pt x="46111" y="15081"/>
                    <a:pt x="44801" y="13871"/>
                  </a:cubicBezTo>
                  <a:cubicBezTo>
                    <a:pt x="43591" y="12661"/>
                    <a:pt x="42179" y="11653"/>
                    <a:pt x="40869" y="10745"/>
                  </a:cubicBezTo>
                  <a:cubicBezTo>
                    <a:pt x="38147" y="8830"/>
                    <a:pt x="35122" y="7519"/>
                    <a:pt x="32199" y="6511"/>
                  </a:cubicBezTo>
                  <a:cubicBezTo>
                    <a:pt x="26250" y="4596"/>
                    <a:pt x="20504" y="4696"/>
                    <a:pt x="15866" y="5604"/>
                  </a:cubicBezTo>
                  <a:cubicBezTo>
                    <a:pt x="6288" y="7519"/>
                    <a:pt x="1449" y="11955"/>
                    <a:pt x="844" y="11149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C61468F5-5074-40FC-BC85-ABEB63D7E5E7}"/>
                </a:ext>
              </a:extLst>
            </p:cNvPr>
            <p:cNvSpPr/>
            <p:nvPr/>
          </p:nvSpPr>
          <p:spPr>
            <a:xfrm>
              <a:off x="8768631" y="5825305"/>
              <a:ext cx="32169" cy="32169"/>
            </a:xfrm>
            <a:custGeom>
              <a:avLst/>
              <a:gdLst>
                <a:gd name="connsiteX0" fmla="*/ 32165 w 32169"/>
                <a:gd name="connsiteY0" fmla="*/ 16437 h 32169"/>
                <a:gd name="connsiteX1" fmla="*/ 15732 w 32169"/>
                <a:gd name="connsiteY1" fmla="*/ 32165 h 32169"/>
                <a:gd name="connsiteX2" fmla="*/ 4 w 32169"/>
                <a:gd name="connsiteY2" fmla="*/ 15732 h 32169"/>
                <a:gd name="connsiteX3" fmla="*/ 16437 w 32169"/>
                <a:gd name="connsiteY3" fmla="*/ 4 h 32169"/>
                <a:gd name="connsiteX4" fmla="*/ 32165 w 32169"/>
                <a:gd name="connsiteY4" fmla="*/ 16437 h 3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69" h="32169">
                  <a:moveTo>
                    <a:pt x="32165" y="16437"/>
                  </a:moveTo>
                  <a:cubicBezTo>
                    <a:pt x="31963" y="25309"/>
                    <a:pt x="24604" y="32366"/>
                    <a:pt x="15732" y="32165"/>
                  </a:cubicBezTo>
                  <a:cubicBezTo>
                    <a:pt x="6860" y="31963"/>
                    <a:pt x="-197" y="24604"/>
                    <a:pt x="4" y="15732"/>
                  </a:cubicBezTo>
                  <a:cubicBezTo>
                    <a:pt x="206" y="6860"/>
                    <a:pt x="7566" y="-197"/>
                    <a:pt x="16437" y="4"/>
                  </a:cubicBezTo>
                  <a:cubicBezTo>
                    <a:pt x="25309" y="206"/>
                    <a:pt x="32367" y="7566"/>
                    <a:pt x="32165" y="16437"/>
                  </a:cubicBez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36216818-BF63-48A7-BEAA-B5FBCA916450}"/>
                </a:ext>
              </a:extLst>
            </p:cNvPr>
            <p:cNvSpPr/>
            <p:nvPr/>
          </p:nvSpPr>
          <p:spPr>
            <a:xfrm>
              <a:off x="10103154" y="5800105"/>
              <a:ext cx="361430" cy="280171"/>
            </a:xfrm>
            <a:custGeom>
              <a:avLst/>
              <a:gdLst>
                <a:gd name="connsiteX0" fmla="*/ 171692 w 361430"/>
                <a:gd name="connsiteY0" fmla="*/ 0 h 280171"/>
                <a:gd name="connsiteX1" fmla="*/ 169877 w 361430"/>
                <a:gd name="connsiteY1" fmla="*/ 177237 h 280171"/>
                <a:gd name="connsiteX2" fmla="*/ 361430 w 361430"/>
                <a:gd name="connsiteY2" fmla="*/ 280171 h 280171"/>
                <a:gd name="connsiteX3" fmla="*/ 8469 w 361430"/>
                <a:gd name="connsiteY3" fmla="*/ 280171 h 280171"/>
                <a:gd name="connsiteX4" fmla="*/ 0 w 361430"/>
                <a:gd name="connsiteY4" fmla="*/ 3932 h 280171"/>
                <a:gd name="connsiteX5" fmla="*/ 171692 w 361430"/>
                <a:gd name="connsiteY5" fmla="*/ 0 h 28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1430" h="280171">
                  <a:moveTo>
                    <a:pt x="171692" y="0"/>
                  </a:moveTo>
                  <a:lnTo>
                    <a:pt x="169877" y="177237"/>
                  </a:lnTo>
                  <a:cubicBezTo>
                    <a:pt x="169877" y="177237"/>
                    <a:pt x="358607" y="247406"/>
                    <a:pt x="361430" y="280171"/>
                  </a:cubicBezTo>
                  <a:lnTo>
                    <a:pt x="8469" y="280171"/>
                  </a:lnTo>
                  <a:lnTo>
                    <a:pt x="0" y="3932"/>
                  </a:lnTo>
                  <a:lnTo>
                    <a:pt x="171692" y="0"/>
                  </a:lnTo>
                  <a:close/>
                </a:path>
              </a:pathLst>
            </a:custGeom>
            <a:solidFill>
              <a:srgbClr val="FF725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C2EA6CE1-4F71-42E3-802D-7104609CEBF7}"/>
                </a:ext>
              </a:extLst>
            </p:cNvPr>
            <p:cNvSpPr/>
            <p:nvPr/>
          </p:nvSpPr>
          <p:spPr>
            <a:xfrm>
              <a:off x="10156615" y="5964512"/>
              <a:ext cx="26762" cy="26640"/>
            </a:xfrm>
            <a:custGeom>
              <a:avLst/>
              <a:gdLst>
                <a:gd name="connsiteX0" fmla="*/ 9651 w 26762"/>
                <a:gd name="connsiteY0" fmla="*/ 630 h 26640"/>
                <a:gd name="connsiteX1" fmla="*/ 376 w 26762"/>
                <a:gd name="connsiteY1" fmla="*/ 16862 h 26640"/>
                <a:gd name="connsiteX2" fmla="*/ 16405 w 26762"/>
                <a:gd name="connsiteY2" fmla="*/ 26238 h 26640"/>
                <a:gd name="connsiteX3" fmla="*/ 26185 w 26762"/>
                <a:gd name="connsiteY3" fmla="*/ 8998 h 26640"/>
                <a:gd name="connsiteX4" fmla="*/ 8441 w 26762"/>
                <a:gd name="connsiteY4" fmla="*/ 1134 h 2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62" h="26640">
                  <a:moveTo>
                    <a:pt x="9651" y="630"/>
                  </a:moveTo>
                  <a:cubicBezTo>
                    <a:pt x="2997" y="2647"/>
                    <a:pt x="-1338" y="10208"/>
                    <a:pt x="376" y="16862"/>
                  </a:cubicBezTo>
                  <a:cubicBezTo>
                    <a:pt x="2089" y="23516"/>
                    <a:pt x="9752" y="28053"/>
                    <a:pt x="16405" y="26238"/>
                  </a:cubicBezTo>
                  <a:cubicBezTo>
                    <a:pt x="23059" y="24322"/>
                    <a:pt x="28604" y="15450"/>
                    <a:pt x="26185" y="8998"/>
                  </a:cubicBezTo>
                  <a:cubicBezTo>
                    <a:pt x="23765" y="2546"/>
                    <a:pt x="14389" y="-2294"/>
                    <a:pt x="8441" y="1134"/>
                  </a:cubicBezTo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A618D555-317F-400C-843B-E085C3062BF5}"/>
                </a:ext>
              </a:extLst>
            </p:cNvPr>
            <p:cNvSpPr/>
            <p:nvPr/>
          </p:nvSpPr>
          <p:spPr>
            <a:xfrm>
              <a:off x="10111622" y="6052450"/>
              <a:ext cx="352927" cy="27926"/>
            </a:xfrm>
            <a:custGeom>
              <a:avLst/>
              <a:gdLst>
                <a:gd name="connsiteX0" fmla="*/ 0 w 352927"/>
                <a:gd name="connsiteY0" fmla="*/ 27826 h 27926"/>
                <a:gd name="connsiteX1" fmla="*/ 202 w 352927"/>
                <a:gd name="connsiteY1" fmla="*/ 0 h 27926"/>
                <a:gd name="connsiteX2" fmla="*/ 329673 w 352927"/>
                <a:gd name="connsiteY2" fmla="*/ 2016 h 27926"/>
                <a:gd name="connsiteX3" fmla="*/ 352861 w 352927"/>
                <a:gd name="connsiteY3" fmla="*/ 27926 h 27926"/>
                <a:gd name="connsiteX4" fmla="*/ 0 w 352927"/>
                <a:gd name="connsiteY4" fmla="*/ 27826 h 27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927" h="27926">
                  <a:moveTo>
                    <a:pt x="0" y="27826"/>
                  </a:moveTo>
                  <a:lnTo>
                    <a:pt x="202" y="0"/>
                  </a:lnTo>
                  <a:lnTo>
                    <a:pt x="329673" y="2016"/>
                  </a:lnTo>
                  <a:cubicBezTo>
                    <a:pt x="329673" y="2016"/>
                    <a:pt x="354373" y="17038"/>
                    <a:pt x="352861" y="27926"/>
                  </a:cubicBezTo>
                  <a:lnTo>
                    <a:pt x="0" y="27826"/>
                  </a:lnTo>
                  <a:close/>
                </a:path>
              </a:pathLst>
            </a:custGeom>
            <a:solidFill>
              <a:srgbClr val="FFFFFF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99202A21-2BBA-47B4-A9FB-149A52F9D2D8}"/>
                </a:ext>
              </a:extLst>
            </p:cNvPr>
            <p:cNvSpPr/>
            <p:nvPr/>
          </p:nvSpPr>
          <p:spPr>
            <a:xfrm>
              <a:off x="10247597" y="5974009"/>
              <a:ext cx="30884" cy="21917"/>
            </a:xfrm>
            <a:custGeom>
              <a:avLst/>
              <a:gdLst>
                <a:gd name="connsiteX0" fmla="*/ 30878 w 30884"/>
                <a:gd name="connsiteY0" fmla="*/ 1417 h 21917"/>
                <a:gd name="connsiteX1" fmla="*/ 14344 w 30884"/>
                <a:gd name="connsiteY1" fmla="*/ 9684 h 21917"/>
                <a:gd name="connsiteX2" fmla="*/ 431 w 30884"/>
                <a:gd name="connsiteY2" fmla="*/ 21883 h 21917"/>
                <a:gd name="connsiteX3" fmla="*/ 11117 w 30884"/>
                <a:gd name="connsiteY3" fmla="*/ 4845 h 21917"/>
                <a:gd name="connsiteX4" fmla="*/ 30878 w 30884"/>
                <a:gd name="connsiteY4" fmla="*/ 1417 h 21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84" h="21917">
                  <a:moveTo>
                    <a:pt x="30878" y="1417"/>
                  </a:moveTo>
                  <a:cubicBezTo>
                    <a:pt x="30878" y="3131"/>
                    <a:pt x="22510" y="4038"/>
                    <a:pt x="14344" y="9684"/>
                  </a:cubicBezTo>
                  <a:cubicBezTo>
                    <a:pt x="6077" y="15128"/>
                    <a:pt x="2044" y="22488"/>
                    <a:pt x="431" y="21883"/>
                  </a:cubicBezTo>
                  <a:cubicBezTo>
                    <a:pt x="-1082" y="21580"/>
                    <a:pt x="1136" y="11499"/>
                    <a:pt x="11117" y="4845"/>
                  </a:cubicBezTo>
                  <a:cubicBezTo>
                    <a:pt x="20997" y="-1910"/>
                    <a:pt x="31180" y="-95"/>
                    <a:pt x="30878" y="141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73A753BC-A0D0-4CDE-B070-AF4844106DC6}"/>
                </a:ext>
              </a:extLst>
            </p:cNvPr>
            <p:cNvSpPr/>
            <p:nvPr/>
          </p:nvSpPr>
          <p:spPr>
            <a:xfrm>
              <a:off x="10292688" y="5988789"/>
              <a:ext cx="22299" cy="27273"/>
            </a:xfrm>
            <a:custGeom>
              <a:avLst/>
              <a:gdLst>
                <a:gd name="connsiteX0" fmla="*/ 22283 w 22299"/>
                <a:gd name="connsiteY0" fmla="*/ 651 h 27273"/>
                <a:gd name="connsiteX1" fmla="*/ 9984 w 22299"/>
                <a:gd name="connsiteY1" fmla="*/ 12547 h 27273"/>
                <a:gd name="connsiteX2" fmla="*/ 1313 w 22299"/>
                <a:gd name="connsiteY2" fmla="*/ 27266 h 27273"/>
                <a:gd name="connsiteX3" fmla="*/ 5346 w 22299"/>
                <a:gd name="connsiteY3" fmla="*/ 8918 h 27273"/>
                <a:gd name="connsiteX4" fmla="*/ 22283 w 22299"/>
                <a:gd name="connsiteY4" fmla="*/ 651 h 2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9" h="27273">
                  <a:moveTo>
                    <a:pt x="22283" y="651"/>
                  </a:moveTo>
                  <a:cubicBezTo>
                    <a:pt x="22687" y="2264"/>
                    <a:pt x="15529" y="5288"/>
                    <a:pt x="9984" y="12547"/>
                  </a:cubicBezTo>
                  <a:cubicBezTo>
                    <a:pt x="4237" y="19604"/>
                    <a:pt x="3027" y="27367"/>
                    <a:pt x="1313" y="27266"/>
                  </a:cubicBezTo>
                  <a:cubicBezTo>
                    <a:pt x="-300" y="27569"/>
                    <a:pt x="-1711" y="17790"/>
                    <a:pt x="5346" y="8918"/>
                  </a:cubicBezTo>
                  <a:cubicBezTo>
                    <a:pt x="12302" y="-55"/>
                    <a:pt x="22182" y="-962"/>
                    <a:pt x="22283" y="65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EC0E2182-9DBE-42FF-A54F-FDED18850E92}"/>
                </a:ext>
              </a:extLst>
            </p:cNvPr>
            <p:cNvSpPr/>
            <p:nvPr/>
          </p:nvSpPr>
          <p:spPr>
            <a:xfrm>
              <a:off x="10334368" y="6002766"/>
              <a:ext cx="14910" cy="29333"/>
            </a:xfrm>
            <a:custGeom>
              <a:avLst/>
              <a:gdLst>
                <a:gd name="connsiteX0" fmla="*/ 2178 w 14910"/>
                <a:gd name="connsiteY0" fmla="*/ 29320 h 29333"/>
                <a:gd name="connsiteX1" fmla="*/ 2178 w 14910"/>
                <a:gd name="connsiteY1" fmla="*/ 12080 h 29333"/>
                <a:gd name="connsiteX2" fmla="*/ 14780 w 14910"/>
                <a:gd name="connsiteY2" fmla="*/ 284 h 29333"/>
                <a:gd name="connsiteX3" fmla="*/ 7521 w 14910"/>
                <a:gd name="connsiteY3" fmla="*/ 14399 h 29333"/>
                <a:gd name="connsiteX4" fmla="*/ 2178 w 14910"/>
                <a:gd name="connsiteY4" fmla="*/ 29320 h 2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10" h="29333">
                  <a:moveTo>
                    <a:pt x="2178" y="29320"/>
                  </a:moveTo>
                  <a:cubicBezTo>
                    <a:pt x="665" y="29723"/>
                    <a:pt x="-1855" y="21355"/>
                    <a:pt x="2178" y="12080"/>
                  </a:cubicBezTo>
                  <a:cubicBezTo>
                    <a:pt x="6210" y="2704"/>
                    <a:pt x="13973" y="-1127"/>
                    <a:pt x="14780" y="284"/>
                  </a:cubicBezTo>
                  <a:cubicBezTo>
                    <a:pt x="15788" y="1595"/>
                    <a:pt x="10747" y="6736"/>
                    <a:pt x="7521" y="14399"/>
                  </a:cubicBezTo>
                  <a:cubicBezTo>
                    <a:pt x="4093" y="21960"/>
                    <a:pt x="3791" y="29017"/>
                    <a:pt x="2178" y="2932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F84999C5-B5D0-41EE-9DDF-EB98F8677C01}"/>
                </a:ext>
              </a:extLst>
            </p:cNvPr>
            <p:cNvSpPr/>
            <p:nvPr/>
          </p:nvSpPr>
          <p:spPr>
            <a:xfrm>
              <a:off x="10238758" y="5929346"/>
              <a:ext cx="35739" cy="8920"/>
            </a:xfrm>
            <a:custGeom>
              <a:avLst/>
              <a:gdLst>
                <a:gd name="connsiteX0" fmla="*/ 35684 w 35739"/>
                <a:gd name="connsiteY0" fmla="*/ 5652 h 8920"/>
                <a:gd name="connsiteX1" fmla="*/ 17839 w 35739"/>
                <a:gd name="connsiteY1" fmla="*/ 5954 h 8920"/>
                <a:gd name="connsiteX2" fmla="*/ 96 w 35739"/>
                <a:gd name="connsiteY2" fmla="*/ 8575 h 8920"/>
                <a:gd name="connsiteX3" fmla="*/ 17335 w 35739"/>
                <a:gd name="connsiteY3" fmla="*/ 107 h 8920"/>
                <a:gd name="connsiteX4" fmla="*/ 35684 w 35739"/>
                <a:gd name="connsiteY4" fmla="*/ 5652 h 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39" h="8920">
                  <a:moveTo>
                    <a:pt x="35684" y="5652"/>
                  </a:moveTo>
                  <a:cubicBezTo>
                    <a:pt x="34978" y="7164"/>
                    <a:pt x="27215" y="5047"/>
                    <a:pt x="17839" y="5954"/>
                  </a:cubicBezTo>
                  <a:cubicBezTo>
                    <a:pt x="8363" y="6660"/>
                    <a:pt x="1003" y="9987"/>
                    <a:pt x="96" y="8575"/>
                  </a:cubicBezTo>
                  <a:cubicBezTo>
                    <a:pt x="-913" y="7366"/>
                    <a:pt x="6145" y="1014"/>
                    <a:pt x="17335" y="107"/>
                  </a:cubicBezTo>
                  <a:cubicBezTo>
                    <a:pt x="28425" y="-801"/>
                    <a:pt x="36491" y="4341"/>
                    <a:pt x="35684" y="5652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A5B2974D-466A-430F-B9B0-66E1EE98A62E}"/>
                </a:ext>
              </a:extLst>
            </p:cNvPr>
            <p:cNvSpPr/>
            <p:nvPr/>
          </p:nvSpPr>
          <p:spPr>
            <a:xfrm>
              <a:off x="10104162" y="5835189"/>
              <a:ext cx="170280" cy="34378"/>
            </a:xfrm>
            <a:custGeom>
              <a:avLst/>
              <a:gdLst>
                <a:gd name="connsiteX0" fmla="*/ 170280 w 170280"/>
                <a:gd name="connsiteY0" fmla="*/ 0 h 34378"/>
                <a:gd name="connsiteX1" fmla="*/ 169978 w 170280"/>
                <a:gd name="connsiteY1" fmla="*/ 31556 h 34378"/>
                <a:gd name="connsiteX2" fmla="*/ 1008 w 170280"/>
                <a:gd name="connsiteY2" fmla="*/ 34378 h 34378"/>
                <a:gd name="connsiteX3" fmla="*/ 0 w 170280"/>
                <a:gd name="connsiteY3" fmla="*/ 5948 h 3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80" h="34378">
                  <a:moveTo>
                    <a:pt x="170280" y="0"/>
                  </a:moveTo>
                  <a:lnTo>
                    <a:pt x="169978" y="31556"/>
                  </a:lnTo>
                  <a:lnTo>
                    <a:pt x="1008" y="34378"/>
                  </a:lnTo>
                  <a:lnTo>
                    <a:pt x="0" y="5948"/>
                  </a:lnTo>
                  <a:close/>
                </a:path>
              </a:pathLst>
            </a:custGeom>
            <a:solidFill>
              <a:srgbClr val="000000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B7A19E1F-68E9-47D7-9DC1-B252D25EA2E8}"/>
                </a:ext>
              </a:extLst>
            </p:cNvPr>
            <p:cNvSpPr/>
            <p:nvPr/>
          </p:nvSpPr>
          <p:spPr>
            <a:xfrm>
              <a:off x="10221304" y="5872577"/>
              <a:ext cx="52835" cy="27889"/>
            </a:xfrm>
            <a:custGeom>
              <a:avLst/>
              <a:gdLst>
                <a:gd name="connsiteX0" fmla="*/ 52836 w 52835"/>
                <a:gd name="connsiteY0" fmla="*/ 26631 h 27889"/>
                <a:gd name="connsiteX1" fmla="*/ 35596 w 52835"/>
                <a:gd name="connsiteY1" fmla="*/ 26934 h 27889"/>
                <a:gd name="connsiteX2" fmla="*/ 17449 w 52835"/>
                <a:gd name="connsiteY2" fmla="*/ 21893 h 27889"/>
                <a:gd name="connsiteX3" fmla="*/ 7468 w 52835"/>
                <a:gd name="connsiteY3" fmla="*/ 16852 h 27889"/>
                <a:gd name="connsiteX4" fmla="*/ 2125 w 52835"/>
                <a:gd name="connsiteY4" fmla="*/ 12920 h 27889"/>
                <a:gd name="connsiteX5" fmla="*/ 1116 w 52835"/>
                <a:gd name="connsiteY5" fmla="*/ 4048 h 27889"/>
                <a:gd name="connsiteX6" fmla="*/ 8375 w 52835"/>
                <a:gd name="connsiteY6" fmla="*/ 16 h 27889"/>
                <a:gd name="connsiteX7" fmla="*/ 14828 w 52835"/>
                <a:gd name="connsiteY7" fmla="*/ 721 h 27889"/>
                <a:gd name="connsiteX8" fmla="*/ 25615 w 52835"/>
                <a:gd name="connsiteY8" fmla="*/ 4149 h 27889"/>
                <a:gd name="connsiteX9" fmla="*/ 41746 w 52835"/>
                <a:gd name="connsiteY9" fmla="*/ 14130 h 27889"/>
                <a:gd name="connsiteX10" fmla="*/ 52231 w 52835"/>
                <a:gd name="connsiteY10" fmla="*/ 27841 h 27889"/>
                <a:gd name="connsiteX11" fmla="*/ 39225 w 52835"/>
                <a:gd name="connsiteY11" fmla="*/ 17356 h 27889"/>
                <a:gd name="connsiteX12" fmla="*/ 23700 w 52835"/>
                <a:gd name="connsiteY12" fmla="*/ 9089 h 27889"/>
                <a:gd name="connsiteX13" fmla="*/ 13719 w 52835"/>
                <a:gd name="connsiteY13" fmla="*/ 6266 h 27889"/>
                <a:gd name="connsiteX14" fmla="*/ 6057 w 52835"/>
                <a:gd name="connsiteY14" fmla="*/ 7073 h 27889"/>
                <a:gd name="connsiteX15" fmla="*/ 6460 w 52835"/>
                <a:gd name="connsiteY15" fmla="*/ 8988 h 27889"/>
                <a:gd name="connsiteX16" fmla="*/ 10392 w 52835"/>
                <a:gd name="connsiteY16" fmla="*/ 11811 h 27889"/>
                <a:gd name="connsiteX17" fmla="*/ 19667 w 52835"/>
                <a:gd name="connsiteY17" fmla="*/ 16751 h 27889"/>
                <a:gd name="connsiteX18" fmla="*/ 36503 w 52835"/>
                <a:gd name="connsiteY18" fmla="*/ 22700 h 27889"/>
                <a:gd name="connsiteX19" fmla="*/ 52836 w 52835"/>
                <a:gd name="connsiteY19" fmla="*/ 26631 h 27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835" h="27889">
                  <a:moveTo>
                    <a:pt x="52836" y="26631"/>
                  </a:moveTo>
                  <a:cubicBezTo>
                    <a:pt x="52836" y="27337"/>
                    <a:pt x="46283" y="28547"/>
                    <a:pt x="35596" y="26934"/>
                  </a:cubicBezTo>
                  <a:cubicBezTo>
                    <a:pt x="30253" y="26127"/>
                    <a:pt x="24002" y="24615"/>
                    <a:pt x="17449" y="21893"/>
                  </a:cubicBezTo>
                  <a:cubicBezTo>
                    <a:pt x="14122" y="20482"/>
                    <a:pt x="10795" y="18868"/>
                    <a:pt x="7468" y="16852"/>
                  </a:cubicBezTo>
                  <a:cubicBezTo>
                    <a:pt x="5855" y="15844"/>
                    <a:pt x="3939" y="14936"/>
                    <a:pt x="2125" y="12920"/>
                  </a:cubicBezTo>
                  <a:cubicBezTo>
                    <a:pt x="209" y="11206"/>
                    <a:pt x="-1001" y="6770"/>
                    <a:pt x="1116" y="4048"/>
                  </a:cubicBezTo>
                  <a:cubicBezTo>
                    <a:pt x="2830" y="1326"/>
                    <a:pt x="5855" y="116"/>
                    <a:pt x="8375" y="16"/>
                  </a:cubicBezTo>
                  <a:cubicBezTo>
                    <a:pt x="10896" y="-85"/>
                    <a:pt x="13013" y="318"/>
                    <a:pt x="14828" y="721"/>
                  </a:cubicBezTo>
                  <a:cubicBezTo>
                    <a:pt x="18659" y="1528"/>
                    <a:pt x="22288" y="2738"/>
                    <a:pt x="25615" y="4149"/>
                  </a:cubicBezTo>
                  <a:cubicBezTo>
                    <a:pt x="32269" y="6972"/>
                    <a:pt x="37713" y="10601"/>
                    <a:pt x="41746" y="14130"/>
                  </a:cubicBezTo>
                  <a:cubicBezTo>
                    <a:pt x="49912" y="21288"/>
                    <a:pt x="52836" y="27539"/>
                    <a:pt x="52231" y="27841"/>
                  </a:cubicBezTo>
                  <a:cubicBezTo>
                    <a:pt x="51525" y="28446"/>
                    <a:pt x="47492" y="23304"/>
                    <a:pt x="39225" y="17356"/>
                  </a:cubicBezTo>
                  <a:cubicBezTo>
                    <a:pt x="35092" y="14432"/>
                    <a:pt x="29849" y="11408"/>
                    <a:pt x="23700" y="9089"/>
                  </a:cubicBezTo>
                  <a:cubicBezTo>
                    <a:pt x="20574" y="7980"/>
                    <a:pt x="17247" y="6972"/>
                    <a:pt x="13719" y="6266"/>
                  </a:cubicBezTo>
                  <a:cubicBezTo>
                    <a:pt x="10089" y="5359"/>
                    <a:pt x="6964" y="5460"/>
                    <a:pt x="6057" y="7073"/>
                  </a:cubicBezTo>
                  <a:cubicBezTo>
                    <a:pt x="5754" y="7678"/>
                    <a:pt x="5653" y="7980"/>
                    <a:pt x="6460" y="8988"/>
                  </a:cubicBezTo>
                  <a:cubicBezTo>
                    <a:pt x="7266" y="9997"/>
                    <a:pt x="8779" y="10904"/>
                    <a:pt x="10392" y="11811"/>
                  </a:cubicBezTo>
                  <a:cubicBezTo>
                    <a:pt x="13517" y="13727"/>
                    <a:pt x="16541" y="15340"/>
                    <a:pt x="19667" y="16751"/>
                  </a:cubicBezTo>
                  <a:cubicBezTo>
                    <a:pt x="25716" y="19574"/>
                    <a:pt x="31563" y="21490"/>
                    <a:pt x="36503" y="22700"/>
                  </a:cubicBezTo>
                  <a:cubicBezTo>
                    <a:pt x="46383" y="25422"/>
                    <a:pt x="52836" y="25724"/>
                    <a:pt x="52836" y="2663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E358886F-4002-4C28-B3F6-250C9FD9CBC5}"/>
                </a:ext>
              </a:extLst>
            </p:cNvPr>
            <p:cNvSpPr/>
            <p:nvPr/>
          </p:nvSpPr>
          <p:spPr>
            <a:xfrm>
              <a:off x="10266941" y="5846671"/>
              <a:ext cx="26870" cy="55068"/>
            </a:xfrm>
            <a:custGeom>
              <a:avLst/>
              <a:gdLst>
                <a:gd name="connsiteX0" fmla="*/ 5082 w 26870"/>
                <a:gd name="connsiteY0" fmla="*/ 55058 h 55068"/>
                <a:gd name="connsiteX1" fmla="*/ 142 w 26870"/>
                <a:gd name="connsiteY1" fmla="*/ 38524 h 55068"/>
                <a:gd name="connsiteX2" fmla="*/ 2057 w 26870"/>
                <a:gd name="connsiteY2" fmla="*/ 19570 h 55068"/>
                <a:gd name="connsiteX3" fmla="*/ 6191 w 26870"/>
                <a:gd name="connsiteY3" fmla="*/ 8984 h 55068"/>
                <a:gd name="connsiteX4" fmla="*/ 16978 w 26870"/>
                <a:gd name="connsiteY4" fmla="*/ 11 h 55068"/>
                <a:gd name="connsiteX5" fmla="*/ 24338 w 26870"/>
                <a:gd name="connsiteY5" fmla="*/ 4649 h 55068"/>
                <a:gd name="connsiteX6" fmla="*/ 26253 w 26870"/>
                <a:gd name="connsiteY6" fmla="*/ 10899 h 55068"/>
                <a:gd name="connsiteX7" fmla="*/ 26556 w 26870"/>
                <a:gd name="connsiteY7" fmla="*/ 22494 h 55068"/>
                <a:gd name="connsiteX8" fmla="*/ 19700 w 26870"/>
                <a:gd name="connsiteY8" fmla="*/ 40439 h 55068"/>
                <a:gd name="connsiteX9" fmla="*/ 6090 w 26870"/>
                <a:gd name="connsiteY9" fmla="*/ 51126 h 55068"/>
                <a:gd name="connsiteX10" fmla="*/ 16172 w 26870"/>
                <a:gd name="connsiteY10" fmla="*/ 38221 h 55068"/>
                <a:gd name="connsiteX11" fmla="*/ 21213 w 26870"/>
                <a:gd name="connsiteY11" fmla="*/ 21889 h 55068"/>
                <a:gd name="connsiteX12" fmla="*/ 20608 w 26870"/>
                <a:gd name="connsiteY12" fmla="*/ 11908 h 55068"/>
                <a:gd name="connsiteX13" fmla="*/ 17180 w 26870"/>
                <a:gd name="connsiteY13" fmla="*/ 5758 h 55068"/>
                <a:gd name="connsiteX14" fmla="*/ 11332 w 26870"/>
                <a:gd name="connsiteY14" fmla="*/ 11505 h 55068"/>
                <a:gd name="connsiteX15" fmla="*/ 7300 w 26870"/>
                <a:gd name="connsiteY15" fmla="*/ 20981 h 55068"/>
                <a:gd name="connsiteX16" fmla="*/ 4376 w 26870"/>
                <a:gd name="connsiteY16" fmla="*/ 38221 h 55068"/>
                <a:gd name="connsiteX17" fmla="*/ 5082 w 26870"/>
                <a:gd name="connsiteY17" fmla="*/ 55058 h 55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870" h="55068">
                  <a:moveTo>
                    <a:pt x="5082" y="55058"/>
                  </a:moveTo>
                  <a:cubicBezTo>
                    <a:pt x="4477" y="55360"/>
                    <a:pt x="1049" y="49412"/>
                    <a:pt x="142" y="38524"/>
                  </a:cubicBezTo>
                  <a:cubicBezTo>
                    <a:pt x="-262" y="33180"/>
                    <a:pt x="142" y="26627"/>
                    <a:pt x="2057" y="19570"/>
                  </a:cubicBezTo>
                  <a:cubicBezTo>
                    <a:pt x="3065" y="16142"/>
                    <a:pt x="4376" y="12513"/>
                    <a:pt x="6191" y="8984"/>
                  </a:cubicBezTo>
                  <a:cubicBezTo>
                    <a:pt x="8106" y="5556"/>
                    <a:pt x="10425" y="919"/>
                    <a:pt x="16978" y="11"/>
                  </a:cubicBezTo>
                  <a:cubicBezTo>
                    <a:pt x="20406" y="-190"/>
                    <a:pt x="23229" y="2330"/>
                    <a:pt x="24338" y="4649"/>
                  </a:cubicBezTo>
                  <a:cubicBezTo>
                    <a:pt x="25548" y="6968"/>
                    <a:pt x="25850" y="8984"/>
                    <a:pt x="26253" y="10899"/>
                  </a:cubicBezTo>
                  <a:cubicBezTo>
                    <a:pt x="26959" y="14932"/>
                    <a:pt x="27060" y="18864"/>
                    <a:pt x="26556" y="22494"/>
                  </a:cubicBezTo>
                  <a:cubicBezTo>
                    <a:pt x="25648" y="29853"/>
                    <a:pt x="22826" y="36003"/>
                    <a:pt x="19700" y="40439"/>
                  </a:cubicBezTo>
                  <a:cubicBezTo>
                    <a:pt x="13248" y="49513"/>
                    <a:pt x="6292" y="51731"/>
                    <a:pt x="6090" y="51126"/>
                  </a:cubicBezTo>
                  <a:cubicBezTo>
                    <a:pt x="5485" y="50319"/>
                    <a:pt x="11232" y="46891"/>
                    <a:pt x="16172" y="38221"/>
                  </a:cubicBezTo>
                  <a:cubicBezTo>
                    <a:pt x="18591" y="33987"/>
                    <a:pt x="20708" y="28341"/>
                    <a:pt x="21213" y="21889"/>
                  </a:cubicBezTo>
                  <a:cubicBezTo>
                    <a:pt x="21515" y="18663"/>
                    <a:pt x="21313" y="15335"/>
                    <a:pt x="20608" y="11908"/>
                  </a:cubicBezTo>
                  <a:cubicBezTo>
                    <a:pt x="20003" y="8278"/>
                    <a:pt x="18490" y="5355"/>
                    <a:pt x="17180" y="5758"/>
                  </a:cubicBezTo>
                  <a:cubicBezTo>
                    <a:pt x="15466" y="5758"/>
                    <a:pt x="12643" y="8581"/>
                    <a:pt x="11332" y="11505"/>
                  </a:cubicBezTo>
                  <a:cubicBezTo>
                    <a:pt x="9619" y="14630"/>
                    <a:pt x="8308" y="17856"/>
                    <a:pt x="7300" y="20981"/>
                  </a:cubicBezTo>
                  <a:cubicBezTo>
                    <a:pt x="5283" y="27232"/>
                    <a:pt x="4477" y="33180"/>
                    <a:pt x="4376" y="38221"/>
                  </a:cubicBezTo>
                  <a:cubicBezTo>
                    <a:pt x="4074" y="48504"/>
                    <a:pt x="5989" y="54755"/>
                    <a:pt x="5082" y="55058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2D41B06F-93CF-466D-927A-E2A453B84ED7}"/>
                </a:ext>
              </a:extLst>
            </p:cNvPr>
            <p:cNvSpPr/>
            <p:nvPr/>
          </p:nvSpPr>
          <p:spPr>
            <a:xfrm>
              <a:off x="8873485" y="5334631"/>
              <a:ext cx="841903" cy="619724"/>
            </a:xfrm>
            <a:custGeom>
              <a:avLst/>
              <a:gdLst>
                <a:gd name="connsiteX0" fmla="*/ 465171 w 841903"/>
                <a:gd name="connsiteY0" fmla="*/ 90534 h 619724"/>
                <a:gd name="connsiteX1" fmla="*/ 535138 w 841903"/>
                <a:gd name="connsiteY1" fmla="*/ 326547 h 619724"/>
                <a:gd name="connsiteX2" fmla="*/ 0 w 841903"/>
                <a:gd name="connsiteY2" fmla="*/ 406294 h 619724"/>
                <a:gd name="connsiteX3" fmla="*/ 33975 w 841903"/>
                <a:gd name="connsiteY3" fmla="*/ 619724 h 619724"/>
                <a:gd name="connsiteX4" fmla="*/ 709048 w 841903"/>
                <a:gd name="connsiteY4" fmla="*/ 567602 h 619724"/>
                <a:gd name="connsiteX5" fmla="*/ 841825 w 841903"/>
                <a:gd name="connsiteY5" fmla="*/ 377762 h 619724"/>
                <a:gd name="connsiteX6" fmla="*/ 773067 w 841903"/>
                <a:gd name="connsiteY6" fmla="*/ 0 h 619724"/>
                <a:gd name="connsiteX7" fmla="*/ 465171 w 841903"/>
                <a:gd name="connsiteY7" fmla="*/ 90534 h 619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1903" h="619724">
                  <a:moveTo>
                    <a:pt x="465171" y="90534"/>
                  </a:moveTo>
                  <a:cubicBezTo>
                    <a:pt x="477269" y="90534"/>
                    <a:pt x="535138" y="326547"/>
                    <a:pt x="535138" y="326547"/>
                  </a:cubicBezTo>
                  <a:lnTo>
                    <a:pt x="0" y="406294"/>
                  </a:lnTo>
                  <a:lnTo>
                    <a:pt x="33975" y="619724"/>
                  </a:lnTo>
                  <a:cubicBezTo>
                    <a:pt x="33975" y="619724"/>
                    <a:pt x="665798" y="577482"/>
                    <a:pt x="709048" y="567602"/>
                  </a:cubicBezTo>
                  <a:cubicBezTo>
                    <a:pt x="786073" y="550059"/>
                    <a:pt x="844345" y="475555"/>
                    <a:pt x="841825" y="377762"/>
                  </a:cubicBezTo>
                  <a:cubicBezTo>
                    <a:pt x="838901" y="265250"/>
                    <a:pt x="773067" y="0"/>
                    <a:pt x="773067" y="0"/>
                  </a:cubicBezTo>
                  <a:lnTo>
                    <a:pt x="465171" y="90534"/>
                  </a:ln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6B594F8-C9F0-489A-BA8A-CCFDFCF362B5}"/>
                </a:ext>
              </a:extLst>
            </p:cNvPr>
            <p:cNvSpPr/>
            <p:nvPr/>
          </p:nvSpPr>
          <p:spPr>
            <a:xfrm>
              <a:off x="9364667" y="5463879"/>
              <a:ext cx="328160" cy="85145"/>
            </a:xfrm>
            <a:custGeom>
              <a:avLst/>
              <a:gdLst>
                <a:gd name="connsiteX0" fmla="*/ 310517 w 328160"/>
                <a:gd name="connsiteY0" fmla="*/ 0 h 85145"/>
                <a:gd name="connsiteX1" fmla="*/ 0 w 328160"/>
                <a:gd name="connsiteY1" fmla="*/ 22482 h 85145"/>
                <a:gd name="connsiteX2" fmla="*/ 113218 w 328160"/>
                <a:gd name="connsiteY2" fmla="*/ 82368 h 85145"/>
                <a:gd name="connsiteX3" fmla="*/ 328160 w 328160"/>
                <a:gd name="connsiteY3" fmla="*/ 82368 h 85145"/>
                <a:gd name="connsiteX4" fmla="*/ 310517 w 328160"/>
                <a:gd name="connsiteY4" fmla="*/ 0 h 85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160" h="85145">
                  <a:moveTo>
                    <a:pt x="310517" y="0"/>
                  </a:moveTo>
                  <a:lnTo>
                    <a:pt x="0" y="22482"/>
                  </a:lnTo>
                  <a:cubicBezTo>
                    <a:pt x="0" y="22482"/>
                    <a:pt x="25809" y="76117"/>
                    <a:pt x="113218" y="82368"/>
                  </a:cubicBezTo>
                  <a:cubicBezTo>
                    <a:pt x="200627" y="88619"/>
                    <a:pt x="328160" y="82368"/>
                    <a:pt x="328160" y="82368"/>
                  </a:cubicBezTo>
                  <a:lnTo>
                    <a:pt x="310517" y="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AC787C07-CDBC-4708-8BD7-5E56EEA6B42B}"/>
                </a:ext>
              </a:extLst>
            </p:cNvPr>
            <p:cNvSpPr/>
            <p:nvPr/>
          </p:nvSpPr>
          <p:spPr>
            <a:xfrm>
              <a:off x="9203419" y="5015948"/>
              <a:ext cx="1134538" cy="868641"/>
            </a:xfrm>
            <a:custGeom>
              <a:avLst/>
              <a:gdLst>
                <a:gd name="connsiteX0" fmla="*/ 1134135 w 1134538"/>
                <a:gd name="connsiteY0" fmla="*/ 228956 h 868641"/>
                <a:gd name="connsiteX1" fmla="*/ 947119 w 1134538"/>
                <a:gd name="connsiteY1" fmla="*/ 58474 h 868641"/>
                <a:gd name="connsiteX2" fmla="*/ 851947 w 1134538"/>
                <a:gd name="connsiteY2" fmla="*/ 58373 h 868641"/>
                <a:gd name="connsiteX3" fmla="*/ 337678 w 1134538"/>
                <a:gd name="connsiteY3" fmla="*/ 84989 h 868641"/>
                <a:gd name="connsiteX4" fmla="*/ 58515 w 1134538"/>
                <a:gd name="connsiteY4" fmla="*/ 0 h 868641"/>
                <a:gd name="connsiteX5" fmla="*/ 17281 w 1134538"/>
                <a:gd name="connsiteY5" fmla="*/ 318583 h 868641"/>
                <a:gd name="connsiteX6" fmla="*/ 222343 w 1134538"/>
                <a:gd name="connsiteY6" fmla="*/ 486645 h 868641"/>
                <a:gd name="connsiteX7" fmla="*/ 870901 w 1134538"/>
                <a:gd name="connsiteY7" fmla="*/ 394397 h 868641"/>
                <a:gd name="connsiteX8" fmla="*/ 870901 w 1134538"/>
                <a:gd name="connsiteY8" fmla="*/ 868642 h 868641"/>
                <a:gd name="connsiteX9" fmla="*/ 1112459 w 1134538"/>
                <a:gd name="connsiteY9" fmla="*/ 862391 h 868641"/>
                <a:gd name="connsiteX10" fmla="*/ 1134538 w 1134538"/>
                <a:gd name="connsiteY10" fmla="*/ 238130 h 868641"/>
                <a:gd name="connsiteX11" fmla="*/ 1134135 w 1134538"/>
                <a:gd name="connsiteY11" fmla="*/ 228956 h 86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4538" h="868641">
                  <a:moveTo>
                    <a:pt x="1134135" y="228956"/>
                  </a:moveTo>
                  <a:cubicBezTo>
                    <a:pt x="1127179" y="132272"/>
                    <a:pt x="1044004" y="58575"/>
                    <a:pt x="947119" y="58474"/>
                  </a:cubicBezTo>
                  <a:lnTo>
                    <a:pt x="851947" y="58373"/>
                  </a:lnTo>
                  <a:lnTo>
                    <a:pt x="337678" y="84989"/>
                  </a:lnTo>
                  <a:lnTo>
                    <a:pt x="58515" y="0"/>
                  </a:lnTo>
                  <a:cubicBezTo>
                    <a:pt x="58515" y="0"/>
                    <a:pt x="-38471" y="173507"/>
                    <a:pt x="17281" y="318583"/>
                  </a:cubicBezTo>
                  <a:cubicBezTo>
                    <a:pt x="52365" y="409721"/>
                    <a:pt x="129793" y="470918"/>
                    <a:pt x="222343" y="486645"/>
                  </a:cubicBezTo>
                  <a:cubicBezTo>
                    <a:pt x="338485" y="506405"/>
                    <a:pt x="870901" y="394397"/>
                    <a:pt x="870901" y="394397"/>
                  </a:cubicBezTo>
                  <a:lnTo>
                    <a:pt x="870901" y="868642"/>
                  </a:lnTo>
                  <a:lnTo>
                    <a:pt x="1112459" y="862391"/>
                  </a:lnTo>
                  <a:lnTo>
                    <a:pt x="1134538" y="238130"/>
                  </a:lnTo>
                  <a:cubicBezTo>
                    <a:pt x="1134538" y="235106"/>
                    <a:pt x="1134438" y="232081"/>
                    <a:pt x="1134135" y="228956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E6C7D818-2C80-403E-BF65-49C5AF3D9684}"/>
                </a:ext>
              </a:extLst>
            </p:cNvPr>
            <p:cNvSpPr/>
            <p:nvPr/>
          </p:nvSpPr>
          <p:spPr>
            <a:xfrm>
              <a:off x="9199772" y="5024517"/>
              <a:ext cx="874648" cy="482955"/>
            </a:xfrm>
            <a:custGeom>
              <a:avLst/>
              <a:gdLst>
                <a:gd name="connsiteX0" fmla="*/ 874649 w 874648"/>
                <a:gd name="connsiteY0" fmla="*/ 385929 h 482955"/>
                <a:gd name="connsiteX1" fmla="*/ 871524 w 874648"/>
                <a:gd name="connsiteY1" fmla="*/ 386735 h 482955"/>
                <a:gd name="connsiteX2" fmla="*/ 862148 w 874648"/>
                <a:gd name="connsiteY2" fmla="*/ 388651 h 482955"/>
                <a:gd name="connsiteX3" fmla="*/ 826055 w 874648"/>
                <a:gd name="connsiteY3" fmla="*/ 395406 h 482955"/>
                <a:gd name="connsiteX4" fmla="*/ 693279 w 874648"/>
                <a:gd name="connsiteY4" fmla="*/ 419299 h 482955"/>
                <a:gd name="connsiteX5" fmla="*/ 496282 w 874648"/>
                <a:gd name="connsiteY5" fmla="*/ 454081 h 482955"/>
                <a:gd name="connsiteX6" fmla="*/ 379938 w 874648"/>
                <a:gd name="connsiteY6" fmla="*/ 474446 h 482955"/>
                <a:gd name="connsiteX7" fmla="*/ 253009 w 874648"/>
                <a:gd name="connsiteY7" fmla="*/ 481705 h 482955"/>
                <a:gd name="connsiteX8" fmla="*/ 189091 w 874648"/>
                <a:gd name="connsiteY8" fmla="*/ 471522 h 482955"/>
                <a:gd name="connsiteX9" fmla="*/ 130012 w 874648"/>
                <a:gd name="connsiteY9" fmla="*/ 449746 h 482955"/>
                <a:gd name="connsiteX10" fmla="*/ 44822 w 874648"/>
                <a:gd name="connsiteY10" fmla="*/ 367983 h 482955"/>
                <a:gd name="connsiteX11" fmla="*/ 5503 w 874648"/>
                <a:gd name="connsiteY11" fmla="*/ 268275 h 482955"/>
                <a:gd name="connsiteX12" fmla="*/ 2075 w 874648"/>
                <a:gd name="connsiteY12" fmla="*/ 174918 h 482955"/>
                <a:gd name="connsiteX13" fmla="*/ 37059 w 874648"/>
                <a:gd name="connsiteY13" fmla="*/ 44561 h 482955"/>
                <a:gd name="connsiteX14" fmla="*/ 52181 w 874648"/>
                <a:gd name="connsiteY14" fmla="*/ 11090 h 482955"/>
                <a:gd name="connsiteX15" fmla="*/ 56819 w 874648"/>
                <a:gd name="connsiteY15" fmla="*/ 2722 h 482955"/>
                <a:gd name="connsiteX16" fmla="*/ 58634 w 874648"/>
                <a:gd name="connsiteY16" fmla="*/ 0 h 482955"/>
                <a:gd name="connsiteX17" fmla="*/ 57323 w 874648"/>
                <a:gd name="connsiteY17" fmla="*/ 2923 h 482955"/>
                <a:gd name="connsiteX18" fmla="*/ 53190 w 874648"/>
                <a:gd name="connsiteY18" fmla="*/ 11493 h 482955"/>
                <a:gd name="connsiteX19" fmla="*/ 38974 w 874648"/>
                <a:gd name="connsiteY19" fmla="*/ 45267 h 482955"/>
                <a:gd name="connsiteX20" fmla="*/ 5705 w 874648"/>
                <a:gd name="connsiteY20" fmla="*/ 175321 h 482955"/>
                <a:gd name="connsiteX21" fmla="*/ 9737 w 874648"/>
                <a:gd name="connsiteY21" fmla="*/ 267367 h 482955"/>
                <a:gd name="connsiteX22" fmla="*/ 48854 w 874648"/>
                <a:gd name="connsiteY22" fmla="*/ 365362 h 482955"/>
                <a:gd name="connsiteX23" fmla="*/ 132331 w 874648"/>
                <a:gd name="connsiteY23" fmla="*/ 445209 h 482955"/>
                <a:gd name="connsiteX24" fmla="*/ 190301 w 874648"/>
                <a:gd name="connsiteY24" fmla="*/ 466381 h 482955"/>
                <a:gd name="connsiteX25" fmla="*/ 253413 w 874648"/>
                <a:gd name="connsiteY25" fmla="*/ 476362 h 482955"/>
                <a:gd name="connsiteX26" fmla="*/ 379132 w 874648"/>
                <a:gd name="connsiteY26" fmla="*/ 469304 h 482955"/>
                <a:gd name="connsiteX27" fmla="*/ 495576 w 874648"/>
                <a:gd name="connsiteY27" fmla="*/ 449242 h 482955"/>
                <a:gd name="connsiteX28" fmla="*/ 692774 w 874648"/>
                <a:gd name="connsiteY28" fmla="*/ 415569 h 482955"/>
                <a:gd name="connsiteX29" fmla="*/ 825853 w 874648"/>
                <a:gd name="connsiteY29" fmla="*/ 393288 h 482955"/>
                <a:gd name="connsiteX30" fmla="*/ 862047 w 874648"/>
                <a:gd name="connsiteY30" fmla="*/ 387441 h 482955"/>
                <a:gd name="connsiteX31" fmla="*/ 871524 w 874648"/>
                <a:gd name="connsiteY31" fmla="*/ 386029 h 482955"/>
                <a:gd name="connsiteX32" fmla="*/ 874649 w 874648"/>
                <a:gd name="connsiteY32" fmla="*/ 385929 h 48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4648" h="482955">
                  <a:moveTo>
                    <a:pt x="874649" y="385929"/>
                  </a:moveTo>
                  <a:cubicBezTo>
                    <a:pt x="874649" y="386029"/>
                    <a:pt x="873641" y="386332"/>
                    <a:pt x="871524" y="386735"/>
                  </a:cubicBezTo>
                  <a:cubicBezTo>
                    <a:pt x="869104" y="387239"/>
                    <a:pt x="866079" y="387844"/>
                    <a:pt x="862148" y="388651"/>
                  </a:cubicBezTo>
                  <a:cubicBezTo>
                    <a:pt x="853578" y="390264"/>
                    <a:pt x="841480" y="392482"/>
                    <a:pt x="826055" y="395406"/>
                  </a:cubicBezTo>
                  <a:cubicBezTo>
                    <a:pt x="794398" y="401152"/>
                    <a:pt x="749031" y="409318"/>
                    <a:pt x="693279" y="419299"/>
                  </a:cubicBezTo>
                  <a:cubicBezTo>
                    <a:pt x="637123" y="429280"/>
                    <a:pt x="570282" y="441076"/>
                    <a:pt x="496282" y="454081"/>
                  </a:cubicBezTo>
                  <a:cubicBezTo>
                    <a:pt x="459181" y="460533"/>
                    <a:pt x="420265" y="467389"/>
                    <a:pt x="379938" y="474446"/>
                  </a:cubicBezTo>
                  <a:cubicBezTo>
                    <a:pt x="339511" y="481705"/>
                    <a:pt x="296563" y="484931"/>
                    <a:pt x="253009" y="481705"/>
                  </a:cubicBezTo>
                  <a:cubicBezTo>
                    <a:pt x="231233" y="480092"/>
                    <a:pt x="209759" y="476765"/>
                    <a:pt x="189091" y="471522"/>
                  </a:cubicBezTo>
                  <a:cubicBezTo>
                    <a:pt x="168524" y="466179"/>
                    <a:pt x="148260" y="459727"/>
                    <a:pt x="130012" y="449746"/>
                  </a:cubicBezTo>
                  <a:cubicBezTo>
                    <a:pt x="93113" y="430288"/>
                    <a:pt x="64985" y="399942"/>
                    <a:pt x="44822" y="367983"/>
                  </a:cubicBezTo>
                  <a:cubicBezTo>
                    <a:pt x="24557" y="335822"/>
                    <a:pt x="11955" y="301343"/>
                    <a:pt x="5503" y="268275"/>
                  </a:cubicBezTo>
                  <a:cubicBezTo>
                    <a:pt x="-1050" y="235106"/>
                    <a:pt x="-1151" y="203348"/>
                    <a:pt x="2075" y="174918"/>
                  </a:cubicBezTo>
                  <a:cubicBezTo>
                    <a:pt x="10241" y="118158"/>
                    <a:pt x="25465" y="74201"/>
                    <a:pt x="37059" y="44561"/>
                  </a:cubicBezTo>
                  <a:cubicBezTo>
                    <a:pt x="43007" y="29741"/>
                    <a:pt x="48350" y="18550"/>
                    <a:pt x="52181" y="11090"/>
                  </a:cubicBezTo>
                  <a:cubicBezTo>
                    <a:pt x="54097" y="7359"/>
                    <a:pt x="55710" y="4537"/>
                    <a:pt x="56819" y="2722"/>
                  </a:cubicBezTo>
                  <a:cubicBezTo>
                    <a:pt x="57928" y="907"/>
                    <a:pt x="58533" y="0"/>
                    <a:pt x="58634" y="0"/>
                  </a:cubicBezTo>
                  <a:cubicBezTo>
                    <a:pt x="58734" y="0"/>
                    <a:pt x="58230" y="1008"/>
                    <a:pt x="57323" y="2923"/>
                  </a:cubicBezTo>
                  <a:cubicBezTo>
                    <a:pt x="56315" y="5141"/>
                    <a:pt x="54903" y="7964"/>
                    <a:pt x="53190" y="11493"/>
                  </a:cubicBezTo>
                  <a:cubicBezTo>
                    <a:pt x="49661" y="19054"/>
                    <a:pt x="44620" y="30346"/>
                    <a:pt x="38974" y="45267"/>
                  </a:cubicBezTo>
                  <a:cubicBezTo>
                    <a:pt x="27985" y="74907"/>
                    <a:pt x="13367" y="119065"/>
                    <a:pt x="5705" y="175321"/>
                  </a:cubicBezTo>
                  <a:cubicBezTo>
                    <a:pt x="2680" y="203449"/>
                    <a:pt x="3083" y="234803"/>
                    <a:pt x="9737" y="267367"/>
                  </a:cubicBezTo>
                  <a:cubicBezTo>
                    <a:pt x="16190" y="299932"/>
                    <a:pt x="28792" y="333806"/>
                    <a:pt x="48854" y="365362"/>
                  </a:cubicBezTo>
                  <a:cubicBezTo>
                    <a:pt x="68816" y="396817"/>
                    <a:pt x="96440" y="426256"/>
                    <a:pt x="132331" y="445209"/>
                  </a:cubicBezTo>
                  <a:cubicBezTo>
                    <a:pt x="150075" y="454787"/>
                    <a:pt x="170037" y="461138"/>
                    <a:pt x="190301" y="466381"/>
                  </a:cubicBezTo>
                  <a:cubicBezTo>
                    <a:pt x="210666" y="471522"/>
                    <a:pt x="231838" y="474749"/>
                    <a:pt x="253413" y="476362"/>
                  </a:cubicBezTo>
                  <a:cubicBezTo>
                    <a:pt x="296563" y="479588"/>
                    <a:pt x="338906" y="476462"/>
                    <a:pt x="379132" y="469304"/>
                  </a:cubicBezTo>
                  <a:cubicBezTo>
                    <a:pt x="419459" y="462348"/>
                    <a:pt x="458475" y="455593"/>
                    <a:pt x="495576" y="449242"/>
                  </a:cubicBezTo>
                  <a:cubicBezTo>
                    <a:pt x="569777" y="436539"/>
                    <a:pt x="636519" y="425146"/>
                    <a:pt x="692774" y="415569"/>
                  </a:cubicBezTo>
                  <a:cubicBezTo>
                    <a:pt x="748728" y="406193"/>
                    <a:pt x="794096" y="398631"/>
                    <a:pt x="825853" y="393288"/>
                  </a:cubicBezTo>
                  <a:cubicBezTo>
                    <a:pt x="841279" y="390768"/>
                    <a:pt x="853477" y="388852"/>
                    <a:pt x="862047" y="387441"/>
                  </a:cubicBezTo>
                  <a:cubicBezTo>
                    <a:pt x="865979" y="386836"/>
                    <a:pt x="869104" y="386433"/>
                    <a:pt x="871524" y="386029"/>
                  </a:cubicBezTo>
                  <a:cubicBezTo>
                    <a:pt x="873540" y="385929"/>
                    <a:pt x="874649" y="385828"/>
                    <a:pt x="874649" y="385929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66D12737-2916-4EA1-9869-B1EE94A5A025}"/>
                </a:ext>
              </a:extLst>
            </p:cNvPr>
            <p:cNvSpPr/>
            <p:nvPr/>
          </p:nvSpPr>
          <p:spPr>
            <a:xfrm>
              <a:off x="8870460" y="5659464"/>
              <a:ext cx="642609" cy="297511"/>
            </a:xfrm>
            <a:custGeom>
              <a:avLst/>
              <a:gdLst>
                <a:gd name="connsiteX0" fmla="*/ 569618 w 642609"/>
                <a:gd name="connsiteY0" fmla="*/ 258294 h 297511"/>
                <a:gd name="connsiteX1" fmla="*/ 566997 w 642609"/>
                <a:gd name="connsiteY1" fmla="*/ 258697 h 297511"/>
                <a:gd name="connsiteX2" fmla="*/ 559334 w 642609"/>
                <a:gd name="connsiteY2" fmla="*/ 259403 h 297511"/>
                <a:gd name="connsiteX3" fmla="*/ 529593 w 642609"/>
                <a:gd name="connsiteY3" fmla="*/ 261823 h 297511"/>
                <a:gd name="connsiteX4" fmla="*/ 418392 w 642609"/>
                <a:gd name="connsiteY4" fmla="*/ 270191 h 297511"/>
                <a:gd name="connsiteX5" fmla="*/ 37101 w 642609"/>
                <a:gd name="connsiteY5" fmla="*/ 297310 h 297511"/>
                <a:gd name="connsiteX6" fmla="*/ 34782 w 642609"/>
                <a:gd name="connsiteY6" fmla="*/ 297512 h 297511"/>
                <a:gd name="connsiteX7" fmla="*/ 34379 w 642609"/>
                <a:gd name="connsiteY7" fmla="*/ 295193 h 297511"/>
                <a:gd name="connsiteX8" fmla="*/ 6654 w 642609"/>
                <a:gd name="connsiteY8" fmla="*/ 121183 h 297511"/>
                <a:gd name="connsiteX9" fmla="*/ 403 w 642609"/>
                <a:gd name="connsiteY9" fmla="*/ 81763 h 297511"/>
                <a:gd name="connsiteX10" fmla="*/ 0 w 642609"/>
                <a:gd name="connsiteY10" fmla="*/ 79142 h 297511"/>
                <a:gd name="connsiteX11" fmla="*/ 2621 w 642609"/>
                <a:gd name="connsiteY11" fmla="*/ 78738 h 297511"/>
                <a:gd name="connsiteX12" fmla="*/ 537961 w 642609"/>
                <a:gd name="connsiteY12" fmla="*/ 101 h 297511"/>
                <a:gd name="connsiteX13" fmla="*/ 538465 w 642609"/>
                <a:gd name="connsiteY13" fmla="*/ 0 h 297511"/>
                <a:gd name="connsiteX14" fmla="*/ 538869 w 642609"/>
                <a:gd name="connsiteY14" fmla="*/ 202 h 297511"/>
                <a:gd name="connsiteX15" fmla="*/ 618514 w 642609"/>
                <a:gd name="connsiteY15" fmla="*/ 52526 h 297511"/>
                <a:gd name="connsiteX16" fmla="*/ 636863 w 642609"/>
                <a:gd name="connsiteY16" fmla="*/ 69967 h 297511"/>
                <a:gd name="connsiteX17" fmla="*/ 641198 w 642609"/>
                <a:gd name="connsiteY17" fmla="*/ 74807 h 297511"/>
                <a:gd name="connsiteX18" fmla="*/ 642610 w 642609"/>
                <a:gd name="connsiteY18" fmla="*/ 76520 h 297511"/>
                <a:gd name="connsiteX19" fmla="*/ 640896 w 642609"/>
                <a:gd name="connsiteY19" fmla="*/ 75109 h 297511"/>
                <a:gd name="connsiteX20" fmla="*/ 636258 w 642609"/>
                <a:gd name="connsiteY20" fmla="*/ 70572 h 297511"/>
                <a:gd name="connsiteX21" fmla="*/ 617506 w 642609"/>
                <a:gd name="connsiteY21" fmla="*/ 53836 h 297511"/>
                <a:gd name="connsiteX22" fmla="*/ 537558 w 642609"/>
                <a:gd name="connsiteY22" fmla="*/ 3025 h 297511"/>
                <a:gd name="connsiteX23" fmla="*/ 538465 w 642609"/>
                <a:gd name="connsiteY23" fmla="*/ 3125 h 297511"/>
                <a:gd name="connsiteX24" fmla="*/ 3529 w 642609"/>
                <a:gd name="connsiteY24" fmla="*/ 83981 h 297511"/>
                <a:gd name="connsiteX25" fmla="*/ 5747 w 642609"/>
                <a:gd name="connsiteY25" fmla="*/ 80956 h 297511"/>
                <a:gd name="connsiteX26" fmla="*/ 11997 w 642609"/>
                <a:gd name="connsiteY26" fmla="*/ 120376 h 297511"/>
                <a:gd name="connsiteX27" fmla="*/ 39621 w 642609"/>
                <a:gd name="connsiteY27" fmla="*/ 294387 h 297511"/>
                <a:gd name="connsiteX28" fmla="*/ 36899 w 642609"/>
                <a:gd name="connsiteY28" fmla="*/ 292270 h 297511"/>
                <a:gd name="connsiteX29" fmla="*/ 418291 w 642609"/>
                <a:gd name="connsiteY29" fmla="*/ 266964 h 297511"/>
                <a:gd name="connsiteX30" fmla="*/ 529593 w 642609"/>
                <a:gd name="connsiteY30" fmla="*/ 260109 h 297511"/>
                <a:gd name="connsiteX31" fmla="*/ 559435 w 642609"/>
                <a:gd name="connsiteY31" fmla="*/ 258496 h 297511"/>
                <a:gd name="connsiteX32" fmla="*/ 567097 w 642609"/>
                <a:gd name="connsiteY32" fmla="*/ 258193 h 297511"/>
                <a:gd name="connsiteX33" fmla="*/ 569618 w 642609"/>
                <a:gd name="connsiteY33" fmla="*/ 258294 h 29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42609" h="297511">
                  <a:moveTo>
                    <a:pt x="569618" y="258294"/>
                  </a:moveTo>
                  <a:cubicBezTo>
                    <a:pt x="569618" y="258395"/>
                    <a:pt x="568711" y="258496"/>
                    <a:pt x="566997" y="258697"/>
                  </a:cubicBezTo>
                  <a:cubicBezTo>
                    <a:pt x="564980" y="258899"/>
                    <a:pt x="562460" y="259101"/>
                    <a:pt x="559334" y="259403"/>
                  </a:cubicBezTo>
                  <a:cubicBezTo>
                    <a:pt x="552277" y="260008"/>
                    <a:pt x="542296" y="260814"/>
                    <a:pt x="529593" y="261823"/>
                  </a:cubicBezTo>
                  <a:cubicBezTo>
                    <a:pt x="503280" y="263839"/>
                    <a:pt x="465574" y="266662"/>
                    <a:pt x="418392" y="270191"/>
                  </a:cubicBezTo>
                  <a:cubicBezTo>
                    <a:pt x="323321" y="276945"/>
                    <a:pt x="190242" y="286422"/>
                    <a:pt x="37101" y="297310"/>
                  </a:cubicBezTo>
                  <a:lnTo>
                    <a:pt x="34782" y="297512"/>
                  </a:lnTo>
                  <a:lnTo>
                    <a:pt x="34379" y="295193"/>
                  </a:lnTo>
                  <a:cubicBezTo>
                    <a:pt x="25608" y="240248"/>
                    <a:pt x="16232" y="181673"/>
                    <a:pt x="6654" y="121183"/>
                  </a:cubicBezTo>
                  <a:cubicBezTo>
                    <a:pt x="4537" y="107875"/>
                    <a:pt x="2420" y="94567"/>
                    <a:pt x="403" y="81763"/>
                  </a:cubicBezTo>
                  <a:lnTo>
                    <a:pt x="0" y="79142"/>
                  </a:lnTo>
                  <a:lnTo>
                    <a:pt x="2621" y="78738"/>
                  </a:lnTo>
                  <a:cubicBezTo>
                    <a:pt x="224319" y="46175"/>
                    <a:pt x="418291" y="17643"/>
                    <a:pt x="537961" y="101"/>
                  </a:cubicBezTo>
                  <a:lnTo>
                    <a:pt x="538465" y="0"/>
                  </a:lnTo>
                  <a:lnTo>
                    <a:pt x="538869" y="202"/>
                  </a:lnTo>
                  <a:cubicBezTo>
                    <a:pt x="575768" y="18349"/>
                    <a:pt x="601779" y="38109"/>
                    <a:pt x="618514" y="52526"/>
                  </a:cubicBezTo>
                  <a:cubicBezTo>
                    <a:pt x="626882" y="59785"/>
                    <a:pt x="632931" y="65834"/>
                    <a:pt x="636863" y="69967"/>
                  </a:cubicBezTo>
                  <a:cubicBezTo>
                    <a:pt x="638678" y="71984"/>
                    <a:pt x="640089" y="73496"/>
                    <a:pt x="641198" y="74807"/>
                  </a:cubicBezTo>
                  <a:cubicBezTo>
                    <a:pt x="642106" y="75915"/>
                    <a:pt x="642610" y="76520"/>
                    <a:pt x="642610" y="76520"/>
                  </a:cubicBezTo>
                  <a:cubicBezTo>
                    <a:pt x="642509" y="76520"/>
                    <a:pt x="642005" y="76117"/>
                    <a:pt x="640896" y="75109"/>
                  </a:cubicBezTo>
                  <a:cubicBezTo>
                    <a:pt x="639686" y="73899"/>
                    <a:pt x="638174" y="72488"/>
                    <a:pt x="636258" y="70572"/>
                  </a:cubicBezTo>
                  <a:cubicBezTo>
                    <a:pt x="632125" y="66640"/>
                    <a:pt x="625975" y="60793"/>
                    <a:pt x="617506" y="53836"/>
                  </a:cubicBezTo>
                  <a:cubicBezTo>
                    <a:pt x="600569" y="39924"/>
                    <a:pt x="574356" y="20567"/>
                    <a:pt x="537558" y="3025"/>
                  </a:cubicBezTo>
                  <a:lnTo>
                    <a:pt x="538465" y="3125"/>
                  </a:lnTo>
                  <a:cubicBezTo>
                    <a:pt x="418896" y="21172"/>
                    <a:pt x="225125" y="50510"/>
                    <a:pt x="3529" y="83981"/>
                  </a:cubicBezTo>
                  <a:lnTo>
                    <a:pt x="5747" y="80956"/>
                  </a:lnTo>
                  <a:cubicBezTo>
                    <a:pt x="7763" y="93760"/>
                    <a:pt x="9880" y="106967"/>
                    <a:pt x="11997" y="120376"/>
                  </a:cubicBezTo>
                  <a:cubicBezTo>
                    <a:pt x="21575" y="180766"/>
                    <a:pt x="30850" y="239441"/>
                    <a:pt x="39621" y="294387"/>
                  </a:cubicBezTo>
                  <a:lnTo>
                    <a:pt x="36899" y="292270"/>
                  </a:lnTo>
                  <a:cubicBezTo>
                    <a:pt x="190041" y="282087"/>
                    <a:pt x="323119" y="273316"/>
                    <a:pt x="418291" y="266964"/>
                  </a:cubicBezTo>
                  <a:cubicBezTo>
                    <a:pt x="465474" y="264041"/>
                    <a:pt x="503280" y="261722"/>
                    <a:pt x="529593" y="260109"/>
                  </a:cubicBezTo>
                  <a:cubicBezTo>
                    <a:pt x="542397" y="259403"/>
                    <a:pt x="552277" y="258899"/>
                    <a:pt x="559435" y="258496"/>
                  </a:cubicBezTo>
                  <a:cubicBezTo>
                    <a:pt x="562661" y="258395"/>
                    <a:pt x="565182" y="258294"/>
                    <a:pt x="567097" y="258193"/>
                  </a:cubicBezTo>
                  <a:cubicBezTo>
                    <a:pt x="568711" y="258193"/>
                    <a:pt x="569618" y="258193"/>
                    <a:pt x="569618" y="258294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2F1ADA21-DCF9-4F61-AA70-B49BF39C13B5}"/>
                </a:ext>
              </a:extLst>
            </p:cNvPr>
            <p:cNvSpPr/>
            <p:nvPr/>
          </p:nvSpPr>
          <p:spPr>
            <a:xfrm>
              <a:off x="10073429" y="5352264"/>
              <a:ext cx="54641" cy="58091"/>
            </a:xfrm>
            <a:custGeom>
              <a:avLst/>
              <a:gdLst>
                <a:gd name="connsiteX0" fmla="*/ 54626 w 54641"/>
                <a:gd name="connsiteY0" fmla="*/ 212 h 58091"/>
                <a:gd name="connsiteX1" fmla="*/ 21962 w 54641"/>
                <a:gd name="connsiteY1" fmla="*/ 24005 h 58091"/>
                <a:gd name="connsiteX2" fmla="*/ 286 w 54641"/>
                <a:gd name="connsiteY2" fmla="*/ 58081 h 58091"/>
                <a:gd name="connsiteX3" fmla="*/ 2403 w 54641"/>
                <a:gd name="connsiteY3" fmla="*/ 45882 h 58091"/>
                <a:gd name="connsiteX4" fmla="*/ 18131 w 54641"/>
                <a:gd name="connsiteY4" fmla="*/ 20375 h 58091"/>
                <a:gd name="connsiteX5" fmla="*/ 42629 w 54641"/>
                <a:gd name="connsiteY5" fmla="*/ 3135 h 58091"/>
                <a:gd name="connsiteX6" fmla="*/ 54626 w 54641"/>
                <a:gd name="connsiteY6" fmla="*/ 212 h 5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641" h="58091">
                  <a:moveTo>
                    <a:pt x="54626" y="212"/>
                  </a:moveTo>
                  <a:cubicBezTo>
                    <a:pt x="55231" y="1724"/>
                    <a:pt x="37185" y="7471"/>
                    <a:pt x="21962" y="24005"/>
                  </a:cubicBezTo>
                  <a:cubicBezTo>
                    <a:pt x="6436" y="40236"/>
                    <a:pt x="1798" y="58585"/>
                    <a:pt x="286" y="58081"/>
                  </a:cubicBezTo>
                  <a:cubicBezTo>
                    <a:pt x="-319" y="57980"/>
                    <a:pt x="-117" y="53141"/>
                    <a:pt x="2403" y="45882"/>
                  </a:cubicBezTo>
                  <a:cubicBezTo>
                    <a:pt x="4924" y="38623"/>
                    <a:pt x="10065" y="29046"/>
                    <a:pt x="18131" y="20375"/>
                  </a:cubicBezTo>
                  <a:cubicBezTo>
                    <a:pt x="26297" y="11806"/>
                    <a:pt x="35471" y="6059"/>
                    <a:pt x="42629" y="3135"/>
                  </a:cubicBezTo>
                  <a:cubicBezTo>
                    <a:pt x="49687" y="212"/>
                    <a:pt x="54425" y="-393"/>
                    <a:pt x="54626" y="212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553176E2-54F0-42EC-9D1C-3A847DE1CDF0}"/>
                </a:ext>
              </a:extLst>
            </p:cNvPr>
            <p:cNvSpPr/>
            <p:nvPr/>
          </p:nvSpPr>
          <p:spPr>
            <a:xfrm>
              <a:off x="9328271" y="5094358"/>
              <a:ext cx="367581" cy="15363"/>
            </a:xfrm>
            <a:custGeom>
              <a:avLst/>
              <a:gdLst>
                <a:gd name="connsiteX0" fmla="*/ 367581 w 367581"/>
                <a:gd name="connsiteY0" fmla="*/ 227 h 15363"/>
                <a:gd name="connsiteX1" fmla="*/ 353265 w 367581"/>
                <a:gd name="connsiteY1" fmla="*/ 2344 h 15363"/>
                <a:gd name="connsiteX2" fmla="*/ 313846 w 367581"/>
                <a:gd name="connsiteY2" fmla="*/ 5369 h 15363"/>
                <a:gd name="connsiteX3" fmla="*/ 183690 w 367581"/>
                <a:gd name="connsiteY3" fmla="*/ 8695 h 15363"/>
                <a:gd name="connsiteX4" fmla="*/ 53737 w 367581"/>
                <a:gd name="connsiteY4" fmla="*/ 11821 h 15363"/>
                <a:gd name="connsiteX5" fmla="*/ 14418 w 367581"/>
                <a:gd name="connsiteY5" fmla="*/ 14442 h 15363"/>
                <a:gd name="connsiteX6" fmla="*/ 1 w 367581"/>
                <a:gd name="connsiteY6" fmla="*/ 15249 h 15363"/>
                <a:gd name="connsiteX7" fmla="*/ 14217 w 367581"/>
                <a:gd name="connsiteY7" fmla="*/ 12426 h 15363"/>
                <a:gd name="connsiteX8" fmla="*/ 53535 w 367581"/>
                <a:gd name="connsiteY8" fmla="*/ 8091 h 15363"/>
                <a:gd name="connsiteX9" fmla="*/ 183690 w 367581"/>
                <a:gd name="connsiteY9" fmla="*/ 3352 h 15363"/>
                <a:gd name="connsiteX10" fmla="*/ 313745 w 367581"/>
                <a:gd name="connsiteY10" fmla="*/ 1538 h 15363"/>
                <a:gd name="connsiteX11" fmla="*/ 353165 w 367581"/>
                <a:gd name="connsiteY11" fmla="*/ 227 h 15363"/>
                <a:gd name="connsiteX12" fmla="*/ 367581 w 367581"/>
                <a:gd name="connsiteY12" fmla="*/ 227 h 1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7581" h="15363">
                  <a:moveTo>
                    <a:pt x="367581" y="227"/>
                  </a:moveTo>
                  <a:cubicBezTo>
                    <a:pt x="367581" y="630"/>
                    <a:pt x="362540" y="1336"/>
                    <a:pt x="353265" y="2344"/>
                  </a:cubicBezTo>
                  <a:cubicBezTo>
                    <a:pt x="343990" y="3352"/>
                    <a:pt x="330581" y="4461"/>
                    <a:pt x="313846" y="5369"/>
                  </a:cubicBezTo>
                  <a:cubicBezTo>
                    <a:pt x="280576" y="7284"/>
                    <a:pt x="234502" y="8191"/>
                    <a:pt x="183690" y="8695"/>
                  </a:cubicBezTo>
                  <a:cubicBezTo>
                    <a:pt x="132879" y="9300"/>
                    <a:pt x="86906" y="10006"/>
                    <a:pt x="53737" y="11821"/>
                  </a:cubicBezTo>
                  <a:cubicBezTo>
                    <a:pt x="37102" y="12627"/>
                    <a:pt x="23693" y="13736"/>
                    <a:pt x="14418" y="14442"/>
                  </a:cubicBezTo>
                  <a:cubicBezTo>
                    <a:pt x="5143" y="15249"/>
                    <a:pt x="1" y="15551"/>
                    <a:pt x="1" y="15249"/>
                  </a:cubicBezTo>
                  <a:cubicBezTo>
                    <a:pt x="-99" y="14845"/>
                    <a:pt x="5042" y="13938"/>
                    <a:pt x="14217" y="12426"/>
                  </a:cubicBezTo>
                  <a:cubicBezTo>
                    <a:pt x="23391" y="11014"/>
                    <a:pt x="36900" y="9401"/>
                    <a:pt x="53535" y="8091"/>
                  </a:cubicBezTo>
                  <a:cubicBezTo>
                    <a:pt x="86805" y="5268"/>
                    <a:pt x="132879" y="3957"/>
                    <a:pt x="183690" y="3352"/>
                  </a:cubicBezTo>
                  <a:cubicBezTo>
                    <a:pt x="234502" y="2848"/>
                    <a:pt x="280475" y="2445"/>
                    <a:pt x="313745" y="1538"/>
                  </a:cubicBezTo>
                  <a:cubicBezTo>
                    <a:pt x="329573" y="1034"/>
                    <a:pt x="342881" y="529"/>
                    <a:pt x="353165" y="227"/>
                  </a:cubicBezTo>
                  <a:cubicBezTo>
                    <a:pt x="362339" y="-76"/>
                    <a:pt x="367481" y="-76"/>
                    <a:pt x="367581" y="227"/>
                  </a:cubicBezTo>
                  <a:close/>
                </a:path>
              </a:pathLst>
            </a:custGeom>
            <a:solidFill>
              <a:srgbClr val="455A6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2E1F9770-C2A6-46D1-8E5B-50D0803FD921}"/>
                </a:ext>
              </a:extLst>
            </p:cNvPr>
            <p:cNvSpPr/>
            <p:nvPr/>
          </p:nvSpPr>
          <p:spPr>
            <a:xfrm>
              <a:off x="9256893" y="4344202"/>
              <a:ext cx="607416" cy="757642"/>
            </a:xfrm>
            <a:custGeom>
              <a:avLst/>
              <a:gdLst>
                <a:gd name="connsiteX0" fmla="*/ 336024 w 607416"/>
                <a:gd name="connsiteY0" fmla="*/ 0 h 757642"/>
                <a:gd name="connsiteX1" fmla="*/ 330681 w 607416"/>
                <a:gd name="connsiteY1" fmla="*/ 6452 h 757642"/>
                <a:gd name="connsiteX2" fmla="*/ 182278 w 607416"/>
                <a:gd name="connsiteY2" fmla="*/ 145782 h 757642"/>
                <a:gd name="connsiteX3" fmla="*/ 116646 w 607416"/>
                <a:gd name="connsiteY3" fmla="*/ 516084 h 757642"/>
                <a:gd name="connsiteX4" fmla="*/ 0 w 607416"/>
                <a:gd name="connsiteY4" fmla="*/ 671947 h 757642"/>
                <a:gd name="connsiteX5" fmla="*/ 283901 w 607416"/>
                <a:gd name="connsiteY5" fmla="*/ 757642 h 757642"/>
                <a:gd name="connsiteX6" fmla="*/ 438858 w 607416"/>
                <a:gd name="connsiteY6" fmla="*/ 748972 h 757642"/>
                <a:gd name="connsiteX7" fmla="*/ 498642 w 607416"/>
                <a:gd name="connsiteY7" fmla="*/ 563065 h 757642"/>
                <a:gd name="connsiteX8" fmla="*/ 602182 w 607416"/>
                <a:gd name="connsiteY8" fmla="*/ 486444 h 757642"/>
                <a:gd name="connsiteX9" fmla="*/ 538465 w 607416"/>
                <a:gd name="connsiteY9" fmla="*/ 132676 h 757642"/>
                <a:gd name="connsiteX10" fmla="*/ 545018 w 607416"/>
                <a:gd name="connsiteY10" fmla="*/ 182278 h 757642"/>
                <a:gd name="connsiteX11" fmla="*/ 336024 w 607416"/>
                <a:gd name="connsiteY11" fmla="*/ 0 h 75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7416" h="757642">
                  <a:moveTo>
                    <a:pt x="336024" y="0"/>
                  </a:moveTo>
                  <a:lnTo>
                    <a:pt x="330681" y="6452"/>
                  </a:lnTo>
                  <a:cubicBezTo>
                    <a:pt x="259605" y="19760"/>
                    <a:pt x="201937" y="76218"/>
                    <a:pt x="182278" y="145782"/>
                  </a:cubicBezTo>
                  <a:cubicBezTo>
                    <a:pt x="162719" y="214842"/>
                    <a:pt x="156771" y="342779"/>
                    <a:pt x="116646" y="516084"/>
                  </a:cubicBezTo>
                  <a:cubicBezTo>
                    <a:pt x="116646" y="516084"/>
                    <a:pt x="18349" y="605105"/>
                    <a:pt x="0" y="671947"/>
                  </a:cubicBezTo>
                  <a:lnTo>
                    <a:pt x="283901" y="757642"/>
                  </a:lnTo>
                  <a:lnTo>
                    <a:pt x="438858" y="748972"/>
                  </a:lnTo>
                  <a:lnTo>
                    <a:pt x="498642" y="563065"/>
                  </a:lnTo>
                  <a:cubicBezTo>
                    <a:pt x="556713" y="563065"/>
                    <a:pt x="581413" y="534029"/>
                    <a:pt x="602182" y="486444"/>
                  </a:cubicBezTo>
                  <a:cubicBezTo>
                    <a:pt x="629907" y="423130"/>
                    <a:pt x="538465" y="132676"/>
                    <a:pt x="538465" y="132676"/>
                  </a:cubicBezTo>
                  <a:lnTo>
                    <a:pt x="545018" y="182278"/>
                  </a:lnTo>
                  <a:lnTo>
                    <a:pt x="336024" y="0"/>
                  </a:ln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939462DB-BFEE-41E2-BE15-3D550E7E37B5}"/>
                </a:ext>
              </a:extLst>
            </p:cNvPr>
            <p:cNvSpPr/>
            <p:nvPr/>
          </p:nvSpPr>
          <p:spPr>
            <a:xfrm>
              <a:off x="9836694" y="4589188"/>
              <a:ext cx="68959" cy="146789"/>
            </a:xfrm>
            <a:custGeom>
              <a:avLst/>
              <a:gdLst>
                <a:gd name="connsiteX0" fmla="*/ 0 w 68959"/>
                <a:gd name="connsiteY0" fmla="*/ 0 h 146789"/>
                <a:gd name="connsiteX1" fmla="*/ 68959 w 68959"/>
                <a:gd name="connsiteY1" fmla="*/ 140338 h 146789"/>
                <a:gd name="connsiteX2" fmla="*/ 26616 w 68959"/>
                <a:gd name="connsiteY2" fmla="*/ 146790 h 146789"/>
                <a:gd name="connsiteX3" fmla="*/ 0 w 68959"/>
                <a:gd name="connsiteY3" fmla="*/ 0 h 14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59" h="146789">
                  <a:moveTo>
                    <a:pt x="0" y="0"/>
                  </a:moveTo>
                  <a:lnTo>
                    <a:pt x="68959" y="140338"/>
                  </a:lnTo>
                  <a:lnTo>
                    <a:pt x="26616" y="146790"/>
                  </a:lnTo>
                  <a:cubicBezTo>
                    <a:pt x="26515" y="146790"/>
                    <a:pt x="302" y="10485"/>
                    <a:pt x="0" y="0"/>
                  </a:cubicBez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D3BB51E-7065-4344-AFCC-DAC7112D51D5}"/>
                </a:ext>
              </a:extLst>
            </p:cNvPr>
            <p:cNvSpPr/>
            <p:nvPr/>
          </p:nvSpPr>
          <p:spPr>
            <a:xfrm>
              <a:off x="9783662" y="4578602"/>
              <a:ext cx="85574" cy="328538"/>
            </a:xfrm>
            <a:custGeom>
              <a:avLst/>
              <a:gdLst>
                <a:gd name="connsiteX0" fmla="*/ 1 w 85574"/>
                <a:gd name="connsiteY0" fmla="*/ 328463 h 328538"/>
                <a:gd name="connsiteX1" fmla="*/ 13410 w 85574"/>
                <a:gd name="connsiteY1" fmla="*/ 323119 h 328538"/>
                <a:gd name="connsiteX2" fmla="*/ 44663 w 85574"/>
                <a:gd name="connsiteY2" fmla="*/ 300536 h 328538"/>
                <a:gd name="connsiteX3" fmla="*/ 73195 w 85574"/>
                <a:gd name="connsiteY3" fmla="*/ 251237 h 328538"/>
                <a:gd name="connsiteX4" fmla="*/ 79748 w 85574"/>
                <a:gd name="connsiteY4" fmla="*/ 181370 h 328538"/>
                <a:gd name="connsiteX5" fmla="*/ 68154 w 85574"/>
                <a:gd name="connsiteY5" fmla="*/ 111201 h 328538"/>
                <a:gd name="connsiteX6" fmla="*/ 56358 w 85574"/>
                <a:gd name="connsiteY6" fmla="*/ 53836 h 328538"/>
                <a:gd name="connsiteX7" fmla="*/ 52225 w 85574"/>
                <a:gd name="connsiteY7" fmla="*/ 14518 h 328538"/>
                <a:gd name="connsiteX8" fmla="*/ 52729 w 85574"/>
                <a:gd name="connsiteY8" fmla="*/ 0 h 328538"/>
                <a:gd name="connsiteX9" fmla="*/ 54241 w 85574"/>
                <a:gd name="connsiteY9" fmla="*/ 14417 h 328538"/>
                <a:gd name="connsiteX10" fmla="*/ 59988 w 85574"/>
                <a:gd name="connsiteY10" fmla="*/ 53232 h 328538"/>
                <a:gd name="connsiteX11" fmla="*/ 72792 w 85574"/>
                <a:gd name="connsiteY11" fmla="*/ 110093 h 328538"/>
                <a:gd name="connsiteX12" fmla="*/ 84890 w 85574"/>
                <a:gd name="connsiteY12" fmla="*/ 180967 h 328538"/>
                <a:gd name="connsiteX13" fmla="*/ 77732 w 85574"/>
                <a:gd name="connsiteY13" fmla="*/ 252648 h 328538"/>
                <a:gd name="connsiteX14" fmla="*/ 47285 w 85574"/>
                <a:gd name="connsiteY14" fmla="*/ 303057 h 328538"/>
                <a:gd name="connsiteX15" fmla="*/ 14116 w 85574"/>
                <a:gd name="connsiteY15" fmla="*/ 324934 h 328538"/>
                <a:gd name="connsiteX16" fmla="*/ 3732 w 85574"/>
                <a:gd name="connsiteY16" fmla="*/ 327858 h 328538"/>
                <a:gd name="connsiteX17" fmla="*/ 1 w 85574"/>
                <a:gd name="connsiteY17" fmla="*/ 328463 h 32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5574" h="328538">
                  <a:moveTo>
                    <a:pt x="1" y="328463"/>
                  </a:moveTo>
                  <a:cubicBezTo>
                    <a:pt x="-99" y="327959"/>
                    <a:pt x="4941" y="326850"/>
                    <a:pt x="13410" y="323119"/>
                  </a:cubicBezTo>
                  <a:cubicBezTo>
                    <a:pt x="21778" y="319389"/>
                    <a:pt x="33372" y="312433"/>
                    <a:pt x="44663" y="300536"/>
                  </a:cubicBezTo>
                  <a:cubicBezTo>
                    <a:pt x="55854" y="288741"/>
                    <a:pt x="66642" y="271904"/>
                    <a:pt x="73195" y="251237"/>
                  </a:cubicBezTo>
                  <a:cubicBezTo>
                    <a:pt x="79748" y="230670"/>
                    <a:pt x="81563" y="206474"/>
                    <a:pt x="79748" y="181370"/>
                  </a:cubicBezTo>
                  <a:cubicBezTo>
                    <a:pt x="77832" y="156267"/>
                    <a:pt x="72892" y="132676"/>
                    <a:pt x="68154" y="111201"/>
                  </a:cubicBezTo>
                  <a:cubicBezTo>
                    <a:pt x="63416" y="89727"/>
                    <a:pt x="59080" y="70371"/>
                    <a:pt x="56358" y="53836"/>
                  </a:cubicBezTo>
                  <a:cubicBezTo>
                    <a:pt x="53636" y="37403"/>
                    <a:pt x="52426" y="23894"/>
                    <a:pt x="52225" y="14518"/>
                  </a:cubicBezTo>
                  <a:cubicBezTo>
                    <a:pt x="52023" y="5142"/>
                    <a:pt x="52527" y="0"/>
                    <a:pt x="52729" y="0"/>
                  </a:cubicBezTo>
                  <a:cubicBezTo>
                    <a:pt x="53132" y="0"/>
                    <a:pt x="53334" y="5142"/>
                    <a:pt x="54241" y="14417"/>
                  </a:cubicBezTo>
                  <a:cubicBezTo>
                    <a:pt x="55048" y="23692"/>
                    <a:pt x="56762" y="36899"/>
                    <a:pt x="59988" y="53232"/>
                  </a:cubicBezTo>
                  <a:cubicBezTo>
                    <a:pt x="63113" y="69463"/>
                    <a:pt x="67852" y="88719"/>
                    <a:pt x="72792" y="110093"/>
                  </a:cubicBezTo>
                  <a:cubicBezTo>
                    <a:pt x="77832" y="131566"/>
                    <a:pt x="82974" y="155360"/>
                    <a:pt x="84890" y="180967"/>
                  </a:cubicBezTo>
                  <a:cubicBezTo>
                    <a:pt x="86805" y="206474"/>
                    <a:pt x="84789" y="231376"/>
                    <a:pt x="77732" y="252648"/>
                  </a:cubicBezTo>
                  <a:cubicBezTo>
                    <a:pt x="70674" y="273921"/>
                    <a:pt x="59181" y="291160"/>
                    <a:pt x="47285" y="303057"/>
                  </a:cubicBezTo>
                  <a:cubicBezTo>
                    <a:pt x="35187" y="314953"/>
                    <a:pt x="22988" y="321708"/>
                    <a:pt x="14116" y="324934"/>
                  </a:cubicBezTo>
                  <a:cubicBezTo>
                    <a:pt x="9680" y="326447"/>
                    <a:pt x="6151" y="327555"/>
                    <a:pt x="3732" y="327858"/>
                  </a:cubicBezTo>
                  <a:cubicBezTo>
                    <a:pt x="1312" y="328463"/>
                    <a:pt x="1" y="328665"/>
                    <a:pt x="1" y="328463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40FC9E7D-73C4-4E32-918D-0D253D5353C3}"/>
                </a:ext>
              </a:extLst>
            </p:cNvPr>
            <p:cNvSpPr/>
            <p:nvPr/>
          </p:nvSpPr>
          <p:spPr>
            <a:xfrm>
              <a:off x="9454394" y="4612376"/>
              <a:ext cx="286623" cy="403610"/>
            </a:xfrm>
            <a:custGeom>
              <a:avLst/>
              <a:gdLst>
                <a:gd name="connsiteX0" fmla="*/ 0 w 286623"/>
                <a:gd name="connsiteY0" fmla="*/ 0 h 403610"/>
                <a:gd name="connsiteX1" fmla="*/ 158586 w 286623"/>
                <a:gd name="connsiteY1" fmla="*/ 381190 h 403610"/>
                <a:gd name="connsiteX2" fmla="*/ 275030 w 286623"/>
                <a:gd name="connsiteY2" fmla="*/ 380384 h 403610"/>
                <a:gd name="connsiteX3" fmla="*/ 286624 w 286623"/>
                <a:gd name="connsiteY3" fmla="*/ 323422 h 403610"/>
                <a:gd name="connsiteX4" fmla="*/ 0 w 286623"/>
                <a:gd name="connsiteY4" fmla="*/ 0 h 40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623" h="403610">
                  <a:moveTo>
                    <a:pt x="0" y="0"/>
                  </a:moveTo>
                  <a:cubicBezTo>
                    <a:pt x="0" y="0"/>
                    <a:pt x="95978" y="330782"/>
                    <a:pt x="158586" y="381190"/>
                  </a:cubicBezTo>
                  <a:cubicBezTo>
                    <a:pt x="221899" y="432103"/>
                    <a:pt x="275030" y="380384"/>
                    <a:pt x="275030" y="380384"/>
                  </a:cubicBezTo>
                  <a:lnTo>
                    <a:pt x="286624" y="3234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B2A08C17-E1F0-4439-BA4C-F640F3A42588}"/>
                </a:ext>
              </a:extLst>
            </p:cNvPr>
            <p:cNvSpPr/>
            <p:nvPr/>
          </p:nvSpPr>
          <p:spPr>
            <a:xfrm>
              <a:off x="9911802" y="4484239"/>
              <a:ext cx="450824" cy="430992"/>
            </a:xfrm>
            <a:custGeom>
              <a:avLst/>
              <a:gdLst>
                <a:gd name="connsiteX0" fmla="*/ 448738 w 450824"/>
                <a:gd name="connsiteY0" fmla="*/ 101723 h 430992"/>
                <a:gd name="connsiteX1" fmla="*/ 431397 w 450824"/>
                <a:gd name="connsiteY1" fmla="*/ 95472 h 430992"/>
                <a:gd name="connsiteX2" fmla="*/ 423332 w 450824"/>
                <a:gd name="connsiteY2" fmla="*/ 59279 h 430992"/>
                <a:gd name="connsiteX3" fmla="*/ 415468 w 450824"/>
                <a:gd name="connsiteY3" fmla="*/ 54137 h 430992"/>
                <a:gd name="connsiteX4" fmla="*/ 390970 w 450824"/>
                <a:gd name="connsiteY4" fmla="*/ 28126 h 430992"/>
                <a:gd name="connsiteX5" fmla="*/ 378367 w 450824"/>
                <a:gd name="connsiteY5" fmla="*/ 603 h 430992"/>
                <a:gd name="connsiteX6" fmla="*/ 349836 w 450824"/>
                <a:gd name="connsiteY6" fmla="*/ 17642 h 430992"/>
                <a:gd name="connsiteX7" fmla="*/ 313643 w 450824"/>
                <a:gd name="connsiteY7" fmla="*/ 86802 h 430992"/>
                <a:gd name="connsiteX8" fmla="*/ 296302 w 450824"/>
                <a:gd name="connsiteY8" fmla="*/ 157072 h 430992"/>
                <a:gd name="connsiteX9" fmla="*/ 0 w 450824"/>
                <a:gd name="connsiteY9" fmla="*/ 295091 h 430992"/>
                <a:gd name="connsiteX10" fmla="*/ 31758 w 450824"/>
                <a:gd name="connsiteY10" fmla="*/ 430993 h 430992"/>
                <a:gd name="connsiteX11" fmla="*/ 364354 w 450824"/>
                <a:gd name="connsiteY11" fmla="*/ 259200 h 430992"/>
                <a:gd name="connsiteX12" fmla="*/ 423735 w 450824"/>
                <a:gd name="connsiteY12" fmla="*/ 202339 h 430992"/>
                <a:gd name="connsiteX13" fmla="*/ 448738 w 450824"/>
                <a:gd name="connsiteY13" fmla="*/ 101723 h 430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0824" h="430992">
                  <a:moveTo>
                    <a:pt x="448738" y="101723"/>
                  </a:moveTo>
                  <a:cubicBezTo>
                    <a:pt x="437749" y="91944"/>
                    <a:pt x="431397" y="95472"/>
                    <a:pt x="431397" y="95472"/>
                  </a:cubicBezTo>
                  <a:cubicBezTo>
                    <a:pt x="431397" y="95472"/>
                    <a:pt x="437245" y="68756"/>
                    <a:pt x="423332" y="59279"/>
                  </a:cubicBezTo>
                  <a:cubicBezTo>
                    <a:pt x="419098" y="56355"/>
                    <a:pt x="416678" y="54843"/>
                    <a:pt x="415468" y="54137"/>
                  </a:cubicBezTo>
                  <a:cubicBezTo>
                    <a:pt x="413956" y="50609"/>
                    <a:pt x="405387" y="31353"/>
                    <a:pt x="390970" y="28126"/>
                  </a:cubicBezTo>
                  <a:cubicBezTo>
                    <a:pt x="390970" y="28126"/>
                    <a:pt x="389054" y="3023"/>
                    <a:pt x="378367" y="603"/>
                  </a:cubicBezTo>
                  <a:cubicBezTo>
                    <a:pt x="358204" y="-3832"/>
                    <a:pt x="349836" y="17642"/>
                    <a:pt x="349836" y="17642"/>
                  </a:cubicBezTo>
                  <a:lnTo>
                    <a:pt x="313643" y="86802"/>
                  </a:lnTo>
                  <a:lnTo>
                    <a:pt x="296302" y="157072"/>
                  </a:lnTo>
                  <a:lnTo>
                    <a:pt x="0" y="295091"/>
                  </a:lnTo>
                  <a:lnTo>
                    <a:pt x="31758" y="430993"/>
                  </a:lnTo>
                  <a:lnTo>
                    <a:pt x="364354" y="259200"/>
                  </a:lnTo>
                  <a:lnTo>
                    <a:pt x="423735" y="202339"/>
                  </a:lnTo>
                  <a:cubicBezTo>
                    <a:pt x="423735" y="202238"/>
                    <a:pt x="459727" y="111503"/>
                    <a:pt x="448738" y="101723"/>
                  </a:cubicBezTo>
                  <a:close/>
                </a:path>
              </a:pathLst>
            </a:custGeom>
            <a:solidFill>
              <a:srgbClr val="FFBE9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DBE5AB10-4982-4C0B-9DC7-3A6AE9B6A37C}"/>
                </a:ext>
              </a:extLst>
            </p:cNvPr>
            <p:cNvSpPr/>
            <p:nvPr/>
          </p:nvSpPr>
          <p:spPr>
            <a:xfrm>
              <a:off x="9476372" y="4394691"/>
              <a:ext cx="732841" cy="596111"/>
            </a:xfrm>
            <a:custGeom>
              <a:avLst/>
              <a:gdLst>
                <a:gd name="connsiteX0" fmla="*/ 1 w 732841"/>
                <a:gd name="connsiteY0" fmla="*/ 117976 h 596111"/>
                <a:gd name="connsiteX1" fmla="*/ 246398 w 732841"/>
                <a:gd name="connsiteY1" fmla="*/ 595548 h 596111"/>
                <a:gd name="connsiteX2" fmla="*/ 732842 w 732841"/>
                <a:gd name="connsiteY2" fmla="*/ 436055 h 596111"/>
                <a:gd name="connsiteX3" fmla="*/ 677292 w 732841"/>
                <a:gd name="connsiteY3" fmla="*/ 267891 h 596111"/>
                <a:gd name="connsiteX4" fmla="*/ 347417 w 732841"/>
                <a:gd name="connsiteY4" fmla="*/ 374758 h 596111"/>
                <a:gd name="connsiteX5" fmla="*/ 237022 w 732841"/>
                <a:gd name="connsiteY5" fmla="*/ 98115 h 596111"/>
                <a:gd name="connsiteX6" fmla="*/ 80352 w 732841"/>
                <a:gd name="connsiteY6" fmla="*/ 7884 h 596111"/>
                <a:gd name="connsiteX7" fmla="*/ 1 w 732841"/>
                <a:gd name="connsiteY7" fmla="*/ 117976 h 59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2841" h="596111">
                  <a:moveTo>
                    <a:pt x="1" y="117976"/>
                  </a:moveTo>
                  <a:cubicBezTo>
                    <a:pt x="-402" y="128562"/>
                    <a:pt x="167257" y="565101"/>
                    <a:pt x="246398" y="595548"/>
                  </a:cubicBezTo>
                  <a:cubicBezTo>
                    <a:pt x="276543" y="607142"/>
                    <a:pt x="732842" y="436055"/>
                    <a:pt x="732842" y="436055"/>
                  </a:cubicBezTo>
                  <a:lnTo>
                    <a:pt x="677292" y="267891"/>
                  </a:lnTo>
                  <a:cubicBezTo>
                    <a:pt x="677292" y="267891"/>
                    <a:pt x="358104" y="375161"/>
                    <a:pt x="347417" y="374758"/>
                  </a:cubicBezTo>
                  <a:cubicBezTo>
                    <a:pt x="336831" y="374355"/>
                    <a:pt x="237022" y="98115"/>
                    <a:pt x="237022" y="98115"/>
                  </a:cubicBezTo>
                  <a:cubicBezTo>
                    <a:pt x="237022" y="98115"/>
                    <a:pt x="174415" y="-32947"/>
                    <a:pt x="80352" y="7884"/>
                  </a:cubicBezTo>
                  <a:cubicBezTo>
                    <a:pt x="20265" y="34096"/>
                    <a:pt x="1" y="117976"/>
                    <a:pt x="1" y="117976"/>
                  </a:cubicBezTo>
                  <a:close/>
                </a:path>
              </a:pathLst>
            </a:custGeom>
            <a:solidFill>
              <a:srgbClr val="F7AB9B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F16414FF-6ECC-4E79-8ADC-59F558B15B68}"/>
                </a:ext>
              </a:extLst>
            </p:cNvPr>
            <p:cNvSpPr/>
            <p:nvPr/>
          </p:nvSpPr>
          <p:spPr>
            <a:xfrm>
              <a:off x="9489161" y="4547752"/>
              <a:ext cx="723177" cy="445915"/>
            </a:xfrm>
            <a:custGeom>
              <a:avLst/>
              <a:gdLst>
                <a:gd name="connsiteX0" fmla="*/ 334830 w 723177"/>
                <a:gd name="connsiteY0" fmla="*/ 221697 h 445915"/>
                <a:gd name="connsiteX1" fmla="*/ 340677 w 723177"/>
                <a:gd name="connsiteY1" fmla="*/ 219479 h 445915"/>
                <a:gd name="connsiteX2" fmla="*/ 358118 w 723177"/>
                <a:gd name="connsiteY2" fmla="*/ 213531 h 445915"/>
                <a:gd name="connsiteX3" fmla="*/ 424557 w 723177"/>
                <a:gd name="connsiteY3" fmla="*/ 191351 h 445915"/>
                <a:gd name="connsiteX4" fmla="*/ 663998 w 723177"/>
                <a:gd name="connsiteY4" fmla="*/ 112815 h 445915"/>
                <a:gd name="connsiteX5" fmla="*/ 666014 w 723177"/>
                <a:gd name="connsiteY5" fmla="*/ 112109 h 445915"/>
                <a:gd name="connsiteX6" fmla="*/ 666720 w 723177"/>
                <a:gd name="connsiteY6" fmla="*/ 114226 h 445915"/>
                <a:gd name="connsiteX7" fmla="*/ 722472 w 723177"/>
                <a:gd name="connsiteY7" fmla="*/ 282288 h 445915"/>
                <a:gd name="connsiteX8" fmla="*/ 723178 w 723177"/>
                <a:gd name="connsiteY8" fmla="*/ 284506 h 445915"/>
                <a:gd name="connsiteX9" fmla="*/ 720960 w 723177"/>
                <a:gd name="connsiteY9" fmla="*/ 285313 h 445915"/>
                <a:gd name="connsiteX10" fmla="*/ 488677 w 723177"/>
                <a:gd name="connsiteY10" fmla="*/ 371612 h 445915"/>
                <a:gd name="connsiteX11" fmla="*/ 341181 w 723177"/>
                <a:gd name="connsiteY11" fmla="*/ 421316 h 445915"/>
                <a:gd name="connsiteX12" fmla="*/ 269702 w 723177"/>
                <a:gd name="connsiteY12" fmla="*/ 441076 h 445915"/>
                <a:gd name="connsiteX13" fmla="*/ 251857 w 723177"/>
                <a:gd name="connsiteY13" fmla="*/ 444503 h 445915"/>
                <a:gd name="connsiteX14" fmla="*/ 242783 w 723177"/>
                <a:gd name="connsiteY14" fmla="*/ 445713 h 445915"/>
                <a:gd name="connsiteX15" fmla="*/ 233105 w 723177"/>
                <a:gd name="connsiteY15" fmla="*/ 444907 h 445915"/>
                <a:gd name="connsiteX16" fmla="*/ 204070 w 723177"/>
                <a:gd name="connsiteY16" fmla="*/ 423634 h 445915"/>
                <a:gd name="connsiteX17" fmla="*/ 164549 w 723177"/>
                <a:gd name="connsiteY17" fmla="*/ 368487 h 445915"/>
                <a:gd name="connsiteX18" fmla="*/ 133598 w 723177"/>
                <a:gd name="connsiteY18" fmla="*/ 312735 h 445915"/>
                <a:gd name="connsiteX19" fmla="*/ 84298 w 723177"/>
                <a:gd name="connsiteY19" fmla="*/ 209599 h 445915"/>
                <a:gd name="connsiteX20" fmla="*/ 20884 w 723177"/>
                <a:gd name="connsiteY20" fmla="*/ 56861 h 445915"/>
                <a:gd name="connsiteX21" fmla="*/ 5056 w 723177"/>
                <a:gd name="connsiteY21" fmla="*/ 14820 h 445915"/>
                <a:gd name="connsiteX22" fmla="*/ 1124 w 723177"/>
                <a:gd name="connsiteY22" fmla="*/ 3831 h 445915"/>
                <a:gd name="connsiteX23" fmla="*/ 15 w 723177"/>
                <a:gd name="connsiteY23" fmla="*/ 0 h 445915"/>
                <a:gd name="connsiteX24" fmla="*/ 1628 w 723177"/>
                <a:gd name="connsiteY24" fmla="*/ 3629 h 445915"/>
                <a:gd name="connsiteX25" fmla="*/ 6064 w 723177"/>
                <a:gd name="connsiteY25" fmla="*/ 14417 h 445915"/>
                <a:gd name="connsiteX26" fmla="*/ 22800 w 723177"/>
                <a:gd name="connsiteY26" fmla="*/ 56155 h 445915"/>
                <a:gd name="connsiteX27" fmla="*/ 87726 w 723177"/>
                <a:gd name="connsiteY27" fmla="*/ 208188 h 445915"/>
                <a:gd name="connsiteX28" fmla="*/ 137429 w 723177"/>
                <a:gd name="connsiteY28" fmla="*/ 310820 h 445915"/>
                <a:gd name="connsiteX29" fmla="*/ 168481 w 723177"/>
                <a:gd name="connsiteY29" fmla="*/ 366169 h 445915"/>
                <a:gd name="connsiteX30" fmla="*/ 207598 w 723177"/>
                <a:gd name="connsiteY30" fmla="*/ 420408 h 445915"/>
                <a:gd name="connsiteX31" fmla="*/ 234415 w 723177"/>
                <a:gd name="connsiteY31" fmla="*/ 440269 h 445915"/>
                <a:gd name="connsiteX32" fmla="*/ 251050 w 723177"/>
                <a:gd name="connsiteY32" fmla="*/ 439664 h 445915"/>
                <a:gd name="connsiteX33" fmla="*/ 268492 w 723177"/>
                <a:gd name="connsiteY33" fmla="*/ 436337 h 445915"/>
                <a:gd name="connsiteX34" fmla="*/ 339467 w 723177"/>
                <a:gd name="connsiteY34" fmla="*/ 416577 h 445915"/>
                <a:gd name="connsiteX35" fmla="*/ 486660 w 723177"/>
                <a:gd name="connsiteY35" fmla="*/ 366874 h 445915"/>
                <a:gd name="connsiteX36" fmla="*/ 718843 w 723177"/>
                <a:gd name="connsiteY36" fmla="*/ 280877 h 445915"/>
                <a:gd name="connsiteX37" fmla="*/ 717330 w 723177"/>
                <a:gd name="connsiteY37" fmla="*/ 284002 h 445915"/>
                <a:gd name="connsiteX38" fmla="*/ 662083 w 723177"/>
                <a:gd name="connsiteY38" fmla="*/ 115738 h 445915"/>
                <a:gd name="connsiteX39" fmla="*/ 664805 w 723177"/>
                <a:gd name="connsiteY39" fmla="*/ 117150 h 445915"/>
                <a:gd name="connsiteX40" fmla="*/ 424759 w 723177"/>
                <a:gd name="connsiteY40" fmla="*/ 193972 h 445915"/>
                <a:gd name="connsiteX41" fmla="*/ 357917 w 723177"/>
                <a:gd name="connsiteY41" fmla="*/ 214943 h 445915"/>
                <a:gd name="connsiteX42" fmla="*/ 340374 w 723177"/>
                <a:gd name="connsiteY42" fmla="*/ 220286 h 445915"/>
                <a:gd name="connsiteX43" fmla="*/ 334830 w 723177"/>
                <a:gd name="connsiteY43" fmla="*/ 221697 h 445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23177" h="445915">
                  <a:moveTo>
                    <a:pt x="334830" y="221697"/>
                  </a:moveTo>
                  <a:cubicBezTo>
                    <a:pt x="334830" y="221697"/>
                    <a:pt x="336745" y="220790"/>
                    <a:pt x="340677" y="219479"/>
                  </a:cubicBezTo>
                  <a:cubicBezTo>
                    <a:pt x="344911" y="218068"/>
                    <a:pt x="350658" y="216051"/>
                    <a:pt x="358118" y="213531"/>
                  </a:cubicBezTo>
                  <a:cubicBezTo>
                    <a:pt x="373644" y="208289"/>
                    <a:pt x="396127" y="200828"/>
                    <a:pt x="424557" y="191351"/>
                  </a:cubicBezTo>
                  <a:cubicBezTo>
                    <a:pt x="482325" y="172398"/>
                    <a:pt x="564592" y="145378"/>
                    <a:pt x="663998" y="112815"/>
                  </a:cubicBezTo>
                  <a:lnTo>
                    <a:pt x="666014" y="112109"/>
                  </a:lnTo>
                  <a:lnTo>
                    <a:pt x="666720" y="114226"/>
                  </a:lnTo>
                  <a:cubicBezTo>
                    <a:pt x="683657" y="165239"/>
                    <a:pt x="702510" y="222000"/>
                    <a:pt x="722472" y="282288"/>
                  </a:cubicBezTo>
                  <a:lnTo>
                    <a:pt x="723178" y="284506"/>
                  </a:lnTo>
                  <a:lnTo>
                    <a:pt x="720960" y="285313"/>
                  </a:lnTo>
                  <a:cubicBezTo>
                    <a:pt x="649380" y="312937"/>
                    <a:pt x="570843" y="342476"/>
                    <a:pt x="488677" y="371612"/>
                  </a:cubicBezTo>
                  <a:cubicBezTo>
                    <a:pt x="438470" y="389457"/>
                    <a:pt x="389271" y="406395"/>
                    <a:pt x="341181" y="421316"/>
                  </a:cubicBezTo>
                  <a:cubicBezTo>
                    <a:pt x="317086" y="428574"/>
                    <a:pt x="293494" y="435833"/>
                    <a:pt x="269702" y="441076"/>
                  </a:cubicBezTo>
                  <a:cubicBezTo>
                    <a:pt x="263753" y="442487"/>
                    <a:pt x="257906" y="443899"/>
                    <a:pt x="251857" y="444503"/>
                  </a:cubicBezTo>
                  <a:lnTo>
                    <a:pt x="242783" y="445713"/>
                  </a:lnTo>
                  <a:cubicBezTo>
                    <a:pt x="239759" y="446218"/>
                    <a:pt x="236230" y="445713"/>
                    <a:pt x="233105" y="444907"/>
                  </a:cubicBezTo>
                  <a:cubicBezTo>
                    <a:pt x="220805" y="440874"/>
                    <a:pt x="212135" y="432002"/>
                    <a:pt x="204070" y="423634"/>
                  </a:cubicBezTo>
                  <a:cubicBezTo>
                    <a:pt x="188342" y="406294"/>
                    <a:pt x="176042" y="387138"/>
                    <a:pt x="164549" y="368487"/>
                  </a:cubicBezTo>
                  <a:cubicBezTo>
                    <a:pt x="153258" y="349735"/>
                    <a:pt x="142974" y="330983"/>
                    <a:pt x="133598" y="312735"/>
                  </a:cubicBezTo>
                  <a:cubicBezTo>
                    <a:pt x="114644" y="276239"/>
                    <a:pt x="98615" y="241458"/>
                    <a:pt x="84298" y="209599"/>
                  </a:cubicBezTo>
                  <a:cubicBezTo>
                    <a:pt x="55868" y="145782"/>
                    <a:pt x="34999" y="93256"/>
                    <a:pt x="20884" y="56861"/>
                  </a:cubicBezTo>
                  <a:cubicBezTo>
                    <a:pt x="13827" y="38613"/>
                    <a:pt x="8585" y="24398"/>
                    <a:pt x="5056" y="14820"/>
                  </a:cubicBezTo>
                  <a:cubicBezTo>
                    <a:pt x="3443" y="10183"/>
                    <a:pt x="2132" y="6553"/>
                    <a:pt x="1124" y="3831"/>
                  </a:cubicBezTo>
                  <a:cubicBezTo>
                    <a:pt x="318" y="1311"/>
                    <a:pt x="-86" y="0"/>
                    <a:pt x="15" y="0"/>
                  </a:cubicBezTo>
                  <a:cubicBezTo>
                    <a:pt x="116" y="0"/>
                    <a:pt x="620" y="1210"/>
                    <a:pt x="1628" y="3629"/>
                  </a:cubicBezTo>
                  <a:cubicBezTo>
                    <a:pt x="2737" y="6352"/>
                    <a:pt x="4149" y="9880"/>
                    <a:pt x="6064" y="14417"/>
                  </a:cubicBezTo>
                  <a:cubicBezTo>
                    <a:pt x="9996" y="24196"/>
                    <a:pt x="15642" y="38210"/>
                    <a:pt x="22800" y="56155"/>
                  </a:cubicBezTo>
                  <a:cubicBezTo>
                    <a:pt x="37519" y="92349"/>
                    <a:pt x="58892" y="144572"/>
                    <a:pt x="87726" y="208188"/>
                  </a:cubicBezTo>
                  <a:cubicBezTo>
                    <a:pt x="102143" y="239945"/>
                    <a:pt x="118476" y="274526"/>
                    <a:pt x="137429" y="310820"/>
                  </a:cubicBezTo>
                  <a:cubicBezTo>
                    <a:pt x="146906" y="328967"/>
                    <a:pt x="157189" y="347517"/>
                    <a:pt x="168481" y="366169"/>
                  </a:cubicBezTo>
                  <a:cubicBezTo>
                    <a:pt x="179974" y="384618"/>
                    <a:pt x="192173" y="403572"/>
                    <a:pt x="207598" y="420408"/>
                  </a:cubicBezTo>
                  <a:cubicBezTo>
                    <a:pt x="215361" y="428474"/>
                    <a:pt x="223931" y="436942"/>
                    <a:pt x="234415" y="440269"/>
                  </a:cubicBezTo>
                  <a:cubicBezTo>
                    <a:pt x="239356" y="441983"/>
                    <a:pt x="245203" y="440269"/>
                    <a:pt x="251050" y="439664"/>
                  </a:cubicBezTo>
                  <a:cubicBezTo>
                    <a:pt x="256898" y="439059"/>
                    <a:pt x="262644" y="437648"/>
                    <a:pt x="268492" y="436337"/>
                  </a:cubicBezTo>
                  <a:cubicBezTo>
                    <a:pt x="291982" y="431196"/>
                    <a:pt x="315573" y="423836"/>
                    <a:pt x="339467" y="416577"/>
                  </a:cubicBezTo>
                  <a:cubicBezTo>
                    <a:pt x="387355" y="401656"/>
                    <a:pt x="436554" y="384618"/>
                    <a:pt x="486660" y="366874"/>
                  </a:cubicBezTo>
                  <a:cubicBezTo>
                    <a:pt x="568726" y="337738"/>
                    <a:pt x="647262" y="308299"/>
                    <a:pt x="718843" y="280877"/>
                  </a:cubicBezTo>
                  <a:lnTo>
                    <a:pt x="717330" y="284002"/>
                  </a:lnTo>
                  <a:cubicBezTo>
                    <a:pt x="697470" y="223613"/>
                    <a:pt x="678818" y="166752"/>
                    <a:pt x="662083" y="115738"/>
                  </a:cubicBezTo>
                  <a:lnTo>
                    <a:pt x="664805" y="117150"/>
                  </a:lnTo>
                  <a:cubicBezTo>
                    <a:pt x="565096" y="149008"/>
                    <a:pt x="482628" y="175422"/>
                    <a:pt x="424759" y="193972"/>
                  </a:cubicBezTo>
                  <a:cubicBezTo>
                    <a:pt x="396127" y="202945"/>
                    <a:pt x="373644" y="210103"/>
                    <a:pt x="357917" y="214943"/>
                  </a:cubicBezTo>
                  <a:cubicBezTo>
                    <a:pt x="350456" y="217261"/>
                    <a:pt x="344609" y="218975"/>
                    <a:pt x="340374" y="220286"/>
                  </a:cubicBezTo>
                  <a:cubicBezTo>
                    <a:pt x="336846" y="221294"/>
                    <a:pt x="334830" y="221697"/>
                    <a:pt x="334830" y="221697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9136FEB8-047A-491D-9716-B2AEFACC2C52}"/>
                </a:ext>
              </a:extLst>
            </p:cNvPr>
            <p:cNvSpPr/>
            <p:nvPr/>
          </p:nvSpPr>
          <p:spPr>
            <a:xfrm>
              <a:off x="9583239" y="4397985"/>
              <a:ext cx="231635" cy="362694"/>
            </a:xfrm>
            <a:custGeom>
              <a:avLst/>
              <a:gdLst>
                <a:gd name="connsiteX0" fmla="*/ 0 w 231635"/>
                <a:gd name="connsiteY0" fmla="*/ 860 h 362694"/>
                <a:gd name="connsiteX1" fmla="*/ 4638 w 231635"/>
                <a:gd name="connsiteY1" fmla="*/ 255 h 362694"/>
                <a:gd name="connsiteX2" fmla="*/ 18046 w 231635"/>
                <a:gd name="connsiteY2" fmla="*/ 154 h 362694"/>
                <a:gd name="connsiteX3" fmla="*/ 65330 w 231635"/>
                <a:gd name="connsiteY3" fmla="*/ 13865 h 362694"/>
                <a:gd name="connsiteX4" fmla="*/ 91340 w 231635"/>
                <a:gd name="connsiteY4" fmla="*/ 36247 h 362694"/>
                <a:gd name="connsiteX5" fmla="*/ 115133 w 231635"/>
                <a:gd name="connsiteY5" fmla="*/ 67299 h 362694"/>
                <a:gd name="connsiteX6" fmla="*/ 155763 w 231635"/>
                <a:gd name="connsiteY6" fmla="*/ 146843 h 362694"/>
                <a:gd name="connsiteX7" fmla="*/ 212220 w 231635"/>
                <a:gd name="connsiteY7" fmla="*/ 298574 h 362694"/>
                <a:gd name="connsiteX8" fmla="*/ 226940 w 231635"/>
                <a:gd name="connsiteY8" fmla="*/ 345353 h 362694"/>
                <a:gd name="connsiteX9" fmla="*/ 231577 w 231635"/>
                <a:gd name="connsiteY9" fmla="*/ 362693 h 362694"/>
                <a:gd name="connsiteX10" fmla="*/ 225024 w 231635"/>
                <a:gd name="connsiteY10" fmla="*/ 345958 h 362694"/>
                <a:gd name="connsiteX11" fmla="*/ 208692 w 231635"/>
                <a:gd name="connsiteY11" fmla="*/ 299783 h 362694"/>
                <a:gd name="connsiteX12" fmla="*/ 150924 w 231635"/>
                <a:gd name="connsiteY12" fmla="*/ 148960 h 362694"/>
                <a:gd name="connsiteX13" fmla="*/ 111101 w 231635"/>
                <a:gd name="connsiteY13" fmla="*/ 69920 h 362694"/>
                <a:gd name="connsiteX14" fmla="*/ 88114 w 231635"/>
                <a:gd name="connsiteY14" fmla="*/ 39070 h 362694"/>
                <a:gd name="connsiteX15" fmla="*/ 63414 w 231635"/>
                <a:gd name="connsiteY15" fmla="*/ 16991 h 362694"/>
                <a:gd name="connsiteX16" fmla="*/ 17945 w 231635"/>
                <a:gd name="connsiteY16" fmla="*/ 2170 h 362694"/>
                <a:gd name="connsiteX17" fmla="*/ 0 w 231635"/>
                <a:gd name="connsiteY17" fmla="*/ 860 h 362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1635" h="362694">
                  <a:moveTo>
                    <a:pt x="0" y="860"/>
                  </a:moveTo>
                  <a:cubicBezTo>
                    <a:pt x="0" y="658"/>
                    <a:pt x="1613" y="457"/>
                    <a:pt x="4638" y="255"/>
                  </a:cubicBezTo>
                  <a:cubicBezTo>
                    <a:pt x="7662" y="53"/>
                    <a:pt x="12199" y="-148"/>
                    <a:pt x="18046" y="154"/>
                  </a:cubicBezTo>
                  <a:cubicBezTo>
                    <a:pt x="29539" y="860"/>
                    <a:pt x="47082" y="2977"/>
                    <a:pt x="65330" y="13865"/>
                  </a:cubicBezTo>
                  <a:cubicBezTo>
                    <a:pt x="74504" y="19209"/>
                    <a:pt x="83174" y="27072"/>
                    <a:pt x="91340" y="36247"/>
                  </a:cubicBezTo>
                  <a:cubicBezTo>
                    <a:pt x="99608" y="45320"/>
                    <a:pt x="107572" y="55805"/>
                    <a:pt x="115133" y="67299"/>
                  </a:cubicBezTo>
                  <a:cubicBezTo>
                    <a:pt x="130558" y="90285"/>
                    <a:pt x="142757" y="118110"/>
                    <a:pt x="155763" y="146843"/>
                  </a:cubicBezTo>
                  <a:cubicBezTo>
                    <a:pt x="180967" y="204914"/>
                    <a:pt x="199316" y="259255"/>
                    <a:pt x="212220" y="298574"/>
                  </a:cubicBezTo>
                  <a:cubicBezTo>
                    <a:pt x="218673" y="318233"/>
                    <a:pt x="223613" y="334263"/>
                    <a:pt x="226940" y="345353"/>
                  </a:cubicBezTo>
                  <a:cubicBezTo>
                    <a:pt x="230267" y="356443"/>
                    <a:pt x="231981" y="362592"/>
                    <a:pt x="231577" y="362693"/>
                  </a:cubicBezTo>
                  <a:cubicBezTo>
                    <a:pt x="231275" y="362794"/>
                    <a:pt x="228855" y="356846"/>
                    <a:pt x="225024" y="345958"/>
                  </a:cubicBezTo>
                  <a:cubicBezTo>
                    <a:pt x="220891" y="334263"/>
                    <a:pt x="215346" y="318636"/>
                    <a:pt x="208692" y="299783"/>
                  </a:cubicBezTo>
                  <a:cubicBezTo>
                    <a:pt x="194880" y="260767"/>
                    <a:pt x="176027" y="206830"/>
                    <a:pt x="150924" y="148960"/>
                  </a:cubicBezTo>
                  <a:cubicBezTo>
                    <a:pt x="138019" y="120228"/>
                    <a:pt x="126022" y="92604"/>
                    <a:pt x="111101" y="69920"/>
                  </a:cubicBezTo>
                  <a:cubicBezTo>
                    <a:pt x="103741" y="58528"/>
                    <a:pt x="96079" y="48143"/>
                    <a:pt x="88114" y="39070"/>
                  </a:cubicBezTo>
                  <a:cubicBezTo>
                    <a:pt x="80251" y="29895"/>
                    <a:pt x="72084" y="22334"/>
                    <a:pt x="63414" y="16991"/>
                  </a:cubicBezTo>
                  <a:cubicBezTo>
                    <a:pt x="46174" y="6102"/>
                    <a:pt x="29136" y="3481"/>
                    <a:pt x="17945" y="2170"/>
                  </a:cubicBezTo>
                  <a:cubicBezTo>
                    <a:pt x="6452" y="1062"/>
                    <a:pt x="0" y="1364"/>
                    <a:pt x="0" y="860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59C74F17-ABEF-44E7-8752-CB19105BEC67}"/>
                </a:ext>
              </a:extLst>
            </p:cNvPr>
            <p:cNvSpPr/>
            <p:nvPr/>
          </p:nvSpPr>
          <p:spPr>
            <a:xfrm>
              <a:off x="10281272" y="4513228"/>
              <a:ext cx="21727" cy="37391"/>
            </a:xfrm>
            <a:custGeom>
              <a:avLst/>
              <a:gdLst>
                <a:gd name="connsiteX0" fmla="*/ 21500 w 21727"/>
                <a:gd name="connsiteY0" fmla="*/ 45 h 37391"/>
                <a:gd name="connsiteX1" fmla="*/ 13132 w 21727"/>
                <a:gd name="connsiteY1" fmla="*/ 20006 h 37391"/>
                <a:gd name="connsiteX2" fmla="*/ 228 w 21727"/>
                <a:gd name="connsiteY2" fmla="*/ 37347 h 37391"/>
                <a:gd name="connsiteX3" fmla="*/ 8596 w 21727"/>
                <a:gd name="connsiteY3" fmla="*/ 17385 h 37391"/>
                <a:gd name="connsiteX4" fmla="*/ 21500 w 21727"/>
                <a:gd name="connsiteY4" fmla="*/ 45 h 37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27" h="37391">
                  <a:moveTo>
                    <a:pt x="21500" y="45"/>
                  </a:moveTo>
                  <a:cubicBezTo>
                    <a:pt x="22710" y="750"/>
                    <a:pt x="18980" y="9723"/>
                    <a:pt x="13132" y="20006"/>
                  </a:cubicBezTo>
                  <a:cubicBezTo>
                    <a:pt x="7285" y="30290"/>
                    <a:pt x="1438" y="38053"/>
                    <a:pt x="228" y="37347"/>
                  </a:cubicBezTo>
                  <a:cubicBezTo>
                    <a:pt x="-982" y="36641"/>
                    <a:pt x="2748" y="27669"/>
                    <a:pt x="8596" y="17385"/>
                  </a:cubicBezTo>
                  <a:cubicBezTo>
                    <a:pt x="14443" y="7102"/>
                    <a:pt x="20190" y="-661"/>
                    <a:pt x="21500" y="45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D17F3CC0-5399-49D0-95BD-D02E3244390B}"/>
                </a:ext>
              </a:extLst>
            </p:cNvPr>
            <p:cNvSpPr/>
            <p:nvPr/>
          </p:nvSpPr>
          <p:spPr>
            <a:xfrm>
              <a:off x="10302355" y="4537387"/>
              <a:ext cx="21087" cy="35199"/>
            </a:xfrm>
            <a:custGeom>
              <a:avLst/>
              <a:gdLst>
                <a:gd name="connsiteX0" fmla="*/ 20883 w 21087"/>
                <a:gd name="connsiteY0" fmla="*/ 82 h 35199"/>
                <a:gd name="connsiteX1" fmla="*/ 12112 w 21087"/>
                <a:gd name="connsiteY1" fmla="*/ 18531 h 35199"/>
                <a:gd name="connsiteX2" fmla="*/ 317 w 21087"/>
                <a:gd name="connsiteY2" fmla="*/ 35166 h 35199"/>
                <a:gd name="connsiteX3" fmla="*/ 7576 w 21087"/>
                <a:gd name="connsiteY3" fmla="*/ 15910 h 35199"/>
                <a:gd name="connsiteX4" fmla="*/ 20883 w 21087"/>
                <a:gd name="connsiteY4" fmla="*/ 82 h 3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87" h="35199">
                  <a:moveTo>
                    <a:pt x="20883" y="82"/>
                  </a:moveTo>
                  <a:cubicBezTo>
                    <a:pt x="22093" y="989"/>
                    <a:pt x="17758" y="8953"/>
                    <a:pt x="12112" y="18531"/>
                  </a:cubicBezTo>
                  <a:cubicBezTo>
                    <a:pt x="6467" y="28109"/>
                    <a:pt x="1627" y="35771"/>
                    <a:pt x="317" y="35166"/>
                  </a:cubicBezTo>
                  <a:cubicBezTo>
                    <a:pt x="-994" y="34561"/>
                    <a:pt x="1829" y="25689"/>
                    <a:pt x="7576" y="15910"/>
                  </a:cubicBezTo>
                  <a:cubicBezTo>
                    <a:pt x="13322" y="5929"/>
                    <a:pt x="19774" y="-826"/>
                    <a:pt x="20883" y="82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5F938FB2-CD77-4D9E-A66B-FC0A8C3E4170}"/>
                </a:ext>
              </a:extLst>
            </p:cNvPr>
            <p:cNvSpPr/>
            <p:nvPr/>
          </p:nvSpPr>
          <p:spPr>
            <a:xfrm>
              <a:off x="10330561" y="4579461"/>
              <a:ext cx="13281" cy="25804"/>
            </a:xfrm>
            <a:custGeom>
              <a:avLst/>
              <a:gdLst>
                <a:gd name="connsiteX0" fmla="*/ 12841 w 13281"/>
                <a:gd name="connsiteY0" fmla="*/ 48 h 25804"/>
                <a:gd name="connsiteX1" fmla="*/ 9010 w 13281"/>
                <a:gd name="connsiteY1" fmla="*/ 14062 h 25804"/>
                <a:gd name="connsiteX2" fmla="*/ 440 w 13281"/>
                <a:gd name="connsiteY2" fmla="*/ 25757 h 25804"/>
                <a:gd name="connsiteX3" fmla="*/ 4271 w 13281"/>
                <a:gd name="connsiteY3" fmla="*/ 11743 h 25804"/>
                <a:gd name="connsiteX4" fmla="*/ 12841 w 13281"/>
                <a:gd name="connsiteY4" fmla="*/ 48 h 2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81" h="25804">
                  <a:moveTo>
                    <a:pt x="12841" y="48"/>
                  </a:moveTo>
                  <a:cubicBezTo>
                    <a:pt x="14151" y="653"/>
                    <a:pt x="12438" y="6904"/>
                    <a:pt x="9010" y="14062"/>
                  </a:cubicBezTo>
                  <a:cubicBezTo>
                    <a:pt x="5582" y="21119"/>
                    <a:pt x="1751" y="26362"/>
                    <a:pt x="440" y="25757"/>
                  </a:cubicBezTo>
                  <a:cubicBezTo>
                    <a:pt x="-870" y="25152"/>
                    <a:pt x="844" y="18901"/>
                    <a:pt x="4271" y="11743"/>
                  </a:cubicBezTo>
                  <a:cubicBezTo>
                    <a:pt x="7699" y="4585"/>
                    <a:pt x="11530" y="-557"/>
                    <a:pt x="12841" y="48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E25109B8-3298-46EE-BB87-B646EF004962}"/>
                </a:ext>
              </a:extLst>
            </p:cNvPr>
            <p:cNvSpPr/>
            <p:nvPr/>
          </p:nvSpPr>
          <p:spPr>
            <a:xfrm>
              <a:off x="9796936" y="4765073"/>
              <a:ext cx="27777" cy="75754"/>
            </a:xfrm>
            <a:custGeom>
              <a:avLst/>
              <a:gdLst>
                <a:gd name="connsiteX0" fmla="*/ 27660 w 27777"/>
                <a:gd name="connsiteY0" fmla="*/ 41 h 75754"/>
                <a:gd name="connsiteX1" fmla="*/ 11731 w 27777"/>
                <a:gd name="connsiteY1" fmla="*/ 37041 h 75754"/>
                <a:gd name="connsiteX2" fmla="*/ 742 w 27777"/>
                <a:gd name="connsiteY2" fmla="*/ 75754 h 75754"/>
                <a:gd name="connsiteX3" fmla="*/ 6791 w 27777"/>
                <a:gd name="connsiteY3" fmla="*/ 35226 h 75754"/>
                <a:gd name="connsiteX4" fmla="*/ 27660 w 27777"/>
                <a:gd name="connsiteY4" fmla="*/ 41 h 7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77" h="75754">
                  <a:moveTo>
                    <a:pt x="27660" y="41"/>
                  </a:moveTo>
                  <a:cubicBezTo>
                    <a:pt x="28970" y="948"/>
                    <a:pt x="19090" y="16171"/>
                    <a:pt x="11731" y="37041"/>
                  </a:cubicBezTo>
                  <a:cubicBezTo>
                    <a:pt x="4270" y="57809"/>
                    <a:pt x="2355" y="75855"/>
                    <a:pt x="742" y="75754"/>
                  </a:cubicBezTo>
                  <a:cubicBezTo>
                    <a:pt x="-569" y="75754"/>
                    <a:pt x="-972" y="56902"/>
                    <a:pt x="6791" y="35226"/>
                  </a:cubicBezTo>
                  <a:cubicBezTo>
                    <a:pt x="14453" y="13550"/>
                    <a:pt x="26652" y="-867"/>
                    <a:pt x="27660" y="41"/>
                  </a:cubicBezTo>
                  <a:close/>
                </a:path>
              </a:pathLst>
            </a:custGeom>
            <a:solidFill>
              <a:srgbClr val="263238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CDF3285D-CA49-4D1E-A139-075F9576897F}"/>
                </a:ext>
              </a:extLst>
            </p:cNvPr>
            <p:cNvSpPr/>
            <p:nvPr/>
          </p:nvSpPr>
          <p:spPr>
            <a:xfrm>
              <a:off x="9833163" y="3211822"/>
              <a:ext cx="155260" cy="137888"/>
            </a:xfrm>
            <a:custGeom>
              <a:avLst/>
              <a:gdLst>
                <a:gd name="connsiteX0" fmla="*/ 83579 w 155260"/>
                <a:gd name="connsiteY0" fmla="*/ 32161 h 137888"/>
                <a:gd name="connsiteX1" fmla="*/ 4135 w 155260"/>
                <a:gd name="connsiteY1" fmla="*/ 0 h 137888"/>
                <a:gd name="connsiteX2" fmla="*/ 12200 w 155260"/>
                <a:gd name="connsiteY2" fmla="*/ 39218 h 137888"/>
                <a:gd name="connsiteX3" fmla="*/ 59383 w 155260"/>
                <a:gd name="connsiteY3" fmla="*/ 70169 h 137888"/>
                <a:gd name="connsiteX4" fmla="*/ 88822 w 155260"/>
                <a:gd name="connsiteY4" fmla="*/ 131063 h 137888"/>
                <a:gd name="connsiteX5" fmla="*/ 155260 w 155260"/>
                <a:gd name="connsiteY5" fmla="*/ 119166 h 137888"/>
                <a:gd name="connsiteX6" fmla="*/ 83579 w 155260"/>
                <a:gd name="connsiteY6" fmla="*/ 32161 h 13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260" h="137888">
                  <a:moveTo>
                    <a:pt x="83579" y="32161"/>
                  </a:moveTo>
                  <a:lnTo>
                    <a:pt x="4135" y="0"/>
                  </a:lnTo>
                  <a:cubicBezTo>
                    <a:pt x="4135" y="0"/>
                    <a:pt x="-9274" y="19659"/>
                    <a:pt x="12200" y="39218"/>
                  </a:cubicBezTo>
                  <a:cubicBezTo>
                    <a:pt x="33775" y="58877"/>
                    <a:pt x="59383" y="70169"/>
                    <a:pt x="59383" y="70169"/>
                  </a:cubicBezTo>
                  <a:cubicBezTo>
                    <a:pt x="59383" y="70169"/>
                    <a:pt x="68457" y="110496"/>
                    <a:pt x="88822" y="131063"/>
                  </a:cubicBezTo>
                  <a:cubicBezTo>
                    <a:pt x="109187" y="151629"/>
                    <a:pt x="155260" y="119166"/>
                    <a:pt x="155260" y="119166"/>
                  </a:cubicBezTo>
                  <a:cubicBezTo>
                    <a:pt x="155260" y="119166"/>
                    <a:pt x="155260" y="58877"/>
                    <a:pt x="83579" y="32161"/>
                  </a:cubicBez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9132F087-CC21-4705-9220-50056CDC1F51}"/>
                </a:ext>
              </a:extLst>
            </p:cNvPr>
            <p:cNvSpPr/>
            <p:nvPr/>
          </p:nvSpPr>
          <p:spPr>
            <a:xfrm>
              <a:off x="9821369" y="3383849"/>
              <a:ext cx="215960" cy="317037"/>
            </a:xfrm>
            <a:custGeom>
              <a:avLst/>
              <a:gdLst>
                <a:gd name="connsiteX0" fmla="*/ 214539 w 215960"/>
                <a:gd name="connsiteY0" fmla="*/ 118528 h 317037"/>
                <a:gd name="connsiteX1" fmla="*/ 195586 w 215960"/>
                <a:gd name="connsiteY1" fmla="*/ 113185 h 317037"/>
                <a:gd name="connsiteX2" fmla="*/ 193166 w 215960"/>
                <a:gd name="connsiteY2" fmla="*/ 72152 h 317037"/>
                <a:gd name="connsiteX3" fmla="*/ 185504 w 215960"/>
                <a:gd name="connsiteY3" fmla="*/ 65095 h 317037"/>
                <a:gd name="connsiteX4" fmla="*/ 163425 w 215960"/>
                <a:gd name="connsiteY4" fmla="*/ 32229 h 317037"/>
                <a:gd name="connsiteX5" fmla="*/ 152033 w 215960"/>
                <a:gd name="connsiteY5" fmla="*/ 1379 h 317037"/>
                <a:gd name="connsiteX6" fmla="*/ 114226 w 215960"/>
                <a:gd name="connsiteY6" fmla="*/ 14888 h 317037"/>
                <a:gd name="connsiteX7" fmla="*/ 68354 w 215960"/>
                <a:gd name="connsiteY7" fmla="*/ 82536 h 317037"/>
                <a:gd name="connsiteX8" fmla="*/ 0 w 215960"/>
                <a:gd name="connsiteY8" fmla="*/ 195956 h 317037"/>
                <a:gd name="connsiteX9" fmla="*/ 38109 w 215960"/>
                <a:gd name="connsiteY9" fmla="*/ 317038 h 317037"/>
                <a:gd name="connsiteX10" fmla="*/ 146588 w 215960"/>
                <a:gd name="connsiteY10" fmla="*/ 249490 h 317037"/>
                <a:gd name="connsiteX11" fmla="*/ 168163 w 215960"/>
                <a:gd name="connsiteY11" fmla="*/ 228520 h 317037"/>
                <a:gd name="connsiteX12" fmla="*/ 214539 w 215960"/>
                <a:gd name="connsiteY12" fmla="*/ 118528 h 317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960" h="317037">
                  <a:moveTo>
                    <a:pt x="214539" y="118528"/>
                  </a:moveTo>
                  <a:cubicBezTo>
                    <a:pt x="205063" y="105220"/>
                    <a:pt x="195586" y="113185"/>
                    <a:pt x="195586" y="113185"/>
                  </a:cubicBezTo>
                  <a:cubicBezTo>
                    <a:pt x="195586" y="113185"/>
                    <a:pt x="206776" y="84956"/>
                    <a:pt x="193166" y="72152"/>
                  </a:cubicBezTo>
                  <a:cubicBezTo>
                    <a:pt x="189032" y="68220"/>
                    <a:pt x="186714" y="66103"/>
                    <a:pt x="185504" y="65095"/>
                  </a:cubicBezTo>
                  <a:cubicBezTo>
                    <a:pt x="184496" y="60961"/>
                    <a:pt x="178548" y="38378"/>
                    <a:pt x="163425" y="32229"/>
                  </a:cubicBezTo>
                  <a:cubicBezTo>
                    <a:pt x="163425" y="32229"/>
                    <a:pt x="163324" y="5613"/>
                    <a:pt x="152033" y="1379"/>
                  </a:cubicBezTo>
                  <a:cubicBezTo>
                    <a:pt x="134188" y="-5376"/>
                    <a:pt x="114226" y="14888"/>
                    <a:pt x="114226" y="14888"/>
                  </a:cubicBezTo>
                  <a:lnTo>
                    <a:pt x="68354" y="82536"/>
                  </a:lnTo>
                  <a:lnTo>
                    <a:pt x="0" y="195956"/>
                  </a:lnTo>
                  <a:lnTo>
                    <a:pt x="38109" y="317038"/>
                  </a:lnTo>
                  <a:lnTo>
                    <a:pt x="146588" y="249490"/>
                  </a:lnTo>
                  <a:lnTo>
                    <a:pt x="168163" y="228520"/>
                  </a:lnTo>
                  <a:cubicBezTo>
                    <a:pt x="168163" y="228621"/>
                    <a:pt x="225629" y="134054"/>
                    <a:pt x="214539" y="118528"/>
                  </a:cubicBez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42CC69A0-03B6-4266-AC46-00A519151315}"/>
                </a:ext>
              </a:extLst>
            </p:cNvPr>
            <p:cNvSpPr/>
            <p:nvPr/>
          </p:nvSpPr>
          <p:spPr>
            <a:xfrm>
              <a:off x="9965996" y="3414800"/>
              <a:ext cx="19954" cy="31676"/>
            </a:xfrm>
            <a:custGeom>
              <a:avLst/>
              <a:gdLst>
                <a:gd name="connsiteX0" fmla="*/ 19706 w 19954"/>
                <a:gd name="connsiteY0" fmla="*/ 68 h 31676"/>
                <a:gd name="connsiteX1" fmla="*/ 12245 w 19954"/>
                <a:gd name="connsiteY1" fmla="*/ 17207 h 31676"/>
                <a:gd name="connsiteX2" fmla="*/ 248 w 19954"/>
                <a:gd name="connsiteY2" fmla="*/ 31624 h 31676"/>
                <a:gd name="connsiteX3" fmla="*/ 7709 w 19954"/>
                <a:gd name="connsiteY3" fmla="*/ 14485 h 31676"/>
                <a:gd name="connsiteX4" fmla="*/ 19706 w 19954"/>
                <a:gd name="connsiteY4" fmla="*/ 68 h 31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54" h="31676">
                  <a:moveTo>
                    <a:pt x="19706" y="68"/>
                  </a:moveTo>
                  <a:cubicBezTo>
                    <a:pt x="20916" y="874"/>
                    <a:pt x="17589" y="8537"/>
                    <a:pt x="12245" y="17207"/>
                  </a:cubicBezTo>
                  <a:cubicBezTo>
                    <a:pt x="6902" y="25877"/>
                    <a:pt x="1559" y="32330"/>
                    <a:pt x="248" y="31624"/>
                  </a:cubicBezTo>
                  <a:cubicBezTo>
                    <a:pt x="-962" y="30817"/>
                    <a:pt x="2365" y="23155"/>
                    <a:pt x="7709" y="14485"/>
                  </a:cubicBezTo>
                  <a:cubicBezTo>
                    <a:pt x="13153" y="5714"/>
                    <a:pt x="18496" y="-738"/>
                    <a:pt x="19706" y="68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96D9A1DA-B4D1-44CB-9BA6-E22D697C787D}"/>
                </a:ext>
              </a:extLst>
            </p:cNvPr>
            <p:cNvSpPr/>
            <p:nvPr/>
          </p:nvSpPr>
          <p:spPr>
            <a:xfrm>
              <a:off x="9975660" y="3446004"/>
              <a:ext cx="31567" cy="45000"/>
            </a:xfrm>
            <a:custGeom>
              <a:avLst/>
              <a:gdLst>
                <a:gd name="connsiteX0" fmla="*/ 31214 w 31567"/>
                <a:gd name="connsiteY0" fmla="*/ 16 h 45000"/>
                <a:gd name="connsiteX1" fmla="*/ 21233 w 31567"/>
                <a:gd name="connsiteY1" fmla="*/ 26329 h 45000"/>
                <a:gd name="connsiteX2" fmla="*/ 61 w 31567"/>
                <a:gd name="connsiteY2" fmla="*/ 44880 h 45000"/>
                <a:gd name="connsiteX3" fmla="*/ 16898 w 31567"/>
                <a:gd name="connsiteY3" fmla="*/ 23405 h 45000"/>
                <a:gd name="connsiteX4" fmla="*/ 31214 w 31567"/>
                <a:gd name="connsiteY4" fmla="*/ 16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67" h="45000">
                  <a:moveTo>
                    <a:pt x="31214" y="16"/>
                  </a:moveTo>
                  <a:cubicBezTo>
                    <a:pt x="32524" y="217"/>
                    <a:pt x="30407" y="13223"/>
                    <a:pt x="21233" y="26329"/>
                  </a:cubicBezTo>
                  <a:cubicBezTo>
                    <a:pt x="12159" y="39435"/>
                    <a:pt x="767" y="45989"/>
                    <a:pt x="61" y="44880"/>
                  </a:cubicBezTo>
                  <a:cubicBezTo>
                    <a:pt x="-846" y="43670"/>
                    <a:pt x="8530" y="35604"/>
                    <a:pt x="16898" y="23405"/>
                  </a:cubicBezTo>
                  <a:cubicBezTo>
                    <a:pt x="25467" y="11106"/>
                    <a:pt x="29701" y="-488"/>
                    <a:pt x="31214" y="16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37A82144-EEEE-41A0-9072-62F8BB369672}"/>
                </a:ext>
              </a:extLst>
            </p:cNvPr>
            <p:cNvSpPr/>
            <p:nvPr/>
          </p:nvSpPr>
          <p:spPr>
            <a:xfrm>
              <a:off x="9995276" y="3492558"/>
              <a:ext cx="21537" cy="27337"/>
            </a:xfrm>
            <a:custGeom>
              <a:avLst/>
              <a:gdLst>
                <a:gd name="connsiteX0" fmla="*/ 21175 w 21537"/>
                <a:gd name="connsiteY0" fmla="*/ 39 h 27337"/>
                <a:gd name="connsiteX1" fmla="*/ 14118 w 21537"/>
                <a:gd name="connsiteY1" fmla="*/ 16271 h 27337"/>
                <a:gd name="connsiteX2" fmla="*/ 105 w 21537"/>
                <a:gd name="connsiteY2" fmla="*/ 27159 h 27337"/>
                <a:gd name="connsiteX3" fmla="*/ 9985 w 21537"/>
                <a:gd name="connsiteY3" fmla="*/ 13045 h 27337"/>
                <a:gd name="connsiteX4" fmla="*/ 21175 w 21537"/>
                <a:gd name="connsiteY4" fmla="*/ 39 h 2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37" h="27337">
                  <a:moveTo>
                    <a:pt x="21175" y="39"/>
                  </a:moveTo>
                  <a:cubicBezTo>
                    <a:pt x="22486" y="544"/>
                    <a:pt x="20268" y="8508"/>
                    <a:pt x="14118" y="16271"/>
                  </a:cubicBezTo>
                  <a:cubicBezTo>
                    <a:pt x="8069" y="24135"/>
                    <a:pt x="911" y="28268"/>
                    <a:pt x="105" y="27159"/>
                  </a:cubicBezTo>
                  <a:cubicBezTo>
                    <a:pt x="-803" y="25950"/>
                    <a:pt x="4339" y="20405"/>
                    <a:pt x="9985" y="13045"/>
                  </a:cubicBezTo>
                  <a:cubicBezTo>
                    <a:pt x="15630" y="5887"/>
                    <a:pt x="19764" y="-565"/>
                    <a:pt x="21175" y="39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5BE254DB-081A-441A-B72C-AC01A581BE4B}"/>
                </a:ext>
              </a:extLst>
            </p:cNvPr>
            <p:cNvSpPr/>
            <p:nvPr/>
          </p:nvSpPr>
          <p:spPr>
            <a:xfrm>
              <a:off x="9808868" y="3258298"/>
              <a:ext cx="89107" cy="131414"/>
            </a:xfrm>
            <a:custGeom>
              <a:avLst/>
              <a:gdLst>
                <a:gd name="connsiteX0" fmla="*/ 0 w 89107"/>
                <a:gd name="connsiteY0" fmla="*/ 91038 h 131414"/>
                <a:gd name="connsiteX1" fmla="*/ 48191 w 89107"/>
                <a:gd name="connsiteY1" fmla="*/ 126828 h 131414"/>
                <a:gd name="connsiteX2" fmla="*/ 72084 w 89107"/>
                <a:gd name="connsiteY2" fmla="*/ 130861 h 131414"/>
                <a:gd name="connsiteX3" fmla="*/ 86501 w 89107"/>
                <a:gd name="connsiteY3" fmla="*/ 113621 h 131414"/>
                <a:gd name="connsiteX4" fmla="*/ 76823 w 89107"/>
                <a:gd name="connsiteY4" fmla="*/ 98700 h 131414"/>
                <a:gd name="connsiteX5" fmla="*/ 40831 w 89107"/>
                <a:gd name="connsiteY5" fmla="*/ 64019 h 131414"/>
                <a:gd name="connsiteX6" fmla="*/ 55147 w 89107"/>
                <a:gd name="connsiteY6" fmla="*/ 81460 h 131414"/>
                <a:gd name="connsiteX7" fmla="*/ 76117 w 89107"/>
                <a:gd name="connsiteY7" fmla="*/ 87711 h 131414"/>
                <a:gd name="connsiteX8" fmla="*/ 89022 w 89107"/>
                <a:gd name="connsiteY8" fmla="*/ 71681 h 131414"/>
                <a:gd name="connsiteX9" fmla="*/ 82569 w 89107"/>
                <a:gd name="connsiteY9" fmla="*/ 59381 h 131414"/>
                <a:gd name="connsiteX10" fmla="*/ 35689 w 89107"/>
                <a:gd name="connsiteY10" fmla="*/ 0 h 13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107" h="131414">
                  <a:moveTo>
                    <a:pt x="0" y="91038"/>
                  </a:moveTo>
                  <a:cubicBezTo>
                    <a:pt x="12905" y="106564"/>
                    <a:pt x="29640" y="118864"/>
                    <a:pt x="48191" y="126828"/>
                  </a:cubicBezTo>
                  <a:cubicBezTo>
                    <a:pt x="55752" y="130054"/>
                    <a:pt x="64019" y="132575"/>
                    <a:pt x="72084" y="130861"/>
                  </a:cubicBezTo>
                  <a:cubicBezTo>
                    <a:pt x="80150" y="129147"/>
                    <a:pt x="87409" y="121787"/>
                    <a:pt x="86501" y="113621"/>
                  </a:cubicBezTo>
                  <a:cubicBezTo>
                    <a:pt x="85896" y="107572"/>
                    <a:pt x="81259" y="102834"/>
                    <a:pt x="76823" y="98700"/>
                  </a:cubicBezTo>
                  <a:cubicBezTo>
                    <a:pt x="64825" y="87106"/>
                    <a:pt x="52828" y="75613"/>
                    <a:pt x="40831" y="64019"/>
                  </a:cubicBezTo>
                  <a:cubicBezTo>
                    <a:pt x="45065" y="70270"/>
                    <a:pt x="49300" y="76621"/>
                    <a:pt x="55147" y="81460"/>
                  </a:cubicBezTo>
                  <a:cubicBezTo>
                    <a:pt x="60994" y="86300"/>
                    <a:pt x="68757" y="89223"/>
                    <a:pt x="76117" y="87711"/>
                  </a:cubicBezTo>
                  <a:cubicBezTo>
                    <a:pt x="83477" y="86199"/>
                    <a:pt x="89929" y="79142"/>
                    <a:pt x="89022" y="71681"/>
                  </a:cubicBezTo>
                  <a:cubicBezTo>
                    <a:pt x="88518" y="67044"/>
                    <a:pt x="85493" y="63112"/>
                    <a:pt x="82569" y="59381"/>
                  </a:cubicBezTo>
                  <a:cubicBezTo>
                    <a:pt x="66943" y="39621"/>
                    <a:pt x="51316" y="19760"/>
                    <a:pt x="35689" y="0"/>
                  </a:cubicBezTo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00E7D962-E205-4F9D-930F-A393B15CEDAF}"/>
                </a:ext>
              </a:extLst>
            </p:cNvPr>
            <p:cNvSpPr/>
            <p:nvPr/>
          </p:nvSpPr>
          <p:spPr>
            <a:xfrm>
              <a:off x="9807765" y="3347279"/>
              <a:ext cx="87540" cy="47024"/>
            </a:xfrm>
            <a:custGeom>
              <a:avLst/>
              <a:gdLst>
                <a:gd name="connsiteX0" fmla="*/ 87302 w 87540"/>
                <a:gd name="connsiteY0" fmla="*/ 28572 h 47024"/>
                <a:gd name="connsiteX1" fmla="*/ 86697 w 87540"/>
                <a:gd name="connsiteY1" fmla="*/ 33109 h 47024"/>
                <a:gd name="connsiteX2" fmla="*/ 77926 w 87540"/>
                <a:gd name="connsiteY2" fmla="*/ 42082 h 47024"/>
                <a:gd name="connsiteX3" fmla="*/ 60081 w 87540"/>
                <a:gd name="connsiteY3" fmla="*/ 47022 h 47024"/>
                <a:gd name="connsiteX4" fmla="*/ 38406 w 87540"/>
                <a:gd name="connsiteY4" fmla="*/ 40469 h 47024"/>
                <a:gd name="connsiteX5" fmla="*/ 95 w 87540"/>
                <a:gd name="connsiteY5" fmla="*/ 41 h 47024"/>
                <a:gd name="connsiteX6" fmla="*/ 41027 w 87540"/>
                <a:gd name="connsiteY6" fmla="*/ 35932 h 47024"/>
                <a:gd name="connsiteX7" fmla="*/ 60182 w 87540"/>
                <a:gd name="connsiteY7" fmla="*/ 42183 h 47024"/>
                <a:gd name="connsiteX8" fmla="*/ 76212 w 87540"/>
                <a:gd name="connsiteY8" fmla="*/ 38856 h 47024"/>
                <a:gd name="connsiteX9" fmla="*/ 87302 w 87540"/>
                <a:gd name="connsiteY9" fmla="*/ 28572 h 4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540" h="47024">
                  <a:moveTo>
                    <a:pt x="87302" y="28572"/>
                  </a:moveTo>
                  <a:cubicBezTo>
                    <a:pt x="87605" y="28572"/>
                    <a:pt x="87806" y="30286"/>
                    <a:pt x="86697" y="33109"/>
                  </a:cubicBezTo>
                  <a:cubicBezTo>
                    <a:pt x="85487" y="35932"/>
                    <a:pt x="82564" y="39360"/>
                    <a:pt x="77926" y="42082"/>
                  </a:cubicBezTo>
                  <a:cubicBezTo>
                    <a:pt x="73288" y="44703"/>
                    <a:pt x="67240" y="46921"/>
                    <a:pt x="60081" y="47022"/>
                  </a:cubicBezTo>
                  <a:cubicBezTo>
                    <a:pt x="52823" y="47123"/>
                    <a:pt x="45261" y="44502"/>
                    <a:pt x="38406" y="40469"/>
                  </a:cubicBezTo>
                  <a:cubicBezTo>
                    <a:pt x="10983" y="24036"/>
                    <a:pt x="-1216" y="344"/>
                    <a:pt x="95" y="41"/>
                  </a:cubicBezTo>
                  <a:cubicBezTo>
                    <a:pt x="1406" y="-1068"/>
                    <a:pt x="15117" y="20507"/>
                    <a:pt x="41027" y="35932"/>
                  </a:cubicBezTo>
                  <a:cubicBezTo>
                    <a:pt x="47379" y="39662"/>
                    <a:pt x="54033" y="41981"/>
                    <a:pt x="60182" y="42183"/>
                  </a:cubicBezTo>
                  <a:cubicBezTo>
                    <a:pt x="66231" y="42384"/>
                    <a:pt x="71978" y="40771"/>
                    <a:pt x="76212" y="38856"/>
                  </a:cubicBezTo>
                  <a:cubicBezTo>
                    <a:pt x="85185" y="34924"/>
                    <a:pt x="86596" y="28371"/>
                    <a:pt x="87302" y="28572"/>
                  </a:cubicBez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EE5513C7-7B41-4DDC-A593-4B8C26D8E159}"/>
                </a:ext>
              </a:extLst>
            </p:cNvPr>
            <p:cNvSpPr/>
            <p:nvPr/>
          </p:nvSpPr>
          <p:spPr>
            <a:xfrm>
              <a:off x="9816828" y="3289035"/>
              <a:ext cx="80359" cy="58569"/>
            </a:xfrm>
            <a:custGeom>
              <a:avLst/>
              <a:gdLst>
                <a:gd name="connsiteX0" fmla="*/ 80255 w 80359"/>
                <a:gd name="connsiteY0" fmla="*/ 46893 h 58569"/>
                <a:gd name="connsiteX1" fmla="*/ 78642 w 80359"/>
                <a:gd name="connsiteY1" fmla="*/ 51127 h 58569"/>
                <a:gd name="connsiteX2" fmla="*/ 68056 w 80359"/>
                <a:gd name="connsiteY2" fmla="*/ 57882 h 58569"/>
                <a:gd name="connsiteX3" fmla="*/ 29645 w 80359"/>
                <a:gd name="connsiteY3" fmla="*/ 47094 h 58569"/>
                <a:gd name="connsiteX4" fmla="*/ 5852 w 80359"/>
                <a:gd name="connsiteY4" fmla="*/ 15236 h 58569"/>
                <a:gd name="connsiteX5" fmla="*/ 105 w 80359"/>
                <a:gd name="connsiteY5" fmla="*/ 12 h 58569"/>
                <a:gd name="connsiteX6" fmla="*/ 9179 w 80359"/>
                <a:gd name="connsiteY6" fmla="*/ 13522 h 58569"/>
                <a:gd name="connsiteX7" fmla="*/ 32972 w 80359"/>
                <a:gd name="connsiteY7" fmla="*/ 42961 h 58569"/>
                <a:gd name="connsiteX8" fmla="*/ 67451 w 80359"/>
                <a:gd name="connsiteY8" fmla="*/ 54151 h 58569"/>
                <a:gd name="connsiteX9" fmla="*/ 80255 w 80359"/>
                <a:gd name="connsiteY9" fmla="*/ 46893 h 58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359" h="58569">
                  <a:moveTo>
                    <a:pt x="80255" y="46893"/>
                  </a:moveTo>
                  <a:cubicBezTo>
                    <a:pt x="80557" y="46993"/>
                    <a:pt x="80255" y="48606"/>
                    <a:pt x="78642" y="51127"/>
                  </a:cubicBezTo>
                  <a:cubicBezTo>
                    <a:pt x="77130" y="53748"/>
                    <a:pt x="73299" y="56672"/>
                    <a:pt x="68056" y="57882"/>
                  </a:cubicBezTo>
                  <a:cubicBezTo>
                    <a:pt x="57470" y="60200"/>
                    <a:pt x="42549" y="56672"/>
                    <a:pt x="29645" y="47094"/>
                  </a:cubicBezTo>
                  <a:cubicBezTo>
                    <a:pt x="17143" y="36912"/>
                    <a:pt x="10288" y="24209"/>
                    <a:pt x="5852" y="15236"/>
                  </a:cubicBezTo>
                  <a:cubicBezTo>
                    <a:pt x="1517" y="6162"/>
                    <a:pt x="-500" y="315"/>
                    <a:pt x="105" y="12"/>
                  </a:cubicBezTo>
                  <a:cubicBezTo>
                    <a:pt x="811" y="-290"/>
                    <a:pt x="4037" y="4953"/>
                    <a:pt x="9179" y="13522"/>
                  </a:cubicBezTo>
                  <a:cubicBezTo>
                    <a:pt x="14320" y="21890"/>
                    <a:pt x="21579" y="33786"/>
                    <a:pt x="32972" y="42961"/>
                  </a:cubicBezTo>
                  <a:cubicBezTo>
                    <a:pt x="44566" y="51631"/>
                    <a:pt x="58378" y="55361"/>
                    <a:pt x="67451" y="54151"/>
                  </a:cubicBezTo>
                  <a:cubicBezTo>
                    <a:pt x="76928" y="53042"/>
                    <a:pt x="79448" y="46187"/>
                    <a:pt x="80255" y="46893"/>
                  </a:cubicBez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03E679F4-F74D-44F5-90E5-998423554484}"/>
                </a:ext>
              </a:extLst>
            </p:cNvPr>
            <p:cNvSpPr/>
            <p:nvPr/>
          </p:nvSpPr>
          <p:spPr>
            <a:xfrm>
              <a:off x="9813042" y="3381679"/>
              <a:ext cx="81091" cy="44243"/>
            </a:xfrm>
            <a:custGeom>
              <a:avLst/>
              <a:gdLst>
                <a:gd name="connsiteX0" fmla="*/ 70431 w 81091"/>
                <a:gd name="connsiteY0" fmla="*/ 7178 h 44243"/>
                <a:gd name="connsiteX1" fmla="*/ 74867 w 81091"/>
                <a:gd name="connsiteY1" fmla="*/ 9597 h 44243"/>
                <a:gd name="connsiteX2" fmla="*/ 81016 w 81091"/>
                <a:gd name="connsiteY2" fmla="*/ 22199 h 44243"/>
                <a:gd name="connsiteX3" fmla="*/ 71439 w 81091"/>
                <a:gd name="connsiteY3" fmla="*/ 40951 h 44243"/>
                <a:gd name="connsiteX4" fmla="*/ 45932 w 81091"/>
                <a:gd name="connsiteY4" fmla="*/ 41556 h 44243"/>
                <a:gd name="connsiteX5" fmla="*/ 9537 w 81091"/>
                <a:gd name="connsiteY5" fmla="*/ 15848 h 44243"/>
                <a:gd name="connsiteX6" fmla="*/ 60 w 81091"/>
                <a:gd name="connsiteY6" fmla="*/ 20 h 44243"/>
                <a:gd name="connsiteX7" fmla="*/ 12259 w 81091"/>
                <a:gd name="connsiteY7" fmla="*/ 13328 h 44243"/>
                <a:gd name="connsiteX8" fmla="*/ 47747 w 81091"/>
                <a:gd name="connsiteY8" fmla="*/ 36616 h 44243"/>
                <a:gd name="connsiteX9" fmla="*/ 68918 w 81091"/>
                <a:gd name="connsiteY9" fmla="*/ 36818 h 44243"/>
                <a:gd name="connsiteX10" fmla="*/ 77286 w 81091"/>
                <a:gd name="connsiteY10" fmla="*/ 22401 h 44243"/>
                <a:gd name="connsiteX11" fmla="*/ 73354 w 81091"/>
                <a:gd name="connsiteY11" fmla="*/ 11009 h 44243"/>
                <a:gd name="connsiteX12" fmla="*/ 70431 w 81091"/>
                <a:gd name="connsiteY12" fmla="*/ 7178 h 44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1091" h="44243">
                  <a:moveTo>
                    <a:pt x="70431" y="7178"/>
                  </a:moveTo>
                  <a:cubicBezTo>
                    <a:pt x="70531" y="6875"/>
                    <a:pt x="72447" y="7379"/>
                    <a:pt x="74867" y="9597"/>
                  </a:cubicBezTo>
                  <a:cubicBezTo>
                    <a:pt x="77286" y="11815"/>
                    <a:pt x="80412" y="15949"/>
                    <a:pt x="81016" y="22199"/>
                  </a:cubicBezTo>
                  <a:cubicBezTo>
                    <a:pt x="81621" y="28349"/>
                    <a:pt x="78597" y="36314"/>
                    <a:pt x="71439" y="40951"/>
                  </a:cubicBezTo>
                  <a:cubicBezTo>
                    <a:pt x="64079" y="45791"/>
                    <a:pt x="54098" y="44682"/>
                    <a:pt x="45932" y="41556"/>
                  </a:cubicBezTo>
                  <a:cubicBezTo>
                    <a:pt x="29196" y="35306"/>
                    <a:pt x="16796" y="24619"/>
                    <a:pt x="9537" y="15848"/>
                  </a:cubicBezTo>
                  <a:cubicBezTo>
                    <a:pt x="2177" y="6976"/>
                    <a:pt x="-444" y="322"/>
                    <a:pt x="60" y="20"/>
                  </a:cubicBezTo>
                  <a:cubicBezTo>
                    <a:pt x="766" y="-384"/>
                    <a:pt x="4496" y="5464"/>
                    <a:pt x="12259" y="13328"/>
                  </a:cubicBezTo>
                  <a:cubicBezTo>
                    <a:pt x="19921" y="21191"/>
                    <a:pt x="32120" y="30769"/>
                    <a:pt x="47747" y="36616"/>
                  </a:cubicBezTo>
                  <a:cubicBezTo>
                    <a:pt x="55409" y="39540"/>
                    <a:pt x="63373" y="40246"/>
                    <a:pt x="68918" y="36818"/>
                  </a:cubicBezTo>
                  <a:cubicBezTo>
                    <a:pt x="74564" y="33491"/>
                    <a:pt x="77387" y="27341"/>
                    <a:pt x="77286" y="22401"/>
                  </a:cubicBezTo>
                  <a:cubicBezTo>
                    <a:pt x="77286" y="17259"/>
                    <a:pt x="75068" y="13328"/>
                    <a:pt x="73354" y="11009"/>
                  </a:cubicBezTo>
                  <a:cubicBezTo>
                    <a:pt x="71640" y="8589"/>
                    <a:pt x="70229" y="7581"/>
                    <a:pt x="70431" y="7178"/>
                  </a:cubicBez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49F9185D-CCDC-48B3-93D8-2D2918B200AE}"/>
                </a:ext>
              </a:extLst>
            </p:cNvPr>
            <p:cNvSpPr/>
            <p:nvPr/>
          </p:nvSpPr>
          <p:spPr>
            <a:xfrm>
              <a:off x="9833257" y="3211717"/>
              <a:ext cx="104365" cy="137635"/>
            </a:xfrm>
            <a:custGeom>
              <a:avLst/>
              <a:gdLst>
                <a:gd name="connsiteX0" fmla="*/ 104355 w 104365"/>
                <a:gd name="connsiteY0" fmla="*/ 137518 h 137635"/>
                <a:gd name="connsiteX1" fmla="*/ 80158 w 104365"/>
                <a:gd name="connsiteY1" fmla="*/ 124916 h 137635"/>
                <a:gd name="connsiteX2" fmla="*/ 65036 w 104365"/>
                <a:gd name="connsiteY2" fmla="*/ 98804 h 137635"/>
                <a:gd name="connsiteX3" fmla="*/ 61205 w 104365"/>
                <a:gd name="connsiteY3" fmla="*/ 81464 h 137635"/>
                <a:gd name="connsiteX4" fmla="*/ 58987 w 104365"/>
                <a:gd name="connsiteY4" fmla="*/ 73701 h 137635"/>
                <a:gd name="connsiteX5" fmla="*/ 52534 w 104365"/>
                <a:gd name="connsiteY5" fmla="*/ 69265 h 137635"/>
                <a:gd name="connsiteX6" fmla="*/ 20676 w 104365"/>
                <a:gd name="connsiteY6" fmla="*/ 51420 h 137635"/>
                <a:gd name="connsiteX7" fmla="*/ 2832 w 104365"/>
                <a:gd name="connsiteY7" fmla="*/ 27023 h 137635"/>
                <a:gd name="connsiteX8" fmla="*/ 614 w 104365"/>
                <a:gd name="connsiteY8" fmla="*/ 6758 h 137635"/>
                <a:gd name="connsiteX9" fmla="*/ 3840 w 104365"/>
                <a:gd name="connsiteY9" fmla="*/ 3 h 137635"/>
                <a:gd name="connsiteX10" fmla="*/ 2630 w 104365"/>
                <a:gd name="connsiteY10" fmla="*/ 7061 h 137635"/>
                <a:gd name="connsiteX11" fmla="*/ 6259 w 104365"/>
                <a:gd name="connsiteY11" fmla="*/ 25510 h 137635"/>
                <a:gd name="connsiteX12" fmla="*/ 23600 w 104365"/>
                <a:gd name="connsiteY12" fmla="*/ 47488 h 137635"/>
                <a:gd name="connsiteX13" fmla="*/ 54652 w 104365"/>
                <a:gd name="connsiteY13" fmla="*/ 64325 h 137635"/>
                <a:gd name="connsiteX14" fmla="*/ 63322 w 104365"/>
                <a:gd name="connsiteY14" fmla="*/ 70777 h 137635"/>
                <a:gd name="connsiteX15" fmla="*/ 66246 w 104365"/>
                <a:gd name="connsiteY15" fmla="*/ 80557 h 137635"/>
                <a:gd name="connsiteX16" fmla="*/ 69674 w 104365"/>
                <a:gd name="connsiteY16" fmla="*/ 97191 h 137635"/>
                <a:gd name="connsiteX17" fmla="*/ 82881 w 104365"/>
                <a:gd name="connsiteY17" fmla="*/ 122194 h 137635"/>
                <a:gd name="connsiteX18" fmla="*/ 104355 w 104365"/>
                <a:gd name="connsiteY18" fmla="*/ 137518 h 13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365" h="137635">
                  <a:moveTo>
                    <a:pt x="104355" y="137518"/>
                  </a:moveTo>
                  <a:cubicBezTo>
                    <a:pt x="104556" y="138022"/>
                    <a:pt x="92660" y="137417"/>
                    <a:pt x="80158" y="124916"/>
                  </a:cubicBezTo>
                  <a:cubicBezTo>
                    <a:pt x="74009" y="118766"/>
                    <a:pt x="68565" y="109693"/>
                    <a:pt x="65036" y="98804"/>
                  </a:cubicBezTo>
                  <a:cubicBezTo>
                    <a:pt x="63322" y="93360"/>
                    <a:pt x="62011" y="87513"/>
                    <a:pt x="61205" y="81464"/>
                  </a:cubicBezTo>
                  <a:cubicBezTo>
                    <a:pt x="60802" y="78540"/>
                    <a:pt x="60297" y="75717"/>
                    <a:pt x="58987" y="73701"/>
                  </a:cubicBezTo>
                  <a:cubicBezTo>
                    <a:pt x="57878" y="71785"/>
                    <a:pt x="55458" y="70576"/>
                    <a:pt x="52534" y="69265"/>
                  </a:cubicBezTo>
                  <a:cubicBezTo>
                    <a:pt x="40941" y="63922"/>
                    <a:pt x="29649" y="58679"/>
                    <a:pt x="20676" y="51420"/>
                  </a:cubicBezTo>
                  <a:cubicBezTo>
                    <a:pt x="11603" y="44262"/>
                    <a:pt x="5957" y="35088"/>
                    <a:pt x="2832" y="27023"/>
                  </a:cubicBezTo>
                  <a:cubicBezTo>
                    <a:pt x="-294" y="18957"/>
                    <a:pt x="-495" y="11497"/>
                    <a:pt x="614" y="6758"/>
                  </a:cubicBezTo>
                  <a:cubicBezTo>
                    <a:pt x="1823" y="2020"/>
                    <a:pt x="3638" y="-97"/>
                    <a:pt x="3840" y="3"/>
                  </a:cubicBezTo>
                  <a:cubicBezTo>
                    <a:pt x="4243" y="205"/>
                    <a:pt x="3033" y="2524"/>
                    <a:pt x="2630" y="7061"/>
                  </a:cubicBezTo>
                  <a:cubicBezTo>
                    <a:pt x="2126" y="11497"/>
                    <a:pt x="2832" y="18151"/>
                    <a:pt x="6259" y="25510"/>
                  </a:cubicBezTo>
                  <a:cubicBezTo>
                    <a:pt x="9586" y="32870"/>
                    <a:pt x="15030" y="41036"/>
                    <a:pt x="23600" y="47488"/>
                  </a:cubicBezTo>
                  <a:cubicBezTo>
                    <a:pt x="32069" y="54042"/>
                    <a:pt x="43058" y="58982"/>
                    <a:pt x="54652" y="64325"/>
                  </a:cubicBezTo>
                  <a:cubicBezTo>
                    <a:pt x="57374" y="65635"/>
                    <a:pt x="61205" y="67249"/>
                    <a:pt x="63322" y="70777"/>
                  </a:cubicBezTo>
                  <a:cubicBezTo>
                    <a:pt x="65338" y="74104"/>
                    <a:pt x="65742" y="77633"/>
                    <a:pt x="66246" y="80557"/>
                  </a:cubicBezTo>
                  <a:cubicBezTo>
                    <a:pt x="67052" y="86404"/>
                    <a:pt x="68161" y="91949"/>
                    <a:pt x="69674" y="97191"/>
                  </a:cubicBezTo>
                  <a:cubicBezTo>
                    <a:pt x="72698" y="107575"/>
                    <a:pt x="77537" y="116145"/>
                    <a:pt x="82881" y="122194"/>
                  </a:cubicBezTo>
                  <a:cubicBezTo>
                    <a:pt x="93769" y="134595"/>
                    <a:pt x="104758" y="136611"/>
                    <a:pt x="104355" y="137518"/>
                  </a:cubicBezTo>
                  <a:close/>
                </a:path>
              </a:pathLst>
            </a:custGeom>
            <a:solidFill>
              <a:srgbClr val="8B5D5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5205E9F7-17FA-472D-9371-4F5C7E3A0ED8}"/>
                </a:ext>
              </a:extLst>
            </p:cNvPr>
            <p:cNvSpPr/>
            <p:nvPr/>
          </p:nvSpPr>
          <p:spPr>
            <a:xfrm>
              <a:off x="10145120" y="4239150"/>
              <a:ext cx="113260" cy="148171"/>
            </a:xfrm>
            <a:custGeom>
              <a:avLst/>
              <a:gdLst>
                <a:gd name="connsiteX0" fmla="*/ 43224 w 113260"/>
                <a:gd name="connsiteY0" fmla="*/ 47888 h 148171"/>
                <a:gd name="connsiteX1" fmla="*/ 105025 w 113260"/>
                <a:gd name="connsiteY1" fmla="*/ 0 h 148171"/>
                <a:gd name="connsiteX2" fmla="*/ 107647 w 113260"/>
                <a:gd name="connsiteY2" fmla="*/ 36496 h 148171"/>
                <a:gd name="connsiteX3" fmla="*/ 73873 w 113260"/>
                <a:gd name="connsiteY3" fmla="*/ 75311 h 148171"/>
                <a:gd name="connsiteX4" fmla="*/ 63085 w 113260"/>
                <a:gd name="connsiteY4" fmla="*/ 136103 h 148171"/>
                <a:gd name="connsiteX5" fmla="*/ 1788 w 113260"/>
                <a:gd name="connsiteY5" fmla="*/ 142052 h 148171"/>
                <a:gd name="connsiteX6" fmla="*/ 43224 w 113260"/>
                <a:gd name="connsiteY6" fmla="*/ 47888 h 14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260" h="148171">
                  <a:moveTo>
                    <a:pt x="43224" y="47888"/>
                  </a:moveTo>
                  <a:lnTo>
                    <a:pt x="105025" y="0"/>
                  </a:lnTo>
                  <a:cubicBezTo>
                    <a:pt x="105025" y="0"/>
                    <a:pt x="121660" y="13913"/>
                    <a:pt x="107647" y="36496"/>
                  </a:cubicBezTo>
                  <a:cubicBezTo>
                    <a:pt x="93532" y="59079"/>
                    <a:pt x="73873" y="75311"/>
                    <a:pt x="73873" y="75311"/>
                  </a:cubicBezTo>
                  <a:cubicBezTo>
                    <a:pt x="73873" y="75311"/>
                    <a:pt x="75889" y="113016"/>
                    <a:pt x="63085" y="136103"/>
                  </a:cubicBezTo>
                  <a:cubicBezTo>
                    <a:pt x="50281" y="159191"/>
                    <a:pt x="1788" y="142052"/>
                    <a:pt x="1788" y="142052"/>
                  </a:cubicBezTo>
                  <a:cubicBezTo>
                    <a:pt x="1788" y="142052"/>
                    <a:pt x="-13133" y="89022"/>
                    <a:pt x="43224" y="47888"/>
                  </a:cubicBezTo>
                  <a:close/>
                </a:path>
              </a:pathLst>
            </a:custGeom>
            <a:solidFill>
              <a:srgbClr val="FFBE9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AD5223B-DDA0-4FE3-B6F5-0ED41B3F9AF7}"/>
                </a:ext>
              </a:extLst>
            </p:cNvPr>
            <p:cNvSpPr/>
            <p:nvPr/>
          </p:nvSpPr>
          <p:spPr>
            <a:xfrm>
              <a:off x="10218180" y="4285929"/>
              <a:ext cx="65134" cy="96643"/>
            </a:xfrm>
            <a:custGeom>
              <a:avLst/>
              <a:gdLst>
                <a:gd name="connsiteX0" fmla="*/ 65134 w 65134"/>
                <a:gd name="connsiteY0" fmla="*/ 63414 h 96643"/>
                <a:gd name="connsiteX1" fmla="*/ 34687 w 65134"/>
                <a:gd name="connsiteY1" fmla="*/ 94466 h 96643"/>
                <a:gd name="connsiteX2" fmla="*/ 15633 w 65134"/>
                <a:gd name="connsiteY2" fmla="*/ 96079 h 96643"/>
                <a:gd name="connsiteX3" fmla="*/ 4240 w 65134"/>
                <a:gd name="connsiteY3" fmla="*/ 84586 h 96643"/>
                <a:gd name="connsiteX4" fmla="*/ 10289 w 65134"/>
                <a:gd name="connsiteY4" fmla="*/ 73294 h 96643"/>
                <a:gd name="connsiteX5" fmla="*/ 34183 w 65134"/>
                <a:gd name="connsiteY5" fmla="*/ 46275 h 96643"/>
                <a:gd name="connsiteX6" fmla="*/ 24908 w 65134"/>
                <a:gd name="connsiteY6" fmla="*/ 59583 h 96643"/>
                <a:gd name="connsiteX7" fmla="*/ 10189 w 65134"/>
                <a:gd name="connsiteY7" fmla="*/ 65330 h 96643"/>
                <a:gd name="connsiteX8" fmla="*/ 6 w 65134"/>
                <a:gd name="connsiteY8" fmla="*/ 54542 h 96643"/>
                <a:gd name="connsiteX9" fmla="*/ 3938 w 65134"/>
                <a:gd name="connsiteY9" fmla="*/ 45368 h 96643"/>
                <a:gd name="connsiteX10" fmla="*/ 34284 w 65134"/>
                <a:gd name="connsiteY10" fmla="*/ 0 h 96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134" h="96643">
                  <a:moveTo>
                    <a:pt x="65134" y="63414"/>
                  </a:moveTo>
                  <a:cubicBezTo>
                    <a:pt x="56665" y="75311"/>
                    <a:pt x="47592" y="87711"/>
                    <a:pt x="34687" y="94466"/>
                  </a:cubicBezTo>
                  <a:cubicBezTo>
                    <a:pt x="29445" y="97188"/>
                    <a:pt x="21480" y="96885"/>
                    <a:pt x="15633" y="96079"/>
                  </a:cubicBezTo>
                  <a:cubicBezTo>
                    <a:pt x="9785" y="95272"/>
                    <a:pt x="4140" y="90433"/>
                    <a:pt x="4240" y="84586"/>
                  </a:cubicBezTo>
                  <a:cubicBezTo>
                    <a:pt x="4341" y="80250"/>
                    <a:pt x="7466" y="76520"/>
                    <a:pt x="10289" y="73294"/>
                  </a:cubicBezTo>
                  <a:cubicBezTo>
                    <a:pt x="18254" y="64321"/>
                    <a:pt x="26219" y="55349"/>
                    <a:pt x="34183" y="46275"/>
                  </a:cubicBezTo>
                  <a:cubicBezTo>
                    <a:pt x="31562" y="51014"/>
                    <a:pt x="28840" y="55853"/>
                    <a:pt x="24908" y="59583"/>
                  </a:cubicBezTo>
                  <a:cubicBezTo>
                    <a:pt x="20976" y="63313"/>
                    <a:pt x="15633" y="65935"/>
                    <a:pt x="10189" y="65330"/>
                  </a:cubicBezTo>
                  <a:cubicBezTo>
                    <a:pt x="4744" y="64725"/>
                    <a:pt x="-196" y="59986"/>
                    <a:pt x="6" y="54542"/>
                  </a:cubicBezTo>
                  <a:cubicBezTo>
                    <a:pt x="107" y="51114"/>
                    <a:pt x="2022" y="48191"/>
                    <a:pt x="3938" y="45368"/>
                  </a:cubicBezTo>
                  <a:cubicBezTo>
                    <a:pt x="14020" y="30245"/>
                    <a:pt x="24101" y="15123"/>
                    <a:pt x="34284" y="0"/>
                  </a:cubicBezTo>
                </a:path>
              </a:pathLst>
            </a:custGeom>
            <a:solidFill>
              <a:srgbClr val="FFBE9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175CAF7B-4676-46BC-B412-D71527B728AB}"/>
                </a:ext>
              </a:extLst>
            </p:cNvPr>
            <p:cNvSpPr/>
            <p:nvPr/>
          </p:nvSpPr>
          <p:spPr>
            <a:xfrm>
              <a:off x="10227796" y="4370616"/>
              <a:ext cx="55518" cy="33359"/>
            </a:xfrm>
            <a:custGeom>
              <a:avLst/>
              <a:gdLst>
                <a:gd name="connsiteX0" fmla="*/ 55519 w 55518"/>
                <a:gd name="connsiteY0" fmla="*/ 0 h 33359"/>
                <a:gd name="connsiteX1" fmla="*/ 25778 w 55518"/>
                <a:gd name="connsiteY1" fmla="*/ 29943 h 33359"/>
                <a:gd name="connsiteX2" fmla="*/ 9546 w 55518"/>
                <a:gd name="connsiteY2" fmla="*/ 32766 h 33359"/>
                <a:gd name="connsiteX3" fmla="*/ 170 w 55518"/>
                <a:gd name="connsiteY3" fmla="*/ 22180 h 33359"/>
                <a:gd name="connsiteX4" fmla="*/ 5412 w 55518"/>
                <a:gd name="connsiteY4" fmla="*/ 9073 h 33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18" h="33359">
                  <a:moveTo>
                    <a:pt x="55519" y="0"/>
                  </a:moveTo>
                  <a:cubicBezTo>
                    <a:pt x="49167" y="12804"/>
                    <a:pt x="38581" y="23491"/>
                    <a:pt x="25778" y="29943"/>
                  </a:cubicBezTo>
                  <a:cubicBezTo>
                    <a:pt x="20737" y="32463"/>
                    <a:pt x="14889" y="34379"/>
                    <a:pt x="9546" y="32766"/>
                  </a:cubicBezTo>
                  <a:cubicBezTo>
                    <a:pt x="4808" y="31354"/>
                    <a:pt x="976" y="27120"/>
                    <a:pt x="170" y="22180"/>
                  </a:cubicBezTo>
                  <a:cubicBezTo>
                    <a:pt x="-637" y="17341"/>
                    <a:pt x="1481" y="11997"/>
                    <a:pt x="5412" y="9073"/>
                  </a:cubicBezTo>
                </a:path>
              </a:pathLst>
            </a:custGeom>
            <a:solidFill>
              <a:srgbClr val="FFBE9D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CB8E172D-3A56-4AFF-BD22-08C4F92E2DE6}"/>
                </a:ext>
              </a:extLst>
            </p:cNvPr>
            <p:cNvSpPr/>
            <p:nvPr/>
          </p:nvSpPr>
          <p:spPr>
            <a:xfrm>
              <a:off x="10225946" y="4370500"/>
              <a:ext cx="57500" cy="35950"/>
            </a:xfrm>
            <a:custGeom>
              <a:avLst/>
              <a:gdLst>
                <a:gd name="connsiteX0" fmla="*/ 7161 w 57500"/>
                <a:gd name="connsiteY0" fmla="*/ 9290 h 35950"/>
                <a:gd name="connsiteX1" fmla="*/ 3531 w 57500"/>
                <a:gd name="connsiteY1" fmla="*/ 20582 h 35950"/>
                <a:gd name="connsiteX2" fmla="*/ 10185 w 57500"/>
                <a:gd name="connsiteY2" fmla="*/ 29857 h 35950"/>
                <a:gd name="connsiteX3" fmla="*/ 24804 w 57500"/>
                <a:gd name="connsiteY3" fmla="*/ 28445 h 35950"/>
                <a:gd name="connsiteX4" fmla="*/ 48899 w 57500"/>
                <a:gd name="connsiteY4" fmla="*/ 9996 h 35950"/>
                <a:gd name="connsiteX5" fmla="*/ 57368 w 57500"/>
                <a:gd name="connsiteY5" fmla="*/ 15 h 35950"/>
                <a:gd name="connsiteX6" fmla="*/ 51924 w 57500"/>
                <a:gd name="connsiteY6" fmla="*/ 12214 h 35950"/>
                <a:gd name="connsiteX7" fmla="*/ 27123 w 57500"/>
                <a:gd name="connsiteY7" fmla="*/ 33184 h 35950"/>
                <a:gd name="connsiteX8" fmla="*/ 8169 w 57500"/>
                <a:gd name="connsiteY8" fmla="*/ 34091 h 35950"/>
                <a:gd name="connsiteX9" fmla="*/ 3 w 57500"/>
                <a:gd name="connsiteY9" fmla="*/ 20582 h 35950"/>
                <a:gd name="connsiteX10" fmla="*/ 3935 w 57500"/>
                <a:gd name="connsiteY10" fmla="*/ 10903 h 35950"/>
                <a:gd name="connsiteX11" fmla="*/ 7161 w 57500"/>
                <a:gd name="connsiteY11" fmla="*/ 9290 h 3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500" h="35950">
                  <a:moveTo>
                    <a:pt x="7161" y="9290"/>
                  </a:moveTo>
                  <a:cubicBezTo>
                    <a:pt x="7867" y="9794"/>
                    <a:pt x="3128" y="13323"/>
                    <a:pt x="3531" y="20582"/>
                  </a:cubicBezTo>
                  <a:cubicBezTo>
                    <a:pt x="3834" y="24009"/>
                    <a:pt x="6153" y="27941"/>
                    <a:pt x="10185" y="29857"/>
                  </a:cubicBezTo>
                  <a:cubicBezTo>
                    <a:pt x="14117" y="31773"/>
                    <a:pt x="19561" y="30966"/>
                    <a:pt x="24804" y="28445"/>
                  </a:cubicBezTo>
                  <a:cubicBezTo>
                    <a:pt x="35591" y="23405"/>
                    <a:pt x="43757" y="15944"/>
                    <a:pt x="48899" y="9996"/>
                  </a:cubicBezTo>
                  <a:cubicBezTo>
                    <a:pt x="54041" y="4048"/>
                    <a:pt x="56561" y="-288"/>
                    <a:pt x="57368" y="15"/>
                  </a:cubicBezTo>
                  <a:cubicBezTo>
                    <a:pt x="57973" y="318"/>
                    <a:pt x="56561" y="5359"/>
                    <a:pt x="51924" y="12214"/>
                  </a:cubicBezTo>
                  <a:cubicBezTo>
                    <a:pt x="47286" y="19070"/>
                    <a:pt x="38918" y="27639"/>
                    <a:pt x="27123" y="33184"/>
                  </a:cubicBezTo>
                  <a:cubicBezTo>
                    <a:pt x="21376" y="35906"/>
                    <a:pt x="13916" y="37317"/>
                    <a:pt x="8169" y="34091"/>
                  </a:cubicBezTo>
                  <a:cubicBezTo>
                    <a:pt x="2523" y="31067"/>
                    <a:pt x="-98" y="25219"/>
                    <a:pt x="3" y="20582"/>
                  </a:cubicBezTo>
                  <a:cubicBezTo>
                    <a:pt x="104" y="15843"/>
                    <a:pt x="2322" y="12617"/>
                    <a:pt x="3935" y="10903"/>
                  </a:cubicBezTo>
                  <a:cubicBezTo>
                    <a:pt x="5649" y="9391"/>
                    <a:pt x="7060" y="8988"/>
                    <a:pt x="7161" y="9290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BAF8BA94-9EC3-4451-ADCC-6C2701275708}"/>
                </a:ext>
              </a:extLst>
            </p:cNvPr>
            <p:cNvSpPr/>
            <p:nvPr/>
          </p:nvSpPr>
          <p:spPr>
            <a:xfrm>
              <a:off x="10223788" y="4345476"/>
              <a:ext cx="61573" cy="37886"/>
            </a:xfrm>
            <a:custGeom>
              <a:avLst/>
              <a:gdLst>
                <a:gd name="connsiteX0" fmla="*/ 246 w 61573"/>
                <a:gd name="connsiteY0" fmla="*/ 25544 h 37886"/>
                <a:gd name="connsiteX1" fmla="*/ 9017 w 61573"/>
                <a:gd name="connsiteY1" fmla="*/ 31794 h 37886"/>
                <a:gd name="connsiteX2" fmla="*/ 20510 w 61573"/>
                <a:gd name="connsiteY2" fmla="*/ 33105 h 37886"/>
                <a:gd name="connsiteX3" fmla="*/ 33617 w 61573"/>
                <a:gd name="connsiteY3" fmla="*/ 27560 h 37886"/>
                <a:gd name="connsiteX4" fmla="*/ 61442 w 61573"/>
                <a:gd name="connsiteY4" fmla="*/ 37 h 37886"/>
                <a:gd name="connsiteX5" fmla="*/ 36541 w 61573"/>
                <a:gd name="connsiteY5" fmla="*/ 31895 h 37886"/>
                <a:gd name="connsiteX6" fmla="*/ 21015 w 61573"/>
                <a:gd name="connsiteY6" fmla="*/ 37843 h 37886"/>
                <a:gd name="connsiteX7" fmla="*/ 7606 w 61573"/>
                <a:gd name="connsiteY7" fmla="*/ 35121 h 37886"/>
                <a:gd name="connsiteX8" fmla="*/ 750 w 61573"/>
                <a:gd name="connsiteY8" fmla="*/ 28870 h 37886"/>
                <a:gd name="connsiteX9" fmla="*/ 246 w 61573"/>
                <a:gd name="connsiteY9" fmla="*/ 25544 h 3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573" h="37886">
                  <a:moveTo>
                    <a:pt x="246" y="25544"/>
                  </a:moveTo>
                  <a:cubicBezTo>
                    <a:pt x="952" y="25342"/>
                    <a:pt x="2464" y="29677"/>
                    <a:pt x="9017" y="31794"/>
                  </a:cubicBezTo>
                  <a:cubicBezTo>
                    <a:pt x="12143" y="32903"/>
                    <a:pt x="16276" y="33609"/>
                    <a:pt x="20510" y="33105"/>
                  </a:cubicBezTo>
                  <a:cubicBezTo>
                    <a:pt x="24745" y="32601"/>
                    <a:pt x="29282" y="30584"/>
                    <a:pt x="33617" y="27560"/>
                  </a:cubicBezTo>
                  <a:cubicBezTo>
                    <a:pt x="51159" y="15159"/>
                    <a:pt x="60132" y="-870"/>
                    <a:pt x="61442" y="37"/>
                  </a:cubicBezTo>
                  <a:cubicBezTo>
                    <a:pt x="62652" y="339"/>
                    <a:pt x="55595" y="18386"/>
                    <a:pt x="36541" y="31895"/>
                  </a:cubicBezTo>
                  <a:cubicBezTo>
                    <a:pt x="31802" y="35222"/>
                    <a:pt x="26358" y="37541"/>
                    <a:pt x="21015" y="37843"/>
                  </a:cubicBezTo>
                  <a:cubicBezTo>
                    <a:pt x="15671" y="38146"/>
                    <a:pt x="11135" y="36835"/>
                    <a:pt x="7606" y="35121"/>
                  </a:cubicBezTo>
                  <a:cubicBezTo>
                    <a:pt x="4077" y="33407"/>
                    <a:pt x="1759" y="30887"/>
                    <a:pt x="750" y="28870"/>
                  </a:cubicBezTo>
                  <a:cubicBezTo>
                    <a:pt x="-258" y="26955"/>
                    <a:pt x="-56" y="25645"/>
                    <a:pt x="246" y="25544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F7F5EF95-6883-4207-A492-A1E0B6394554}"/>
                </a:ext>
              </a:extLst>
            </p:cNvPr>
            <p:cNvSpPr/>
            <p:nvPr/>
          </p:nvSpPr>
          <p:spPr>
            <a:xfrm>
              <a:off x="10220281" y="4307085"/>
              <a:ext cx="55249" cy="46231"/>
            </a:xfrm>
            <a:custGeom>
              <a:avLst/>
              <a:gdLst>
                <a:gd name="connsiteX0" fmla="*/ 123 w 55249"/>
                <a:gd name="connsiteY0" fmla="*/ 38226 h 46231"/>
                <a:gd name="connsiteX1" fmla="*/ 9802 w 55249"/>
                <a:gd name="connsiteY1" fmla="*/ 42259 h 46231"/>
                <a:gd name="connsiteX2" fmla="*/ 33393 w 55249"/>
                <a:gd name="connsiteY2" fmla="*/ 32177 h 46231"/>
                <a:gd name="connsiteX3" fmla="*/ 48818 w 55249"/>
                <a:gd name="connsiteY3" fmla="*/ 9997 h 46231"/>
                <a:gd name="connsiteX4" fmla="*/ 55068 w 55249"/>
                <a:gd name="connsiteY4" fmla="*/ 16 h 46231"/>
                <a:gd name="connsiteX5" fmla="*/ 52246 w 55249"/>
                <a:gd name="connsiteY5" fmla="*/ 11509 h 46231"/>
                <a:gd name="connsiteX6" fmla="*/ 37022 w 55249"/>
                <a:gd name="connsiteY6" fmla="*/ 36109 h 46231"/>
                <a:gd name="connsiteX7" fmla="*/ 9499 w 55249"/>
                <a:gd name="connsiteY7" fmla="*/ 45989 h 46231"/>
                <a:gd name="connsiteX8" fmla="*/ 1333 w 55249"/>
                <a:gd name="connsiteY8" fmla="*/ 41452 h 46231"/>
                <a:gd name="connsiteX9" fmla="*/ 123 w 55249"/>
                <a:gd name="connsiteY9" fmla="*/ 38226 h 4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249" h="46231">
                  <a:moveTo>
                    <a:pt x="123" y="38226"/>
                  </a:moveTo>
                  <a:cubicBezTo>
                    <a:pt x="829" y="37621"/>
                    <a:pt x="3148" y="42158"/>
                    <a:pt x="9802" y="42259"/>
                  </a:cubicBezTo>
                  <a:cubicBezTo>
                    <a:pt x="16254" y="42460"/>
                    <a:pt x="25731" y="38932"/>
                    <a:pt x="33393" y="32177"/>
                  </a:cubicBezTo>
                  <a:cubicBezTo>
                    <a:pt x="40853" y="25120"/>
                    <a:pt x="45491" y="16147"/>
                    <a:pt x="48818" y="9997"/>
                  </a:cubicBezTo>
                  <a:cubicBezTo>
                    <a:pt x="52145" y="3646"/>
                    <a:pt x="54363" y="-286"/>
                    <a:pt x="55068" y="16"/>
                  </a:cubicBezTo>
                  <a:cubicBezTo>
                    <a:pt x="55673" y="319"/>
                    <a:pt x="54766" y="4654"/>
                    <a:pt x="52246" y="11509"/>
                  </a:cubicBezTo>
                  <a:cubicBezTo>
                    <a:pt x="49624" y="18264"/>
                    <a:pt x="45592" y="27943"/>
                    <a:pt x="37022" y="36109"/>
                  </a:cubicBezTo>
                  <a:cubicBezTo>
                    <a:pt x="28150" y="43872"/>
                    <a:pt x="17464" y="47199"/>
                    <a:pt x="9499" y="45989"/>
                  </a:cubicBezTo>
                  <a:cubicBezTo>
                    <a:pt x="5567" y="45283"/>
                    <a:pt x="2543" y="43267"/>
                    <a:pt x="1333" y="41452"/>
                  </a:cubicBezTo>
                  <a:cubicBezTo>
                    <a:pt x="22" y="39537"/>
                    <a:pt x="-179" y="38327"/>
                    <a:pt x="123" y="38226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5715DE32-837D-449F-8067-CC4B8418E3FB}"/>
                </a:ext>
              </a:extLst>
            </p:cNvPr>
            <p:cNvSpPr/>
            <p:nvPr/>
          </p:nvSpPr>
          <p:spPr>
            <a:xfrm>
              <a:off x="10195978" y="4239029"/>
              <a:ext cx="62293" cy="145646"/>
            </a:xfrm>
            <a:custGeom>
              <a:avLst/>
              <a:gdLst>
                <a:gd name="connsiteX0" fmla="*/ 29 w 62293"/>
                <a:gd name="connsiteY0" fmla="*/ 145600 h 145646"/>
                <a:gd name="connsiteX1" fmla="*/ 14950 w 62293"/>
                <a:gd name="connsiteY1" fmla="*/ 126848 h 145646"/>
                <a:gd name="connsiteX2" fmla="*/ 20293 w 62293"/>
                <a:gd name="connsiteY2" fmla="*/ 101745 h 145646"/>
                <a:gd name="connsiteX3" fmla="*/ 19184 w 62293"/>
                <a:gd name="connsiteY3" fmla="*/ 86319 h 145646"/>
                <a:gd name="connsiteX4" fmla="*/ 19285 w 62293"/>
                <a:gd name="connsiteY4" fmla="*/ 76944 h 145646"/>
                <a:gd name="connsiteX5" fmla="*/ 25334 w 62293"/>
                <a:gd name="connsiteY5" fmla="*/ 68979 h 145646"/>
                <a:gd name="connsiteX6" fmla="*/ 48421 w 62293"/>
                <a:gd name="connsiteY6" fmla="*/ 46497 h 145646"/>
                <a:gd name="connsiteX7" fmla="*/ 58301 w 62293"/>
                <a:gd name="connsiteY7" fmla="*/ 23006 h 145646"/>
                <a:gd name="connsiteX8" fmla="*/ 56990 w 62293"/>
                <a:gd name="connsiteY8" fmla="*/ 5968 h 145646"/>
                <a:gd name="connsiteX9" fmla="*/ 54269 w 62293"/>
                <a:gd name="connsiteY9" fmla="*/ 20 h 145646"/>
                <a:gd name="connsiteX10" fmla="*/ 58906 w 62293"/>
                <a:gd name="connsiteY10" fmla="*/ 5061 h 145646"/>
                <a:gd name="connsiteX11" fmla="*/ 62132 w 62293"/>
                <a:gd name="connsiteY11" fmla="*/ 23410 h 145646"/>
                <a:gd name="connsiteX12" fmla="*/ 52555 w 62293"/>
                <a:gd name="connsiteY12" fmla="*/ 49319 h 145646"/>
                <a:gd name="connsiteX13" fmla="*/ 28963 w 62293"/>
                <a:gd name="connsiteY13" fmla="*/ 72911 h 145646"/>
                <a:gd name="connsiteX14" fmla="*/ 24527 w 62293"/>
                <a:gd name="connsiteY14" fmla="*/ 78355 h 145646"/>
                <a:gd name="connsiteX15" fmla="*/ 24527 w 62293"/>
                <a:gd name="connsiteY15" fmla="*/ 85614 h 145646"/>
                <a:gd name="connsiteX16" fmla="*/ 25435 w 62293"/>
                <a:gd name="connsiteY16" fmla="*/ 101845 h 145646"/>
                <a:gd name="connsiteX17" fmla="*/ 18579 w 62293"/>
                <a:gd name="connsiteY17" fmla="*/ 128562 h 145646"/>
                <a:gd name="connsiteX18" fmla="*/ 29 w 62293"/>
                <a:gd name="connsiteY18" fmla="*/ 145600 h 14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293" h="145646">
                  <a:moveTo>
                    <a:pt x="29" y="145600"/>
                  </a:moveTo>
                  <a:cubicBezTo>
                    <a:pt x="-576" y="144894"/>
                    <a:pt x="8497" y="140357"/>
                    <a:pt x="14950" y="126848"/>
                  </a:cubicBezTo>
                  <a:cubicBezTo>
                    <a:pt x="18176" y="120194"/>
                    <a:pt x="20192" y="111524"/>
                    <a:pt x="20293" y="101745"/>
                  </a:cubicBezTo>
                  <a:cubicBezTo>
                    <a:pt x="20394" y="96805"/>
                    <a:pt x="19991" y="91663"/>
                    <a:pt x="19184" y="86319"/>
                  </a:cubicBezTo>
                  <a:cubicBezTo>
                    <a:pt x="18781" y="83597"/>
                    <a:pt x="18277" y="80472"/>
                    <a:pt x="19285" y="76944"/>
                  </a:cubicBezTo>
                  <a:cubicBezTo>
                    <a:pt x="20293" y="73213"/>
                    <a:pt x="23217" y="70794"/>
                    <a:pt x="25334" y="68979"/>
                  </a:cubicBezTo>
                  <a:cubicBezTo>
                    <a:pt x="34206" y="61418"/>
                    <a:pt x="42674" y="54360"/>
                    <a:pt x="48421" y="46497"/>
                  </a:cubicBezTo>
                  <a:cubicBezTo>
                    <a:pt x="54369" y="38835"/>
                    <a:pt x="57192" y="30265"/>
                    <a:pt x="58301" y="23006"/>
                  </a:cubicBezTo>
                  <a:cubicBezTo>
                    <a:pt x="59410" y="15747"/>
                    <a:pt x="58503" y="9698"/>
                    <a:pt x="56990" y="5968"/>
                  </a:cubicBezTo>
                  <a:cubicBezTo>
                    <a:pt x="55478" y="2137"/>
                    <a:pt x="53865" y="322"/>
                    <a:pt x="54269" y="20"/>
                  </a:cubicBezTo>
                  <a:cubicBezTo>
                    <a:pt x="54470" y="-182"/>
                    <a:pt x="56587" y="1129"/>
                    <a:pt x="58906" y="5061"/>
                  </a:cubicBezTo>
                  <a:cubicBezTo>
                    <a:pt x="61124" y="8892"/>
                    <a:pt x="62838" y="15546"/>
                    <a:pt x="62132" y="23410"/>
                  </a:cubicBezTo>
                  <a:cubicBezTo>
                    <a:pt x="61426" y="31273"/>
                    <a:pt x="58704" y="40750"/>
                    <a:pt x="52555" y="49319"/>
                  </a:cubicBezTo>
                  <a:cubicBezTo>
                    <a:pt x="46506" y="57990"/>
                    <a:pt x="37734" y="65349"/>
                    <a:pt x="28963" y="72911"/>
                  </a:cubicBezTo>
                  <a:cubicBezTo>
                    <a:pt x="26645" y="74826"/>
                    <a:pt x="25031" y="76439"/>
                    <a:pt x="24527" y="78355"/>
                  </a:cubicBezTo>
                  <a:cubicBezTo>
                    <a:pt x="23922" y="80371"/>
                    <a:pt x="24124" y="82892"/>
                    <a:pt x="24527" y="85614"/>
                  </a:cubicBezTo>
                  <a:cubicBezTo>
                    <a:pt x="25233" y="91159"/>
                    <a:pt x="25636" y="96603"/>
                    <a:pt x="25435" y="101845"/>
                  </a:cubicBezTo>
                  <a:cubicBezTo>
                    <a:pt x="25031" y="112230"/>
                    <a:pt x="22410" y="121606"/>
                    <a:pt x="18579" y="128562"/>
                  </a:cubicBezTo>
                  <a:cubicBezTo>
                    <a:pt x="10312" y="142676"/>
                    <a:pt x="-72" y="146104"/>
                    <a:pt x="29" y="145600"/>
                  </a:cubicBezTo>
                  <a:close/>
                </a:path>
              </a:pathLst>
            </a:custGeom>
            <a:solidFill>
              <a:srgbClr val="EB996E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C012025E-56B2-4EB4-B328-67967F03AA71}"/>
                </a:ext>
              </a:extLst>
            </p:cNvPr>
            <p:cNvSpPr/>
            <p:nvPr/>
          </p:nvSpPr>
          <p:spPr>
            <a:xfrm>
              <a:off x="9704207" y="2619822"/>
              <a:ext cx="47943" cy="93406"/>
            </a:xfrm>
            <a:custGeom>
              <a:avLst/>
              <a:gdLst>
                <a:gd name="connsiteX0" fmla="*/ 44473 w 47943"/>
                <a:gd name="connsiteY0" fmla="*/ 14720 h 93406"/>
                <a:gd name="connsiteX1" fmla="*/ 47900 w 47943"/>
                <a:gd name="connsiteY1" fmla="*/ 41739 h 93406"/>
                <a:gd name="connsiteX2" fmla="*/ 44271 w 47943"/>
                <a:gd name="connsiteY2" fmla="*/ 71480 h 93406"/>
                <a:gd name="connsiteX3" fmla="*/ 35601 w 47943"/>
                <a:gd name="connsiteY3" fmla="*/ 87611 h 93406"/>
                <a:gd name="connsiteX4" fmla="*/ 26628 w 47943"/>
                <a:gd name="connsiteY4" fmla="*/ 92954 h 93406"/>
                <a:gd name="connsiteX5" fmla="*/ 15538 w 47943"/>
                <a:gd name="connsiteY5" fmla="*/ 91240 h 93406"/>
                <a:gd name="connsiteX6" fmla="*/ 5557 w 47943"/>
                <a:gd name="connsiteY6" fmla="*/ 73799 h 93406"/>
                <a:gd name="connsiteX7" fmla="*/ 2129 w 47943"/>
                <a:gd name="connsiteY7" fmla="*/ 56559 h 93406"/>
                <a:gd name="connsiteX8" fmla="*/ 12 w 47943"/>
                <a:gd name="connsiteY8" fmla="*/ 27020 h 93406"/>
                <a:gd name="connsiteX9" fmla="*/ 3138 w 47943"/>
                <a:gd name="connsiteY9" fmla="*/ 1 h 93406"/>
                <a:gd name="connsiteX10" fmla="*/ 3742 w 47943"/>
                <a:gd name="connsiteY10" fmla="*/ 26919 h 93406"/>
                <a:gd name="connsiteX11" fmla="*/ 6868 w 47943"/>
                <a:gd name="connsiteY11" fmla="*/ 55753 h 93406"/>
                <a:gd name="connsiteX12" fmla="*/ 10497 w 47943"/>
                <a:gd name="connsiteY12" fmla="*/ 72488 h 93406"/>
                <a:gd name="connsiteX13" fmla="*/ 18361 w 47943"/>
                <a:gd name="connsiteY13" fmla="*/ 86804 h 93406"/>
                <a:gd name="connsiteX14" fmla="*/ 31971 w 47943"/>
                <a:gd name="connsiteY14" fmla="*/ 83982 h 93406"/>
                <a:gd name="connsiteX15" fmla="*/ 39734 w 47943"/>
                <a:gd name="connsiteY15" fmla="*/ 69968 h 93406"/>
                <a:gd name="connsiteX16" fmla="*/ 44271 w 47943"/>
                <a:gd name="connsiteY16" fmla="*/ 41840 h 93406"/>
                <a:gd name="connsiteX17" fmla="*/ 44473 w 47943"/>
                <a:gd name="connsiteY17" fmla="*/ 14720 h 9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7943" h="93406">
                  <a:moveTo>
                    <a:pt x="44473" y="14720"/>
                  </a:moveTo>
                  <a:cubicBezTo>
                    <a:pt x="45078" y="14720"/>
                    <a:pt x="47195" y="24802"/>
                    <a:pt x="47900" y="41739"/>
                  </a:cubicBezTo>
                  <a:cubicBezTo>
                    <a:pt x="48102" y="50208"/>
                    <a:pt x="47699" y="60491"/>
                    <a:pt x="44271" y="71480"/>
                  </a:cubicBezTo>
                  <a:cubicBezTo>
                    <a:pt x="42456" y="76824"/>
                    <a:pt x="40238" y="82671"/>
                    <a:pt x="35601" y="87611"/>
                  </a:cubicBezTo>
                  <a:cubicBezTo>
                    <a:pt x="33282" y="90031"/>
                    <a:pt x="30157" y="92047"/>
                    <a:pt x="26628" y="92954"/>
                  </a:cubicBezTo>
                  <a:cubicBezTo>
                    <a:pt x="23099" y="93862"/>
                    <a:pt x="18764" y="93458"/>
                    <a:pt x="15538" y="91240"/>
                  </a:cubicBezTo>
                  <a:cubicBezTo>
                    <a:pt x="8985" y="86603"/>
                    <a:pt x="7170" y="79646"/>
                    <a:pt x="5557" y="73799"/>
                  </a:cubicBezTo>
                  <a:cubicBezTo>
                    <a:pt x="4146" y="67851"/>
                    <a:pt x="3037" y="62104"/>
                    <a:pt x="2129" y="56559"/>
                  </a:cubicBezTo>
                  <a:cubicBezTo>
                    <a:pt x="415" y="45469"/>
                    <a:pt x="-88" y="35388"/>
                    <a:pt x="12" y="27020"/>
                  </a:cubicBezTo>
                  <a:cubicBezTo>
                    <a:pt x="214" y="10082"/>
                    <a:pt x="2533" y="-100"/>
                    <a:pt x="3138" y="1"/>
                  </a:cubicBezTo>
                  <a:cubicBezTo>
                    <a:pt x="3944" y="102"/>
                    <a:pt x="3037" y="10385"/>
                    <a:pt x="3742" y="26919"/>
                  </a:cubicBezTo>
                  <a:cubicBezTo>
                    <a:pt x="4146" y="35186"/>
                    <a:pt x="5053" y="45066"/>
                    <a:pt x="6868" y="55753"/>
                  </a:cubicBezTo>
                  <a:cubicBezTo>
                    <a:pt x="7775" y="61096"/>
                    <a:pt x="8985" y="66742"/>
                    <a:pt x="10497" y="72488"/>
                  </a:cubicBezTo>
                  <a:cubicBezTo>
                    <a:pt x="11909" y="77933"/>
                    <a:pt x="14127" y="83982"/>
                    <a:pt x="18361" y="86804"/>
                  </a:cubicBezTo>
                  <a:cubicBezTo>
                    <a:pt x="22494" y="89627"/>
                    <a:pt x="28342" y="87813"/>
                    <a:pt x="31971" y="83982"/>
                  </a:cubicBezTo>
                  <a:cubicBezTo>
                    <a:pt x="35702" y="80151"/>
                    <a:pt x="37920" y="74908"/>
                    <a:pt x="39734" y="69968"/>
                  </a:cubicBezTo>
                  <a:cubicBezTo>
                    <a:pt x="43162" y="59886"/>
                    <a:pt x="43969" y="50006"/>
                    <a:pt x="44271" y="41840"/>
                  </a:cubicBezTo>
                  <a:cubicBezTo>
                    <a:pt x="44473" y="25104"/>
                    <a:pt x="43565" y="14720"/>
                    <a:pt x="44473" y="14720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432F3C8A-A2C9-4F08-8EAE-A2B81C77A8A2}"/>
                </a:ext>
              </a:extLst>
            </p:cNvPr>
            <p:cNvSpPr/>
            <p:nvPr/>
          </p:nvSpPr>
          <p:spPr>
            <a:xfrm>
              <a:off x="9746082" y="2659746"/>
              <a:ext cx="40113" cy="62611"/>
            </a:xfrm>
            <a:custGeom>
              <a:avLst/>
              <a:gdLst>
                <a:gd name="connsiteX0" fmla="*/ 38892 w 40113"/>
                <a:gd name="connsiteY0" fmla="*/ 0 h 62611"/>
                <a:gd name="connsiteX1" fmla="*/ 40102 w 40113"/>
                <a:gd name="connsiteY1" fmla="*/ 14719 h 62611"/>
                <a:gd name="connsiteX2" fmla="*/ 31734 w 40113"/>
                <a:gd name="connsiteY2" fmla="*/ 49703 h 62611"/>
                <a:gd name="connsiteX3" fmla="*/ 25282 w 40113"/>
                <a:gd name="connsiteY3" fmla="*/ 58272 h 62611"/>
                <a:gd name="connsiteX4" fmla="*/ 15200 w 40113"/>
                <a:gd name="connsiteY4" fmla="*/ 62608 h 62611"/>
                <a:gd name="connsiteX5" fmla="*/ 1590 w 40113"/>
                <a:gd name="connsiteY5" fmla="*/ 51820 h 62611"/>
                <a:gd name="connsiteX6" fmla="*/ 884 w 40113"/>
                <a:gd name="connsiteY6" fmla="*/ 36798 h 62611"/>
                <a:gd name="connsiteX7" fmla="*/ 5018 w 40113"/>
                <a:gd name="connsiteY7" fmla="*/ 50409 h 62611"/>
                <a:gd name="connsiteX8" fmla="*/ 15200 w 40113"/>
                <a:gd name="connsiteY8" fmla="*/ 57768 h 62611"/>
                <a:gd name="connsiteX9" fmla="*/ 27198 w 40113"/>
                <a:gd name="connsiteY9" fmla="*/ 47082 h 62611"/>
                <a:gd name="connsiteX10" fmla="*/ 36473 w 40113"/>
                <a:gd name="connsiteY10" fmla="*/ 14518 h 62611"/>
                <a:gd name="connsiteX11" fmla="*/ 38892 w 40113"/>
                <a:gd name="connsiteY11" fmla="*/ 0 h 62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113" h="62611">
                  <a:moveTo>
                    <a:pt x="38892" y="0"/>
                  </a:moveTo>
                  <a:cubicBezTo>
                    <a:pt x="39598" y="0"/>
                    <a:pt x="40203" y="5646"/>
                    <a:pt x="40102" y="14719"/>
                  </a:cubicBezTo>
                  <a:cubicBezTo>
                    <a:pt x="39800" y="23692"/>
                    <a:pt x="38993" y="36899"/>
                    <a:pt x="31734" y="49703"/>
                  </a:cubicBezTo>
                  <a:cubicBezTo>
                    <a:pt x="29920" y="52828"/>
                    <a:pt x="27903" y="55752"/>
                    <a:pt x="25282" y="58272"/>
                  </a:cubicBezTo>
                  <a:cubicBezTo>
                    <a:pt x="22661" y="60793"/>
                    <a:pt x="19031" y="62708"/>
                    <a:pt x="15200" y="62608"/>
                  </a:cubicBezTo>
                  <a:cubicBezTo>
                    <a:pt x="7437" y="62204"/>
                    <a:pt x="3203" y="56357"/>
                    <a:pt x="1590" y="51820"/>
                  </a:cubicBezTo>
                  <a:cubicBezTo>
                    <a:pt x="-1233" y="42343"/>
                    <a:pt x="481" y="36798"/>
                    <a:pt x="884" y="36798"/>
                  </a:cubicBezTo>
                  <a:cubicBezTo>
                    <a:pt x="1892" y="36597"/>
                    <a:pt x="1792" y="42747"/>
                    <a:pt x="5018" y="50409"/>
                  </a:cubicBezTo>
                  <a:cubicBezTo>
                    <a:pt x="6631" y="53937"/>
                    <a:pt x="10664" y="57869"/>
                    <a:pt x="15200" y="57768"/>
                  </a:cubicBezTo>
                  <a:cubicBezTo>
                    <a:pt x="19737" y="57668"/>
                    <a:pt x="24072" y="52727"/>
                    <a:pt x="27198" y="47082"/>
                  </a:cubicBezTo>
                  <a:cubicBezTo>
                    <a:pt x="33751" y="35689"/>
                    <a:pt x="35263" y="23289"/>
                    <a:pt x="36473" y="14518"/>
                  </a:cubicBezTo>
                  <a:cubicBezTo>
                    <a:pt x="37481" y="5646"/>
                    <a:pt x="38187" y="0"/>
                    <a:pt x="38892" y="0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88FEE3A4-5E20-4580-B39C-2FD5652739ED}"/>
                </a:ext>
              </a:extLst>
            </p:cNvPr>
            <p:cNvSpPr/>
            <p:nvPr/>
          </p:nvSpPr>
          <p:spPr>
            <a:xfrm>
              <a:off x="9616307" y="2593308"/>
              <a:ext cx="74048" cy="228855"/>
            </a:xfrm>
            <a:custGeom>
              <a:avLst/>
              <a:gdLst>
                <a:gd name="connsiteX0" fmla="*/ 59180 w 74048"/>
                <a:gd name="connsiteY0" fmla="*/ 228855 h 228855"/>
                <a:gd name="connsiteX1" fmla="*/ 44460 w 74048"/>
                <a:gd name="connsiteY1" fmla="*/ 74101 h 228855"/>
                <a:gd name="connsiteX2" fmla="*/ 60793 w 74048"/>
                <a:gd name="connsiteY2" fmla="*/ 0 h 228855"/>
                <a:gd name="connsiteX3" fmla="*/ 0 w 74048"/>
                <a:gd name="connsiteY3" fmla="*/ 100817 h 228855"/>
                <a:gd name="connsiteX4" fmla="*/ 6251 w 74048"/>
                <a:gd name="connsiteY4" fmla="*/ 143161 h 228855"/>
                <a:gd name="connsiteX5" fmla="*/ 59180 w 74048"/>
                <a:gd name="connsiteY5" fmla="*/ 228855 h 228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48" h="228855">
                  <a:moveTo>
                    <a:pt x="59180" y="228855"/>
                  </a:moveTo>
                  <a:cubicBezTo>
                    <a:pt x="91240" y="208591"/>
                    <a:pt x="64422" y="99708"/>
                    <a:pt x="44460" y="74101"/>
                  </a:cubicBezTo>
                  <a:cubicBezTo>
                    <a:pt x="66338" y="51921"/>
                    <a:pt x="76420" y="27019"/>
                    <a:pt x="60793" y="0"/>
                  </a:cubicBezTo>
                  <a:cubicBezTo>
                    <a:pt x="40529" y="20163"/>
                    <a:pt x="6251" y="45267"/>
                    <a:pt x="0" y="100817"/>
                  </a:cubicBezTo>
                  <a:lnTo>
                    <a:pt x="6251" y="143161"/>
                  </a:lnTo>
                  <a:lnTo>
                    <a:pt x="59180" y="228855"/>
                  </a:lnTo>
                  <a:close/>
                </a:path>
              </a:pathLst>
            </a:custGeom>
            <a:solidFill>
              <a:srgbClr val="C78976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E7294C78-C60B-4D3E-A5A7-4CD6066EE701}"/>
                </a:ext>
              </a:extLst>
            </p:cNvPr>
            <p:cNvSpPr/>
            <p:nvPr/>
          </p:nvSpPr>
          <p:spPr>
            <a:xfrm>
              <a:off x="9651190" y="2595118"/>
              <a:ext cx="38912" cy="181780"/>
            </a:xfrm>
            <a:custGeom>
              <a:avLst/>
              <a:gdLst>
                <a:gd name="connsiteX0" fmla="*/ 31959 w 38912"/>
                <a:gd name="connsiteY0" fmla="*/ 181777 h 181780"/>
                <a:gd name="connsiteX1" fmla="*/ 35286 w 38912"/>
                <a:gd name="connsiteY1" fmla="*/ 152843 h 181780"/>
                <a:gd name="connsiteX2" fmla="*/ 13207 w 38912"/>
                <a:gd name="connsiteY2" fmla="*/ 88421 h 181780"/>
                <a:gd name="connsiteX3" fmla="*/ 2420 w 38912"/>
                <a:gd name="connsiteY3" fmla="*/ 76827 h 181780"/>
                <a:gd name="connsiteX4" fmla="*/ 0 w 38912"/>
                <a:gd name="connsiteY4" fmla="*/ 74609 h 181780"/>
                <a:gd name="connsiteX5" fmla="*/ 2621 w 38912"/>
                <a:gd name="connsiteY5" fmla="*/ 72794 h 181780"/>
                <a:gd name="connsiteX6" fmla="*/ 22986 w 38912"/>
                <a:gd name="connsiteY6" fmla="*/ 48497 h 181780"/>
                <a:gd name="connsiteX7" fmla="*/ 28935 w 38912"/>
                <a:gd name="connsiteY7" fmla="*/ 23595 h 181780"/>
                <a:gd name="connsiteX8" fmla="*/ 26112 w 38912"/>
                <a:gd name="connsiteY8" fmla="*/ 4 h 181780"/>
                <a:gd name="connsiteX9" fmla="*/ 29035 w 38912"/>
                <a:gd name="connsiteY9" fmla="*/ 5851 h 181780"/>
                <a:gd name="connsiteX10" fmla="*/ 32262 w 38912"/>
                <a:gd name="connsiteY10" fmla="*/ 23595 h 181780"/>
                <a:gd name="connsiteX11" fmla="*/ 27019 w 38912"/>
                <a:gd name="connsiteY11" fmla="*/ 50412 h 181780"/>
                <a:gd name="connsiteX12" fmla="*/ 5444 w 38912"/>
                <a:gd name="connsiteY12" fmla="*/ 77028 h 181780"/>
                <a:gd name="connsiteX13" fmla="*/ 5646 w 38912"/>
                <a:gd name="connsiteY13" fmla="*/ 72995 h 181780"/>
                <a:gd name="connsiteX14" fmla="*/ 17038 w 38912"/>
                <a:gd name="connsiteY14" fmla="*/ 85194 h 181780"/>
                <a:gd name="connsiteX15" fmla="*/ 38714 w 38912"/>
                <a:gd name="connsiteY15" fmla="*/ 152944 h 181780"/>
                <a:gd name="connsiteX16" fmla="*/ 34883 w 38912"/>
                <a:gd name="connsiteY16" fmla="*/ 174418 h 181780"/>
                <a:gd name="connsiteX17" fmla="*/ 31959 w 38912"/>
                <a:gd name="connsiteY17" fmla="*/ 181777 h 18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912" h="181780">
                  <a:moveTo>
                    <a:pt x="31959" y="181777"/>
                  </a:moveTo>
                  <a:cubicBezTo>
                    <a:pt x="31052" y="181576"/>
                    <a:pt x="34984" y="170788"/>
                    <a:pt x="35286" y="152843"/>
                  </a:cubicBezTo>
                  <a:cubicBezTo>
                    <a:pt x="35689" y="135200"/>
                    <a:pt x="30346" y="109794"/>
                    <a:pt x="13207" y="88421"/>
                  </a:cubicBezTo>
                  <a:cubicBezTo>
                    <a:pt x="9880" y="84186"/>
                    <a:pt x="6150" y="80254"/>
                    <a:pt x="2420" y="76827"/>
                  </a:cubicBezTo>
                  <a:lnTo>
                    <a:pt x="0" y="74609"/>
                  </a:lnTo>
                  <a:lnTo>
                    <a:pt x="2621" y="72794"/>
                  </a:lnTo>
                  <a:cubicBezTo>
                    <a:pt x="11997" y="66140"/>
                    <a:pt x="18853" y="57369"/>
                    <a:pt x="22986" y="48497"/>
                  </a:cubicBezTo>
                  <a:cubicBezTo>
                    <a:pt x="27221" y="39625"/>
                    <a:pt x="28733" y="30854"/>
                    <a:pt x="28935" y="23595"/>
                  </a:cubicBezTo>
                  <a:cubicBezTo>
                    <a:pt x="29237" y="8775"/>
                    <a:pt x="25305" y="205"/>
                    <a:pt x="26112" y="4"/>
                  </a:cubicBezTo>
                  <a:cubicBezTo>
                    <a:pt x="26414" y="-97"/>
                    <a:pt x="27624" y="1818"/>
                    <a:pt x="29035" y="5851"/>
                  </a:cubicBezTo>
                  <a:cubicBezTo>
                    <a:pt x="30447" y="9783"/>
                    <a:pt x="32060" y="15832"/>
                    <a:pt x="32262" y="23595"/>
                  </a:cubicBezTo>
                  <a:cubicBezTo>
                    <a:pt x="32463" y="31257"/>
                    <a:pt x="31253" y="40835"/>
                    <a:pt x="27019" y="50412"/>
                  </a:cubicBezTo>
                  <a:cubicBezTo>
                    <a:pt x="22785" y="59990"/>
                    <a:pt x="15627" y="69669"/>
                    <a:pt x="5444" y="77028"/>
                  </a:cubicBezTo>
                  <a:lnTo>
                    <a:pt x="5646" y="72995"/>
                  </a:lnTo>
                  <a:cubicBezTo>
                    <a:pt x="9578" y="76625"/>
                    <a:pt x="13509" y="80658"/>
                    <a:pt x="17038" y="85194"/>
                  </a:cubicBezTo>
                  <a:cubicBezTo>
                    <a:pt x="35084" y="107576"/>
                    <a:pt x="40024" y="134696"/>
                    <a:pt x="38714" y="152944"/>
                  </a:cubicBezTo>
                  <a:cubicBezTo>
                    <a:pt x="38109" y="162219"/>
                    <a:pt x="36395" y="169478"/>
                    <a:pt x="34883" y="174418"/>
                  </a:cubicBezTo>
                  <a:cubicBezTo>
                    <a:pt x="33572" y="179358"/>
                    <a:pt x="32262" y="181878"/>
                    <a:pt x="31959" y="181777"/>
                  </a:cubicBezTo>
                  <a:close/>
                </a:path>
              </a:pathLst>
            </a:custGeom>
            <a:solidFill>
              <a:srgbClr val="FFB394"/>
            </a:solidFill>
            <a:ln w="10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41027EC-3093-4AE7-96F7-9EE54B254FEA}"/>
              </a:ext>
            </a:extLst>
          </p:cNvPr>
          <p:cNvSpPr txBox="1"/>
          <p:nvPr/>
        </p:nvSpPr>
        <p:spPr>
          <a:xfrm>
            <a:off x="431672" y="493116"/>
            <a:ext cx="11226928" cy="58864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>
                <a:solidFill>
                  <a:srgbClr val="094A44"/>
                </a:solidFill>
                <a:latin typeface="Georgia" panose="02040502050405020303" pitchFamily="18" charset="0"/>
              </a:rPr>
              <a:t>Claims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94A4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7431C7A-F0E4-4CF3-95CD-64C6E628231A}"/>
              </a:ext>
            </a:extLst>
          </p:cNvPr>
          <p:cNvSpPr/>
          <p:nvPr/>
        </p:nvSpPr>
        <p:spPr>
          <a:xfrm>
            <a:off x="1024484" y="1543415"/>
            <a:ext cx="6468515" cy="914400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8E3D7C5-189B-4870-8FD3-80807563C48D}"/>
              </a:ext>
            </a:extLst>
          </p:cNvPr>
          <p:cNvSpPr/>
          <p:nvPr/>
        </p:nvSpPr>
        <p:spPr>
          <a:xfrm>
            <a:off x="1024484" y="2756143"/>
            <a:ext cx="6468515" cy="914400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E171283-521E-44D8-A92C-6BC468DEACE0}"/>
              </a:ext>
            </a:extLst>
          </p:cNvPr>
          <p:cNvSpPr/>
          <p:nvPr/>
        </p:nvSpPr>
        <p:spPr>
          <a:xfrm>
            <a:off x="1024484" y="3968871"/>
            <a:ext cx="6468515" cy="914400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2E2A9F5-DEC0-45E0-BBBD-D54793A53A4D}"/>
              </a:ext>
            </a:extLst>
          </p:cNvPr>
          <p:cNvSpPr txBox="1"/>
          <p:nvPr/>
        </p:nvSpPr>
        <p:spPr>
          <a:xfrm>
            <a:off x="1623795" y="1763628"/>
            <a:ext cx="5664200" cy="31423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Sentiment analysis improved emotion classification accuracy</a:t>
            </a:r>
          </a:p>
        </p:txBody>
      </p:sp>
      <p:sp>
        <p:nvSpPr>
          <p:cNvPr id="39" name="Freeform 44">
            <a:extLst>
              <a:ext uri="{FF2B5EF4-FFF2-40B4-BE49-F238E27FC236}">
                <a16:creationId xmlns:a16="http://schemas.microsoft.com/office/drawing/2014/main" id="{3FB93D64-92F7-459B-B8A2-2B99242CDDD1}"/>
              </a:ext>
            </a:extLst>
          </p:cNvPr>
          <p:cNvSpPr>
            <a:spLocks/>
          </p:cNvSpPr>
          <p:nvPr/>
        </p:nvSpPr>
        <p:spPr bwMode="auto">
          <a:xfrm rot="5400000">
            <a:off x="940745" y="2526930"/>
            <a:ext cx="99711" cy="160099"/>
          </a:xfrm>
          <a:custGeom>
            <a:avLst/>
            <a:gdLst>
              <a:gd name="T0" fmla="*/ 4 w 60"/>
              <a:gd name="T1" fmla="*/ 96 h 96"/>
              <a:gd name="T2" fmla="*/ 1 w 60"/>
              <a:gd name="T3" fmla="*/ 95 h 96"/>
              <a:gd name="T4" fmla="*/ 1 w 60"/>
              <a:gd name="T5" fmla="*/ 89 h 96"/>
              <a:gd name="T6" fmla="*/ 50 w 60"/>
              <a:gd name="T7" fmla="*/ 48 h 96"/>
              <a:gd name="T8" fmla="*/ 1 w 60"/>
              <a:gd name="T9" fmla="*/ 7 h 96"/>
              <a:gd name="T10" fmla="*/ 1 w 60"/>
              <a:gd name="T11" fmla="*/ 1 h 96"/>
              <a:gd name="T12" fmla="*/ 7 w 60"/>
              <a:gd name="T13" fmla="*/ 1 h 96"/>
              <a:gd name="T14" fmla="*/ 59 w 60"/>
              <a:gd name="T15" fmla="*/ 45 h 96"/>
              <a:gd name="T16" fmla="*/ 60 w 60"/>
              <a:gd name="T17" fmla="*/ 48 h 96"/>
              <a:gd name="T18" fmla="*/ 59 w 60"/>
              <a:gd name="T19" fmla="*/ 51 h 96"/>
              <a:gd name="T20" fmla="*/ 7 w 60"/>
              <a:gd name="T21" fmla="*/ 95 h 96"/>
              <a:gd name="T22" fmla="*/ 4 w 60"/>
              <a:gd name="T23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96">
                <a:moveTo>
                  <a:pt x="4" y="96"/>
                </a:moveTo>
                <a:cubicBezTo>
                  <a:pt x="3" y="96"/>
                  <a:pt x="2" y="96"/>
                  <a:pt x="1" y="95"/>
                </a:cubicBezTo>
                <a:cubicBezTo>
                  <a:pt x="0" y="93"/>
                  <a:pt x="0" y="90"/>
                  <a:pt x="1" y="89"/>
                </a:cubicBezTo>
                <a:cubicBezTo>
                  <a:pt x="50" y="48"/>
                  <a:pt x="50" y="48"/>
                  <a:pt x="50" y="48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3"/>
                  <a:pt x="1" y="1"/>
                </a:cubicBezTo>
                <a:cubicBezTo>
                  <a:pt x="2" y="0"/>
                  <a:pt x="5" y="0"/>
                  <a:pt x="7" y="1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6"/>
                  <a:pt x="60" y="47"/>
                  <a:pt x="60" y="48"/>
                </a:cubicBezTo>
                <a:cubicBezTo>
                  <a:pt x="60" y="49"/>
                  <a:pt x="59" y="50"/>
                  <a:pt x="59" y="51"/>
                </a:cubicBezTo>
                <a:cubicBezTo>
                  <a:pt x="7" y="95"/>
                  <a:pt x="7" y="95"/>
                  <a:pt x="7" y="95"/>
                </a:cubicBezTo>
                <a:cubicBezTo>
                  <a:pt x="6" y="96"/>
                  <a:pt x="5" y="96"/>
                  <a:pt x="4" y="96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Freeform 44">
            <a:extLst>
              <a:ext uri="{FF2B5EF4-FFF2-40B4-BE49-F238E27FC236}">
                <a16:creationId xmlns:a16="http://schemas.microsoft.com/office/drawing/2014/main" id="{6CF1CE1A-5FB6-469D-8D7A-16FAC32AB60B}"/>
              </a:ext>
            </a:extLst>
          </p:cNvPr>
          <p:cNvSpPr>
            <a:spLocks/>
          </p:cNvSpPr>
          <p:nvPr/>
        </p:nvSpPr>
        <p:spPr bwMode="auto">
          <a:xfrm rot="5400000">
            <a:off x="940745" y="3739657"/>
            <a:ext cx="99711" cy="160099"/>
          </a:xfrm>
          <a:custGeom>
            <a:avLst/>
            <a:gdLst>
              <a:gd name="T0" fmla="*/ 4 w 60"/>
              <a:gd name="T1" fmla="*/ 96 h 96"/>
              <a:gd name="T2" fmla="*/ 1 w 60"/>
              <a:gd name="T3" fmla="*/ 95 h 96"/>
              <a:gd name="T4" fmla="*/ 1 w 60"/>
              <a:gd name="T5" fmla="*/ 89 h 96"/>
              <a:gd name="T6" fmla="*/ 50 w 60"/>
              <a:gd name="T7" fmla="*/ 48 h 96"/>
              <a:gd name="T8" fmla="*/ 1 w 60"/>
              <a:gd name="T9" fmla="*/ 7 h 96"/>
              <a:gd name="T10" fmla="*/ 1 w 60"/>
              <a:gd name="T11" fmla="*/ 1 h 96"/>
              <a:gd name="T12" fmla="*/ 7 w 60"/>
              <a:gd name="T13" fmla="*/ 1 h 96"/>
              <a:gd name="T14" fmla="*/ 59 w 60"/>
              <a:gd name="T15" fmla="*/ 45 h 96"/>
              <a:gd name="T16" fmla="*/ 60 w 60"/>
              <a:gd name="T17" fmla="*/ 48 h 96"/>
              <a:gd name="T18" fmla="*/ 59 w 60"/>
              <a:gd name="T19" fmla="*/ 51 h 96"/>
              <a:gd name="T20" fmla="*/ 7 w 60"/>
              <a:gd name="T21" fmla="*/ 95 h 96"/>
              <a:gd name="T22" fmla="*/ 4 w 60"/>
              <a:gd name="T23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96">
                <a:moveTo>
                  <a:pt x="4" y="96"/>
                </a:moveTo>
                <a:cubicBezTo>
                  <a:pt x="3" y="96"/>
                  <a:pt x="2" y="96"/>
                  <a:pt x="1" y="95"/>
                </a:cubicBezTo>
                <a:cubicBezTo>
                  <a:pt x="0" y="93"/>
                  <a:pt x="0" y="90"/>
                  <a:pt x="1" y="89"/>
                </a:cubicBezTo>
                <a:cubicBezTo>
                  <a:pt x="50" y="48"/>
                  <a:pt x="50" y="48"/>
                  <a:pt x="50" y="48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3"/>
                  <a:pt x="1" y="1"/>
                </a:cubicBezTo>
                <a:cubicBezTo>
                  <a:pt x="2" y="0"/>
                  <a:pt x="5" y="0"/>
                  <a:pt x="7" y="1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6"/>
                  <a:pt x="60" y="47"/>
                  <a:pt x="60" y="48"/>
                </a:cubicBezTo>
                <a:cubicBezTo>
                  <a:pt x="60" y="49"/>
                  <a:pt x="59" y="50"/>
                  <a:pt x="59" y="51"/>
                </a:cubicBezTo>
                <a:cubicBezTo>
                  <a:pt x="7" y="95"/>
                  <a:pt x="7" y="95"/>
                  <a:pt x="7" y="95"/>
                </a:cubicBezTo>
                <a:cubicBezTo>
                  <a:pt x="6" y="96"/>
                  <a:pt x="5" y="96"/>
                  <a:pt x="4" y="96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9" name="Freeform: Shape 288">
            <a:extLst>
              <a:ext uri="{FF2B5EF4-FFF2-40B4-BE49-F238E27FC236}">
                <a16:creationId xmlns:a16="http://schemas.microsoft.com/office/drawing/2014/main" id="{ADFA977B-EBF4-4988-8D4A-C62D6684CEB0}"/>
              </a:ext>
            </a:extLst>
          </p:cNvPr>
          <p:cNvSpPr/>
          <p:nvPr/>
        </p:nvSpPr>
        <p:spPr>
          <a:xfrm>
            <a:off x="5806778" y="-5626"/>
            <a:ext cx="6385222" cy="1803787"/>
          </a:xfrm>
          <a:custGeom>
            <a:avLst/>
            <a:gdLst>
              <a:gd name="connsiteX0" fmla="*/ 3006 w 6385222"/>
              <a:gd name="connsiteY0" fmla="*/ 0 h 1803787"/>
              <a:gd name="connsiteX1" fmla="*/ 6385222 w 6385222"/>
              <a:gd name="connsiteY1" fmla="*/ 0 h 1803787"/>
              <a:gd name="connsiteX2" fmla="*/ 6385222 w 6385222"/>
              <a:gd name="connsiteY2" fmla="*/ 1759708 h 1803787"/>
              <a:gd name="connsiteX3" fmla="*/ 6306641 w 6385222"/>
              <a:gd name="connsiteY3" fmla="*/ 1772515 h 1803787"/>
              <a:gd name="connsiteX4" fmla="*/ 5432722 w 6385222"/>
              <a:gd name="connsiteY4" fmla="*/ 1745527 h 1803787"/>
              <a:gd name="connsiteX5" fmla="*/ 3489622 w 6385222"/>
              <a:gd name="connsiteY5" fmla="*/ 691427 h 1803787"/>
              <a:gd name="connsiteX6" fmla="*/ 1381422 w 6385222"/>
              <a:gd name="connsiteY6" fmla="*/ 780327 h 1803787"/>
              <a:gd name="connsiteX7" fmla="*/ 0 w 6385222"/>
              <a:gd name="connsiteY7" fmla="*/ 32615 h 18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5222" h="1803787">
                <a:moveTo>
                  <a:pt x="3006" y="0"/>
                </a:moveTo>
                <a:lnTo>
                  <a:pt x="6385222" y="0"/>
                </a:lnTo>
                <a:lnTo>
                  <a:pt x="6385222" y="1759708"/>
                </a:lnTo>
                <a:lnTo>
                  <a:pt x="6306641" y="1772515"/>
                </a:lnTo>
                <a:cubicBezTo>
                  <a:pt x="6032268" y="1811144"/>
                  <a:pt x="5722706" y="1825961"/>
                  <a:pt x="5432722" y="1745527"/>
                </a:cubicBezTo>
                <a:cubicBezTo>
                  <a:pt x="4852755" y="1584660"/>
                  <a:pt x="4164839" y="852294"/>
                  <a:pt x="3489622" y="691427"/>
                </a:cubicBezTo>
                <a:cubicBezTo>
                  <a:pt x="2814405" y="530560"/>
                  <a:pt x="1914822" y="922144"/>
                  <a:pt x="1381422" y="780327"/>
                </a:cubicBezTo>
                <a:cubicBezTo>
                  <a:pt x="981372" y="673964"/>
                  <a:pt x="53876" y="285424"/>
                  <a:pt x="0" y="32615"/>
                </a:cubicBez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0" name="Graphic 28">
            <a:extLst>
              <a:ext uri="{FF2B5EF4-FFF2-40B4-BE49-F238E27FC236}">
                <a16:creationId xmlns:a16="http://schemas.microsoft.com/office/drawing/2014/main" id="{4F79E237-D2BF-4FEE-BEEA-5E19CE27C7E3}"/>
              </a:ext>
            </a:extLst>
          </p:cNvPr>
          <p:cNvGrpSpPr/>
          <p:nvPr/>
        </p:nvGrpSpPr>
        <p:grpSpPr>
          <a:xfrm rot="10800000">
            <a:off x="8910721" y="621871"/>
            <a:ext cx="1604333" cy="305255"/>
            <a:chOff x="10869230" y="-379413"/>
            <a:chExt cx="1141380" cy="217169"/>
          </a:xfrm>
          <a:solidFill>
            <a:srgbClr val="094A44"/>
          </a:solidFill>
        </p:grpSpPr>
        <p:grpSp>
          <p:nvGrpSpPr>
            <p:cNvPr id="291" name="Graphic 28">
              <a:extLst>
                <a:ext uri="{FF2B5EF4-FFF2-40B4-BE49-F238E27FC236}">
                  <a16:creationId xmlns:a16="http://schemas.microsoft.com/office/drawing/2014/main" id="{8FAE9C1F-43D9-4A13-8781-3C9216F10B0F}"/>
                </a:ext>
              </a:extLst>
            </p:cNvPr>
            <p:cNvGrpSpPr/>
            <p:nvPr/>
          </p:nvGrpSpPr>
          <p:grpSpPr>
            <a:xfrm>
              <a:off x="10869230" y="-379413"/>
              <a:ext cx="522827" cy="217169"/>
              <a:chOff x="10869230" y="-379413"/>
              <a:chExt cx="522827" cy="217169"/>
            </a:xfrm>
            <a:grpFill/>
          </p:grpSpPr>
          <p:grpSp>
            <p:nvGrpSpPr>
              <p:cNvPr id="303" name="Graphic 28">
                <a:extLst>
                  <a:ext uri="{FF2B5EF4-FFF2-40B4-BE49-F238E27FC236}">
                    <a16:creationId xmlns:a16="http://schemas.microsoft.com/office/drawing/2014/main" id="{7C75438E-B6CE-49C8-9AC4-4FFDE57707A1}"/>
                  </a:ext>
                </a:extLst>
              </p:cNvPr>
              <p:cNvGrpSpPr/>
              <p:nvPr/>
            </p:nvGrpSpPr>
            <p:grpSpPr>
              <a:xfrm>
                <a:off x="11178793" y="-379413"/>
                <a:ext cx="213264" cy="217169"/>
                <a:chOff x="11178793" y="-379413"/>
                <a:chExt cx="213264" cy="217169"/>
              </a:xfrm>
              <a:grpFill/>
            </p:grpSpPr>
            <p:sp>
              <p:nvSpPr>
                <p:cNvPr id="309" name="Freeform: Shape 308">
                  <a:extLst>
                    <a:ext uri="{FF2B5EF4-FFF2-40B4-BE49-F238E27FC236}">
                      <a16:creationId xmlns:a16="http://schemas.microsoft.com/office/drawing/2014/main" id="{412C600C-3E2F-4149-93CF-20FB23BBF5A8}"/>
                    </a:ext>
                  </a:extLst>
                </p:cNvPr>
                <p:cNvSpPr/>
                <p:nvPr/>
              </p:nvSpPr>
              <p:spPr>
                <a:xfrm>
                  <a:off x="11178888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Freeform: Shape 309">
                  <a:extLst>
                    <a:ext uri="{FF2B5EF4-FFF2-40B4-BE49-F238E27FC236}">
                      <a16:creationId xmlns:a16="http://schemas.microsoft.com/office/drawing/2014/main" id="{BF3FA93A-5611-4ECF-B1F0-30BFFD5AFE60}"/>
                    </a:ext>
                  </a:extLst>
                </p:cNvPr>
                <p:cNvSpPr/>
                <p:nvPr/>
              </p:nvSpPr>
              <p:spPr>
                <a:xfrm>
                  <a:off x="1117879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Freeform: Shape 310">
                  <a:extLst>
                    <a:ext uri="{FF2B5EF4-FFF2-40B4-BE49-F238E27FC236}">
                      <a16:creationId xmlns:a16="http://schemas.microsoft.com/office/drawing/2014/main" id="{09833642-16A5-40A5-BFBC-B8E771D95AD5}"/>
                    </a:ext>
                  </a:extLst>
                </p:cNvPr>
                <p:cNvSpPr/>
                <p:nvPr/>
              </p:nvSpPr>
              <p:spPr>
                <a:xfrm>
                  <a:off x="11331860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Freeform: Shape 311">
                  <a:extLst>
                    <a:ext uri="{FF2B5EF4-FFF2-40B4-BE49-F238E27FC236}">
                      <a16:creationId xmlns:a16="http://schemas.microsoft.com/office/drawing/2014/main" id="{FD619571-B152-461B-85DA-282ACE6DD344}"/>
                    </a:ext>
                  </a:extLst>
                </p:cNvPr>
                <p:cNvSpPr/>
                <p:nvPr/>
              </p:nvSpPr>
              <p:spPr>
                <a:xfrm>
                  <a:off x="11331764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6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4" name="Graphic 28">
                <a:extLst>
                  <a:ext uri="{FF2B5EF4-FFF2-40B4-BE49-F238E27FC236}">
                    <a16:creationId xmlns:a16="http://schemas.microsoft.com/office/drawing/2014/main" id="{39C4DB2E-DB49-4652-AED0-ACBE95A2EEA3}"/>
                  </a:ext>
                </a:extLst>
              </p:cNvPr>
              <p:cNvGrpSpPr/>
              <p:nvPr/>
            </p:nvGrpSpPr>
            <p:grpSpPr>
              <a:xfrm>
                <a:off x="10869230" y="-379413"/>
                <a:ext cx="213169" cy="217169"/>
                <a:chOff x="10869230" y="-379413"/>
                <a:chExt cx="213169" cy="217169"/>
              </a:xfrm>
              <a:grpFill/>
            </p:grpSpPr>
            <p:sp>
              <p:nvSpPr>
                <p:cNvPr id="305" name="Freeform: Shape 304">
                  <a:extLst>
                    <a:ext uri="{FF2B5EF4-FFF2-40B4-BE49-F238E27FC236}">
                      <a16:creationId xmlns:a16="http://schemas.microsoft.com/office/drawing/2014/main" id="{CF705F8C-69E5-41AB-89E3-EB2CDF297C4B}"/>
                    </a:ext>
                  </a:extLst>
                </p:cNvPr>
                <p:cNvSpPr/>
                <p:nvPr/>
              </p:nvSpPr>
              <p:spPr>
                <a:xfrm>
                  <a:off x="10869231" y="-379413"/>
                  <a:ext cx="60198" cy="60198"/>
                </a:xfrm>
                <a:custGeom>
                  <a:avLst/>
                  <a:gdLst>
                    <a:gd name="connsiteX0" fmla="*/ 60198 w 60198"/>
                    <a:gd name="connsiteY0" fmla="*/ 30099 h 60198"/>
                    <a:gd name="connsiteX1" fmla="*/ 30099 w 60198"/>
                    <a:gd name="connsiteY1" fmla="*/ 60198 h 60198"/>
                    <a:gd name="connsiteX2" fmla="*/ 0 w 60198"/>
                    <a:gd name="connsiteY2" fmla="*/ 30099 h 60198"/>
                    <a:gd name="connsiteX3" fmla="*/ 30099 w 60198"/>
                    <a:gd name="connsiteY3" fmla="*/ 0 h 60198"/>
                    <a:gd name="connsiteX4" fmla="*/ 60198 w 60198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8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: Shape 305">
                  <a:extLst>
                    <a:ext uri="{FF2B5EF4-FFF2-40B4-BE49-F238E27FC236}">
                      <a16:creationId xmlns:a16="http://schemas.microsoft.com/office/drawing/2014/main" id="{EE8D8884-A1F1-4992-A73F-6D70D879E6A4}"/>
                    </a:ext>
                  </a:extLst>
                </p:cNvPr>
                <p:cNvSpPr/>
                <p:nvPr/>
              </p:nvSpPr>
              <p:spPr>
                <a:xfrm>
                  <a:off x="10869230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6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Freeform: Shape 306">
                  <a:extLst>
                    <a:ext uri="{FF2B5EF4-FFF2-40B4-BE49-F238E27FC236}">
                      <a16:creationId xmlns:a16="http://schemas.microsoft.com/office/drawing/2014/main" id="{DA38545F-4B12-4DC4-9C83-2884C1F3F89B}"/>
                    </a:ext>
                  </a:extLst>
                </p:cNvPr>
                <p:cNvSpPr/>
                <p:nvPr/>
              </p:nvSpPr>
              <p:spPr>
                <a:xfrm>
                  <a:off x="11022202" y="-379413"/>
                  <a:ext cx="60198" cy="60198"/>
                </a:xfrm>
                <a:custGeom>
                  <a:avLst/>
                  <a:gdLst>
                    <a:gd name="connsiteX0" fmla="*/ 60198 w 60198"/>
                    <a:gd name="connsiteY0" fmla="*/ 30099 h 60198"/>
                    <a:gd name="connsiteX1" fmla="*/ 30099 w 60198"/>
                    <a:gd name="connsiteY1" fmla="*/ 60198 h 60198"/>
                    <a:gd name="connsiteX2" fmla="*/ 0 w 60198"/>
                    <a:gd name="connsiteY2" fmla="*/ 30099 h 60198"/>
                    <a:gd name="connsiteX3" fmla="*/ 30099 w 60198"/>
                    <a:gd name="connsiteY3" fmla="*/ 0 h 60198"/>
                    <a:gd name="connsiteX4" fmla="*/ 60198 w 60198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8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: Shape 307">
                  <a:extLst>
                    <a:ext uri="{FF2B5EF4-FFF2-40B4-BE49-F238E27FC236}">
                      <a16:creationId xmlns:a16="http://schemas.microsoft.com/office/drawing/2014/main" id="{423A3D51-5D49-4F6A-A8C1-F004470AAC0D}"/>
                    </a:ext>
                  </a:extLst>
                </p:cNvPr>
                <p:cNvSpPr/>
                <p:nvPr/>
              </p:nvSpPr>
              <p:spPr>
                <a:xfrm>
                  <a:off x="1102220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2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2" name="Graphic 28">
              <a:extLst>
                <a:ext uri="{FF2B5EF4-FFF2-40B4-BE49-F238E27FC236}">
                  <a16:creationId xmlns:a16="http://schemas.microsoft.com/office/drawing/2014/main" id="{1685A60E-F704-43A1-88F3-E82DA9DE48B4}"/>
                </a:ext>
              </a:extLst>
            </p:cNvPr>
            <p:cNvGrpSpPr/>
            <p:nvPr/>
          </p:nvGrpSpPr>
          <p:grpSpPr>
            <a:xfrm>
              <a:off x="11487879" y="-379413"/>
              <a:ext cx="522731" cy="217169"/>
              <a:chOff x="11487879" y="-379413"/>
              <a:chExt cx="522731" cy="217169"/>
            </a:xfrm>
            <a:grpFill/>
          </p:grpSpPr>
          <p:grpSp>
            <p:nvGrpSpPr>
              <p:cNvPr id="293" name="Graphic 28">
                <a:extLst>
                  <a:ext uri="{FF2B5EF4-FFF2-40B4-BE49-F238E27FC236}">
                    <a16:creationId xmlns:a16="http://schemas.microsoft.com/office/drawing/2014/main" id="{8E12350A-B286-4FFB-9F69-020A10EFA351}"/>
                  </a:ext>
                </a:extLst>
              </p:cNvPr>
              <p:cNvGrpSpPr/>
              <p:nvPr/>
            </p:nvGrpSpPr>
            <p:grpSpPr>
              <a:xfrm>
                <a:off x="11797442" y="-379413"/>
                <a:ext cx="213169" cy="217169"/>
                <a:chOff x="11797442" y="-379413"/>
                <a:chExt cx="213169" cy="217169"/>
              </a:xfrm>
              <a:grpFill/>
            </p:grpSpPr>
            <p:sp>
              <p:nvSpPr>
                <p:cNvPr id="299" name="Freeform: Shape 298">
                  <a:extLst>
                    <a:ext uri="{FF2B5EF4-FFF2-40B4-BE49-F238E27FC236}">
                      <a16:creationId xmlns:a16="http://schemas.microsoft.com/office/drawing/2014/main" id="{D7C57DEE-2CEE-4169-92D9-190DE7100D21}"/>
                    </a:ext>
                  </a:extLst>
                </p:cNvPr>
                <p:cNvSpPr/>
                <p:nvPr/>
              </p:nvSpPr>
              <p:spPr>
                <a:xfrm>
                  <a:off x="11797537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eform: Shape 299">
                  <a:extLst>
                    <a:ext uri="{FF2B5EF4-FFF2-40B4-BE49-F238E27FC236}">
                      <a16:creationId xmlns:a16="http://schemas.microsoft.com/office/drawing/2014/main" id="{3B2A0CC0-D2A2-4E11-942D-2904954B46BC}"/>
                    </a:ext>
                  </a:extLst>
                </p:cNvPr>
                <p:cNvSpPr/>
                <p:nvPr/>
              </p:nvSpPr>
              <p:spPr>
                <a:xfrm>
                  <a:off x="1179744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: Shape 300">
                  <a:extLst>
                    <a:ext uri="{FF2B5EF4-FFF2-40B4-BE49-F238E27FC236}">
                      <a16:creationId xmlns:a16="http://schemas.microsoft.com/office/drawing/2014/main" id="{049088C4-A1BA-45C2-B237-109D69712E4A}"/>
                    </a:ext>
                  </a:extLst>
                </p:cNvPr>
                <p:cNvSpPr/>
                <p:nvPr/>
              </p:nvSpPr>
              <p:spPr>
                <a:xfrm>
                  <a:off x="11950413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673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0"/>
                        <a:pt x="60198" y="13430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Freeform: Shape 301">
                  <a:extLst>
                    <a:ext uri="{FF2B5EF4-FFF2-40B4-BE49-F238E27FC236}">
                      <a16:creationId xmlns:a16="http://schemas.microsoft.com/office/drawing/2014/main" id="{C143A611-3B43-45E0-B36E-94427768A382}"/>
                    </a:ext>
                  </a:extLst>
                </p:cNvPr>
                <p:cNvSpPr/>
                <p:nvPr/>
              </p:nvSpPr>
              <p:spPr>
                <a:xfrm>
                  <a:off x="1195041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94" name="Graphic 28">
                <a:extLst>
                  <a:ext uri="{FF2B5EF4-FFF2-40B4-BE49-F238E27FC236}">
                    <a16:creationId xmlns:a16="http://schemas.microsoft.com/office/drawing/2014/main" id="{8E69BD21-C8EB-457F-AA9B-44B16EB9D7F6}"/>
                  </a:ext>
                </a:extLst>
              </p:cNvPr>
              <p:cNvGrpSpPr/>
              <p:nvPr/>
            </p:nvGrpSpPr>
            <p:grpSpPr>
              <a:xfrm>
                <a:off x="11487879" y="-379413"/>
                <a:ext cx="213169" cy="217169"/>
                <a:chOff x="11487879" y="-379413"/>
                <a:chExt cx="213169" cy="217169"/>
              </a:xfrm>
              <a:grpFill/>
            </p:grpSpPr>
            <p:sp>
              <p:nvSpPr>
                <p:cNvPr id="295" name="Freeform: Shape 294">
                  <a:extLst>
                    <a:ext uri="{FF2B5EF4-FFF2-40B4-BE49-F238E27FC236}">
                      <a16:creationId xmlns:a16="http://schemas.microsoft.com/office/drawing/2014/main" id="{185E4024-3499-414A-832F-0B4B4733F4CC}"/>
                    </a:ext>
                  </a:extLst>
                </p:cNvPr>
                <p:cNvSpPr/>
                <p:nvPr/>
              </p:nvSpPr>
              <p:spPr>
                <a:xfrm>
                  <a:off x="11487879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Freeform: Shape 295">
                  <a:extLst>
                    <a:ext uri="{FF2B5EF4-FFF2-40B4-BE49-F238E27FC236}">
                      <a16:creationId xmlns:a16="http://schemas.microsoft.com/office/drawing/2014/main" id="{34B569E3-A0B1-4FFB-9BA0-DFD987359329}"/>
                    </a:ext>
                  </a:extLst>
                </p:cNvPr>
                <p:cNvSpPr/>
                <p:nvPr/>
              </p:nvSpPr>
              <p:spPr>
                <a:xfrm>
                  <a:off x="11487879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Freeform: Shape 296">
                  <a:extLst>
                    <a:ext uri="{FF2B5EF4-FFF2-40B4-BE49-F238E27FC236}">
                      <a16:creationId xmlns:a16="http://schemas.microsoft.com/office/drawing/2014/main" id="{346F8A93-8C95-4284-9C1A-2910994DB7EE}"/>
                    </a:ext>
                  </a:extLst>
                </p:cNvPr>
                <p:cNvSpPr/>
                <p:nvPr/>
              </p:nvSpPr>
              <p:spPr>
                <a:xfrm>
                  <a:off x="11640851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: Shape 297">
                  <a:extLst>
                    <a:ext uri="{FF2B5EF4-FFF2-40B4-BE49-F238E27FC236}">
                      <a16:creationId xmlns:a16="http://schemas.microsoft.com/office/drawing/2014/main" id="{06BEEA92-A032-438B-A3A4-2B5617151639}"/>
                    </a:ext>
                  </a:extLst>
                </p:cNvPr>
                <p:cNvSpPr/>
                <p:nvPr/>
              </p:nvSpPr>
              <p:spPr>
                <a:xfrm>
                  <a:off x="11640851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313" name="Graphic 28">
            <a:extLst>
              <a:ext uri="{FF2B5EF4-FFF2-40B4-BE49-F238E27FC236}">
                <a16:creationId xmlns:a16="http://schemas.microsoft.com/office/drawing/2014/main" id="{2F4F50C3-69ED-4F95-AA32-756B5FEB3016}"/>
              </a:ext>
            </a:extLst>
          </p:cNvPr>
          <p:cNvGrpSpPr/>
          <p:nvPr/>
        </p:nvGrpSpPr>
        <p:grpSpPr>
          <a:xfrm rot="10800000">
            <a:off x="11477198" y="1081760"/>
            <a:ext cx="227029" cy="227130"/>
            <a:chOff x="10517187" y="-377031"/>
            <a:chExt cx="214979" cy="215074"/>
          </a:xfrm>
          <a:solidFill>
            <a:srgbClr val="FDDABC"/>
          </a:solidFill>
        </p:grpSpPr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B53C426D-863C-44AB-8C57-521A8DB6B768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51EA4601-4F6C-442E-A741-F078F779DEDC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8" name="TextBox 317">
            <a:extLst>
              <a:ext uri="{FF2B5EF4-FFF2-40B4-BE49-F238E27FC236}">
                <a16:creationId xmlns:a16="http://schemas.microsoft.com/office/drawing/2014/main" id="{2D2DC540-A0DC-4596-AA8A-0E0BD45646E1}"/>
              </a:ext>
            </a:extLst>
          </p:cNvPr>
          <p:cNvSpPr txBox="1"/>
          <p:nvPr/>
        </p:nvSpPr>
        <p:spPr>
          <a:xfrm>
            <a:off x="1745887" y="2929177"/>
            <a:ext cx="5664200" cy="31423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LR model gave best emotion classification</a:t>
            </a: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1D279258-2A5C-4737-AF69-8487717B36EB}"/>
              </a:ext>
            </a:extLst>
          </p:cNvPr>
          <p:cNvSpPr txBox="1"/>
          <p:nvPr/>
        </p:nvSpPr>
        <p:spPr>
          <a:xfrm>
            <a:off x="1762566" y="4196198"/>
            <a:ext cx="5664200" cy="31423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Can replace human therapis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C77736-870F-4A1B-B9D6-3A21A1AAD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482" y="1486677"/>
            <a:ext cx="1030313" cy="9693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34F195C-F458-4E68-BADF-356A547F57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62" y="2754354"/>
            <a:ext cx="1091279" cy="9693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DB2F9A5-30F1-40B0-964B-A92C48DA85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763" y="4013232"/>
            <a:ext cx="1085182" cy="96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608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D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853229-5487-4E89-ADA8-3DE0F2FFD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986" y="6290456"/>
            <a:ext cx="395914" cy="3622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6E39CD-16F1-4381-8EB5-8BA4094A64D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94A4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94A4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1027EC-3093-4AE7-96F7-9EE54B254FEA}"/>
              </a:ext>
            </a:extLst>
          </p:cNvPr>
          <p:cNvSpPr txBox="1"/>
          <p:nvPr/>
        </p:nvSpPr>
        <p:spPr>
          <a:xfrm>
            <a:off x="431672" y="493116"/>
            <a:ext cx="11226928" cy="58864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4400" b="1">
                <a:solidFill>
                  <a:srgbClr val="094A44"/>
                </a:solidFill>
                <a:latin typeface="Georgia" panose="02040502050405020303" pitchFamily="18" charset="0"/>
              </a:rPr>
              <a:t>Critique</a:t>
            </a:r>
            <a:endParaRPr lang="en-US" sz="4400">
              <a:solidFill>
                <a:srgbClr val="094A44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7431C7A-F0E4-4CF3-95CD-64C6E628231A}"/>
              </a:ext>
            </a:extLst>
          </p:cNvPr>
          <p:cNvSpPr/>
          <p:nvPr/>
        </p:nvSpPr>
        <p:spPr>
          <a:xfrm>
            <a:off x="1024485" y="1543415"/>
            <a:ext cx="5116157" cy="855713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8E3D7C5-189B-4870-8FD3-80807563C48D}"/>
              </a:ext>
            </a:extLst>
          </p:cNvPr>
          <p:cNvSpPr/>
          <p:nvPr/>
        </p:nvSpPr>
        <p:spPr>
          <a:xfrm>
            <a:off x="1024485" y="2791978"/>
            <a:ext cx="5116157" cy="797557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E171283-521E-44D8-A92C-6BC468DEACE0}"/>
              </a:ext>
            </a:extLst>
          </p:cNvPr>
          <p:cNvSpPr/>
          <p:nvPr/>
        </p:nvSpPr>
        <p:spPr>
          <a:xfrm>
            <a:off x="1024875" y="4111905"/>
            <a:ext cx="5115768" cy="714156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2E2A9F5-DEC0-45E0-BBBD-D54793A53A4D}"/>
              </a:ext>
            </a:extLst>
          </p:cNvPr>
          <p:cNvSpPr txBox="1"/>
          <p:nvPr/>
        </p:nvSpPr>
        <p:spPr>
          <a:xfrm>
            <a:off x="1555825" y="1712747"/>
            <a:ext cx="5116157" cy="307542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No comparison was made with and without sentiment analysis.</a:t>
            </a:r>
          </a:p>
        </p:txBody>
      </p:sp>
      <p:sp>
        <p:nvSpPr>
          <p:cNvPr id="39" name="Freeform 44">
            <a:extLst>
              <a:ext uri="{FF2B5EF4-FFF2-40B4-BE49-F238E27FC236}">
                <a16:creationId xmlns:a16="http://schemas.microsoft.com/office/drawing/2014/main" id="{3FB93D64-92F7-459B-B8A2-2B99242CDDD1}"/>
              </a:ext>
            </a:extLst>
          </p:cNvPr>
          <p:cNvSpPr>
            <a:spLocks/>
          </p:cNvSpPr>
          <p:nvPr/>
        </p:nvSpPr>
        <p:spPr bwMode="auto">
          <a:xfrm rot="5400000">
            <a:off x="940745" y="2526930"/>
            <a:ext cx="99711" cy="160099"/>
          </a:xfrm>
          <a:custGeom>
            <a:avLst/>
            <a:gdLst>
              <a:gd name="T0" fmla="*/ 4 w 60"/>
              <a:gd name="T1" fmla="*/ 96 h 96"/>
              <a:gd name="T2" fmla="*/ 1 w 60"/>
              <a:gd name="T3" fmla="*/ 95 h 96"/>
              <a:gd name="T4" fmla="*/ 1 w 60"/>
              <a:gd name="T5" fmla="*/ 89 h 96"/>
              <a:gd name="T6" fmla="*/ 50 w 60"/>
              <a:gd name="T7" fmla="*/ 48 h 96"/>
              <a:gd name="T8" fmla="*/ 1 w 60"/>
              <a:gd name="T9" fmla="*/ 7 h 96"/>
              <a:gd name="T10" fmla="*/ 1 w 60"/>
              <a:gd name="T11" fmla="*/ 1 h 96"/>
              <a:gd name="T12" fmla="*/ 7 w 60"/>
              <a:gd name="T13" fmla="*/ 1 h 96"/>
              <a:gd name="T14" fmla="*/ 59 w 60"/>
              <a:gd name="T15" fmla="*/ 45 h 96"/>
              <a:gd name="T16" fmla="*/ 60 w 60"/>
              <a:gd name="T17" fmla="*/ 48 h 96"/>
              <a:gd name="T18" fmla="*/ 59 w 60"/>
              <a:gd name="T19" fmla="*/ 51 h 96"/>
              <a:gd name="T20" fmla="*/ 7 w 60"/>
              <a:gd name="T21" fmla="*/ 95 h 96"/>
              <a:gd name="T22" fmla="*/ 4 w 60"/>
              <a:gd name="T23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96">
                <a:moveTo>
                  <a:pt x="4" y="96"/>
                </a:moveTo>
                <a:cubicBezTo>
                  <a:pt x="3" y="96"/>
                  <a:pt x="2" y="96"/>
                  <a:pt x="1" y="95"/>
                </a:cubicBezTo>
                <a:cubicBezTo>
                  <a:pt x="0" y="93"/>
                  <a:pt x="0" y="90"/>
                  <a:pt x="1" y="89"/>
                </a:cubicBezTo>
                <a:cubicBezTo>
                  <a:pt x="50" y="48"/>
                  <a:pt x="50" y="48"/>
                  <a:pt x="50" y="48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3"/>
                  <a:pt x="1" y="1"/>
                </a:cubicBezTo>
                <a:cubicBezTo>
                  <a:pt x="2" y="0"/>
                  <a:pt x="5" y="0"/>
                  <a:pt x="7" y="1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6"/>
                  <a:pt x="60" y="47"/>
                  <a:pt x="60" y="48"/>
                </a:cubicBezTo>
                <a:cubicBezTo>
                  <a:pt x="60" y="49"/>
                  <a:pt x="59" y="50"/>
                  <a:pt x="59" y="51"/>
                </a:cubicBezTo>
                <a:cubicBezTo>
                  <a:pt x="7" y="95"/>
                  <a:pt x="7" y="95"/>
                  <a:pt x="7" y="95"/>
                </a:cubicBezTo>
                <a:cubicBezTo>
                  <a:pt x="6" y="96"/>
                  <a:pt x="5" y="96"/>
                  <a:pt x="4" y="96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Freeform 44">
            <a:extLst>
              <a:ext uri="{FF2B5EF4-FFF2-40B4-BE49-F238E27FC236}">
                <a16:creationId xmlns:a16="http://schemas.microsoft.com/office/drawing/2014/main" id="{6CF1CE1A-5FB6-469D-8D7A-16FAC32AB60B}"/>
              </a:ext>
            </a:extLst>
          </p:cNvPr>
          <p:cNvSpPr>
            <a:spLocks/>
          </p:cNvSpPr>
          <p:nvPr/>
        </p:nvSpPr>
        <p:spPr bwMode="auto">
          <a:xfrm rot="5400000">
            <a:off x="940745" y="3739657"/>
            <a:ext cx="99711" cy="160099"/>
          </a:xfrm>
          <a:custGeom>
            <a:avLst/>
            <a:gdLst>
              <a:gd name="T0" fmla="*/ 4 w 60"/>
              <a:gd name="T1" fmla="*/ 96 h 96"/>
              <a:gd name="T2" fmla="*/ 1 w 60"/>
              <a:gd name="T3" fmla="*/ 95 h 96"/>
              <a:gd name="T4" fmla="*/ 1 w 60"/>
              <a:gd name="T5" fmla="*/ 89 h 96"/>
              <a:gd name="T6" fmla="*/ 50 w 60"/>
              <a:gd name="T7" fmla="*/ 48 h 96"/>
              <a:gd name="T8" fmla="*/ 1 w 60"/>
              <a:gd name="T9" fmla="*/ 7 h 96"/>
              <a:gd name="T10" fmla="*/ 1 w 60"/>
              <a:gd name="T11" fmla="*/ 1 h 96"/>
              <a:gd name="T12" fmla="*/ 7 w 60"/>
              <a:gd name="T13" fmla="*/ 1 h 96"/>
              <a:gd name="T14" fmla="*/ 59 w 60"/>
              <a:gd name="T15" fmla="*/ 45 h 96"/>
              <a:gd name="T16" fmla="*/ 60 w 60"/>
              <a:gd name="T17" fmla="*/ 48 h 96"/>
              <a:gd name="T18" fmla="*/ 59 w 60"/>
              <a:gd name="T19" fmla="*/ 51 h 96"/>
              <a:gd name="T20" fmla="*/ 7 w 60"/>
              <a:gd name="T21" fmla="*/ 95 h 96"/>
              <a:gd name="T22" fmla="*/ 4 w 60"/>
              <a:gd name="T23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96">
                <a:moveTo>
                  <a:pt x="4" y="96"/>
                </a:moveTo>
                <a:cubicBezTo>
                  <a:pt x="3" y="96"/>
                  <a:pt x="2" y="96"/>
                  <a:pt x="1" y="95"/>
                </a:cubicBezTo>
                <a:cubicBezTo>
                  <a:pt x="0" y="93"/>
                  <a:pt x="0" y="90"/>
                  <a:pt x="1" y="89"/>
                </a:cubicBezTo>
                <a:cubicBezTo>
                  <a:pt x="50" y="48"/>
                  <a:pt x="50" y="48"/>
                  <a:pt x="50" y="48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3"/>
                  <a:pt x="1" y="1"/>
                </a:cubicBezTo>
                <a:cubicBezTo>
                  <a:pt x="2" y="0"/>
                  <a:pt x="5" y="0"/>
                  <a:pt x="7" y="1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6"/>
                  <a:pt x="60" y="47"/>
                  <a:pt x="60" y="48"/>
                </a:cubicBezTo>
                <a:cubicBezTo>
                  <a:pt x="60" y="49"/>
                  <a:pt x="59" y="50"/>
                  <a:pt x="59" y="51"/>
                </a:cubicBezTo>
                <a:cubicBezTo>
                  <a:pt x="7" y="95"/>
                  <a:pt x="7" y="95"/>
                  <a:pt x="7" y="95"/>
                </a:cubicBezTo>
                <a:cubicBezTo>
                  <a:pt x="6" y="96"/>
                  <a:pt x="5" y="96"/>
                  <a:pt x="4" y="96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 44">
            <a:extLst>
              <a:ext uri="{FF2B5EF4-FFF2-40B4-BE49-F238E27FC236}">
                <a16:creationId xmlns:a16="http://schemas.microsoft.com/office/drawing/2014/main" id="{3720E4B5-5BBE-4764-A4C6-8AE9AD083A47}"/>
              </a:ext>
            </a:extLst>
          </p:cNvPr>
          <p:cNvSpPr>
            <a:spLocks/>
          </p:cNvSpPr>
          <p:nvPr/>
        </p:nvSpPr>
        <p:spPr bwMode="auto">
          <a:xfrm rot="5400000">
            <a:off x="940745" y="4952386"/>
            <a:ext cx="99711" cy="160099"/>
          </a:xfrm>
          <a:custGeom>
            <a:avLst/>
            <a:gdLst>
              <a:gd name="T0" fmla="*/ 4 w 60"/>
              <a:gd name="T1" fmla="*/ 96 h 96"/>
              <a:gd name="T2" fmla="*/ 1 w 60"/>
              <a:gd name="T3" fmla="*/ 95 h 96"/>
              <a:gd name="T4" fmla="*/ 1 w 60"/>
              <a:gd name="T5" fmla="*/ 89 h 96"/>
              <a:gd name="T6" fmla="*/ 50 w 60"/>
              <a:gd name="T7" fmla="*/ 48 h 96"/>
              <a:gd name="T8" fmla="*/ 1 w 60"/>
              <a:gd name="T9" fmla="*/ 7 h 96"/>
              <a:gd name="T10" fmla="*/ 1 w 60"/>
              <a:gd name="T11" fmla="*/ 1 h 96"/>
              <a:gd name="T12" fmla="*/ 7 w 60"/>
              <a:gd name="T13" fmla="*/ 1 h 96"/>
              <a:gd name="T14" fmla="*/ 59 w 60"/>
              <a:gd name="T15" fmla="*/ 45 h 96"/>
              <a:gd name="T16" fmla="*/ 60 w 60"/>
              <a:gd name="T17" fmla="*/ 48 h 96"/>
              <a:gd name="T18" fmla="*/ 59 w 60"/>
              <a:gd name="T19" fmla="*/ 51 h 96"/>
              <a:gd name="T20" fmla="*/ 7 w 60"/>
              <a:gd name="T21" fmla="*/ 95 h 96"/>
              <a:gd name="T22" fmla="*/ 4 w 60"/>
              <a:gd name="T23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96">
                <a:moveTo>
                  <a:pt x="4" y="96"/>
                </a:moveTo>
                <a:cubicBezTo>
                  <a:pt x="3" y="96"/>
                  <a:pt x="2" y="96"/>
                  <a:pt x="1" y="95"/>
                </a:cubicBezTo>
                <a:cubicBezTo>
                  <a:pt x="0" y="93"/>
                  <a:pt x="0" y="90"/>
                  <a:pt x="1" y="89"/>
                </a:cubicBezTo>
                <a:cubicBezTo>
                  <a:pt x="50" y="48"/>
                  <a:pt x="50" y="48"/>
                  <a:pt x="50" y="48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3"/>
                  <a:pt x="1" y="1"/>
                </a:cubicBezTo>
                <a:cubicBezTo>
                  <a:pt x="2" y="0"/>
                  <a:pt x="5" y="0"/>
                  <a:pt x="7" y="1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6"/>
                  <a:pt x="60" y="47"/>
                  <a:pt x="60" y="48"/>
                </a:cubicBezTo>
                <a:cubicBezTo>
                  <a:pt x="60" y="49"/>
                  <a:pt x="59" y="50"/>
                  <a:pt x="59" y="51"/>
                </a:cubicBezTo>
                <a:cubicBezTo>
                  <a:pt x="7" y="95"/>
                  <a:pt x="7" y="95"/>
                  <a:pt x="7" y="95"/>
                </a:cubicBezTo>
                <a:cubicBezTo>
                  <a:pt x="6" y="96"/>
                  <a:pt x="5" y="96"/>
                  <a:pt x="4" y="96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9" name="Freeform: Shape 288">
            <a:extLst>
              <a:ext uri="{FF2B5EF4-FFF2-40B4-BE49-F238E27FC236}">
                <a16:creationId xmlns:a16="http://schemas.microsoft.com/office/drawing/2014/main" id="{ADFA977B-EBF4-4988-8D4A-C62D6684CEB0}"/>
              </a:ext>
            </a:extLst>
          </p:cNvPr>
          <p:cNvSpPr/>
          <p:nvPr/>
        </p:nvSpPr>
        <p:spPr>
          <a:xfrm>
            <a:off x="5806778" y="-5626"/>
            <a:ext cx="6385222" cy="1803787"/>
          </a:xfrm>
          <a:custGeom>
            <a:avLst/>
            <a:gdLst>
              <a:gd name="connsiteX0" fmla="*/ 3006 w 6385222"/>
              <a:gd name="connsiteY0" fmla="*/ 0 h 1803787"/>
              <a:gd name="connsiteX1" fmla="*/ 6385222 w 6385222"/>
              <a:gd name="connsiteY1" fmla="*/ 0 h 1803787"/>
              <a:gd name="connsiteX2" fmla="*/ 6385222 w 6385222"/>
              <a:gd name="connsiteY2" fmla="*/ 1759708 h 1803787"/>
              <a:gd name="connsiteX3" fmla="*/ 6306641 w 6385222"/>
              <a:gd name="connsiteY3" fmla="*/ 1772515 h 1803787"/>
              <a:gd name="connsiteX4" fmla="*/ 5432722 w 6385222"/>
              <a:gd name="connsiteY4" fmla="*/ 1745527 h 1803787"/>
              <a:gd name="connsiteX5" fmla="*/ 3489622 w 6385222"/>
              <a:gd name="connsiteY5" fmla="*/ 691427 h 1803787"/>
              <a:gd name="connsiteX6" fmla="*/ 1381422 w 6385222"/>
              <a:gd name="connsiteY6" fmla="*/ 780327 h 1803787"/>
              <a:gd name="connsiteX7" fmla="*/ 0 w 6385222"/>
              <a:gd name="connsiteY7" fmla="*/ 32615 h 180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5222" h="1803787">
                <a:moveTo>
                  <a:pt x="3006" y="0"/>
                </a:moveTo>
                <a:lnTo>
                  <a:pt x="6385222" y="0"/>
                </a:lnTo>
                <a:lnTo>
                  <a:pt x="6385222" y="1759708"/>
                </a:lnTo>
                <a:lnTo>
                  <a:pt x="6306641" y="1772515"/>
                </a:lnTo>
                <a:cubicBezTo>
                  <a:pt x="6032268" y="1811144"/>
                  <a:pt x="5722706" y="1825961"/>
                  <a:pt x="5432722" y="1745527"/>
                </a:cubicBezTo>
                <a:cubicBezTo>
                  <a:pt x="4852755" y="1584660"/>
                  <a:pt x="4164839" y="852294"/>
                  <a:pt x="3489622" y="691427"/>
                </a:cubicBezTo>
                <a:cubicBezTo>
                  <a:pt x="2814405" y="530560"/>
                  <a:pt x="1914822" y="922144"/>
                  <a:pt x="1381422" y="780327"/>
                </a:cubicBezTo>
                <a:cubicBezTo>
                  <a:pt x="981372" y="673964"/>
                  <a:pt x="53876" y="285424"/>
                  <a:pt x="0" y="32615"/>
                </a:cubicBezTo>
                <a:close/>
              </a:path>
            </a:pathLst>
          </a:custGeom>
          <a:solidFill>
            <a:srgbClr val="F7A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0" name="Graphic 28">
            <a:extLst>
              <a:ext uri="{FF2B5EF4-FFF2-40B4-BE49-F238E27FC236}">
                <a16:creationId xmlns:a16="http://schemas.microsoft.com/office/drawing/2014/main" id="{4F79E237-D2BF-4FEE-BEEA-5E19CE27C7E3}"/>
              </a:ext>
            </a:extLst>
          </p:cNvPr>
          <p:cNvGrpSpPr/>
          <p:nvPr/>
        </p:nvGrpSpPr>
        <p:grpSpPr>
          <a:xfrm rot="10800000">
            <a:off x="8910721" y="621871"/>
            <a:ext cx="1604333" cy="305255"/>
            <a:chOff x="10869230" y="-379413"/>
            <a:chExt cx="1141380" cy="217169"/>
          </a:xfrm>
          <a:solidFill>
            <a:srgbClr val="094A44"/>
          </a:solidFill>
        </p:grpSpPr>
        <p:grpSp>
          <p:nvGrpSpPr>
            <p:cNvPr id="291" name="Graphic 28">
              <a:extLst>
                <a:ext uri="{FF2B5EF4-FFF2-40B4-BE49-F238E27FC236}">
                  <a16:creationId xmlns:a16="http://schemas.microsoft.com/office/drawing/2014/main" id="{8FAE9C1F-43D9-4A13-8781-3C9216F10B0F}"/>
                </a:ext>
              </a:extLst>
            </p:cNvPr>
            <p:cNvGrpSpPr/>
            <p:nvPr/>
          </p:nvGrpSpPr>
          <p:grpSpPr>
            <a:xfrm>
              <a:off x="10869230" y="-379413"/>
              <a:ext cx="522827" cy="217169"/>
              <a:chOff x="10869230" y="-379413"/>
              <a:chExt cx="522827" cy="217169"/>
            </a:xfrm>
            <a:grpFill/>
          </p:grpSpPr>
          <p:grpSp>
            <p:nvGrpSpPr>
              <p:cNvPr id="303" name="Graphic 28">
                <a:extLst>
                  <a:ext uri="{FF2B5EF4-FFF2-40B4-BE49-F238E27FC236}">
                    <a16:creationId xmlns:a16="http://schemas.microsoft.com/office/drawing/2014/main" id="{7C75438E-B6CE-49C8-9AC4-4FFDE57707A1}"/>
                  </a:ext>
                </a:extLst>
              </p:cNvPr>
              <p:cNvGrpSpPr/>
              <p:nvPr/>
            </p:nvGrpSpPr>
            <p:grpSpPr>
              <a:xfrm>
                <a:off x="11178793" y="-379413"/>
                <a:ext cx="213264" cy="217169"/>
                <a:chOff x="11178793" y="-379413"/>
                <a:chExt cx="213264" cy="217169"/>
              </a:xfrm>
              <a:grpFill/>
            </p:grpSpPr>
            <p:sp>
              <p:nvSpPr>
                <p:cNvPr id="309" name="Freeform: Shape 308">
                  <a:extLst>
                    <a:ext uri="{FF2B5EF4-FFF2-40B4-BE49-F238E27FC236}">
                      <a16:creationId xmlns:a16="http://schemas.microsoft.com/office/drawing/2014/main" id="{412C600C-3E2F-4149-93CF-20FB23BBF5A8}"/>
                    </a:ext>
                  </a:extLst>
                </p:cNvPr>
                <p:cNvSpPr/>
                <p:nvPr/>
              </p:nvSpPr>
              <p:spPr>
                <a:xfrm>
                  <a:off x="11178888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Freeform: Shape 309">
                  <a:extLst>
                    <a:ext uri="{FF2B5EF4-FFF2-40B4-BE49-F238E27FC236}">
                      <a16:creationId xmlns:a16="http://schemas.microsoft.com/office/drawing/2014/main" id="{BF3FA93A-5611-4ECF-B1F0-30BFFD5AFE60}"/>
                    </a:ext>
                  </a:extLst>
                </p:cNvPr>
                <p:cNvSpPr/>
                <p:nvPr/>
              </p:nvSpPr>
              <p:spPr>
                <a:xfrm>
                  <a:off x="1117879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Freeform: Shape 310">
                  <a:extLst>
                    <a:ext uri="{FF2B5EF4-FFF2-40B4-BE49-F238E27FC236}">
                      <a16:creationId xmlns:a16="http://schemas.microsoft.com/office/drawing/2014/main" id="{09833642-16A5-40A5-BFBC-B8E771D95AD5}"/>
                    </a:ext>
                  </a:extLst>
                </p:cNvPr>
                <p:cNvSpPr/>
                <p:nvPr/>
              </p:nvSpPr>
              <p:spPr>
                <a:xfrm>
                  <a:off x="11331860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Freeform: Shape 311">
                  <a:extLst>
                    <a:ext uri="{FF2B5EF4-FFF2-40B4-BE49-F238E27FC236}">
                      <a16:creationId xmlns:a16="http://schemas.microsoft.com/office/drawing/2014/main" id="{FD619571-B152-461B-85DA-282ACE6DD344}"/>
                    </a:ext>
                  </a:extLst>
                </p:cNvPr>
                <p:cNvSpPr/>
                <p:nvPr/>
              </p:nvSpPr>
              <p:spPr>
                <a:xfrm>
                  <a:off x="11331764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6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4" name="Graphic 28">
                <a:extLst>
                  <a:ext uri="{FF2B5EF4-FFF2-40B4-BE49-F238E27FC236}">
                    <a16:creationId xmlns:a16="http://schemas.microsoft.com/office/drawing/2014/main" id="{39C4DB2E-DB49-4652-AED0-ACBE95A2EEA3}"/>
                  </a:ext>
                </a:extLst>
              </p:cNvPr>
              <p:cNvGrpSpPr/>
              <p:nvPr/>
            </p:nvGrpSpPr>
            <p:grpSpPr>
              <a:xfrm>
                <a:off x="10869230" y="-379413"/>
                <a:ext cx="213169" cy="217169"/>
                <a:chOff x="10869230" y="-379413"/>
                <a:chExt cx="213169" cy="217169"/>
              </a:xfrm>
              <a:grpFill/>
            </p:grpSpPr>
            <p:sp>
              <p:nvSpPr>
                <p:cNvPr id="305" name="Freeform: Shape 304">
                  <a:extLst>
                    <a:ext uri="{FF2B5EF4-FFF2-40B4-BE49-F238E27FC236}">
                      <a16:creationId xmlns:a16="http://schemas.microsoft.com/office/drawing/2014/main" id="{CF705F8C-69E5-41AB-89E3-EB2CDF297C4B}"/>
                    </a:ext>
                  </a:extLst>
                </p:cNvPr>
                <p:cNvSpPr/>
                <p:nvPr/>
              </p:nvSpPr>
              <p:spPr>
                <a:xfrm>
                  <a:off x="10869231" y="-379413"/>
                  <a:ext cx="60198" cy="60198"/>
                </a:xfrm>
                <a:custGeom>
                  <a:avLst/>
                  <a:gdLst>
                    <a:gd name="connsiteX0" fmla="*/ 60198 w 60198"/>
                    <a:gd name="connsiteY0" fmla="*/ 30099 h 60198"/>
                    <a:gd name="connsiteX1" fmla="*/ 30099 w 60198"/>
                    <a:gd name="connsiteY1" fmla="*/ 60198 h 60198"/>
                    <a:gd name="connsiteX2" fmla="*/ 0 w 60198"/>
                    <a:gd name="connsiteY2" fmla="*/ 30099 h 60198"/>
                    <a:gd name="connsiteX3" fmla="*/ 30099 w 60198"/>
                    <a:gd name="connsiteY3" fmla="*/ 0 h 60198"/>
                    <a:gd name="connsiteX4" fmla="*/ 60198 w 60198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8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: Shape 305">
                  <a:extLst>
                    <a:ext uri="{FF2B5EF4-FFF2-40B4-BE49-F238E27FC236}">
                      <a16:creationId xmlns:a16="http://schemas.microsoft.com/office/drawing/2014/main" id="{EE8D8884-A1F1-4992-A73F-6D70D879E6A4}"/>
                    </a:ext>
                  </a:extLst>
                </p:cNvPr>
                <p:cNvSpPr/>
                <p:nvPr/>
              </p:nvSpPr>
              <p:spPr>
                <a:xfrm>
                  <a:off x="10869230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6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Freeform: Shape 306">
                  <a:extLst>
                    <a:ext uri="{FF2B5EF4-FFF2-40B4-BE49-F238E27FC236}">
                      <a16:creationId xmlns:a16="http://schemas.microsoft.com/office/drawing/2014/main" id="{DA38545F-4B12-4DC4-9C83-2884C1F3F89B}"/>
                    </a:ext>
                  </a:extLst>
                </p:cNvPr>
                <p:cNvSpPr/>
                <p:nvPr/>
              </p:nvSpPr>
              <p:spPr>
                <a:xfrm>
                  <a:off x="11022202" y="-379413"/>
                  <a:ext cx="60198" cy="60198"/>
                </a:xfrm>
                <a:custGeom>
                  <a:avLst/>
                  <a:gdLst>
                    <a:gd name="connsiteX0" fmla="*/ 60198 w 60198"/>
                    <a:gd name="connsiteY0" fmla="*/ 30099 h 60198"/>
                    <a:gd name="connsiteX1" fmla="*/ 30099 w 60198"/>
                    <a:gd name="connsiteY1" fmla="*/ 60198 h 60198"/>
                    <a:gd name="connsiteX2" fmla="*/ 0 w 60198"/>
                    <a:gd name="connsiteY2" fmla="*/ 30099 h 60198"/>
                    <a:gd name="connsiteX3" fmla="*/ 30099 w 60198"/>
                    <a:gd name="connsiteY3" fmla="*/ 0 h 60198"/>
                    <a:gd name="connsiteX4" fmla="*/ 60198 w 60198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8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: Shape 307">
                  <a:extLst>
                    <a:ext uri="{FF2B5EF4-FFF2-40B4-BE49-F238E27FC236}">
                      <a16:creationId xmlns:a16="http://schemas.microsoft.com/office/drawing/2014/main" id="{423A3D51-5D49-4F6A-A8C1-F004470AAC0D}"/>
                    </a:ext>
                  </a:extLst>
                </p:cNvPr>
                <p:cNvSpPr/>
                <p:nvPr/>
              </p:nvSpPr>
              <p:spPr>
                <a:xfrm>
                  <a:off x="1102220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2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2" name="Graphic 28">
              <a:extLst>
                <a:ext uri="{FF2B5EF4-FFF2-40B4-BE49-F238E27FC236}">
                  <a16:creationId xmlns:a16="http://schemas.microsoft.com/office/drawing/2014/main" id="{1685A60E-F704-43A1-88F3-E82DA9DE48B4}"/>
                </a:ext>
              </a:extLst>
            </p:cNvPr>
            <p:cNvGrpSpPr/>
            <p:nvPr/>
          </p:nvGrpSpPr>
          <p:grpSpPr>
            <a:xfrm>
              <a:off x="11487879" y="-379413"/>
              <a:ext cx="522731" cy="217169"/>
              <a:chOff x="11487879" y="-379413"/>
              <a:chExt cx="522731" cy="217169"/>
            </a:xfrm>
            <a:grpFill/>
          </p:grpSpPr>
          <p:grpSp>
            <p:nvGrpSpPr>
              <p:cNvPr id="293" name="Graphic 28">
                <a:extLst>
                  <a:ext uri="{FF2B5EF4-FFF2-40B4-BE49-F238E27FC236}">
                    <a16:creationId xmlns:a16="http://schemas.microsoft.com/office/drawing/2014/main" id="{8E12350A-B286-4FFB-9F69-020A10EFA351}"/>
                  </a:ext>
                </a:extLst>
              </p:cNvPr>
              <p:cNvGrpSpPr/>
              <p:nvPr/>
            </p:nvGrpSpPr>
            <p:grpSpPr>
              <a:xfrm>
                <a:off x="11797442" y="-379413"/>
                <a:ext cx="213169" cy="217169"/>
                <a:chOff x="11797442" y="-379413"/>
                <a:chExt cx="213169" cy="217169"/>
              </a:xfrm>
              <a:grpFill/>
            </p:grpSpPr>
            <p:sp>
              <p:nvSpPr>
                <p:cNvPr id="299" name="Freeform: Shape 298">
                  <a:extLst>
                    <a:ext uri="{FF2B5EF4-FFF2-40B4-BE49-F238E27FC236}">
                      <a16:creationId xmlns:a16="http://schemas.microsoft.com/office/drawing/2014/main" id="{D7C57DEE-2CEE-4169-92D9-190DE7100D21}"/>
                    </a:ext>
                  </a:extLst>
                </p:cNvPr>
                <p:cNvSpPr/>
                <p:nvPr/>
              </p:nvSpPr>
              <p:spPr>
                <a:xfrm>
                  <a:off x="11797537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eform: Shape 299">
                  <a:extLst>
                    <a:ext uri="{FF2B5EF4-FFF2-40B4-BE49-F238E27FC236}">
                      <a16:creationId xmlns:a16="http://schemas.microsoft.com/office/drawing/2014/main" id="{3B2A0CC0-D2A2-4E11-942D-2904954B46BC}"/>
                    </a:ext>
                  </a:extLst>
                </p:cNvPr>
                <p:cNvSpPr/>
                <p:nvPr/>
              </p:nvSpPr>
              <p:spPr>
                <a:xfrm>
                  <a:off x="11797442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: Shape 300">
                  <a:extLst>
                    <a:ext uri="{FF2B5EF4-FFF2-40B4-BE49-F238E27FC236}">
                      <a16:creationId xmlns:a16="http://schemas.microsoft.com/office/drawing/2014/main" id="{049088C4-A1BA-45C2-B237-109D69712E4A}"/>
                    </a:ext>
                  </a:extLst>
                </p:cNvPr>
                <p:cNvSpPr/>
                <p:nvPr/>
              </p:nvSpPr>
              <p:spPr>
                <a:xfrm>
                  <a:off x="11950413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673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0"/>
                        <a:pt x="60198" y="13430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Freeform: Shape 301">
                  <a:extLst>
                    <a:ext uri="{FF2B5EF4-FFF2-40B4-BE49-F238E27FC236}">
                      <a16:creationId xmlns:a16="http://schemas.microsoft.com/office/drawing/2014/main" id="{C143A611-3B43-45E0-B36E-94427768A382}"/>
                    </a:ext>
                  </a:extLst>
                </p:cNvPr>
                <p:cNvSpPr/>
                <p:nvPr/>
              </p:nvSpPr>
              <p:spPr>
                <a:xfrm>
                  <a:off x="11950413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94" name="Graphic 28">
                <a:extLst>
                  <a:ext uri="{FF2B5EF4-FFF2-40B4-BE49-F238E27FC236}">
                    <a16:creationId xmlns:a16="http://schemas.microsoft.com/office/drawing/2014/main" id="{8E69BD21-C8EB-457F-AA9B-44B16EB9D7F6}"/>
                  </a:ext>
                </a:extLst>
              </p:cNvPr>
              <p:cNvGrpSpPr/>
              <p:nvPr/>
            </p:nvGrpSpPr>
            <p:grpSpPr>
              <a:xfrm>
                <a:off x="11487879" y="-379413"/>
                <a:ext cx="213169" cy="217169"/>
                <a:chOff x="11487879" y="-379413"/>
                <a:chExt cx="213169" cy="217169"/>
              </a:xfrm>
              <a:grpFill/>
            </p:grpSpPr>
            <p:sp>
              <p:nvSpPr>
                <p:cNvPr id="295" name="Freeform: Shape 294">
                  <a:extLst>
                    <a:ext uri="{FF2B5EF4-FFF2-40B4-BE49-F238E27FC236}">
                      <a16:creationId xmlns:a16="http://schemas.microsoft.com/office/drawing/2014/main" id="{185E4024-3499-414A-832F-0B4B4733F4CC}"/>
                    </a:ext>
                  </a:extLst>
                </p:cNvPr>
                <p:cNvSpPr/>
                <p:nvPr/>
              </p:nvSpPr>
              <p:spPr>
                <a:xfrm>
                  <a:off x="11487879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Freeform: Shape 295">
                  <a:extLst>
                    <a:ext uri="{FF2B5EF4-FFF2-40B4-BE49-F238E27FC236}">
                      <a16:creationId xmlns:a16="http://schemas.microsoft.com/office/drawing/2014/main" id="{34B569E3-A0B1-4FFB-9BA0-DFD987359329}"/>
                    </a:ext>
                  </a:extLst>
                </p:cNvPr>
                <p:cNvSpPr/>
                <p:nvPr/>
              </p:nvSpPr>
              <p:spPr>
                <a:xfrm>
                  <a:off x="11487879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768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Freeform: Shape 296">
                  <a:extLst>
                    <a:ext uri="{FF2B5EF4-FFF2-40B4-BE49-F238E27FC236}">
                      <a16:creationId xmlns:a16="http://schemas.microsoft.com/office/drawing/2014/main" id="{346F8A93-8C95-4284-9C1A-2910994DB7EE}"/>
                    </a:ext>
                  </a:extLst>
                </p:cNvPr>
                <p:cNvSpPr/>
                <p:nvPr/>
              </p:nvSpPr>
              <p:spPr>
                <a:xfrm>
                  <a:off x="11640851" y="-379413"/>
                  <a:ext cx="60197" cy="60198"/>
                </a:xfrm>
                <a:custGeom>
                  <a:avLst/>
                  <a:gdLst>
                    <a:gd name="connsiteX0" fmla="*/ 60198 w 60197"/>
                    <a:gd name="connsiteY0" fmla="*/ 30099 h 60198"/>
                    <a:gd name="connsiteX1" fmla="*/ 30099 w 60197"/>
                    <a:gd name="connsiteY1" fmla="*/ 60198 h 60198"/>
                    <a:gd name="connsiteX2" fmla="*/ 0 w 60197"/>
                    <a:gd name="connsiteY2" fmla="*/ 30099 h 60198"/>
                    <a:gd name="connsiteX3" fmla="*/ 30099 w 60197"/>
                    <a:gd name="connsiteY3" fmla="*/ 0 h 60198"/>
                    <a:gd name="connsiteX4" fmla="*/ 60198 w 60197"/>
                    <a:gd name="connsiteY4" fmla="*/ 30099 h 60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8">
                      <a:moveTo>
                        <a:pt x="60198" y="30099"/>
                      </a:moveTo>
                      <a:cubicBezTo>
                        <a:pt x="60198" y="46722"/>
                        <a:pt x="46722" y="60198"/>
                        <a:pt x="30099" y="60198"/>
                      </a:cubicBezTo>
                      <a:cubicBezTo>
                        <a:pt x="13476" y="60198"/>
                        <a:pt x="0" y="46722"/>
                        <a:pt x="0" y="30099"/>
                      </a:cubicBezTo>
                      <a:cubicBezTo>
                        <a:pt x="0" y="13476"/>
                        <a:pt x="13476" y="0"/>
                        <a:pt x="30099" y="0"/>
                      </a:cubicBezTo>
                      <a:cubicBezTo>
                        <a:pt x="46722" y="0"/>
                        <a:pt x="60198" y="1347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: Shape 297">
                  <a:extLst>
                    <a:ext uri="{FF2B5EF4-FFF2-40B4-BE49-F238E27FC236}">
                      <a16:creationId xmlns:a16="http://schemas.microsoft.com/office/drawing/2014/main" id="{06BEEA92-A032-438B-A3A4-2B5617151639}"/>
                    </a:ext>
                  </a:extLst>
                </p:cNvPr>
                <p:cNvSpPr/>
                <p:nvPr/>
              </p:nvSpPr>
              <p:spPr>
                <a:xfrm>
                  <a:off x="11640851" y="-222441"/>
                  <a:ext cx="60197" cy="60197"/>
                </a:xfrm>
                <a:custGeom>
                  <a:avLst/>
                  <a:gdLst>
                    <a:gd name="connsiteX0" fmla="*/ 60198 w 60197"/>
                    <a:gd name="connsiteY0" fmla="*/ 30099 h 60197"/>
                    <a:gd name="connsiteX1" fmla="*/ 30099 w 60197"/>
                    <a:gd name="connsiteY1" fmla="*/ 60198 h 60197"/>
                    <a:gd name="connsiteX2" fmla="*/ 0 w 60197"/>
                    <a:gd name="connsiteY2" fmla="*/ 30099 h 60197"/>
                    <a:gd name="connsiteX3" fmla="*/ 30099 w 60197"/>
                    <a:gd name="connsiteY3" fmla="*/ 0 h 60197"/>
                    <a:gd name="connsiteX4" fmla="*/ 60198 w 60197"/>
                    <a:gd name="connsiteY4" fmla="*/ 30099 h 60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197" h="60197">
                      <a:moveTo>
                        <a:pt x="60198" y="30099"/>
                      </a:moveTo>
                      <a:cubicBezTo>
                        <a:pt x="60198" y="46672"/>
                        <a:pt x="46768" y="60198"/>
                        <a:pt x="30099" y="60198"/>
                      </a:cubicBezTo>
                      <a:cubicBezTo>
                        <a:pt x="13525" y="60198"/>
                        <a:pt x="0" y="46768"/>
                        <a:pt x="0" y="30099"/>
                      </a:cubicBezTo>
                      <a:cubicBezTo>
                        <a:pt x="0" y="13526"/>
                        <a:pt x="13430" y="0"/>
                        <a:pt x="30099" y="0"/>
                      </a:cubicBezTo>
                      <a:cubicBezTo>
                        <a:pt x="46673" y="95"/>
                        <a:pt x="60198" y="13526"/>
                        <a:pt x="60198" y="300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313" name="Graphic 28">
            <a:extLst>
              <a:ext uri="{FF2B5EF4-FFF2-40B4-BE49-F238E27FC236}">
                <a16:creationId xmlns:a16="http://schemas.microsoft.com/office/drawing/2014/main" id="{2F4F50C3-69ED-4F95-AA32-756B5FEB3016}"/>
              </a:ext>
            </a:extLst>
          </p:cNvPr>
          <p:cNvGrpSpPr/>
          <p:nvPr/>
        </p:nvGrpSpPr>
        <p:grpSpPr>
          <a:xfrm rot="10800000">
            <a:off x="11477198" y="1081760"/>
            <a:ext cx="227029" cy="227130"/>
            <a:chOff x="10517187" y="-377031"/>
            <a:chExt cx="214979" cy="215074"/>
          </a:xfrm>
          <a:solidFill>
            <a:srgbClr val="FDDABC"/>
          </a:solidFill>
        </p:grpSpPr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B53C426D-863C-44AB-8C57-521A8DB6B768}"/>
                </a:ext>
              </a:extLst>
            </p:cNvPr>
            <p:cNvSpPr/>
            <p:nvPr/>
          </p:nvSpPr>
          <p:spPr>
            <a:xfrm>
              <a:off x="10517187" y="-377031"/>
              <a:ext cx="214979" cy="214979"/>
            </a:xfrm>
            <a:custGeom>
              <a:avLst/>
              <a:gdLst>
                <a:gd name="connsiteX0" fmla="*/ 12573 w 214979"/>
                <a:gd name="connsiteY0" fmla="*/ 12573 h 214979"/>
                <a:gd name="connsiteX1" fmla="*/ 12573 w 214979"/>
                <a:gd name="connsiteY1" fmla="*/ 12573 h 214979"/>
                <a:gd name="connsiteX2" fmla="*/ 73247 w 214979"/>
                <a:gd name="connsiteY2" fmla="*/ 12573 h 214979"/>
                <a:gd name="connsiteX3" fmla="*/ 202406 w 214979"/>
                <a:gd name="connsiteY3" fmla="*/ 141732 h 214979"/>
                <a:gd name="connsiteX4" fmla="*/ 202406 w 214979"/>
                <a:gd name="connsiteY4" fmla="*/ 202406 h 214979"/>
                <a:gd name="connsiteX5" fmla="*/ 202406 w 214979"/>
                <a:gd name="connsiteY5" fmla="*/ 202406 h 214979"/>
                <a:gd name="connsiteX6" fmla="*/ 141732 w 214979"/>
                <a:gd name="connsiteY6" fmla="*/ 202406 h 214979"/>
                <a:gd name="connsiteX7" fmla="*/ 12573 w 214979"/>
                <a:gd name="connsiteY7" fmla="*/ 73247 h 214979"/>
                <a:gd name="connsiteX8" fmla="*/ 12573 w 214979"/>
                <a:gd name="connsiteY8" fmla="*/ 12573 h 21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4979">
                  <a:moveTo>
                    <a:pt x="12573" y="12573"/>
                  </a:moveTo>
                  <a:lnTo>
                    <a:pt x="12573" y="12573"/>
                  </a:lnTo>
                  <a:cubicBezTo>
                    <a:pt x="29337" y="-4191"/>
                    <a:pt x="56483" y="-4191"/>
                    <a:pt x="73247" y="12573"/>
                  </a:cubicBezTo>
                  <a:lnTo>
                    <a:pt x="202406" y="141732"/>
                  </a:lnTo>
                  <a:cubicBezTo>
                    <a:pt x="219170" y="158496"/>
                    <a:pt x="219170" y="185642"/>
                    <a:pt x="202406" y="202406"/>
                  </a:cubicBezTo>
                  <a:lnTo>
                    <a:pt x="202406" y="202406"/>
                  </a:lnTo>
                  <a:cubicBezTo>
                    <a:pt x="185642" y="219170"/>
                    <a:pt x="158496" y="219170"/>
                    <a:pt x="141732" y="202406"/>
                  </a:cubicBezTo>
                  <a:lnTo>
                    <a:pt x="12573" y="73247"/>
                  </a:lnTo>
                  <a:cubicBezTo>
                    <a:pt x="-4191" y="56483"/>
                    <a:pt x="-4191" y="29337"/>
                    <a:pt x="12573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51EA4601-4F6C-442E-A741-F078F779DEDC}"/>
                </a:ext>
              </a:extLst>
            </p:cNvPr>
            <p:cNvSpPr/>
            <p:nvPr/>
          </p:nvSpPr>
          <p:spPr>
            <a:xfrm>
              <a:off x="10517187" y="-377031"/>
              <a:ext cx="214979" cy="215074"/>
            </a:xfrm>
            <a:custGeom>
              <a:avLst/>
              <a:gdLst>
                <a:gd name="connsiteX0" fmla="*/ 202406 w 214979"/>
                <a:gd name="connsiteY0" fmla="*/ 12573 h 215074"/>
                <a:gd name="connsiteX1" fmla="*/ 202406 w 214979"/>
                <a:gd name="connsiteY1" fmla="*/ 12573 h 215074"/>
                <a:gd name="connsiteX2" fmla="*/ 202406 w 214979"/>
                <a:gd name="connsiteY2" fmla="*/ 73247 h 215074"/>
                <a:gd name="connsiteX3" fmla="*/ 73247 w 214979"/>
                <a:gd name="connsiteY3" fmla="*/ 202502 h 215074"/>
                <a:gd name="connsiteX4" fmla="*/ 12573 w 214979"/>
                <a:gd name="connsiteY4" fmla="*/ 202502 h 215074"/>
                <a:gd name="connsiteX5" fmla="*/ 12573 w 214979"/>
                <a:gd name="connsiteY5" fmla="*/ 202502 h 215074"/>
                <a:gd name="connsiteX6" fmla="*/ 12573 w 214979"/>
                <a:gd name="connsiteY6" fmla="*/ 141827 h 215074"/>
                <a:gd name="connsiteX7" fmla="*/ 141732 w 214979"/>
                <a:gd name="connsiteY7" fmla="*/ 12573 h 215074"/>
                <a:gd name="connsiteX8" fmla="*/ 202406 w 214979"/>
                <a:gd name="connsiteY8" fmla="*/ 12573 h 2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79" h="215074">
                  <a:moveTo>
                    <a:pt x="202406" y="12573"/>
                  </a:moveTo>
                  <a:lnTo>
                    <a:pt x="202406" y="12573"/>
                  </a:lnTo>
                  <a:cubicBezTo>
                    <a:pt x="219170" y="29337"/>
                    <a:pt x="219170" y="56483"/>
                    <a:pt x="202406" y="73247"/>
                  </a:cubicBezTo>
                  <a:lnTo>
                    <a:pt x="73247" y="202502"/>
                  </a:lnTo>
                  <a:cubicBezTo>
                    <a:pt x="56483" y="219266"/>
                    <a:pt x="29337" y="219266"/>
                    <a:pt x="12573" y="202502"/>
                  </a:cubicBezTo>
                  <a:lnTo>
                    <a:pt x="12573" y="202502"/>
                  </a:lnTo>
                  <a:cubicBezTo>
                    <a:pt x="-4191" y="185738"/>
                    <a:pt x="-4191" y="158591"/>
                    <a:pt x="12573" y="141827"/>
                  </a:cubicBezTo>
                  <a:lnTo>
                    <a:pt x="141732" y="12573"/>
                  </a:lnTo>
                  <a:cubicBezTo>
                    <a:pt x="158496" y="-4191"/>
                    <a:pt x="185738" y="-4191"/>
                    <a:pt x="202406" y="125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8" name="TextBox 317">
            <a:extLst>
              <a:ext uri="{FF2B5EF4-FFF2-40B4-BE49-F238E27FC236}">
                <a16:creationId xmlns:a16="http://schemas.microsoft.com/office/drawing/2014/main" id="{2D2DC540-A0DC-4596-AA8A-0E0BD45646E1}"/>
              </a:ext>
            </a:extLst>
          </p:cNvPr>
          <p:cNvSpPr txBox="1"/>
          <p:nvPr/>
        </p:nvSpPr>
        <p:spPr>
          <a:xfrm>
            <a:off x="1583592" y="2932689"/>
            <a:ext cx="5664200" cy="31423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</a:rPr>
              <a:t>We found other emotion classification</a:t>
            </a:r>
          </a:p>
          <a:p>
            <a:pPr lvl="0"/>
            <a:r>
              <a:rPr lang="en-US">
                <a:solidFill>
                  <a:schemeClr val="bg1"/>
                </a:solidFill>
              </a:rPr>
              <a:t> models that gave higher accuracy.</a:t>
            </a: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1D279258-2A5C-4737-AF69-8487717B36EB}"/>
              </a:ext>
            </a:extLst>
          </p:cNvPr>
          <p:cNvSpPr txBox="1"/>
          <p:nvPr/>
        </p:nvSpPr>
        <p:spPr>
          <a:xfrm>
            <a:off x="1638299" y="4271511"/>
            <a:ext cx="5664200" cy="31423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No humans evaluated the chatbot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1C8ECCA5-A641-420F-9EDA-0150F738EA2C}"/>
              </a:ext>
            </a:extLst>
          </p:cNvPr>
          <p:cNvSpPr txBox="1"/>
          <p:nvPr/>
        </p:nvSpPr>
        <p:spPr>
          <a:xfrm>
            <a:off x="1638299" y="5605943"/>
            <a:ext cx="5664200" cy="314236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C77736-870F-4A1B-B9D6-3A21A1AAD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482" y="1486677"/>
            <a:ext cx="1030313" cy="9693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34F195C-F458-4E68-BADF-356A547F57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62" y="2754354"/>
            <a:ext cx="1091279" cy="9693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DB2F9A5-30F1-40B0-964B-A92C48DA85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763" y="4013232"/>
            <a:ext cx="1085182" cy="9693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E837B78-25B5-40F2-A6DF-EFA38AA481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1369" y="5139100"/>
            <a:ext cx="1091279" cy="9693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18AA4D-E68A-4CCF-A088-3265A99414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4160" y="5330599"/>
            <a:ext cx="5100151" cy="72103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784D867-77AB-4828-B208-436EC5566F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3338" y="1504458"/>
            <a:ext cx="5279347" cy="98927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270232B-D40E-4937-8E66-0B98FF6489A3}"/>
              </a:ext>
            </a:extLst>
          </p:cNvPr>
          <p:cNvSpPr txBox="1"/>
          <p:nvPr/>
        </p:nvSpPr>
        <p:spPr>
          <a:xfrm>
            <a:off x="6981824" y="1504458"/>
            <a:ext cx="500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User may not be able to express himself clearly,</a:t>
            </a:r>
          </a:p>
          <a:p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 leading to chatbot misclassifying his emotion </a:t>
            </a:r>
          </a:p>
          <a:p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and providing inaccurate</a:t>
            </a:r>
            <a:r>
              <a:rPr lang="en-US">
                <a:latin typeface="Georgia" panose="02040502050405020303" pitchFamily="18" charset="0"/>
              </a:rPr>
              <a:t> </a:t>
            </a:r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responses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B0243B0-BC7C-49C1-BD3C-6DA691553E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6972" y="1482393"/>
            <a:ext cx="1079086" cy="96934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BDA0E0E-014E-48AE-B49C-5CB5A4418A96}"/>
              </a:ext>
            </a:extLst>
          </p:cNvPr>
          <p:cNvSpPr txBox="1"/>
          <p:nvPr/>
        </p:nvSpPr>
        <p:spPr>
          <a:xfrm>
            <a:off x="1670125" y="5396296"/>
            <a:ext cx="39803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The data clearly unbalanced, yet no effort was done to balance it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D769833-9CE2-46AC-8064-1B530AA947B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26061" y="3866337"/>
            <a:ext cx="4645889" cy="2374757"/>
          </a:xfrm>
          <a:prstGeom prst="rect">
            <a:avLst/>
          </a:prstGeom>
        </p:spPr>
      </p:pic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2BA6285C-B96E-3A20-8270-BB9E1CDC59F4}"/>
              </a:ext>
            </a:extLst>
          </p:cNvPr>
          <p:cNvSpPr/>
          <p:nvPr/>
        </p:nvSpPr>
        <p:spPr>
          <a:xfrm>
            <a:off x="6729837" y="2791978"/>
            <a:ext cx="5242848" cy="797557"/>
          </a:xfrm>
          <a:custGeom>
            <a:avLst/>
            <a:gdLst>
              <a:gd name="connsiteX0" fmla="*/ 16919 w 6468515"/>
              <a:gd name="connsiteY0" fmla="*/ 0 h 914400"/>
              <a:gd name="connsiteX1" fmla="*/ 6316112 w 6468515"/>
              <a:gd name="connsiteY1" fmla="*/ 0 h 914400"/>
              <a:gd name="connsiteX2" fmla="*/ 6468515 w 6468515"/>
              <a:gd name="connsiteY2" fmla="*/ 152403 h 914400"/>
              <a:gd name="connsiteX3" fmla="*/ 6468515 w 6468515"/>
              <a:gd name="connsiteY3" fmla="*/ 761997 h 914400"/>
              <a:gd name="connsiteX4" fmla="*/ 6316112 w 6468515"/>
              <a:gd name="connsiteY4" fmla="*/ 914400 h 914400"/>
              <a:gd name="connsiteX5" fmla="*/ 16919 w 6468515"/>
              <a:gd name="connsiteY5" fmla="*/ 914400 h 914400"/>
              <a:gd name="connsiteX6" fmla="*/ 0 w 6468515"/>
              <a:gd name="connsiteY6" fmla="*/ 910984 h 914400"/>
              <a:gd name="connsiteX7" fmla="*/ 58258 w 6468515"/>
              <a:gd name="connsiteY7" fmla="*/ 905111 h 914400"/>
              <a:gd name="connsiteX8" fmla="*/ 423316 w 6468515"/>
              <a:gd name="connsiteY8" fmla="*/ 457200 h 914400"/>
              <a:gd name="connsiteX9" fmla="*/ 58258 w 6468515"/>
              <a:gd name="connsiteY9" fmla="*/ 9289 h 914400"/>
              <a:gd name="connsiteX10" fmla="*/ 0 w 6468515"/>
              <a:gd name="connsiteY10" fmla="*/ 3416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68515" h="914400">
                <a:moveTo>
                  <a:pt x="16919" y="0"/>
                </a:moveTo>
                <a:lnTo>
                  <a:pt x="6316112" y="0"/>
                </a:lnTo>
                <a:cubicBezTo>
                  <a:pt x="6400282" y="0"/>
                  <a:pt x="6468515" y="68233"/>
                  <a:pt x="6468515" y="152403"/>
                </a:cubicBezTo>
                <a:lnTo>
                  <a:pt x="6468515" y="761997"/>
                </a:lnTo>
                <a:cubicBezTo>
                  <a:pt x="6468515" y="846167"/>
                  <a:pt x="6400282" y="914400"/>
                  <a:pt x="6316112" y="914400"/>
                </a:cubicBezTo>
                <a:lnTo>
                  <a:pt x="16919" y="914400"/>
                </a:lnTo>
                <a:lnTo>
                  <a:pt x="0" y="910984"/>
                </a:lnTo>
                <a:lnTo>
                  <a:pt x="58258" y="905111"/>
                </a:lnTo>
                <a:cubicBezTo>
                  <a:pt x="266597" y="862479"/>
                  <a:pt x="423316" y="678142"/>
                  <a:pt x="423316" y="457200"/>
                </a:cubicBezTo>
                <a:cubicBezTo>
                  <a:pt x="423316" y="236258"/>
                  <a:pt x="266597" y="51921"/>
                  <a:pt x="58258" y="9289"/>
                </a:cubicBezTo>
                <a:lnTo>
                  <a:pt x="0" y="3416"/>
                </a:lnTo>
                <a:close/>
              </a:path>
            </a:pathLst>
          </a:custGeom>
          <a:solidFill>
            <a:srgbClr val="094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943988C-60B2-666A-C348-D30FB448229D}"/>
              </a:ext>
            </a:extLst>
          </p:cNvPr>
          <p:cNvSpPr txBox="1"/>
          <p:nvPr/>
        </p:nvSpPr>
        <p:spPr>
          <a:xfrm>
            <a:off x="7233710" y="3019789"/>
            <a:ext cx="4618854" cy="286641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en-US">
                <a:solidFill>
                  <a:schemeClr val="bg1"/>
                </a:solidFill>
                <a:latin typeface="Georgia" panose="02040502050405020303" pitchFamily="18" charset="0"/>
              </a:rPr>
              <a:t>Text vectorization method was not state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9E7EEAF-DC66-EB89-9130-100D7892E631}"/>
              </a:ext>
            </a:extLst>
          </p:cNvPr>
          <p:cNvGrpSpPr/>
          <p:nvPr/>
        </p:nvGrpSpPr>
        <p:grpSpPr>
          <a:xfrm>
            <a:off x="6301591" y="2936971"/>
            <a:ext cx="855417" cy="596949"/>
            <a:chOff x="5312699" y="4132242"/>
            <a:chExt cx="855417" cy="596949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C14AECA-4C32-5D20-9205-F5BAEDC57A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312699" y="4132242"/>
              <a:ext cx="596949" cy="596949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DFD470C-F9C3-3831-F029-A85B3F15F034}"/>
                </a:ext>
              </a:extLst>
            </p:cNvPr>
            <p:cNvSpPr txBox="1"/>
            <p:nvPr/>
          </p:nvSpPr>
          <p:spPr>
            <a:xfrm>
              <a:off x="5500946" y="4183751"/>
              <a:ext cx="667170" cy="37963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i="1">
                  <a:solidFill>
                    <a:schemeClr val="bg1"/>
                  </a:solidFill>
                  <a:latin typeface="Georgia"/>
                </a:rPr>
                <a:t>06</a:t>
              </a:r>
              <a:endParaRPr kumimoji="0" lang="en-US" sz="36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</p:grpSp>
      <p:sp>
        <p:nvSpPr>
          <p:cNvPr id="58" name="Freeform 44">
            <a:extLst>
              <a:ext uri="{FF2B5EF4-FFF2-40B4-BE49-F238E27FC236}">
                <a16:creationId xmlns:a16="http://schemas.microsoft.com/office/drawing/2014/main" id="{2A6FD43A-22CB-10ED-62E2-359D30E290A1}"/>
              </a:ext>
            </a:extLst>
          </p:cNvPr>
          <p:cNvSpPr>
            <a:spLocks/>
          </p:cNvSpPr>
          <p:nvPr/>
        </p:nvSpPr>
        <p:spPr bwMode="auto">
          <a:xfrm rot="5400000">
            <a:off x="6533529" y="2520576"/>
            <a:ext cx="99711" cy="160099"/>
          </a:xfrm>
          <a:custGeom>
            <a:avLst/>
            <a:gdLst>
              <a:gd name="T0" fmla="*/ 4 w 60"/>
              <a:gd name="T1" fmla="*/ 96 h 96"/>
              <a:gd name="T2" fmla="*/ 1 w 60"/>
              <a:gd name="T3" fmla="*/ 95 h 96"/>
              <a:gd name="T4" fmla="*/ 1 w 60"/>
              <a:gd name="T5" fmla="*/ 89 h 96"/>
              <a:gd name="T6" fmla="*/ 50 w 60"/>
              <a:gd name="T7" fmla="*/ 48 h 96"/>
              <a:gd name="T8" fmla="*/ 1 w 60"/>
              <a:gd name="T9" fmla="*/ 7 h 96"/>
              <a:gd name="T10" fmla="*/ 1 w 60"/>
              <a:gd name="T11" fmla="*/ 1 h 96"/>
              <a:gd name="T12" fmla="*/ 7 w 60"/>
              <a:gd name="T13" fmla="*/ 1 h 96"/>
              <a:gd name="T14" fmla="*/ 59 w 60"/>
              <a:gd name="T15" fmla="*/ 45 h 96"/>
              <a:gd name="T16" fmla="*/ 60 w 60"/>
              <a:gd name="T17" fmla="*/ 48 h 96"/>
              <a:gd name="T18" fmla="*/ 59 w 60"/>
              <a:gd name="T19" fmla="*/ 51 h 96"/>
              <a:gd name="T20" fmla="*/ 7 w 60"/>
              <a:gd name="T21" fmla="*/ 95 h 96"/>
              <a:gd name="T22" fmla="*/ 4 w 60"/>
              <a:gd name="T23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96">
                <a:moveTo>
                  <a:pt x="4" y="96"/>
                </a:moveTo>
                <a:cubicBezTo>
                  <a:pt x="3" y="96"/>
                  <a:pt x="2" y="96"/>
                  <a:pt x="1" y="95"/>
                </a:cubicBezTo>
                <a:cubicBezTo>
                  <a:pt x="0" y="93"/>
                  <a:pt x="0" y="90"/>
                  <a:pt x="1" y="89"/>
                </a:cubicBezTo>
                <a:cubicBezTo>
                  <a:pt x="50" y="48"/>
                  <a:pt x="50" y="48"/>
                  <a:pt x="50" y="48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3"/>
                  <a:pt x="1" y="1"/>
                </a:cubicBezTo>
                <a:cubicBezTo>
                  <a:pt x="2" y="0"/>
                  <a:pt x="5" y="0"/>
                  <a:pt x="7" y="1"/>
                </a:cubicBezTo>
                <a:cubicBezTo>
                  <a:pt x="59" y="45"/>
                  <a:pt x="59" y="45"/>
                  <a:pt x="59" y="45"/>
                </a:cubicBezTo>
                <a:cubicBezTo>
                  <a:pt x="59" y="46"/>
                  <a:pt x="60" y="47"/>
                  <a:pt x="60" y="48"/>
                </a:cubicBezTo>
                <a:cubicBezTo>
                  <a:pt x="60" y="49"/>
                  <a:pt x="59" y="50"/>
                  <a:pt x="59" y="51"/>
                </a:cubicBezTo>
                <a:cubicBezTo>
                  <a:pt x="7" y="95"/>
                  <a:pt x="7" y="95"/>
                  <a:pt x="7" y="95"/>
                </a:cubicBezTo>
                <a:cubicBezTo>
                  <a:pt x="6" y="96"/>
                  <a:pt x="5" y="96"/>
                  <a:pt x="4" y="96"/>
                </a:cubicBezTo>
                <a:close/>
              </a:path>
            </a:pathLst>
          </a:custGeom>
          <a:solidFill>
            <a:srgbClr val="094A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5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2</Slides>
  <Notes>12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24slides14</dc:creator>
  <cp:revision>2</cp:revision>
  <dcterms:created xsi:type="dcterms:W3CDTF">2022-02-16T03:48:59Z</dcterms:created>
  <dcterms:modified xsi:type="dcterms:W3CDTF">2022-07-15T17:29:51Z</dcterms:modified>
</cp:coreProperties>
</file>